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3.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4.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6.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7.xml" ContentType="application/vnd.openxmlformats-officedocument.theme+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8.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9.xml" ContentType="application/vnd.openxmlformats-officedocument.theme+xml"/>
  <Override PartName="/ppt/tags/tag2.xml" ContentType="application/vnd.openxmlformats-officedocument.presentationml.tags+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98" r:id="rId4"/>
    <p:sldMasterId id="2147484124" r:id="rId5"/>
    <p:sldMasterId id="2147483672" r:id="rId6"/>
    <p:sldMasterId id="2147483710" r:id="rId7"/>
    <p:sldMasterId id="2147483754" r:id="rId8"/>
    <p:sldMasterId id="2147483773" r:id="rId9"/>
    <p:sldMasterId id="2147483883" r:id="rId10"/>
    <p:sldMasterId id="2147483908" r:id="rId11"/>
    <p:sldMasterId id="2147484022" r:id="rId12"/>
  </p:sldMasterIdLst>
  <p:notesMasterIdLst>
    <p:notesMasterId r:id="rId54"/>
  </p:notesMasterIdLst>
  <p:sldIdLst>
    <p:sldId id="322" r:id="rId13"/>
    <p:sldId id="304" r:id="rId14"/>
    <p:sldId id="272" r:id="rId15"/>
    <p:sldId id="263" r:id="rId16"/>
    <p:sldId id="282" r:id="rId17"/>
    <p:sldId id="307" r:id="rId18"/>
    <p:sldId id="268" r:id="rId19"/>
    <p:sldId id="258" r:id="rId20"/>
    <p:sldId id="302" r:id="rId21"/>
    <p:sldId id="305" r:id="rId22"/>
    <p:sldId id="2147482814" r:id="rId23"/>
    <p:sldId id="259" r:id="rId24"/>
    <p:sldId id="2147483044" r:id="rId25"/>
    <p:sldId id="267" r:id="rId26"/>
    <p:sldId id="287" r:id="rId27"/>
    <p:sldId id="284" r:id="rId28"/>
    <p:sldId id="256" r:id="rId29"/>
    <p:sldId id="301" r:id="rId30"/>
    <p:sldId id="306" r:id="rId31"/>
    <p:sldId id="271" r:id="rId32"/>
    <p:sldId id="2147482884" r:id="rId33"/>
    <p:sldId id="278" r:id="rId34"/>
    <p:sldId id="265" r:id="rId35"/>
    <p:sldId id="2147483647" r:id="rId36"/>
    <p:sldId id="285" r:id="rId37"/>
    <p:sldId id="276" r:id="rId38"/>
    <p:sldId id="273" r:id="rId39"/>
    <p:sldId id="260" r:id="rId40"/>
    <p:sldId id="288" r:id="rId41"/>
    <p:sldId id="308" r:id="rId42"/>
    <p:sldId id="298" r:id="rId43"/>
    <p:sldId id="289" r:id="rId44"/>
    <p:sldId id="257" r:id="rId45"/>
    <p:sldId id="262" r:id="rId46"/>
    <p:sldId id="277" r:id="rId47"/>
    <p:sldId id="292" r:id="rId48"/>
    <p:sldId id="269" r:id="rId49"/>
    <p:sldId id="2147483496" r:id="rId50"/>
    <p:sldId id="281" r:id="rId51"/>
    <p:sldId id="2147470511" r:id="rId52"/>
    <p:sldId id="2147472867" r:id="rId5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3573007-FDEB-DE2F-3EF9-1739D2FA4B87}" name="Adwait Aralkar" initials="AA" userId="S::Adwait.Aralkar@BRILLIO.COM::ae1719c1-ed02-42aa-a1d9-0d6e6247f692" providerId="AD"/>
  <p188:author id="{2F397A18-701F-D9CD-3E28-50FC64DFCB9A}" name="Amith Ranganath" initials="AR" userId="S::Amith.Ranganath@BRILLIO.COM::99a93d6b-75b9-445c-b5ec-a62114133651" providerId="AD"/>
  <p188:author id="{75D8791B-E3F1-9663-B0C3-ADA07F61AB90}" name="Siddhi Paliwal" initials="" userId="S::Siddhi.Paliwal@BRILLIO.COM::3ef3921d-16b8-4854-8920-f0b2bd004b9f" providerId="AD"/>
  <p188:author id="{92B4B321-F8DD-4C84-C7CB-3DCB157C3554}" name="Aswani Chittilla" initials="AC" userId="S::aswani.chittilla@brillio.com::e4377af8-5c25-4d6d-97ff-a0a1ea235d6c" providerId="AD"/>
  <p188:author id="{2E3C6A2D-B27E-B2A4-0289-2501E236FBDE}" name="Utkrasht Shrivastava" initials="US" userId="S::Utkrasht.S@BRILLIO.COM::2e392e5e-51d8-49ea-8280-22f253104cc4" providerId="AD"/>
  <p188:author id="{C0DCB534-1CA7-85CC-31B8-7E9D8CF288CC}" name="Pallavi Sridhar" initials="" userId="S::Pallavi.Sridhar@BRILLIO.COM::4ed18fab-7c6c-4cb6-8aab-f1897096fbe9" providerId="AD"/>
  <p188:author id="{6AF7BF41-8758-36B3-45BE-FBCE4EA55969}" name="Ananth Balasubramanian" initials="AB" userId="S::Ananth.B@BRILLIO.COM::03643304-6614-402d-bd42-252d530970f8" providerId="AD"/>
  <p188:author id="{5C4F1763-9DAB-CAB5-6DB6-B94A9DE38CA4}" name="Kishor Toshniwal" initials="" userId="S::Kishor.Toshniwal@BRILLIO.COM::d5a1b4b4-1fcb-4368-b56a-3e4a217d7762" providerId="AD"/>
  <p188:author id="{D0DDAC64-F6BB-B607-604C-41D0E8D03AB5}" name="Abhijith Shastry" initials="AS" userId="S::abhijith.shastry@brillio.com::539567d6-5baa-4651-be60-b3cf18d64dc2" providerId="AD"/>
  <p188:author id="{9347ED7E-4AAA-D64E-45C3-07CBFDC5CC99}" name="Rajavelu Vijaykumar" initials="" userId="S::rajavelu.v@BRILLIO.COM::58a321eb-bc8c-448d-87a5-748a932387ee" providerId="AD"/>
  <p188:author id="{458C4283-EB9C-8A2F-5FBD-B2EA2E4F2133}" name="Jon Bennett" initials="JB" userId="S::jon.bennett@BRILLIO.COM::f08bf36d-aba7-40c1-b6fc-baa856c3acbf" providerId="AD"/>
  <p188:author id="{8C852BB9-6BD7-FB34-E5B7-0C38752EF23C}" name="Abhijith Shastry" initials="" userId="S::Abhijith.Shastry@BRILLIO.COM::539567d6-5baa-4651-be60-b3cf18d64dc2" providerId="AD"/>
  <p188:author id="{74DA96C6-AC0A-7AE8-3714-20AEC08043CC}" name="Aswani Chittilla" initials="" userId="S::Aswani.Chittilla@BRILLIO.COM::e4377af8-5c25-4d6d-97ff-a0a1ea235d6c" providerId="AD"/>
  <p188:author id="{9EEAB9CC-033E-F745-E4CD-FCD810322113}" name="Harshi Rateria" initials="" userId="S::Harshi.Rateria@BRILLIO.COM::509ab90b-c2bf-43b6-bee4-35299838a0ca" providerId="AD"/>
  <p188:author id="{D6A170D0-8D81-FDF3-20AD-720D58B2946F}" name="Anchal Pyasi" initials="AP" userId="S::Anchal.Pyasi@BRILLIO.COM::a92c463e-259f-4540-80dd-10cfca234da2" providerId="AD"/>
  <p188:author id="{F02B24DD-1C21-6522-18C8-48B5BAEDDDF7}" name="Hemanth Devaraju" initials="HD" userId="S::Hemanth.Devaraju@BRILLIO.COM::f4721968-c871-481d-ac26-d1a3c9426ea0" providerId="AD"/>
  <p188:author id="{B7623BE0-F5FE-F3A2-33B0-C50044F083E2}" name="Rajavelu Vijaykumar" initials="RV" userId="S::rajavelu.v@brillio.com::58a321eb-bc8c-448d-87a5-748a932387ee" providerId="AD"/>
  <p188:author id="{B19151FB-6986-264A-2B1C-3FD13602A3AE}" name="Devendra Singh" initials="" userId="S::Devendra.Singh1@BRILLIO.COM::e8b99d82-38e8-4433-b7ed-f866a8f85d3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002354"/>
    <a:srgbClr val="CFD8DC"/>
    <a:srgbClr val="EFF3F4"/>
    <a:srgbClr val="F4F6F8"/>
    <a:srgbClr val="BFBFBF"/>
    <a:srgbClr val="F4F7F9"/>
    <a:srgbClr val="000000"/>
    <a:srgbClr val="E8FCF4"/>
    <a:srgbClr val="FFF1E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3652D2C-18B6-E346-B92F-590597C912F5}" v="109" dt="2025-02-07T08:32:02.547"/>
    <p1510:client id="{6E0FE3E2-44D9-074D-A48B-E6AD77B83E40}" v="420" dt="2025-02-06T09:35:15.043"/>
    <p1510:client id="{E83756EB-1544-42DC-BA2C-281AA4ABBF80}" v="2278" dt="2025-02-06T17:01:42.600"/>
    <p1510:client id="{EABEEC7E-27AE-46CE-AA87-F6988CE7844D}" v="453" dt="2025-02-07T09:34:05.48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5" d="100"/>
          <a:sy n="105" d="100"/>
        </p:scale>
        <p:origin x="798"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slide" Target="slides/slide35.xml"/><Relationship Id="rId50" Type="http://schemas.openxmlformats.org/officeDocument/2006/relationships/slide" Target="slides/slide38.xml"/><Relationship Id="rId55" Type="http://schemas.openxmlformats.org/officeDocument/2006/relationships/presProps" Target="pres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4.xml"/><Relationship Id="rId29" Type="http://schemas.openxmlformats.org/officeDocument/2006/relationships/slide" Target="slides/slide17.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slide" Target="slides/slide41.xml"/><Relationship Id="rId58" Type="http://schemas.openxmlformats.org/officeDocument/2006/relationships/tableStyles" Target="tableStyles.xml"/><Relationship Id="rId5" Type="http://schemas.openxmlformats.org/officeDocument/2006/relationships/slideMaster" Target="slideMasters/slideMaster2.xml"/><Relationship Id="rId61" Type="http://schemas.microsoft.com/office/2018/10/relationships/authors" Target="authors.xml"/><Relationship Id="rId19" Type="http://schemas.openxmlformats.org/officeDocument/2006/relationships/slide" Target="slides/slide7.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39.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microsoft.com/office/2016/11/relationships/changesInfo" Target="changesInfos/changesInfo1.xml"/><Relationship Id="rId20" Type="http://schemas.openxmlformats.org/officeDocument/2006/relationships/slide" Target="slides/slide8.xml"/><Relationship Id="rId41" Type="http://schemas.openxmlformats.org/officeDocument/2006/relationships/slide" Target="slides/slide29.xml"/><Relationship Id="rId54"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theme" Target="theme/theme1.xml"/><Relationship Id="rId10" Type="http://schemas.openxmlformats.org/officeDocument/2006/relationships/slideMaster" Target="slideMasters/slideMaster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bhijith Shastry" userId="S::abhijith.shastry@brillio.com::539567d6-5baa-4651-be60-b3cf18d64dc2" providerId="AD" clId="Web-{712F07A4-7D71-A226-6512-1EC10424D82E}"/>
    <pc:docChg chg="modSld">
      <pc:chgData name="Abhijith Shastry" userId="S::abhijith.shastry@brillio.com::539567d6-5baa-4651-be60-b3cf18d64dc2" providerId="AD" clId="Web-{712F07A4-7D71-A226-6512-1EC10424D82E}" dt="2025-01-10T11:44:24.976" v="296"/>
      <pc:docMkLst>
        <pc:docMk/>
      </pc:docMkLst>
      <pc:sldChg chg="modSp">
        <pc:chgData name="Abhijith Shastry" userId="S::abhijith.shastry@brillio.com::539567d6-5baa-4651-be60-b3cf18d64dc2" providerId="AD" clId="Web-{712F07A4-7D71-A226-6512-1EC10424D82E}" dt="2025-01-10T11:44:24.976" v="296"/>
        <pc:sldMkLst>
          <pc:docMk/>
          <pc:sldMk cId="3384076873" sldId="267"/>
        </pc:sldMkLst>
      </pc:sldChg>
      <pc:sldChg chg="addSp delSp modSp">
        <pc:chgData name="Abhijith Shastry" userId="S::abhijith.shastry@brillio.com::539567d6-5baa-4651-be60-b3cf18d64dc2" providerId="AD" clId="Web-{712F07A4-7D71-A226-6512-1EC10424D82E}" dt="2025-01-10T10:46:53.245" v="142" actId="1076"/>
        <pc:sldMkLst>
          <pc:docMk/>
          <pc:sldMk cId="861753099" sldId="2147470479"/>
        </pc:sldMkLst>
      </pc:sldChg>
    </pc:docChg>
  </pc:docChgLst>
  <pc:docChgLst>
    <pc:chgData name="Aswani Chittilla" userId="S::aswani.chittilla@brillio.com::e4377af8-5c25-4d6d-97ff-a0a1ea235d6c" providerId="AD" clId="Web-{2D0B4F31-7BCF-7DA2-4947-05DD1F9FABD1}"/>
    <pc:docChg chg="modSld">
      <pc:chgData name="Aswani Chittilla" userId="S::aswani.chittilla@brillio.com::e4377af8-5c25-4d6d-97ff-a0a1ea235d6c" providerId="AD" clId="Web-{2D0B4F31-7BCF-7DA2-4947-05DD1F9FABD1}" dt="2025-01-13T14:30:19.499" v="34" actId="20577"/>
      <pc:docMkLst>
        <pc:docMk/>
      </pc:docMkLst>
      <pc:sldChg chg="modSp">
        <pc:chgData name="Aswani Chittilla" userId="S::aswani.chittilla@brillio.com::e4377af8-5c25-4d6d-97ff-a0a1ea235d6c" providerId="AD" clId="Web-{2D0B4F31-7BCF-7DA2-4947-05DD1F9FABD1}" dt="2025-01-13T14:30:19.499" v="34" actId="20577"/>
        <pc:sldMkLst>
          <pc:docMk/>
          <pc:sldMk cId="595150051" sldId="284"/>
        </pc:sldMkLst>
      </pc:sldChg>
    </pc:docChg>
  </pc:docChgLst>
  <pc:docChgLst>
    <pc:chgData name="Aditi Roy" userId="S::aditi.roy@brillio.com::9b557acf-7f70-4e26-84cd-4d9f55f6478e" providerId="AD" clId="Web-{AA4DA9D2-F95C-EE31-6980-1D5C00A8759B}"/>
    <pc:docChg chg="addSld delSld modSld">
      <pc:chgData name="Aditi Roy" userId="S::aditi.roy@brillio.com::9b557acf-7f70-4e26-84cd-4d9f55f6478e" providerId="AD" clId="Web-{AA4DA9D2-F95C-EE31-6980-1D5C00A8759B}" dt="2025-01-10T12:42:08.212" v="252" actId="1076"/>
      <pc:docMkLst>
        <pc:docMk/>
      </pc:docMkLst>
      <pc:sldChg chg="addSp delSp modSp add del replId">
        <pc:chgData name="Aditi Roy" userId="S::aditi.roy@brillio.com::9b557acf-7f70-4e26-84cd-4d9f55f6478e" providerId="AD" clId="Web-{AA4DA9D2-F95C-EE31-6980-1D5C00A8759B}" dt="2025-01-10T12:41:27.180" v="246"/>
        <pc:sldMkLst>
          <pc:docMk/>
          <pc:sldMk cId="1272119007" sldId="259"/>
        </pc:sldMkLst>
      </pc:sldChg>
      <pc:sldChg chg="addSp delSp modSp">
        <pc:chgData name="Aditi Roy" userId="S::aditi.roy@brillio.com::9b557acf-7f70-4e26-84cd-4d9f55f6478e" providerId="AD" clId="Web-{AA4DA9D2-F95C-EE31-6980-1D5C00A8759B}" dt="2025-01-10T12:42:08.212" v="252" actId="1076"/>
        <pc:sldMkLst>
          <pc:docMk/>
          <pc:sldMk cId="2384182653" sldId="265"/>
        </pc:sldMkLst>
      </pc:sldChg>
    </pc:docChg>
  </pc:docChgLst>
  <pc:docChgLst>
    <pc:chgData name="Devendra Singh" userId="e8b99d82-38e8-4433-b7ed-f866a8f85d3b" providerId="ADAL" clId="{5BABD51D-AFE9-45AD-B0FF-CB965BFB738E}"/>
    <pc:docChg chg="addSld modSld">
      <pc:chgData name="Devendra Singh" userId="e8b99d82-38e8-4433-b7ed-f866a8f85d3b" providerId="ADAL" clId="{5BABD51D-AFE9-45AD-B0FF-CB965BFB738E}" dt="2025-02-05T12:04:38.396" v="49" actId="1076"/>
      <pc:docMkLst>
        <pc:docMk/>
      </pc:docMkLst>
      <pc:sldChg chg="modSp add mod">
        <pc:chgData name="Devendra Singh" userId="e8b99d82-38e8-4433-b7ed-f866a8f85d3b" providerId="ADAL" clId="{5BABD51D-AFE9-45AD-B0FF-CB965BFB738E}" dt="2025-02-05T12:04:38.396" v="49" actId="1076"/>
        <pc:sldMkLst>
          <pc:docMk/>
          <pc:sldMk cId="3674961419" sldId="307"/>
        </pc:sldMkLst>
        <pc:spChg chg="mod">
          <ac:chgData name="Devendra Singh" userId="e8b99d82-38e8-4433-b7ed-f866a8f85d3b" providerId="ADAL" clId="{5BABD51D-AFE9-45AD-B0FF-CB965BFB738E}" dt="2025-02-05T12:04:31.186" v="48" actId="1076"/>
          <ac:spMkLst>
            <pc:docMk/>
            <pc:sldMk cId="3674961419" sldId="307"/>
            <ac:spMk id="36" creationId="{6F50CFB5-E215-3C30-81E5-CACEBF098FD5}"/>
          </ac:spMkLst>
        </pc:spChg>
        <pc:spChg chg="mod">
          <ac:chgData name="Devendra Singh" userId="e8b99d82-38e8-4433-b7ed-f866a8f85d3b" providerId="ADAL" clId="{5BABD51D-AFE9-45AD-B0FF-CB965BFB738E}" dt="2025-02-05T11:59:57.576" v="10" actId="20577"/>
          <ac:spMkLst>
            <pc:docMk/>
            <pc:sldMk cId="3674961419" sldId="307"/>
            <ac:spMk id="48" creationId="{D611E568-32AA-0685-0993-A83CA0A8BE42}"/>
          </ac:spMkLst>
        </pc:spChg>
        <pc:spChg chg="mod">
          <ac:chgData name="Devendra Singh" userId="e8b99d82-38e8-4433-b7ed-f866a8f85d3b" providerId="ADAL" clId="{5BABD51D-AFE9-45AD-B0FF-CB965BFB738E}" dt="2025-02-05T12:04:28.665" v="47" actId="1076"/>
          <ac:spMkLst>
            <pc:docMk/>
            <pc:sldMk cId="3674961419" sldId="307"/>
            <ac:spMk id="51" creationId="{AE5F7365-A013-6FC9-C8D0-3B3261F9810E}"/>
          </ac:spMkLst>
        </pc:spChg>
        <pc:spChg chg="mod">
          <ac:chgData name="Devendra Singh" userId="e8b99d82-38e8-4433-b7ed-f866a8f85d3b" providerId="ADAL" clId="{5BABD51D-AFE9-45AD-B0FF-CB965BFB738E}" dt="2025-02-05T11:59:27.294" v="9" actId="14100"/>
          <ac:spMkLst>
            <pc:docMk/>
            <pc:sldMk cId="3674961419" sldId="307"/>
            <ac:spMk id="52" creationId="{14CC511B-A4E2-03AE-58C9-D94BE8D5453C}"/>
          </ac:spMkLst>
        </pc:spChg>
        <pc:picChg chg="mod">
          <ac:chgData name="Devendra Singh" userId="e8b99d82-38e8-4433-b7ed-f866a8f85d3b" providerId="ADAL" clId="{5BABD51D-AFE9-45AD-B0FF-CB965BFB738E}" dt="2025-02-05T12:04:38.396" v="49" actId="1076"/>
          <ac:picMkLst>
            <pc:docMk/>
            <pc:sldMk cId="3674961419" sldId="307"/>
            <ac:picMk id="42" creationId="{3C942C7C-553F-05D4-69F2-F613C05A456C}"/>
          </ac:picMkLst>
        </pc:picChg>
      </pc:sldChg>
    </pc:docChg>
  </pc:docChgLst>
  <pc:docChgLst>
    <pc:chgData name="Aswani Chittilla" userId="S::aswani.chittilla@brillio.com::e4377af8-5c25-4d6d-97ff-a0a1ea235d6c" providerId="AD" clId="Web-{79AD68B3-438C-D4FA-CDDA-323D2AD9BD5D}"/>
    <pc:docChg chg="addSld modSld sldOrd">
      <pc:chgData name="Aswani Chittilla" userId="S::aswani.chittilla@brillio.com::e4377af8-5c25-4d6d-97ff-a0a1ea235d6c" providerId="AD" clId="Web-{79AD68B3-438C-D4FA-CDDA-323D2AD9BD5D}" dt="2025-01-13T07:33:55.255" v="70" actId="20577"/>
      <pc:docMkLst>
        <pc:docMk/>
      </pc:docMkLst>
      <pc:sldChg chg="modSp new">
        <pc:chgData name="Aswani Chittilla" userId="S::aswani.chittilla@brillio.com::e4377af8-5c25-4d6d-97ff-a0a1ea235d6c" providerId="AD" clId="Web-{79AD68B3-438C-D4FA-CDDA-323D2AD9BD5D}" dt="2025-01-13T07:33:39.224" v="55" actId="20577"/>
        <pc:sldMkLst>
          <pc:docMk/>
          <pc:sldMk cId="835719868" sldId="259"/>
        </pc:sldMkLst>
      </pc:sldChg>
      <pc:sldChg chg="modSp new">
        <pc:chgData name="Aswani Chittilla" userId="S::aswani.chittilla@brillio.com::e4377af8-5c25-4d6d-97ff-a0a1ea235d6c" providerId="AD" clId="Web-{79AD68B3-438C-D4FA-CDDA-323D2AD9BD5D}" dt="2025-01-13T07:33:55.255" v="70" actId="20577"/>
        <pc:sldMkLst>
          <pc:docMk/>
          <pc:sldMk cId="3659709379" sldId="260"/>
        </pc:sldMkLst>
      </pc:sldChg>
      <pc:sldChg chg="modSp">
        <pc:chgData name="Aswani Chittilla" userId="S::aswani.chittilla@brillio.com::e4377af8-5c25-4d6d-97ff-a0a1ea235d6c" providerId="AD" clId="Web-{79AD68B3-438C-D4FA-CDDA-323D2AD9BD5D}" dt="2025-01-13T07:30:55.597" v="32"/>
        <pc:sldMkLst>
          <pc:docMk/>
          <pc:sldMk cId="3384076873" sldId="267"/>
        </pc:sldMkLst>
      </pc:sldChg>
      <pc:sldChg chg="modSp">
        <pc:chgData name="Aswani Chittilla" userId="S::aswani.chittilla@brillio.com::e4377af8-5c25-4d6d-97ff-a0a1ea235d6c" providerId="AD" clId="Web-{79AD68B3-438C-D4FA-CDDA-323D2AD9BD5D}" dt="2025-01-13T07:26:05.766" v="0" actId="1076"/>
        <pc:sldMkLst>
          <pc:docMk/>
          <pc:sldMk cId="861753099" sldId="2147470479"/>
        </pc:sldMkLst>
      </pc:sldChg>
      <pc:sldChg chg="ord">
        <pc:chgData name="Aswani Chittilla" userId="S::aswani.chittilla@brillio.com::e4377af8-5c25-4d6d-97ff-a0a1ea235d6c" providerId="AD" clId="Web-{79AD68B3-438C-D4FA-CDDA-323D2AD9BD5D}" dt="2025-01-13T07:31:54.441" v="33"/>
        <pc:sldMkLst>
          <pc:docMk/>
          <pc:sldMk cId="3603046698" sldId="2147483644"/>
        </pc:sldMkLst>
      </pc:sldChg>
    </pc:docChg>
  </pc:docChgLst>
  <pc:docChgLst>
    <pc:chgData name="Rajavelu Vijaykumar" userId="58a321eb-bc8c-448d-87a5-748a932387ee" providerId="ADAL" clId="{4BE6CD10-E066-42B5-8375-A5A829935E93}"/>
    <pc:docChg chg="modSld">
      <pc:chgData name="Rajavelu Vijaykumar" userId="58a321eb-bc8c-448d-87a5-748a932387ee" providerId="ADAL" clId="{4BE6CD10-E066-42B5-8375-A5A829935E93}" dt="2025-01-21T09:02:31.575" v="0" actId="20577"/>
      <pc:docMkLst>
        <pc:docMk/>
      </pc:docMkLst>
      <pc:sldChg chg="modSp mod">
        <pc:chgData name="Rajavelu Vijaykumar" userId="58a321eb-bc8c-448d-87a5-748a932387ee" providerId="ADAL" clId="{4BE6CD10-E066-42B5-8375-A5A829935E93}" dt="2025-01-21T09:02:31.575" v="0" actId="20577"/>
        <pc:sldMkLst>
          <pc:docMk/>
          <pc:sldMk cId="205159607" sldId="258"/>
        </pc:sldMkLst>
      </pc:sldChg>
    </pc:docChg>
  </pc:docChgLst>
  <pc:docChgLst>
    <pc:chgData name="Aswani Chittilla" userId="S::aswani.chittilla@brillio.com::e4377af8-5c25-4d6d-97ff-a0a1ea235d6c" providerId="AD" clId="Web-{ED5A30F6-AC2B-8A74-2E4B-5ED8555B0862}"/>
    <pc:docChg chg="modSld">
      <pc:chgData name="Aswani Chittilla" userId="S::aswani.chittilla@brillio.com::e4377af8-5c25-4d6d-97ff-a0a1ea235d6c" providerId="AD" clId="Web-{ED5A30F6-AC2B-8A74-2E4B-5ED8555B0862}" dt="2025-01-13T11:04:14.814" v="14" actId="14100"/>
      <pc:docMkLst>
        <pc:docMk/>
      </pc:docMkLst>
      <pc:sldChg chg="modSp">
        <pc:chgData name="Aswani Chittilla" userId="S::aswani.chittilla@brillio.com::e4377af8-5c25-4d6d-97ff-a0a1ea235d6c" providerId="AD" clId="Web-{ED5A30F6-AC2B-8A74-2E4B-5ED8555B0862}" dt="2025-01-13T10:52:23.792" v="13" actId="20577"/>
        <pc:sldMkLst>
          <pc:docMk/>
          <pc:sldMk cId="3384076873" sldId="267"/>
        </pc:sldMkLst>
      </pc:sldChg>
      <pc:sldChg chg="modSp">
        <pc:chgData name="Aswani Chittilla" userId="S::aswani.chittilla@brillio.com::e4377af8-5c25-4d6d-97ff-a0a1ea235d6c" providerId="AD" clId="Web-{ED5A30F6-AC2B-8A74-2E4B-5ED8555B0862}" dt="2025-01-13T11:04:14.814" v="14" actId="14100"/>
        <pc:sldMkLst>
          <pc:docMk/>
          <pc:sldMk cId="617956213" sldId="2147482401"/>
        </pc:sldMkLst>
      </pc:sldChg>
    </pc:docChg>
  </pc:docChgLst>
  <pc:docChgLst>
    <pc:chgData name="Abhijith Shastry" userId="S::abhijith.shastry@brillio.com::539567d6-5baa-4651-be60-b3cf18d64dc2" providerId="AD" clId="Web-{58A00814-C9AB-375E-EB2B-C9AB87520016}"/>
    <pc:docChg chg="modSld">
      <pc:chgData name="Abhijith Shastry" userId="S::abhijith.shastry@brillio.com::539567d6-5baa-4651-be60-b3cf18d64dc2" providerId="AD" clId="Web-{58A00814-C9AB-375E-EB2B-C9AB87520016}" dt="2025-01-10T14:14:14.663" v="718" actId="1076"/>
      <pc:docMkLst>
        <pc:docMk/>
      </pc:docMkLst>
      <pc:sldChg chg="addSp delSp modSp">
        <pc:chgData name="Abhijith Shastry" userId="S::abhijith.shastry@brillio.com::539567d6-5baa-4651-be60-b3cf18d64dc2" providerId="AD" clId="Web-{58A00814-C9AB-375E-EB2B-C9AB87520016}" dt="2025-01-10T14:11:30.563" v="691" actId="20577"/>
        <pc:sldMkLst>
          <pc:docMk/>
          <pc:sldMk cId="2378481855" sldId="257"/>
        </pc:sldMkLst>
      </pc:sldChg>
      <pc:sldChg chg="modSp">
        <pc:chgData name="Abhijith Shastry" userId="S::abhijith.shastry@brillio.com::539567d6-5baa-4651-be60-b3cf18d64dc2" providerId="AD" clId="Web-{58A00814-C9AB-375E-EB2B-C9AB87520016}" dt="2025-01-10T14:14:14.663" v="718" actId="1076"/>
        <pc:sldMkLst>
          <pc:docMk/>
          <pc:sldMk cId="861753099" sldId="2147470479"/>
        </pc:sldMkLst>
      </pc:sldChg>
      <pc:sldChg chg="modSp">
        <pc:chgData name="Abhijith Shastry" userId="S::abhijith.shastry@brillio.com::539567d6-5baa-4651-be60-b3cf18d64dc2" providerId="AD" clId="Web-{58A00814-C9AB-375E-EB2B-C9AB87520016}" dt="2025-01-10T14:07:32.460" v="434" actId="20577"/>
        <pc:sldMkLst>
          <pc:docMk/>
          <pc:sldMk cId="333910394" sldId="2147483582"/>
        </pc:sldMkLst>
      </pc:sldChg>
    </pc:docChg>
  </pc:docChgLst>
  <pc:docChgLst>
    <pc:chgData name="Devendra Singh" userId="e8b99d82-38e8-4433-b7ed-f866a8f85d3b" providerId="ADAL" clId="{6B1AF800-1CE3-4436-B8F3-F9AE23693627}"/>
    <pc:docChg chg="custSel addSld delSld modSld sldOrd">
      <pc:chgData name="Devendra Singh" userId="e8b99d82-38e8-4433-b7ed-f866a8f85d3b" providerId="ADAL" clId="{6B1AF800-1CE3-4436-B8F3-F9AE23693627}" dt="2025-01-20T13:27:54.879" v="484" actId="20577"/>
      <pc:docMkLst>
        <pc:docMk/>
      </pc:docMkLst>
      <pc:sldChg chg="modSp mod">
        <pc:chgData name="Devendra Singh" userId="e8b99d82-38e8-4433-b7ed-f866a8f85d3b" providerId="ADAL" clId="{6B1AF800-1CE3-4436-B8F3-F9AE23693627}" dt="2025-01-13T13:59:18.108" v="254" actId="108"/>
        <pc:sldMkLst>
          <pc:docMk/>
          <pc:sldMk cId="2378481855" sldId="257"/>
        </pc:sldMkLst>
      </pc:sldChg>
      <pc:sldChg chg="modSp mod">
        <pc:chgData name="Devendra Singh" userId="e8b99d82-38e8-4433-b7ed-f866a8f85d3b" providerId="ADAL" clId="{6B1AF800-1CE3-4436-B8F3-F9AE23693627}" dt="2025-01-13T13:53:47.408" v="243" actId="6549"/>
        <pc:sldMkLst>
          <pc:docMk/>
          <pc:sldMk cId="2324598690" sldId="259"/>
        </pc:sldMkLst>
      </pc:sldChg>
      <pc:sldChg chg="modSp mod">
        <pc:chgData name="Devendra Singh" userId="e8b99d82-38e8-4433-b7ed-f866a8f85d3b" providerId="ADAL" clId="{6B1AF800-1CE3-4436-B8F3-F9AE23693627}" dt="2025-01-20T13:27:54.879" v="484" actId="20577"/>
        <pc:sldMkLst>
          <pc:docMk/>
          <pc:sldMk cId="3112683689" sldId="262"/>
        </pc:sldMkLst>
        <pc:spChg chg="mod">
          <ac:chgData name="Devendra Singh" userId="e8b99d82-38e8-4433-b7ed-f866a8f85d3b" providerId="ADAL" clId="{6B1AF800-1CE3-4436-B8F3-F9AE23693627}" dt="2025-01-20T13:27:54.879" v="484" actId="20577"/>
          <ac:spMkLst>
            <pc:docMk/>
            <pc:sldMk cId="3112683689" sldId="262"/>
            <ac:spMk id="3" creationId="{6FAF2BE4-9C90-C04B-5F78-BBBDE63578DE}"/>
          </ac:spMkLst>
        </pc:spChg>
      </pc:sldChg>
      <pc:sldChg chg="add">
        <pc:chgData name="Devendra Singh" userId="e8b99d82-38e8-4433-b7ed-f866a8f85d3b" providerId="ADAL" clId="{6B1AF800-1CE3-4436-B8F3-F9AE23693627}" dt="2025-01-20T09:16:28.418" v="255"/>
        <pc:sldMkLst>
          <pc:docMk/>
          <pc:sldMk cId="3369272554" sldId="267"/>
        </pc:sldMkLst>
      </pc:sldChg>
      <pc:sldChg chg="add">
        <pc:chgData name="Devendra Singh" userId="e8b99d82-38e8-4433-b7ed-f866a8f85d3b" providerId="ADAL" clId="{6B1AF800-1CE3-4436-B8F3-F9AE23693627}" dt="2025-01-20T09:16:28.418" v="255"/>
        <pc:sldMkLst>
          <pc:docMk/>
          <pc:sldMk cId="641021063" sldId="280"/>
        </pc:sldMkLst>
      </pc:sldChg>
      <pc:sldChg chg="add">
        <pc:chgData name="Devendra Singh" userId="e8b99d82-38e8-4433-b7ed-f866a8f85d3b" providerId="ADAL" clId="{6B1AF800-1CE3-4436-B8F3-F9AE23693627}" dt="2025-01-20T09:16:28.418" v="255"/>
        <pc:sldMkLst>
          <pc:docMk/>
          <pc:sldMk cId="4231622753" sldId="284"/>
        </pc:sldMkLst>
      </pc:sldChg>
      <pc:sldChg chg="add del">
        <pc:chgData name="Devendra Singh" userId="e8b99d82-38e8-4433-b7ed-f866a8f85d3b" providerId="ADAL" clId="{6B1AF800-1CE3-4436-B8F3-F9AE23693627}" dt="2025-01-20T09:23:32.423" v="257"/>
        <pc:sldMkLst>
          <pc:docMk/>
          <pc:sldMk cId="787590280" sldId="287"/>
        </pc:sldMkLst>
      </pc:sldChg>
      <pc:sldChg chg="add ord">
        <pc:chgData name="Devendra Singh" userId="e8b99d82-38e8-4433-b7ed-f866a8f85d3b" providerId="ADAL" clId="{6B1AF800-1CE3-4436-B8F3-F9AE23693627}" dt="2025-01-20T09:23:54.772" v="260"/>
        <pc:sldMkLst>
          <pc:docMk/>
          <pc:sldMk cId="2136553998" sldId="287"/>
        </pc:sldMkLst>
      </pc:sldChg>
    </pc:docChg>
  </pc:docChgLst>
  <pc:docChgLst>
    <pc:chgData name="Aditi Roy" userId="S::aditi.roy@brillio.com::9b557acf-7f70-4e26-84cd-4d9f55f6478e" providerId="AD" clId="Web-{98BC0A34-E092-F8DB-D7E9-84A5844BC3A2}"/>
    <pc:docChg chg="modSld">
      <pc:chgData name="Aditi Roy" userId="S::aditi.roy@brillio.com::9b557acf-7f70-4e26-84cd-4d9f55f6478e" providerId="AD" clId="Web-{98BC0A34-E092-F8DB-D7E9-84A5844BC3A2}" dt="2025-01-13T11:36:10.153" v="5" actId="20577"/>
      <pc:docMkLst>
        <pc:docMk/>
      </pc:docMkLst>
      <pc:sldChg chg="modSp">
        <pc:chgData name="Aditi Roy" userId="S::aditi.roy@brillio.com::9b557acf-7f70-4e26-84cd-4d9f55f6478e" providerId="AD" clId="Web-{98BC0A34-E092-F8DB-D7E9-84A5844BC3A2}" dt="2025-01-13T11:35:39.918" v="1" actId="20577"/>
        <pc:sldMkLst>
          <pc:docMk/>
          <pc:sldMk cId="2384182653" sldId="265"/>
        </pc:sldMkLst>
      </pc:sldChg>
      <pc:sldChg chg="modSp">
        <pc:chgData name="Aditi Roy" userId="S::aditi.roy@brillio.com::9b557acf-7f70-4e26-84cd-4d9f55f6478e" providerId="AD" clId="Web-{98BC0A34-E092-F8DB-D7E9-84A5844BC3A2}" dt="2025-01-13T11:35:52.825" v="2" actId="20577"/>
        <pc:sldMkLst>
          <pc:docMk/>
          <pc:sldMk cId="3816778254" sldId="2147483645"/>
        </pc:sldMkLst>
      </pc:sldChg>
      <pc:sldChg chg="modSp">
        <pc:chgData name="Aditi Roy" userId="S::aditi.roy@brillio.com::9b557acf-7f70-4e26-84cd-4d9f55f6478e" providerId="AD" clId="Web-{98BC0A34-E092-F8DB-D7E9-84A5844BC3A2}" dt="2025-01-13T11:36:10.153" v="5" actId="20577"/>
        <pc:sldMkLst>
          <pc:docMk/>
          <pc:sldMk cId="3043737274" sldId="2147483647"/>
        </pc:sldMkLst>
      </pc:sldChg>
    </pc:docChg>
  </pc:docChgLst>
  <pc:docChgLst>
    <pc:chgData name="Adwait Aralkar" userId="S::adwait.aralkar@brillio.com::ae1719c1-ed02-42aa-a1d9-0d6e6247f692" providerId="AD" clId="Web-{2CD542D9-1F03-4F88-B030-9881AB5EBFA1}"/>
    <pc:docChg chg="mod">
      <pc:chgData name="Adwait Aralkar" userId="S::adwait.aralkar@brillio.com::ae1719c1-ed02-42aa-a1d9-0d6e6247f692" providerId="AD" clId="Web-{2CD542D9-1F03-4F88-B030-9881AB5EBFA1}" dt="2024-12-10T05:25:13.594" v="0" actId="33475"/>
      <pc:docMkLst>
        <pc:docMk/>
      </pc:docMkLst>
    </pc:docChg>
  </pc:docChgLst>
  <pc:docChgLst>
    <pc:chgData name="Jon Bennett" userId="f08bf36d-aba7-40c1-b6fc-baa856c3acbf" providerId="ADAL" clId="{67D2DEB9-F965-4A39-A1EF-0F52F6B40E04}"/>
    <pc:docChg chg="custSel addSld delSld modSld sldOrd modMainMaster">
      <pc:chgData name="Jon Bennett" userId="f08bf36d-aba7-40c1-b6fc-baa856c3acbf" providerId="ADAL" clId="{67D2DEB9-F965-4A39-A1EF-0F52F6B40E04}" dt="2025-01-21T08:29:12.531" v="1535" actId="20577"/>
      <pc:docMkLst>
        <pc:docMk/>
      </pc:docMkLst>
      <pc:sldChg chg="modSp mod">
        <pc:chgData name="Jon Bennett" userId="f08bf36d-aba7-40c1-b6fc-baa856c3acbf" providerId="ADAL" clId="{67D2DEB9-F965-4A39-A1EF-0F52F6B40E04}" dt="2025-01-20T12:56:22.489" v="776" actId="1076"/>
        <pc:sldMkLst>
          <pc:docMk/>
          <pc:sldMk cId="3021614010" sldId="256"/>
        </pc:sldMkLst>
        <pc:spChg chg="mod">
          <ac:chgData name="Jon Bennett" userId="f08bf36d-aba7-40c1-b6fc-baa856c3acbf" providerId="ADAL" clId="{67D2DEB9-F965-4A39-A1EF-0F52F6B40E04}" dt="2025-01-20T12:56:12.009" v="775" actId="20577"/>
          <ac:spMkLst>
            <pc:docMk/>
            <pc:sldMk cId="3021614010" sldId="256"/>
            <ac:spMk id="2" creationId="{80D5B04A-696D-6B2F-DA4E-692E9D5F6D2D}"/>
          </ac:spMkLst>
        </pc:spChg>
        <pc:spChg chg="mod">
          <ac:chgData name="Jon Bennett" userId="f08bf36d-aba7-40c1-b6fc-baa856c3acbf" providerId="ADAL" clId="{67D2DEB9-F965-4A39-A1EF-0F52F6B40E04}" dt="2025-01-20T12:56:22.489" v="776" actId="1076"/>
          <ac:spMkLst>
            <pc:docMk/>
            <pc:sldMk cId="3021614010" sldId="256"/>
            <ac:spMk id="40" creationId="{E6815547-5BB3-1F5F-A50C-7D0ED6052299}"/>
          </ac:spMkLst>
        </pc:spChg>
      </pc:sldChg>
      <pc:sldChg chg="modSp mod ord">
        <pc:chgData name="Jon Bennett" userId="f08bf36d-aba7-40c1-b6fc-baa856c3acbf" providerId="ADAL" clId="{67D2DEB9-F965-4A39-A1EF-0F52F6B40E04}" dt="2025-01-17T13:47:21.205" v="605"/>
        <pc:sldMkLst>
          <pc:docMk/>
          <pc:sldMk cId="508278704" sldId="257"/>
        </pc:sldMkLst>
        <pc:spChg chg="mod">
          <ac:chgData name="Jon Bennett" userId="f08bf36d-aba7-40c1-b6fc-baa856c3acbf" providerId="ADAL" clId="{67D2DEB9-F965-4A39-A1EF-0F52F6B40E04}" dt="2025-01-17T13:46:35.567" v="603" actId="113"/>
          <ac:spMkLst>
            <pc:docMk/>
            <pc:sldMk cId="508278704" sldId="257"/>
            <ac:spMk id="3" creationId="{6FAF2BE4-9C90-C04B-5F78-BBBDE63578DE}"/>
          </ac:spMkLst>
        </pc:spChg>
      </pc:sldChg>
      <pc:sldChg chg="addSp modSp mod ord">
        <pc:chgData name="Jon Bennett" userId="f08bf36d-aba7-40c1-b6fc-baa856c3acbf" providerId="ADAL" clId="{67D2DEB9-F965-4A39-A1EF-0F52F6B40E04}" dt="2025-01-09T09:42:56.951" v="14" actId="404"/>
        <pc:sldMkLst>
          <pc:docMk/>
          <pc:sldMk cId="992006725" sldId="258"/>
        </pc:sldMkLst>
      </pc:sldChg>
      <pc:sldChg chg="modSp mod">
        <pc:chgData name="Jon Bennett" userId="f08bf36d-aba7-40c1-b6fc-baa856c3acbf" providerId="ADAL" clId="{67D2DEB9-F965-4A39-A1EF-0F52F6B40E04}" dt="2025-01-20T13:25:16.657" v="819" actId="20577"/>
        <pc:sldMkLst>
          <pc:docMk/>
          <pc:sldMk cId="3438439602" sldId="261"/>
        </pc:sldMkLst>
        <pc:spChg chg="mod">
          <ac:chgData name="Jon Bennett" userId="f08bf36d-aba7-40c1-b6fc-baa856c3acbf" providerId="ADAL" clId="{67D2DEB9-F965-4A39-A1EF-0F52F6B40E04}" dt="2025-01-20T13:25:16.657" v="819" actId="20577"/>
          <ac:spMkLst>
            <pc:docMk/>
            <pc:sldMk cId="3438439602" sldId="261"/>
            <ac:spMk id="19" creationId="{5EF01094-171F-A251-08EB-ADF4056E0AC4}"/>
          </ac:spMkLst>
        </pc:spChg>
      </pc:sldChg>
      <pc:sldChg chg="ord">
        <pc:chgData name="Jon Bennett" userId="f08bf36d-aba7-40c1-b6fc-baa856c3acbf" providerId="ADAL" clId="{67D2DEB9-F965-4A39-A1EF-0F52F6B40E04}" dt="2025-01-17T13:47:21.205" v="605"/>
        <pc:sldMkLst>
          <pc:docMk/>
          <pc:sldMk cId="3112683689" sldId="262"/>
        </pc:sldMkLst>
      </pc:sldChg>
      <pc:sldChg chg="modSp add mod">
        <pc:chgData name="Jon Bennett" userId="f08bf36d-aba7-40c1-b6fc-baa856c3acbf" providerId="ADAL" clId="{67D2DEB9-F965-4A39-A1EF-0F52F6B40E04}" dt="2025-01-09T09:43:11.383" v="17" actId="20577"/>
        <pc:sldMkLst>
          <pc:docMk/>
          <pc:sldMk cId="3257369342" sldId="264"/>
        </pc:sldMkLst>
      </pc:sldChg>
      <pc:sldChg chg="ord">
        <pc:chgData name="Jon Bennett" userId="f08bf36d-aba7-40c1-b6fc-baa856c3acbf" providerId="ADAL" clId="{67D2DEB9-F965-4A39-A1EF-0F52F6B40E04}" dt="2025-01-20T13:24:13.327" v="807"/>
        <pc:sldMkLst>
          <pc:docMk/>
          <pc:sldMk cId="4115846931" sldId="264"/>
        </pc:sldMkLst>
      </pc:sldChg>
      <pc:sldChg chg="addSp modSp new mod">
        <pc:chgData name="Jon Bennett" userId="f08bf36d-aba7-40c1-b6fc-baa856c3acbf" providerId="ADAL" clId="{67D2DEB9-F965-4A39-A1EF-0F52F6B40E04}" dt="2025-01-09T09:43:38.120" v="26" actId="20577"/>
        <pc:sldMkLst>
          <pc:docMk/>
          <pc:sldMk cId="2384182653" sldId="265"/>
        </pc:sldMkLst>
      </pc:sldChg>
      <pc:sldChg chg="addSp delSp modSp mod">
        <pc:chgData name="Jon Bennett" userId="f08bf36d-aba7-40c1-b6fc-baa856c3acbf" providerId="ADAL" clId="{67D2DEB9-F965-4A39-A1EF-0F52F6B40E04}" dt="2025-01-20T13:45:51.136" v="1140" actId="478"/>
        <pc:sldMkLst>
          <pc:docMk/>
          <pc:sldMk cId="1138799537" sldId="268"/>
        </pc:sldMkLst>
        <pc:spChg chg="mod">
          <ac:chgData name="Jon Bennett" userId="f08bf36d-aba7-40c1-b6fc-baa856c3acbf" providerId="ADAL" clId="{67D2DEB9-F965-4A39-A1EF-0F52F6B40E04}" dt="2025-01-16T17:30:37.687" v="601" actId="1076"/>
          <ac:spMkLst>
            <pc:docMk/>
            <pc:sldMk cId="1138799537" sldId="268"/>
            <ac:spMk id="4" creationId="{425D13EB-AF29-995E-291F-764659BFDAED}"/>
          </ac:spMkLst>
        </pc:spChg>
        <pc:spChg chg="mod ord">
          <ac:chgData name="Jon Bennett" userId="f08bf36d-aba7-40c1-b6fc-baa856c3acbf" providerId="ADAL" clId="{67D2DEB9-F965-4A39-A1EF-0F52F6B40E04}" dt="2025-01-16T17:30:15.587" v="600" actId="207"/>
          <ac:spMkLst>
            <pc:docMk/>
            <pc:sldMk cId="1138799537" sldId="268"/>
            <ac:spMk id="6" creationId="{F060ADAB-CD4A-8CEA-757F-7F6DBF99384A}"/>
          </ac:spMkLst>
        </pc:spChg>
        <pc:spChg chg="mod">
          <ac:chgData name="Jon Bennett" userId="f08bf36d-aba7-40c1-b6fc-baa856c3acbf" providerId="ADAL" clId="{67D2DEB9-F965-4A39-A1EF-0F52F6B40E04}" dt="2025-01-16T17:29:45.419" v="546" actId="6549"/>
          <ac:spMkLst>
            <pc:docMk/>
            <pc:sldMk cId="1138799537" sldId="268"/>
            <ac:spMk id="7" creationId="{8EA0F6D5-1C51-D87C-348B-4E867EBC16B7}"/>
          </ac:spMkLst>
        </pc:spChg>
        <pc:spChg chg="mod">
          <ac:chgData name="Jon Bennett" userId="f08bf36d-aba7-40c1-b6fc-baa856c3acbf" providerId="ADAL" clId="{67D2DEB9-F965-4A39-A1EF-0F52F6B40E04}" dt="2025-01-16T17:30:43.278" v="602" actId="1076"/>
          <ac:spMkLst>
            <pc:docMk/>
            <pc:sldMk cId="1138799537" sldId="268"/>
            <ac:spMk id="9" creationId="{8F81A225-F662-8161-05B6-3F76CC1B0827}"/>
          </ac:spMkLst>
        </pc:spChg>
        <pc:spChg chg="mod">
          <ac:chgData name="Jon Bennett" userId="f08bf36d-aba7-40c1-b6fc-baa856c3acbf" providerId="ADAL" clId="{67D2DEB9-F965-4A39-A1EF-0F52F6B40E04}" dt="2025-01-16T17:25:09.557" v="187" actId="948"/>
          <ac:spMkLst>
            <pc:docMk/>
            <pc:sldMk cId="1138799537" sldId="268"/>
            <ac:spMk id="10" creationId="{57F68571-AC73-3F38-89AC-3CA6E09F4091}"/>
          </ac:spMkLst>
        </pc:spChg>
        <pc:spChg chg="mod">
          <ac:chgData name="Jon Bennett" userId="f08bf36d-aba7-40c1-b6fc-baa856c3acbf" providerId="ADAL" clId="{67D2DEB9-F965-4A39-A1EF-0F52F6B40E04}" dt="2025-01-16T17:24:24.212" v="182" actId="20577"/>
          <ac:spMkLst>
            <pc:docMk/>
            <pc:sldMk cId="1138799537" sldId="268"/>
            <ac:spMk id="11" creationId="{9A7FF3D1-B018-D206-6654-47315FDD97C1}"/>
          </ac:spMkLst>
        </pc:spChg>
        <pc:spChg chg="add mod">
          <ac:chgData name="Jon Bennett" userId="f08bf36d-aba7-40c1-b6fc-baa856c3acbf" providerId="ADAL" clId="{67D2DEB9-F965-4A39-A1EF-0F52F6B40E04}" dt="2025-01-16T17:26:03.208" v="196" actId="14100"/>
          <ac:spMkLst>
            <pc:docMk/>
            <pc:sldMk cId="1138799537" sldId="268"/>
            <ac:spMk id="12" creationId="{787CA5FC-BF31-9C8A-31BB-1E79D588B5B1}"/>
          </ac:spMkLst>
        </pc:spChg>
      </pc:sldChg>
      <pc:sldChg chg="addSp delSp modSp mod">
        <pc:chgData name="Jon Bennett" userId="f08bf36d-aba7-40c1-b6fc-baa856c3acbf" providerId="ADAL" clId="{67D2DEB9-F965-4A39-A1EF-0F52F6B40E04}" dt="2025-01-21T08:26:44.473" v="1528" actId="1076"/>
        <pc:sldMkLst>
          <pc:docMk/>
          <pc:sldMk cId="2370674296" sldId="270"/>
        </pc:sldMkLst>
        <pc:spChg chg="add mod">
          <ac:chgData name="Jon Bennett" userId="f08bf36d-aba7-40c1-b6fc-baa856c3acbf" providerId="ADAL" clId="{67D2DEB9-F965-4A39-A1EF-0F52F6B40E04}" dt="2025-01-21T08:25:59.900" v="1517" actId="14100"/>
          <ac:spMkLst>
            <pc:docMk/>
            <pc:sldMk cId="2370674296" sldId="270"/>
            <ac:spMk id="3" creationId="{9BC29C6B-FF76-A2BB-0CF3-ACF9CCC3C294}"/>
          </ac:spMkLst>
        </pc:spChg>
        <pc:spChg chg="add mod">
          <ac:chgData name="Jon Bennett" userId="f08bf36d-aba7-40c1-b6fc-baa856c3acbf" providerId="ADAL" clId="{67D2DEB9-F965-4A39-A1EF-0F52F6B40E04}" dt="2025-01-21T08:26:41.052" v="1527" actId="14100"/>
          <ac:spMkLst>
            <pc:docMk/>
            <pc:sldMk cId="2370674296" sldId="270"/>
            <ac:spMk id="5" creationId="{5F3B5A13-EF5C-C7FC-DED1-47B25B39950D}"/>
          </ac:spMkLst>
        </pc:spChg>
        <pc:spChg chg="mod">
          <ac:chgData name="Jon Bennett" userId="f08bf36d-aba7-40c1-b6fc-baa856c3acbf" providerId="ADAL" clId="{67D2DEB9-F965-4A39-A1EF-0F52F6B40E04}" dt="2025-01-20T13:25:27.308" v="830" actId="20577"/>
          <ac:spMkLst>
            <pc:docMk/>
            <pc:sldMk cId="2370674296" sldId="270"/>
            <ac:spMk id="18" creationId="{FBCE832A-5E69-5CA4-02FD-D90EB48A7FB2}"/>
          </ac:spMkLst>
        </pc:spChg>
        <pc:picChg chg="add mod">
          <ac:chgData name="Jon Bennett" userId="f08bf36d-aba7-40c1-b6fc-baa856c3acbf" providerId="ADAL" clId="{67D2DEB9-F965-4A39-A1EF-0F52F6B40E04}" dt="2025-01-21T08:26:44.473" v="1528" actId="1076"/>
          <ac:picMkLst>
            <pc:docMk/>
            <pc:sldMk cId="2370674296" sldId="270"/>
            <ac:picMk id="6" creationId="{07B9A6E4-5937-87F6-C931-EDBF17540E42}"/>
          </ac:picMkLst>
        </pc:picChg>
        <pc:picChg chg="add mod">
          <ac:chgData name="Jon Bennett" userId="f08bf36d-aba7-40c1-b6fc-baa856c3acbf" providerId="ADAL" clId="{67D2DEB9-F965-4A39-A1EF-0F52F6B40E04}" dt="2025-01-21T08:26:44.473" v="1528" actId="1076"/>
          <ac:picMkLst>
            <pc:docMk/>
            <pc:sldMk cId="2370674296" sldId="270"/>
            <ac:picMk id="7" creationId="{FFD959EE-E727-99A1-40FC-604A59B67D30}"/>
          </ac:picMkLst>
        </pc:picChg>
      </pc:sldChg>
      <pc:sldChg chg="del">
        <pc:chgData name="Jon Bennett" userId="f08bf36d-aba7-40c1-b6fc-baa856c3acbf" providerId="ADAL" clId="{67D2DEB9-F965-4A39-A1EF-0F52F6B40E04}" dt="2025-01-20T12:49:20.542" v="670" actId="47"/>
        <pc:sldMkLst>
          <pc:docMk/>
          <pc:sldMk cId="2784011318" sldId="270"/>
        </pc:sldMkLst>
      </pc:sldChg>
      <pc:sldChg chg="modSp mod">
        <pc:chgData name="Jon Bennett" userId="f08bf36d-aba7-40c1-b6fc-baa856c3acbf" providerId="ADAL" clId="{67D2DEB9-F965-4A39-A1EF-0F52F6B40E04}" dt="2025-01-20T12:45:59.131" v="650" actId="6549"/>
        <pc:sldMkLst>
          <pc:docMk/>
          <pc:sldMk cId="3853684040" sldId="273"/>
        </pc:sldMkLst>
      </pc:sldChg>
      <pc:sldChg chg="addSp delSp modSp mod">
        <pc:chgData name="Jon Bennett" userId="f08bf36d-aba7-40c1-b6fc-baa856c3acbf" providerId="ADAL" clId="{67D2DEB9-F965-4A39-A1EF-0F52F6B40E04}" dt="2025-01-20T13:45:48.668" v="1139" actId="478"/>
        <pc:sldMkLst>
          <pc:docMk/>
          <pc:sldMk cId="2453782732" sldId="283"/>
        </pc:sldMkLst>
      </pc:sldChg>
      <pc:sldChg chg="delSp mod">
        <pc:chgData name="Jon Bennett" userId="f08bf36d-aba7-40c1-b6fc-baa856c3acbf" providerId="ADAL" clId="{67D2DEB9-F965-4A39-A1EF-0F52F6B40E04}" dt="2025-01-20T13:13:55.907" v="778" actId="478"/>
        <pc:sldMkLst>
          <pc:docMk/>
          <pc:sldMk cId="2161039759" sldId="286"/>
        </pc:sldMkLst>
      </pc:sldChg>
      <pc:sldChg chg="modSp mod">
        <pc:chgData name="Jon Bennett" userId="f08bf36d-aba7-40c1-b6fc-baa856c3acbf" providerId="ADAL" clId="{67D2DEB9-F965-4A39-A1EF-0F52F6B40E04}" dt="2025-01-20T13:44:54.712" v="1138" actId="1076"/>
        <pc:sldMkLst>
          <pc:docMk/>
          <pc:sldMk cId="1655463585" sldId="287"/>
        </pc:sldMkLst>
        <pc:spChg chg="mod">
          <ac:chgData name="Jon Bennett" userId="f08bf36d-aba7-40c1-b6fc-baa856c3acbf" providerId="ADAL" clId="{67D2DEB9-F965-4A39-A1EF-0F52F6B40E04}" dt="2025-01-20T13:44:54.712" v="1138" actId="1076"/>
          <ac:spMkLst>
            <pc:docMk/>
            <pc:sldMk cId="1655463585" sldId="287"/>
            <ac:spMk id="3" creationId="{E6AE6852-5A19-41E0-16BF-28D2F08F08AF}"/>
          </ac:spMkLst>
        </pc:spChg>
      </pc:sldChg>
      <pc:sldChg chg="modSp mod">
        <pc:chgData name="Jon Bennett" userId="f08bf36d-aba7-40c1-b6fc-baa856c3acbf" providerId="ADAL" clId="{67D2DEB9-F965-4A39-A1EF-0F52F6B40E04}" dt="2025-01-21T08:29:12.531" v="1535" actId="20577"/>
        <pc:sldMkLst>
          <pc:docMk/>
          <pc:sldMk cId="3973081514" sldId="290"/>
        </pc:sldMkLst>
        <pc:spChg chg="mod">
          <ac:chgData name="Jon Bennett" userId="f08bf36d-aba7-40c1-b6fc-baa856c3acbf" providerId="ADAL" clId="{67D2DEB9-F965-4A39-A1EF-0F52F6B40E04}" dt="2025-01-21T08:29:12.531" v="1535" actId="20577"/>
          <ac:spMkLst>
            <pc:docMk/>
            <pc:sldMk cId="3973081514" sldId="290"/>
            <ac:spMk id="29" creationId="{3681457B-78AC-7869-FB8C-88D8BB1B0740}"/>
          </ac:spMkLst>
        </pc:spChg>
      </pc:sldChg>
      <pc:sldChg chg="modSp mod">
        <pc:chgData name="Jon Bennett" userId="f08bf36d-aba7-40c1-b6fc-baa856c3acbf" providerId="ADAL" clId="{67D2DEB9-F965-4A39-A1EF-0F52F6B40E04}" dt="2025-01-20T12:44:02.369" v="614" actId="20577"/>
        <pc:sldMkLst>
          <pc:docMk/>
          <pc:sldMk cId="1973319100" sldId="304"/>
        </pc:sldMkLst>
        <pc:spChg chg="mod">
          <ac:chgData name="Jon Bennett" userId="f08bf36d-aba7-40c1-b6fc-baa856c3acbf" providerId="ADAL" clId="{67D2DEB9-F965-4A39-A1EF-0F52F6B40E04}" dt="2025-01-20T12:44:02.369" v="614" actId="20577"/>
          <ac:spMkLst>
            <pc:docMk/>
            <pc:sldMk cId="1973319100" sldId="304"/>
            <ac:spMk id="43" creationId="{63E4EF0C-716A-6415-5340-570F154745F7}"/>
          </ac:spMkLst>
        </pc:spChg>
      </pc:sldChg>
      <pc:sldChg chg="addSp modSp mod">
        <pc:chgData name="Jon Bennett" userId="f08bf36d-aba7-40c1-b6fc-baa856c3acbf" providerId="ADAL" clId="{67D2DEB9-F965-4A39-A1EF-0F52F6B40E04}" dt="2025-01-09T09:47:31.637" v="55" actId="20577"/>
        <pc:sldMkLst>
          <pc:docMk/>
          <pc:sldMk cId="918775834" sldId="328"/>
        </pc:sldMkLst>
      </pc:sldChg>
      <pc:sldChg chg="addSp modSp mod">
        <pc:chgData name="Jon Bennett" userId="f08bf36d-aba7-40c1-b6fc-baa856c3acbf" providerId="ADAL" clId="{67D2DEB9-F965-4A39-A1EF-0F52F6B40E04}" dt="2025-01-09T09:42:39.624" v="2" actId="207"/>
        <pc:sldMkLst>
          <pc:docMk/>
          <pc:sldMk cId="861753099" sldId="2147470479"/>
        </pc:sldMkLst>
      </pc:sldChg>
      <pc:sldChg chg="addSp modSp mod">
        <pc:chgData name="Jon Bennett" userId="f08bf36d-aba7-40c1-b6fc-baa856c3acbf" providerId="ADAL" clId="{67D2DEB9-F965-4A39-A1EF-0F52F6B40E04}" dt="2025-01-09T09:47:08.581" v="33" actId="20577"/>
        <pc:sldMkLst>
          <pc:docMk/>
          <pc:sldMk cId="653559489" sldId="2147483568"/>
        </pc:sldMkLst>
      </pc:sldChg>
      <pc:sldChg chg="addSp modSp">
        <pc:chgData name="Jon Bennett" userId="f08bf36d-aba7-40c1-b6fc-baa856c3acbf" providerId="ADAL" clId="{67D2DEB9-F965-4A39-A1EF-0F52F6B40E04}" dt="2025-01-09T09:47:52.690" v="59"/>
        <pc:sldMkLst>
          <pc:docMk/>
          <pc:sldMk cId="4007769048" sldId="2147483641"/>
        </pc:sldMkLst>
      </pc:sldChg>
      <pc:sldChg chg="addSp modSp">
        <pc:chgData name="Jon Bennett" userId="f08bf36d-aba7-40c1-b6fc-baa856c3acbf" providerId="ADAL" clId="{67D2DEB9-F965-4A39-A1EF-0F52F6B40E04}" dt="2025-01-09T09:47:50.215" v="58"/>
        <pc:sldMkLst>
          <pc:docMk/>
          <pc:sldMk cId="177666625" sldId="2147483642"/>
        </pc:sldMkLst>
      </pc:sldChg>
      <pc:sldChg chg="add del">
        <pc:chgData name="Jon Bennett" userId="f08bf36d-aba7-40c1-b6fc-baa856c3acbf" providerId="ADAL" clId="{67D2DEB9-F965-4A39-A1EF-0F52F6B40E04}" dt="2025-01-09T09:47:45.992" v="57"/>
        <pc:sldMkLst>
          <pc:docMk/>
          <pc:sldMk cId="2179480763" sldId="2147483647"/>
        </pc:sldMkLst>
      </pc:sldChg>
      <pc:sldMasterChg chg="modSp mod">
        <pc:chgData name="Jon Bennett" userId="f08bf36d-aba7-40c1-b6fc-baa856c3acbf" providerId="ADAL" clId="{67D2DEB9-F965-4A39-A1EF-0F52F6B40E04}" dt="2025-01-20T12:49:01.362" v="669" actId="6549"/>
        <pc:sldMasterMkLst>
          <pc:docMk/>
          <pc:sldMasterMk cId="1488275023" sldId="2147484176"/>
        </pc:sldMasterMkLst>
      </pc:sldMasterChg>
    </pc:docChg>
  </pc:docChgLst>
  <pc:docChgLst>
    <pc:chgData name="Aswani Chittilla" userId="S::aswani.chittilla@brillio.com::e4377af8-5c25-4d6d-97ff-a0a1ea235d6c" providerId="AD" clId="Web-{07A0D05F-C8F4-8128-8EF1-422AFA829306}"/>
    <pc:docChg chg="mod modSld sldOrd">
      <pc:chgData name="Aswani Chittilla" userId="S::aswani.chittilla@brillio.com::e4377af8-5c25-4d6d-97ff-a0a1ea235d6c" providerId="AD" clId="Web-{07A0D05F-C8F4-8128-8EF1-422AFA829306}" dt="2025-01-13T06:12:14.308" v="27"/>
      <pc:docMkLst>
        <pc:docMk/>
      </pc:docMkLst>
      <pc:sldChg chg="ord">
        <pc:chgData name="Aswani Chittilla" userId="S::aswani.chittilla@brillio.com::e4377af8-5c25-4d6d-97ff-a0a1ea235d6c" providerId="AD" clId="Web-{07A0D05F-C8F4-8128-8EF1-422AFA829306}" dt="2025-01-13T05:57:15.098" v="1"/>
        <pc:sldMkLst>
          <pc:docMk/>
          <pc:sldMk cId="1138799537" sldId="268"/>
        </pc:sldMkLst>
      </pc:sldChg>
      <pc:sldChg chg="ord">
        <pc:chgData name="Aswani Chittilla" userId="S::aswani.chittilla@brillio.com::e4377af8-5c25-4d6d-97ff-a0a1ea235d6c" providerId="AD" clId="Web-{07A0D05F-C8F4-8128-8EF1-422AFA829306}" dt="2025-01-13T05:57:03.003" v="0"/>
        <pc:sldMkLst>
          <pc:docMk/>
          <pc:sldMk cId="861753099" sldId="2147470479"/>
        </pc:sldMkLst>
      </pc:sldChg>
      <pc:sldChg chg="modSp">
        <pc:chgData name="Aswani Chittilla" userId="S::aswani.chittilla@brillio.com::e4377af8-5c25-4d6d-97ff-a0a1ea235d6c" providerId="AD" clId="Web-{07A0D05F-C8F4-8128-8EF1-422AFA829306}" dt="2025-01-13T06:04:07.662" v="26" actId="20577"/>
        <pc:sldMkLst>
          <pc:docMk/>
          <pc:sldMk cId="617956213" sldId="2147482401"/>
        </pc:sldMkLst>
      </pc:sldChg>
      <pc:sldChg chg="modSp">
        <pc:chgData name="Aswani Chittilla" userId="S::aswani.chittilla@brillio.com::e4377af8-5c25-4d6d-97ff-a0a1ea235d6c" providerId="AD" clId="Web-{07A0D05F-C8F4-8128-8EF1-422AFA829306}" dt="2025-01-13T06:02:54.925" v="14" actId="20577"/>
        <pc:sldMkLst>
          <pc:docMk/>
          <pc:sldMk cId="3073165865" sldId="2147482814"/>
        </pc:sldMkLst>
      </pc:sldChg>
    </pc:docChg>
  </pc:docChgLst>
  <pc:docChgLst>
    <pc:chgData name="Harshi Rateria" userId="509ab90b-c2bf-43b6-bee4-35299838a0ca" providerId="ADAL" clId="{30A4FB54-0A2B-6444-AFF8-7EB78259ED5C}"/>
    <pc:docChg chg="undo custSel addSld delSld modSld sldOrd addMainMaster delMainMaster modMainMaster">
      <pc:chgData name="Harshi Rateria" userId="509ab90b-c2bf-43b6-bee4-35299838a0ca" providerId="ADAL" clId="{30A4FB54-0A2B-6444-AFF8-7EB78259ED5C}" dt="2025-01-16T06:39:55.412" v="1953" actId="207"/>
      <pc:docMkLst>
        <pc:docMk/>
      </pc:docMkLst>
      <pc:sldChg chg="mod modTransition modShow">
        <pc:chgData name="Harshi Rateria" userId="509ab90b-c2bf-43b6-bee4-35299838a0ca" providerId="ADAL" clId="{30A4FB54-0A2B-6444-AFF8-7EB78259ED5C}" dt="2025-01-15T11:42:03.356" v="1154"/>
        <pc:sldMkLst>
          <pc:docMk/>
          <pc:sldMk cId="2692449286" sldId="256"/>
        </pc:sldMkLst>
      </pc:sldChg>
      <pc:sldChg chg="addSp delSp modSp add mod modClrScheme chgLayout">
        <pc:chgData name="Harshi Rateria" userId="509ab90b-c2bf-43b6-bee4-35299838a0ca" providerId="ADAL" clId="{30A4FB54-0A2B-6444-AFF8-7EB78259ED5C}" dt="2025-01-16T06:10:08.915" v="1762" actId="14100"/>
        <pc:sldMkLst>
          <pc:docMk/>
          <pc:sldMk cId="3021614010" sldId="256"/>
        </pc:sldMkLst>
        <pc:spChg chg="mod ord">
          <ac:chgData name="Harshi Rateria" userId="509ab90b-c2bf-43b6-bee4-35299838a0ca" providerId="ADAL" clId="{30A4FB54-0A2B-6444-AFF8-7EB78259ED5C}" dt="2025-01-16T05:55:41.112" v="1711" actId="2711"/>
          <ac:spMkLst>
            <pc:docMk/>
            <pc:sldMk cId="3021614010" sldId="256"/>
            <ac:spMk id="2" creationId="{80D5B04A-696D-6B2F-DA4E-692E9D5F6D2D}"/>
          </ac:spMkLst>
        </pc:spChg>
        <pc:spChg chg="mod">
          <ac:chgData name="Harshi Rateria" userId="509ab90b-c2bf-43b6-bee4-35299838a0ca" providerId="ADAL" clId="{30A4FB54-0A2B-6444-AFF8-7EB78259ED5C}" dt="2025-01-16T05:56:05.663" v="1714" actId="2711"/>
          <ac:spMkLst>
            <pc:docMk/>
            <pc:sldMk cId="3021614010" sldId="256"/>
            <ac:spMk id="14" creationId="{78F40AAD-DFEF-47BE-D1A4-B6FA394E2290}"/>
          </ac:spMkLst>
        </pc:spChg>
        <pc:spChg chg="mod">
          <ac:chgData name="Harshi Rateria" userId="509ab90b-c2bf-43b6-bee4-35299838a0ca" providerId="ADAL" clId="{30A4FB54-0A2B-6444-AFF8-7EB78259ED5C}" dt="2025-01-16T05:57:23.113" v="1727" actId="14100"/>
          <ac:spMkLst>
            <pc:docMk/>
            <pc:sldMk cId="3021614010" sldId="256"/>
            <ac:spMk id="18" creationId="{BF36271B-6F66-77D5-1827-BC35DBC674DA}"/>
          </ac:spMkLst>
        </pc:spChg>
        <pc:spChg chg="mod">
          <ac:chgData name="Harshi Rateria" userId="509ab90b-c2bf-43b6-bee4-35299838a0ca" providerId="ADAL" clId="{30A4FB54-0A2B-6444-AFF8-7EB78259ED5C}" dt="2025-01-16T06:01:53.712" v="1758" actId="14100"/>
          <ac:spMkLst>
            <pc:docMk/>
            <pc:sldMk cId="3021614010" sldId="256"/>
            <ac:spMk id="19" creationId="{AD310E8B-1202-BC65-389B-47A2914B9B83}"/>
          </ac:spMkLst>
        </pc:spChg>
        <pc:spChg chg="mod">
          <ac:chgData name="Harshi Rateria" userId="509ab90b-c2bf-43b6-bee4-35299838a0ca" providerId="ADAL" clId="{30A4FB54-0A2B-6444-AFF8-7EB78259ED5C}" dt="2025-01-16T05:56:05.663" v="1714" actId="2711"/>
          <ac:spMkLst>
            <pc:docMk/>
            <pc:sldMk cId="3021614010" sldId="256"/>
            <ac:spMk id="24" creationId="{FF2534E6-77A4-3902-27D3-91C5E784BA75}"/>
          </ac:spMkLst>
        </pc:spChg>
        <pc:spChg chg="mod">
          <ac:chgData name="Harshi Rateria" userId="509ab90b-c2bf-43b6-bee4-35299838a0ca" providerId="ADAL" clId="{30A4FB54-0A2B-6444-AFF8-7EB78259ED5C}" dt="2025-01-16T05:56:05.663" v="1714" actId="2711"/>
          <ac:spMkLst>
            <pc:docMk/>
            <pc:sldMk cId="3021614010" sldId="256"/>
            <ac:spMk id="25" creationId="{E3214D9F-0F3D-94F7-00B9-E265E8CD9495}"/>
          </ac:spMkLst>
        </pc:spChg>
        <pc:spChg chg="mod">
          <ac:chgData name="Harshi Rateria" userId="509ab90b-c2bf-43b6-bee4-35299838a0ca" providerId="ADAL" clId="{30A4FB54-0A2B-6444-AFF8-7EB78259ED5C}" dt="2025-01-16T05:56:05.663" v="1714" actId="2711"/>
          <ac:spMkLst>
            <pc:docMk/>
            <pc:sldMk cId="3021614010" sldId="256"/>
            <ac:spMk id="32" creationId="{804DDC85-74E8-E571-C5CE-7D0915D51A5D}"/>
          </ac:spMkLst>
        </pc:spChg>
        <pc:spChg chg="mod">
          <ac:chgData name="Harshi Rateria" userId="509ab90b-c2bf-43b6-bee4-35299838a0ca" providerId="ADAL" clId="{30A4FB54-0A2B-6444-AFF8-7EB78259ED5C}" dt="2025-01-16T06:01:59.968" v="1759" actId="14100"/>
          <ac:spMkLst>
            <pc:docMk/>
            <pc:sldMk cId="3021614010" sldId="256"/>
            <ac:spMk id="33" creationId="{A87F4560-699D-057B-8275-288047A32D9E}"/>
          </ac:spMkLst>
        </pc:spChg>
        <pc:spChg chg="mod">
          <ac:chgData name="Harshi Rateria" userId="509ab90b-c2bf-43b6-bee4-35299838a0ca" providerId="ADAL" clId="{30A4FB54-0A2B-6444-AFF8-7EB78259ED5C}" dt="2025-01-16T05:56:05.663" v="1714" actId="2711"/>
          <ac:spMkLst>
            <pc:docMk/>
            <pc:sldMk cId="3021614010" sldId="256"/>
            <ac:spMk id="34" creationId="{985A7A5D-7913-4378-EA72-FBE0001F5F58}"/>
          </ac:spMkLst>
        </pc:spChg>
        <pc:spChg chg="mod">
          <ac:chgData name="Harshi Rateria" userId="509ab90b-c2bf-43b6-bee4-35299838a0ca" providerId="ADAL" clId="{30A4FB54-0A2B-6444-AFF8-7EB78259ED5C}" dt="2025-01-16T05:58:17.655" v="1742" actId="1037"/>
          <ac:spMkLst>
            <pc:docMk/>
            <pc:sldMk cId="3021614010" sldId="256"/>
            <ac:spMk id="40" creationId="{E6815547-5BB3-1F5F-A50C-7D0ED6052299}"/>
          </ac:spMkLst>
        </pc:spChg>
        <pc:spChg chg="mod">
          <ac:chgData name="Harshi Rateria" userId="509ab90b-c2bf-43b6-bee4-35299838a0ca" providerId="ADAL" clId="{30A4FB54-0A2B-6444-AFF8-7EB78259ED5C}" dt="2025-01-16T06:02:11.294" v="1760" actId="120"/>
          <ac:spMkLst>
            <pc:docMk/>
            <pc:sldMk cId="3021614010" sldId="256"/>
            <ac:spMk id="48" creationId="{3EE217FE-1D9B-F99C-016D-6D6EBB0065F5}"/>
          </ac:spMkLst>
        </pc:spChg>
        <pc:spChg chg="mod">
          <ac:chgData name="Harshi Rateria" userId="509ab90b-c2bf-43b6-bee4-35299838a0ca" providerId="ADAL" clId="{30A4FB54-0A2B-6444-AFF8-7EB78259ED5C}" dt="2025-01-16T05:58:17.655" v="1742" actId="1037"/>
          <ac:spMkLst>
            <pc:docMk/>
            <pc:sldMk cId="3021614010" sldId="256"/>
            <ac:spMk id="52" creationId="{993B8522-E0DE-396E-99B3-86990C0299FA}"/>
          </ac:spMkLst>
        </pc:spChg>
        <pc:spChg chg="mod">
          <ac:chgData name="Harshi Rateria" userId="509ab90b-c2bf-43b6-bee4-35299838a0ca" providerId="ADAL" clId="{30A4FB54-0A2B-6444-AFF8-7EB78259ED5C}" dt="2025-01-16T06:02:16.680" v="1761" actId="120"/>
          <ac:spMkLst>
            <pc:docMk/>
            <pc:sldMk cId="3021614010" sldId="256"/>
            <ac:spMk id="54" creationId="{5E150658-E749-F6AC-8C3E-BC29A5DC50EA}"/>
          </ac:spMkLst>
        </pc:spChg>
        <pc:spChg chg="mod">
          <ac:chgData name="Harshi Rateria" userId="509ab90b-c2bf-43b6-bee4-35299838a0ca" providerId="ADAL" clId="{30A4FB54-0A2B-6444-AFF8-7EB78259ED5C}" dt="2025-01-16T05:57:28.011" v="1728" actId="14100"/>
          <ac:spMkLst>
            <pc:docMk/>
            <pc:sldMk cId="3021614010" sldId="256"/>
            <ac:spMk id="55" creationId="{DC68061B-270F-FA2B-338B-B62C62C6ECC1}"/>
          </ac:spMkLst>
        </pc:spChg>
        <pc:spChg chg="mod">
          <ac:chgData name="Harshi Rateria" userId="509ab90b-c2bf-43b6-bee4-35299838a0ca" providerId="ADAL" clId="{30A4FB54-0A2B-6444-AFF8-7EB78259ED5C}" dt="2025-01-16T06:10:08.915" v="1762" actId="14100"/>
          <ac:spMkLst>
            <pc:docMk/>
            <pc:sldMk cId="3021614010" sldId="256"/>
            <ac:spMk id="56" creationId="{A0AD8046-BF2B-C047-21F7-EAD9111C04B5}"/>
          </ac:spMkLst>
        </pc:spChg>
        <pc:spChg chg="mod">
          <ac:chgData name="Harshi Rateria" userId="509ab90b-c2bf-43b6-bee4-35299838a0ca" providerId="ADAL" clId="{30A4FB54-0A2B-6444-AFF8-7EB78259ED5C}" dt="2025-01-16T06:02:11.294" v="1760" actId="120"/>
          <ac:spMkLst>
            <pc:docMk/>
            <pc:sldMk cId="3021614010" sldId="256"/>
            <ac:spMk id="58" creationId="{37C98DBF-C617-0078-77EB-1012A096882F}"/>
          </ac:spMkLst>
        </pc:spChg>
        <pc:grpChg chg="mod">
          <ac:chgData name="Harshi Rateria" userId="509ab90b-c2bf-43b6-bee4-35299838a0ca" providerId="ADAL" clId="{30A4FB54-0A2B-6444-AFF8-7EB78259ED5C}" dt="2025-01-16T05:58:46.003" v="1749" actId="1038"/>
          <ac:grpSpMkLst>
            <pc:docMk/>
            <pc:sldMk cId="3021614010" sldId="256"/>
            <ac:grpSpMk id="13" creationId="{B8491E6E-E272-094F-7533-7D780764834F}"/>
          </ac:grpSpMkLst>
        </pc:grpChg>
        <pc:grpChg chg="mod">
          <ac:chgData name="Harshi Rateria" userId="509ab90b-c2bf-43b6-bee4-35299838a0ca" providerId="ADAL" clId="{30A4FB54-0A2B-6444-AFF8-7EB78259ED5C}" dt="2025-01-16T05:58:37.770" v="1746" actId="1037"/>
          <ac:grpSpMkLst>
            <pc:docMk/>
            <pc:sldMk cId="3021614010" sldId="256"/>
            <ac:grpSpMk id="53" creationId="{D9B39BA7-31E9-F54C-959B-CA107FAA8E7D}"/>
          </ac:grpSpMkLst>
        </pc:grpChg>
        <pc:picChg chg="mod">
          <ac:chgData name="Harshi Rateria" userId="509ab90b-c2bf-43b6-bee4-35299838a0ca" providerId="ADAL" clId="{30A4FB54-0A2B-6444-AFF8-7EB78259ED5C}" dt="2025-01-16T05:58:17.655" v="1742" actId="1037"/>
          <ac:picMkLst>
            <pc:docMk/>
            <pc:sldMk cId="3021614010" sldId="256"/>
            <ac:picMk id="28" creationId="{339A3489-7D9F-DCF0-2BE5-2570B4D4DE98}"/>
          </ac:picMkLst>
        </pc:picChg>
        <pc:picChg chg="mod">
          <ac:chgData name="Harshi Rateria" userId="509ab90b-c2bf-43b6-bee4-35299838a0ca" providerId="ADAL" clId="{30A4FB54-0A2B-6444-AFF8-7EB78259ED5C}" dt="2025-01-16T05:58:17.655" v="1742" actId="1037"/>
          <ac:picMkLst>
            <pc:docMk/>
            <pc:sldMk cId="3021614010" sldId="256"/>
            <ac:picMk id="49" creationId="{8FDAF05D-2766-F20C-F877-6561EFAE92DD}"/>
          </ac:picMkLst>
        </pc:picChg>
        <pc:picChg chg="mod">
          <ac:chgData name="Harshi Rateria" userId="509ab90b-c2bf-43b6-bee4-35299838a0ca" providerId="ADAL" clId="{30A4FB54-0A2B-6444-AFF8-7EB78259ED5C}" dt="2025-01-16T05:58:17.655" v="1742" actId="1037"/>
          <ac:picMkLst>
            <pc:docMk/>
            <pc:sldMk cId="3021614010" sldId="256"/>
            <ac:picMk id="50" creationId="{8CCFEB81-E9E0-DEF5-9221-8318FF91DB66}"/>
          </ac:picMkLst>
        </pc:picChg>
        <pc:picChg chg="mod">
          <ac:chgData name="Harshi Rateria" userId="509ab90b-c2bf-43b6-bee4-35299838a0ca" providerId="ADAL" clId="{30A4FB54-0A2B-6444-AFF8-7EB78259ED5C}" dt="2025-01-16T05:58:17.655" v="1742" actId="1037"/>
          <ac:picMkLst>
            <pc:docMk/>
            <pc:sldMk cId="3021614010" sldId="256"/>
            <ac:picMk id="51" creationId="{7A028202-D0CE-5449-5D37-23BABB3034AC}"/>
          </ac:picMkLst>
        </pc:picChg>
        <pc:picChg chg="mod">
          <ac:chgData name="Harshi Rateria" userId="509ab90b-c2bf-43b6-bee4-35299838a0ca" providerId="ADAL" clId="{30A4FB54-0A2B-6444-AFF8-7EB78259ED5C}" dt="2025-01-16T05:58:17.655" v="1742" actId="1037"/>
          <ac:picMkLst>
            <pc:docMk/>
            <pc:sldMk cId="3021614010" sldId="256"/>
            <ac:picMk id="60" creationId="{EE32521E-9ADA-6128-43BC-B094DF9A9013}"/>
          </ac:picMkLst>
        </pc:picChg>
        <pc:picChg chg="mod">
          <ac:chgData name="Harshi Rateria" userId="509ab90b-c2bf-43b6-bee4-35299838a0ca" providerId="ADAL" clId="{30A4FB54-0A2B-6444-AFF8-7EB78259ED5C}" dt="2025-01-16T05:58:37.770" v="1746" actId="1037"/>
          <ac:picMkLst>
            <pc:docMk/>
            <pc:sldMk cId="3021614010" sldId="256"/>
            <ac:picMk id="61" creationId="{2DA50103-55A9-156E-5972-8C535B15DCB8}"/>
          </ac:picMkLst>
        </pc:picChg>
        <pc:picChg chg="mod">
          <ac:chgData name="Harshi Rateria" userId="509ab90b-c2bf-43b6-bee4-35299838a0ca" providerId="ADAL" clId="{30A4FB54-0A2B-6444-AFF8-7EB78259ED5C}" dt="2025-01-16T05:58:37.770" v="1746" actId="1037"/>
          <ac:picMkLst>
            <pc:docMk/>
            <pc:sldMk cId="3021614010" sldId="256"/>
            <ac:picMk id="7168" creationId="{E5F5F3AC-AA79-D939-9AF7-B0ED8EAD1766}"/>
          </ac:picMkLst>
        </pc:picChg>
      </pc:sldChg>
      <pc:sldChg chg="modTransition">
        <pc:chgData name="Harshi Rateria" userId="509ab90b-c2bf-43b6-bee4-35299838a0ca" providerId="ADAL" clId="{30A4FB54-0A2B-6444-AFF8-7EB78259ED5C}" dt="2025-01-15T11:42:03.356" v="1154"/>
        <pc:sldMkLst>
          <pc:docMk/>
          <pc:sldMk cId="508278704" sldId="257"/>
        </pc:sldMkLst>
      </pc:sldChg>
      <pc:sldChg chg="modTransition">
        <pc:chgData name="Harshi Rateria" userId="509ab90b-c2bf-43b6-bee4-35299838a0ca" providerId="ADAL" clId="{30A4FB54-0A2B-6444-AFF8-7EB78259ED5C}" dt="2025-01-15T11:42:03.356" v="1154"/>
        <pc:sldMkLst>
          <pc:docMk/>
          <pc:sldMk cId="205159607" sldId="258"/>
        </pc:sldMkLst>
      </pc:sldChg>
      <pc:sldChg chg="mod modTransition modShow">
        <pc:chgData name="Harshi Rateria" userId="509ab90b-c2bf-43b6-bee4-35299838a0ca" providerId="ADAL" clId="{30A4FB54-0A2B-6444-AFF8-7EB78259ED5C}" dt="2025-01-15T11:42:03.356" v="1154"/>
        <pc:sldMkLst>
          <pc:docMk/>
          <pc:sldMk cId="2324598690" sldId="259"/>
        </pc:sldMkLst>
      </pc:sldChg>
      <pc:sldChg chg="addSp delSp modSp add mod modClrScheme chgLayout">
        <pc:chgData name="Harshi Rateria" userId="509ab90b-c2bf-43b6-bee4-35299838a0ca" providerId="ADAL" clId="{30A4FB54-0A2B-6444-AFF8-7EB78259ED5C}" dt="2025-01-16T06:31:49.036" v="1862" actId="14100"/>
        <pc:sldMkLst>
          <pc:docMk/>
          <pc:sldMk cId="2375302700" sldId="259"/>
        </pc:sldMkLst>
        <pc:spChg chg="mod">
          <ac:chgData name="Harshi Rateria" userId="509ab90b-c2bf-43b6-bee4-35299838a0ca" providerId="ADAL" clId="{30A4FB54-0A2B-6444-AFF8-7EB78259ED5C}" dt="2025-01-16T06:26:44.901" v="1781" actId="14861"/>
          <ac:spMkLst>
            <pc:docMk/>
            <pc:sldMk cId="2375302700" sldId="259"/>
            <ac:spMk id="6" creationId="{7D55E0F0-B6C4-CDB7-77DF-6FD7EEC47C22}"/>
          </ac:spMkLst>
        </pc:spChg>
        <pc:spChg chg="mod">
          <ac:chgData name="Harshi Rateria" userId="509ab90b-c2bf-43b6-bee4-35299838a0ca" providerId="ADAL" clId="{30A4FB54-0A2B-6444-AFF8-7EB78259ED5C}" dt="2025-01-16T06:28:44.477" v="1803" actId="1076"/>
          <ac:spMkLst>
            <pc:docMk/>
            <pc:sldMk cId="2375302700" sldId="259"/>
            <ac:spMk id="8" creationId="{56801F86-F246-6464-ECCB-7B174B20600D}"/>
          </ac:spMkLst>
        </pc:spChg>
        <pc:spChg chg="mod">
          <ac:chgData name="Harshi Rateria" userId="509ab90b-c2bf-43b6-bee4-35299838a0ca" providerId="ADAL" clId="{30A4FB54-0A2B-6444-AFF8-7EB78259ED5C}" dt="2025-01-16T06:31:44.066" v="1861" actId="1037"/>
          <ac:spMkLst>
            <pc:docMk/>
            <pc:sldMk cId="2375302700" sldId="259"/>
            <ac:spMk id="10" creationId="{B2B0F910-D70E-EECE-D18F-ABB9588D096E}"/>
          </ac:spMkLst>
        </pc:spChg>
        <pc:spChg chg="add mod">
          <ac:chgData name="Harshi Rateria" userId="509ab90b-c2bf-43b6-bee4-35299838a0ca" providerId="ADAL" clId="{30A4FB54-0A2B-6444-AFF8-7EB78259ED5C}" dt="2025-01-16T06:26:22.236" v="1777" actId="20577"/>
          <ac:spMkLst>
            <pc:docMk/>
            <pc:sldMk cId="2375302700" sldId="259"/>
            <ac:spMk id="12" creationId="{45CAD14A-A6CD-909A-D390-EFFECAA978CC}"/>
          </ac:spMkLst>
        </pc:spChg>
        <pc:spChg chg="add mod">
          <ac:chgData name="Harshi Rateria" userId="509ab90b-c2bf-43b6-bee4-35299838a0ca" providerId="ADAL" clId="{30A4FB54-0A2B-6444-AFF8-7EB78259ED5C}" dt="2025-01-16T06:31:31.415" v="1858" actId="1076"/>
          <ac:spMkLst>
            <pc:docMk/>
            <pc:sldMk cId="2375302700" sldId="259"/>
            <ac:spMk id="19" creationId="{A492C625-08A4-3C09-13FE-A2A5D3110863}"/>
          </ac:spMkLst>
        </pc:spChg>
        <pc:spChg chg="add mod">
          <ac:chgData name="Harshi Rateria" userId="509ab90b-c2bf-43b6-bee4-35299838a0ca" providerId="ADAL" clId="{30A4FB54-0A2B-6444-AFF8-7EB78259ED5C}" dt="2025-01-16T06:28:28.534" v="1799" actId="167"/>
          <ac:spMkLst>
            <pc:docMk/>
            <pc:sldMk cId="2375302700" sldId="259"/>
            <ac:spMk id="20" creationId="{C0F465DB-166D-3AEB-86C8-8D5CFBD4A3C1}"/>
          </ac:spMkLst>
        </pc:spChg>
        <pc:spChg chg="mod topLvl">
          <ac:chgData name="Harshi Rateria" userId="509ab90b-c2bf-43b6-bee4-35299838a0ca" providerId="ADAL" clId="{30A4FB54-0A2B-6444-AFF8-7EB78259ED5C}" dt="2025-01-16T06:31:16.570" v="1850" actId="1076"/>
          <ac:spMkLst>
            <pc:docMk/>
            <pc:sldMk cId="2375302700" sldId="259"/>
            <ac:spMk id="22" creationId="{3EC2AE66-21EE-8489-2876-2518F0FE4B27}"/>
          </ac:spMkLst>
        </pc:spChg>
        <pc:spChg chg="mod topLvl">
          <ac:chgData name="Harshi Rateria" userId="509ab90b-c2bf-43b6-bee4-35299838a0ca" providerId="ADAL" clId="{30A4FB54-0A2B-6444-AFF8-7EB78259ED5C}" dt="2025-01-16T06:31:13.939" v="1849" actId="1076"/>
          <ac:spMkLst>
            <pc:docMk/>
            <pc:sldMk cId="2375302700" sldId="259"/>
            <ac:spMk id="23" creationId="{F48F1BE6-A83B-FFF5-423E-64432D43ABCA}"/>
          </ac:spMkLst>
        </pc:spChg>
        <pc:spChg chg="mod topLvl">
          <ac:chgData name="Harshi Rateria" userId="509ab90b-c2bf-43b6-bee4-35299838a0ca" providerId="ADAL" clId="{30A4FB54-0A2B-6444-AFF8-7EB78259ED5C}" dt="2025-01-16T06:30:25.367" v="1836" actId="1076"/>
          <ac:spMkLst>
            <pc:docMk/>
            <pc:sldMk cId="2375302700" sldId="259"/>
            <ac:spMk id="24" creationId="{DEA336F5-CF53-784B-66EA-A4E7978DD9F6}"/>
          </ac:spMkLst>
        </pc:spChg>
        <pc:spChg chg="mod topLvl">
          <ac:chgData name="Harshi Rateria" userId="509ab90b-c2bf-43b6-bee4-35299838a0ca" providerId="ADAL" clId="{30A4FB54-0A2B-6444-AFF8-7EB78259ED5C}" dt="2025-01-16T06:30:25.367" v="1836" actId="1076"/>
          <ac:spMkLst>
            <pc:docMk/>
            <pc:sldMk cId="2375302700" sldId="259"/>
            <ac:spMk id="25" creationId="{198F248A-3246-9928-B07B-3D390C9F8D54}"/>
          </ac:spMkLst>
        </pc:spChg>
        <pc:spChg chg="mod topLvl">
          <ac:chgData name="Harshi Rateria" userId="509ab90b-c2bf-43b6-bee4-35299838a0ca" providerId="ADAL" clId="{30A4FB54-0A2B-6444-AFF8-7EB78259ED5C}" dt="2025-01-16T06:30:25.367" v="1836" actId="1076"/>
          <ac:spMkLst>
            <pc:docMk/>
            <pc:sldMk cId="2375302700" sldId="259"/>
            <ac:spMk id="26" creationId="{54657FD8-49E8-AFA8-85FE-F2D628571D01}"/>
          </ac:spMkLst>
        </pc:spChg>
        <pc:spChg chg="add mod">
          <ac:chgData name="Harshi Rateria" userId="509ab90b-c2bf-43b6-bee4-35299838a0ca" providerId="ADAL" clId="{30A4FB54-0A2B-6444-AFF8-7EB78259ED5C}" dt="2025-01-16T06:30:44.831" v="1842" actId="167"/>
          <ac:spMkLst>
            <pc:docMk/>
            <pc:sldMk cId="2375302700" sldId="259"/>
            <ac:spMk id="31" creationId="{735B171E-538B-EE89-CCB4-223A384A7352}"/>
          </ac:spMkLst>
        </pc:spChg>
        <pc:spChg chg="add mod">
          <ac:chgData name="Harshi Rateria" userId="509ab90b-c2bf-43b6-bee4-35299838a0ca" providerId="ADAL" clId="{30A4FB54-0A2B-6444-AFF8-7EB78259ED5C}" dt="2025-01-16T06:30:44.831" v="1842" actId="167"/>
          <ac:spMkLst>
            <pc:docMk/>
            <pc:sldMk cId="2375302700" sldId="259"/>
            <ac:spMk id="33" creationId="{3E88F295-E45B-E956-913A-CFF52EFD580F}"/>
          </ac:spMkLst>
        </pc:spChg>
        <pc:spChg chg="mod topLvl">
          <ac:chgData name="Harshi Rateria" userId="509ab90b-c2bf-43b6-bee4-35299838a0ca" providerId="ADAL" clId="{30A4FB54-0A2B-6444-AFF8-7EB78259ED5C}" dt="2025-01-16T06:31:07.330" v="1848" actId="1076"/>
          <ac:spMkLst>
            <pc:docMk/>
            <pc:sldMk cId="2375302700" sldId="259"/>
            <ac:spMk id="34" creationId="{E361EAB2-1E20-5E9E-3D28-86DB9E62AD1C}"/>
          </ac:spMkLst>
        </pc:spChg>
        <pc:spChg chg="mod topLvl">
          <ac:chgData name="Harshi Rateria" userId="509ab90b-c2bf-43b6-bee4-35299838a0ca" providerId="ADAL" clId="{30A4FB54-0A2B-6444-AFF8-7EB78259ED5C}" dt="2025-01-16T06:30:55.027" v="1844" actId="207"/>
          <ac:spMkLst>
            <pc:docMk/>
            <pc:sldMk cId="2375302700" sldId="259"/>
            <ac:spMk id="36" creationId="{2A5AA18E-BAB1-C1C8-9E40-82CE97830AFA}"/>
          </ac:spMkLst>
        </pc:spChg>
        <pc:spChg chg="add mod">
          <ac:chgData name="Harshi Rateria" userId="509ab90b-c2bf-43b6-bee4-35299838a0ca" providerId="ADAL" clId="{30A4FB54-0A2B-6444-AFF8-7EB78259ED5C}" dt="2025-01-16T06:31:49.036" v="1862" actId="14100"/>
          <ac:spMkLst>
            <pc:docMk/>
            <pc:sldMk cId="2375302700" sldId="259"/>
            <ac:spMk id="39" creationId="{DC52DF2E-0718-B62A-F8E3-737E56AF034A}"/>
          </ac:spMkLst>
        </pc:spChg>
        <pc:picChg chg="mod">
          <ac:chgData name="Harshi Rateria" userId="509ab90b-c2bf-43b6-bee4-35299838a0ca" providerId="ADAL" clId="{30A4FB54-0A2B-6444-AFF8-7EB78259ED5C}" dt="2025-01-16T06:31:27.801" v="1854" actId="14100"/>
          <ac:picMkLst>
            <pc:docMk/>
            <pc:sldMk cId="2375302700" sldId="259"/>
            <ac:picMk id="9" creationId="{9C0C3934-2AFF-E1BF-9B03-443F22085B4F}"/>
          </ac:picMkLst>
        </pc:picChg>
        <pc:picChg chg="mod">
          <ac:chgData name="Harshi Rateria" userId="509ab90b-c2bf-43b6-bee4-35299838a0ca" providerId="ADAL" clId="{30A4FB54-0A2B-6444-AFF8-7EB78259ED5C}" dt="2025-01-16T06:31:03.376" v="1847" actId="1076"/>
          <ac:picMkLst>
            <pc:docMk/>
            <pc:sldMk cId="2375302700" sldId="259"/>
            <ac:picMk id="37" creationId="{3B9E8576-4F72-1584-FA72-B5C10872687E}"/>
          </ac:picMkLst>
        </pc:picChg>
        <pc:picChg chg="mod">
          <ac:chgData name="Harshi Rateria" userId="509ab90b-c2bf-43b6-bee4-35299838a0ca" providerId="ADAL" clId="{30A4FB54-0A2B-6444-AFF8-7EB78259ED5C}" dt="2025-01-16T06:31:00.992" v="1846" actId="1076"/>
          <ac:picMkLst>
            <pc:docMk/>
            <pc:sldMk cId="2375302700" sldId="259"/>
            <ac:picMk id="38" creationId="{F32FBBB2-9B7E-716B-71C8-734D2C9615D9}"/>
          </ac:picMkLst>
        </pc:picChg>
      </pc:sldChg>
      <pc:sldChg chg="modTransition">
        <pc:chgData name="Harshi Rateria" userId="509ab90b-c2bf-43b6-bee4-35299838a0ca" providerId="ADAL" clId="{30A4FB54-0A2B-6444-AFF8-7EB78259ED5C}" dt="2025-01-15T11:42:03.356" v="1154"/>
        <pc:sldMkLst>
          <pc:docMk/>
          <pc:sldMk cId="1593385419" sldId="260"/>
        </pc:sldMkLst>
      </pc:sldChg>
      <pc:sldChg chg="modTransition">
        <pc:chgData name="Harshi Rateria" userId="509ab90b-c2bf-43b6-bee4-35299838a0ca" providerId="ADAL" clId="{30A4FB54-0A2B-6444-AFF8-7EB78259ED5C}" dt="2025-01-15T11:42:03.356" v="1154"/>
        <pc:sldMkLst>
          <pc:docMk/>
          <pc:sldMk cId="3438439602" sldId="261"/>
        </pc:sldMkLst>
      </pc:sldChg>
      <pc:sldChg chg="modTransition">
        <pc:chgData name="Harshi Rateria" userId="509ab90b-c2bf-43b6-bee4-35299838a0ca" providerId="ADAL" clId="{30A4FB54-0A2B-6444-AFF8-7EB78259ED5C}" dt="2025-01-15T11:42:03.356" v="1154"/>
        <pc:sldMkLst>
          <pc:docMk/>
          <pc:sldMk cId="568912271" sldId="262"/>
        </pc:sldMkLst>
      </pc:sldChg>
      <pc:sldChg chg="modTransition">
        <pc:chgData name="Harshi Rateria" userId="509ab90b-c2bf-43b6-bee4-35299838a0ca" providerId="ADAL" clId="{30A4FB54-0A2B-6444-AFF8-7EB78259ED5C}" dt="2025-01-15T11:42:03.356" v="1154"/>
        <pc:sldMkLst>
          <pc:docMk/>
          <pc:sldMk cId="1780373343" sldId="263"/>
        </pc:sldMkLst>
      </pc:sldChg>
      <pc:sldChg chg="modTransition">
        <pc:chgData name="Harshi Rateria" userId="509ab90b-c2bf-43b6-bee4-35299838a0ca" providerId="ADAL" clId="{30A4FB54-0A2B-6444-AFF8-7EB78259ED5C}" dt="2025-01-15T11:42:03.356" v="1154"/>
        <pc:sldMkLst>
          <pc:docMk/>
          <pc:sldMk cId="4115846931" sldId="264"/>
        </pc:sldMkLst>
      </pc:sldChg>
      <pc:sldChg chg="modTransition">
        <pc:chgData name="Harshi Rateria" userId="509ab90b-c2bf-43b6-bee4-35299838a0ca" providerId="ADAL" clId="{30A4FB54-0A2B-6444-AFF8-7EB78259ED5C}" dt="2025-01-15T11:42:03.356" v="1154"/>
        <pc:sldMkLst>
          <pc:docMk/>
          <pc:sldMk cId="3405252415" sldId="265"/>
        </pc:sldMkLst>
      </pc:sldChg>
      <pc:sldChg chg="modTransition">
        <pc:chgData name="Harshi Rateria" userId="509ab90b-c2bf-43b6-bee4-35299838a0ca" providerId="ADAL" clId="{30A4FB54-0A2B-6444-AFF8-7EB78259ED5C}" dt="2025-01-15T11:42:03.356" v="1154"/>
        <pc:sldMkLst>
          <pc:docMk/>
          <pc:sldMk cId="3070032568" sldId="266"/>
        </pc:sldMkLst>
      </pc:sldChg>
      <pc:sldChg chg="addSp delSp modSp mod modTransition modClrScheme chgLayout">
        <pc:chgData name="Harshi Rateria" userId="509ab90b-c2bf-43b6-bee4-35299838a0ca" providerId="ADAL" clId="{30A4FB54-0A2B-6444-AFF8-7EB78259ED5C}" dt="2025-01-15T13:14:40.929" v="1518" actId="478"/>
        <pc:sldMkLst>
          <pc:docMk/>
          <pc:sldMk cId="3384076873" sldId="267"/>
        </pc:sldMkLst>
      </pc:sldChg>
      <pc:sldChg chg="modTransition">
        <pc:chgData name="Harshi Rateria" userId="509ab90b-c2bf-43b6-bee4-35299838a0ca" providerId="ADAL" clId="{30A4FB54-0A2B-6444-AFF8-7EB78259ED5C}" dt="2025-01-15T11:42:03.356" v="1154"/>
        <pc:sldMkLst>
          <pc:docMk/>
          <pc:sldMk cId="1138799537" sldId="268"/>
        </pc:sldMkLst>
      </pc:sldChg>
      <pc:sldChg chg="modTransition">
        <pc:chgData name="Harshi Rateria" userId="509ab90b-c2bf-43b6-bee4-35299838a0ca" providerId="ADAL" clId="{30A4FB54-0A2B-6444-AFF8-7EB78259ED5C}" dt="2025-01-15T11:42:03.356" v="1154"/>
        <pc:sldMkLst>
          <pc:docMk/>
          <pc:sldMk cId="2384130812" sldId="269"/>
        </pc:sldMkLst>
      </pc:sldChg>
      <pc:sldChg chg="mod modShow">
        <pc:chgData name="Harshi Rateria" userId="509ab90b-c2bf-43b6-bee4-35299838a0ca" providerId="ADAL" clId="{30A4FB54-0A2B-6444-AFF8-7EB78259ED5C}" dt="2025-01-15T09:53:17.699" v="655" actId="729"/>
        <pc:sldMkLst>
          <pc:docMk/>
          <pc:sldMk cId="648062910" sldId="270"/>
        </pc:sldMkLst>
      </pc:sldChg>
      <pc:sldChg chg="modTransition">
        <pc:chgData name="Harshi Rateria" userId="509ab90b-c2bf-43b6-bee4-35299838a0ca" providerId="ADAL" clId="{30A4FB54-0A2B-6444-AFF8-7EB78259ED5C}" dt="2025-01-15T11:42:03.356" v="1154"/>
        <pc:sldMkLst>
          <pc:docMk/>
          <pc:sldMk cId="2600833936" sldId="270"/>
        </pc:sldMkLst>
      </pc:sldChg>
      <pc:sldChg chg="modTransition">
        <pc:chgData name="Harshi Rateria" userId="509ab90b-c2bf-43b6-bee4-35299838a0ca" providerId="ADAL" clId="{30A4FB54-0A2B-6444-AFF8-7EB78259ED5C}" dt="2025-01-15T11:42:03.356" v="1154"/>
        <pc:sldMkLst>
          <pc:docMk/>
          <pc:sldMk cId="2723152668" sldId="271"/>
        </pc:sldMkLst>
      </pc:sldChg>
      <pc:sldChg chg="modTransition">
        <pc:chgData name="Harshi Rateria" userId="509ab90b-c2bf-43b6-bee4-35299838a0ca" providerId="ADAL" clId="{30A4FB54-0A2B-6444-AFF8-7EB78259ED5C}" dt="2025-01-15T11:42:03.356" v="1154"/>
        <pc:sldMkLst>
          <pc:docMk/>
          <pc:sldMk cId="1872428722" sldId="272"/>
        </pc:sldMkLst>
      </pc:sldChg>
      <pc:sldChg chg="modTransition">
        <pc:chgData name="Harshi Rateria" userId="509ab90b-c2bf-43b6-bee4-35299838a0ca" providerId="ADAL" clId="{30A4FB54-0A2B-6444-AFF8-7EB78259ED5C}" dt="2025-01-15T11:42:03.356" v="1154"/>
        <pc:sldMkLst>
          <pc:docMk/>
          <pc:sldMk cId="3853684040" sldId="273"/>
        </pc:sldMkLst>
      </pc:sldChg>
      <pc:sldChg chg="modTransition">
        <pc:chgData name="Harshi Rateria" userId="509ab90b-c2bf-43b6-bee4-35299838a0ca" providerId="ADAL" clId="{30A4FB54-0A2B-6444-AFF8-7EB78259ED5C}" dt="2025-01-15T11:42:03.356" v="1154"/>
        <pc:sldMkLst>
          <pc:docMk/>
          <pc:sldMk cId="1966794365" sldId="274"/>
        </pc:sldMkLst>
      </pc:sldChg>
      <pc:sldChg chg="addSp delSp modSp mod modTransition">
        <pc:chgData name="Harshi Rateria" userId="509ab90b-c2bf-43b6-bee4-35299838a0ca" providerId="ADAL" clId="{30A4FB54-0A2B-6444-AFF8-7EB78259ED5C}" dt="2025-01-15T13:40:56.257" v="1615" actId="1076"/>
        <pc:sldMkLst>
          <pc:docMk/>
          <pc:sldMk cId="1822844449" sldId="275"/>
        </pc:sldMkLst>
        <pc:spChg chg="add del mod">
          <ac:chgData name="Harshi Rateria" userId="509ab90b-c2bf-43b6-bee4-35299838a0ca" providerId="ADAL" clId="{30A4FB54-0A2B-6444-AFF8-7EB78259ED5C}" dt="2025-01-15T12:56:35.607" v="1457" actId="1076"/>
          <ac:spMkLst>
            <pc:docMk/>
            <pc:sldMk cId="1822844449" sldId="275"/>
            <ac:spMk id="5" creationId="{F095116F-38D9-965D-2BB6-7BFD992D2019}"/>
          </ac:spMkLst>
        </pc:spChg>
        <pc:spChg chg="mod">
          <ac:chgData name="Harshi Rateria" userId="509ab90b-c2bf-43b6-bee4-35299838a0ca" providerId="ADAL" clId="{30A4FB54-0A2B-6444-AFF8-7EB78259ED5C}" dt="2025-01-15T12:55:43.724" v="1447" actId="207"/>
          <ac:spMkLst>
            <pc:docMk/>
            <pc:sldMk cId="1822844449" sldId="275"/>
            <ac:spMk id="13" creationId="{AFD1E2DD-EC59-B1DD-CAD4-D987470DD0F2}"/>
          </ac:spMkLst>
        </pc:spChg>
        <pc:spChg chg="mod">
          <ac:chgData name="Harshi Rateria" userId="509ab90b-c2bf-43b6-bee4-35299838a0ca" providerId="ADAL" clId="{30A4FB54-0A2B-6444-AFF8-7EB78259ED5C}" dt="2025-01-15T13:40:56.257" v="1615" actId="1076"/>
          <ac:spMkLst>
            <pc:docMk/>
            <pc:sldMk cId="1822844449" sldId="275"/>
            <ac:spMk id="16" creationId="{85AE2BD0-6AC2-BE1E-7761-56DDB0D54041}"/>
          </ac:spMkLst>
        </pc:spChg>
        <pc:spChg chg="mod">
          <ac:chgData name="Harshi Rateria" userId="509ab90b-c2bf-43b6-bee4-35299838a0ca" providerId="ADAL" clId="{30A4FB54-0A2B-6444-AFF8-7EB78259ED5C}" dt="2025-01-15T12:55:43.724" v="1447" actId="207"/>
          <ac:spMkLst>
            <pc:docMk/>
            <pc:sldMk cId="1822844449" sldId="275"/>
            <ac:spMk id="22" creationId="{8E4B56EF-9316-60E8-6A6B-7076469139DA}"/>
          </ac:spMkLst>
        </pc:spChg>
        <pc:spChg chg="mod">
          <ac:chgData name="Harshi Rateria" userId="509ab90b-c2bf-43b6-bee4-35299838a0ca" providerId="ADAL" clId="{30A4FB54-0A2B-6444-AFF8-7EB78259ED5C}" dt="2025-01-15T12:55:43.724" v="1447" actId="207"/>
          <ac:spMkLst>
            <pc:docMk/>
            <pc:sldMk cId="1822844449" sldId="275"/>
            <ac:spMk id="23" creationId="{23616F66-E4FD-7A55-D3BD-54431A292693}"/>
          </ac:spMkLst>
        </pc:spChg>
        <pc:spChg chg="mod">
          <ac:chgData name="Harshi Rateria" userId="509ab90b-c2bf-43b6-bee4-35299838a0ca" providerId="ADAL" clId="{30A4FB54-0A2B-6444-AFF8-7EB78259ED5C}" dt="2025-01-15T12:55:43.724" v="1447" actId="207"/>
          <ac:spMkLst>
            <pc:docMk/>
            <pc:sldMk cId="1822844449" sldId="275"/>
            <ac:spMk id="30" creationId="{573FC98C-D66D-0512-6181-1E79BA44C027}"/>
          </ac:spMkLst>
        </pc:spChg>
        <pc:spChg chg="mod">
          <ac:chgData name="Harshi Rateria" userId="509ab90b-c2bf-43b6-bee4-35299838a0ca" providerId="ADAL" clId="{30A4FB54-0A2B-6444-AFF8-7EB78259ED5C}" dt="2025-01-15T12:56:30.685" v="1455" actId="1076"/>
          <ac:spMkLst>
            <pc:docMk/>
            <pc:sldMk cId="1822844449" sldId="275"/>
            <ac:spMk id="55" creationId="{6DF40141-C73B-33B8-4166-B7C609D3564C}"/>
          </ac:spMkLst>
        </pc:spChg>
        <pc:spChg chg="mod">
          <ac:chgData name="Harshi Rateria" userId="509ab90b-c2bf-43b6-bee4-35299838a0ca" providerId="ADAL" clId="{30A4FB54-0A2B-6444-AFF8-7EB78259ED5C}" dt="2025-01-15T12:56:38.408" v="1458" actId="1076"/>
          <ac:spMkLst>
            <pc:docMk/>
            <pc:sldMk cId="1822844449" sldId="275"/>
            <ac:spMk id="56" creationId="{16B07985-526E-E2D4-2A8A-88CDA132DCD1}"/>
          </ac:spMkLst>
        </pc:spChg>
        <pc:spChg chg="mod">
          <ac:chgData name="Harshi Rateria" userId="509ab90b-c2bf-43b6-bee4-35299838a0ca" providerId="ADAL" clId="{30A4FB54-0A2B-6444-AFF8-7EB78259ED5C}" dt="2025-01-15T13:40:47.843" v="1607" actId="1037"/>
          <ac:spMkLst>
            <pc:docMk/>
            <pc:sldMk cId="1822844449" sldId="275"/>
            <ac:spMk id="95" creationId="{9EB3095B-1F84-3AB8-F6C5-624C89460048}"/>
          </ac:spMkLst>
        </pc:spChg>
        <pc:picChg chg="add del mod modCrop">
          <ac:chgData name="Harshi Rateria" userId="509ab90b-c2bf-43b6-bee4-35299838a0ca" providerId="ADAL" clId="{30A4FB54-0A2B-6444-AFF8-7EB78259ED5C}" dt="2025-01-15T12:55:19.921" v="1409" actId="14100"/>
          <ac:picMkLst>
            <pc:docMk/>
            <pc:sldMk cId="1822844449" sldId="275"/>
            <ac:picMk id="4" creationId="{C445A65C-7DD4-D0BE-BF27-D985A69D7AFE}"/>
          </ac:picMkLst>
        </pc:picChg>
        <pc:picChg chg="mod">
          <ac:chgData name="Harshi Rateria" userId="509ab90b-c2bf-43b6-bee4-35299838a0ca" providerId="ADAL" clId="{30A4FB54-0A2B-6444-AFF8-7EB78259ED5C}" dt="2025-01-15T12:56:10.122" v="1451" actId="207"/>
          <ac:picMkLst>
            <pc:docMk/>
            <pc:sldMk cId="1822844449" sldId="275"/>
            <ac:picMk id="14" creationId="{B18A6E02-9070-7AFB-CD8A-FDF9F9D7EDF1}"/>
          </ac:picMkLst>
        </pc:picChg>
        <pc:picChg chg="mod">
          <ac:chgData name="Harshi Rateria" userId="509ab90b-c2bf-43b6-bee4-35299838a0ca" providerId="ADAL" clId="{30A4FB54-0A2B-6444-AFF8-7EB78259ED5C}" dt="2025-01-15T12:56:16.853" v="1452" actId="207"/>
          <ac:picMkLst>
            <pc:docMk/>
            <pc:sldMk cId="1822844449" sldId="275"/>
            <ac:picMk id="21" creationId="{85C9A9CF-BA06-7C1A-A533-BE7E0EE92EE2}"/>
          </ac:picMkLst>
        </pc:picChg>
        <pc:picChg chg="mod">
          <ac:chgData name="Harshi Rateria" userId="509ab90b-c2bf-43b6-bee4-35299838a0ca" providerId="ADAL" clId="{30A4FB54-0A2B-6444-AFF8-7EB78259ED5C}" dt="2025-01-15T13:40:51.880" v="1614" actId="1037"/>
          <ac:picMkLst>
            <pc:docMk/>
            <pc:sldMk cId="1822844449" sldId="275"/>
            <ac:picMk id="39" creationId="{626ACEC4-D08A-A24F-A3E5-B4E061F01D29}"/>
          </ac:picMkLst>
        </pc:picChg>
      </pc:sldChg>
      <pc:sldChg chg="addSp delSp modSp del mod modTransition modShow">
        <pc:chgData name="Harshi Rateria" userId="509ab90b-c2bf-43b6-bee4-35299838a0ca" providerId="ADAL" clId="{30A4FB54-0A2B-6444-AFF8-7EB78259ED5C}" dt="2025-01-15T13:11:13.151" v="1506" actId="2696"/>
        <pc:sldMkLst>
          <pc:docMk/>
          <pc:sldMk cId="150871088" sldId="276"/>
        </pc:sldMkLst>
      </pc:sldChg>
      <pc:sldChg chg="modSp add">
        <pc:chgData name="Harshi Rateria" userId="509ab90b-c2bf-43b6-bee4-35299838a0ca" providerId="ADAL" clId="{30A4FB54-0A2B-6444-AFF8-7EB78259ED5C}" dt="2025-01-15T13:11:16.420" v="1507"/>
        <pc:sldMkLst>
          <pc:docMk/>
          <pc:sldMk cId="969732776" sldId="276"/>
        </pc:sldMkLst>
      </pc:sldChg>
      <pc:sldChg chg="modTransition">
        <pc:chgData name="Harshi Rateria" userId="509ab90b-c2bf-43b6-bee4-35299838a0ca" providerId="ADAL" clId="{30A4FB54-0A2B-6444-AFF8-7EB78259ED5C}" dt="2025-01-15T11:42:03.356" v="1154"/>
        <pc:sldMkLst>
          <pc:docMk/>
          <pc:sldMk cId="4245125396" sldId="277"/>
        </pc:sldMkLst>
      </pc:sldChg>
      <pc:sldChg chg="modTransition">
        <pc:chgData name="Harshi Rateria" userId="509ab90b-c2bf-43b6-bee4-35299838a0ca" providerId="ADAL" clId="{30A4FB54-0A2B-6444-AFF8-7EB78259ED5C}" dt="2025-01-15T11:42:03.356" v="1154"/>
        <pc:sldMkLst>
          <pc:docMk/>
          <pc:sldMk cId="1240683963" sldId="278"/>
        </pc:sldMkLst>
      </pc:sldChg>
      <pc:sldChg chg="modTransition">
        <pc:chgData name="Harshi Rateria" userId="509ab90b-c2bf-43b6-bee4-35299838a0ca" providerId="ADAL" clId="{30A4FB54-0A2B-6444-AFF8-7EB78259ED5C}" dt="2025-01-15T11:42:03.356" v="1154"/>
        <pc:sldMkLst>
          <pc:docMk/>
          <pc:sldMk cId="1558660824" sldId="279"/>
        </pc:sldMkLst>
      </pc:sldChg>
      <pc:sldChg chg="modTransition">
        <pc:chgData name="Harshi Rateria" userId="509ab90b-c2bf-43b6-bee4-35299838a0ca" providerId="ADAL" clId="{30A4FB54-0A2B-6444-AFF8-7EB78259ED5C}" dt="2025-01-15T11:42:03.356" v="1154"/>
        <pc:sldMkLst>
          <pc:docMk/>
          <pc:sldMk cId="1161784110" sldId="280"/>
        </pc:sldMkLst>
      </pc:sldChg>
      <pc:sldChg chg="addSp delSp modSp add del mod modShow">
        <pc:chgData name="Harshi Rateria" userId="509ab90b-c2bf-43b6-bee4-35299838a0ca" providerId="ADAL" clId="{30A4FB54-0A2B-6444-AFF8-7EB78259ED5C}" dt="2025-01-15T08:44:20.119" v="459" actId="729"/>
        <pc:sldMkLst>
          <pc:docMk/>
          <pc:sldMk cId="4058344080" sldId="280"/>
        </pc:sldMkLst>
      </pc:sldChg>
      <pc:sldChg chg="add mod ord modShow">
        <pc:chgData name="Harshi Rateria" userId="509ab90b-c2bf-43b6-bee4-35299838a0ca" providerId="ADAL" clId="{30A4FB54-0A2B-6444-AFF8-7EB78259ED5C}" dt="2025-01-15T07:13:19.210" v="2" actId="20578"/>
        <pc:sldMkLst>
          <pc:docMk/>
          <pc:sldMk cId="2266765414" sldId="281"/>
        </pc:sldMkLst>
      </pc:sldChg>
      <pc:sldChg chg="addSp delSp modSp add mod modClrScheme chgLayout">
        <pc:chgData name="Harshi Rateria" userId="509ab90b-c2bf-43b6-bee4-35299838a0ca" providerId="ADAL" clId="{30A4FB54-0A2B-6444-AFF8-7EB78259ED5C}" dt="2025-01-16T05:53:36.609" v="1695" actId="207"/>
        <pc:sldMkLst>
          <pc:docMk/>
          <pc:sldMk cId="3196026138" sldId="281"/>
        </pc:sldMkLst>
        <pc:spChg chg="add mod">
          <ac:chgData name="Harshi Rateria" userId="509ab90b-c2bf-43b6-bee4-35299838a0ca" providerId="ADAL" clId="{30A4FB54-0A2B-6444-AFF8-7EB78259ED5C}" dt="2025-01-15T13:19:31.122" v="1547" actId="14100"/>
          <ac:spMkLst>
            <pc:docMk/>
            <pc:sldMk cId="3196026138" sldId="281"/>
            <ac:spMk id="6" creationId="{82CD41B9-BF31-997D-013B-7671BA767E83}"/>
          </ac:spMkLst>
        </pc:spChg>
        <pc:spChg chg="add mod">
          <ac:chgData name="Harshi Rateria" userId="509ab90b-c2bf-43b6-bee4-35299838a0ca" providerId="ADAL" clId="{30A4FB54-0A2B-6444-AFF8-7EB78259ED5C}" dt="2025-01-15T13:19:34.886" v="1548" actId="14100"/>
          <ac:spMkLst>
            <pc:docMk/>
            <pc:sldMk cId="3196026138" sldId="281"/>
            <ac:spMk id="7" creationId="{E2B46EA8-74A9-4994-7F1A-0981F1DE267A}"/>
          </ac:spMkLst>
        </pc:spChg>
        <pc:spChg chg="add mod">
          <ac:chgData name="Harshi Rateria" userId="509ab90b-c2bf-43b6-bee4-35299838a0ca" providerId="ADAL" clId="{30A4FB54-0A2B-6444-AFF8-7EB78259ED5C}" dt="2025-01-15T13:20:41.990" v="1553" actId="2711"/>
          <ac:spMkLst>
            <pc:docMk/>
            <pc:sldMk cId="3196026138" sldId="281"/>
            <ac:spMk id="8" creationId="{89A3F35E-05E4-99D2-7DB0-A51D6CCB33CE}"/>
          </ac:spMkLst>
        </pc:spChg>
        <pc:spChg chg="mod">
          <ac:chgData name="Harshi Rateria" userId="509ab90b-c2bf-43b6-bee4-35299838a0ca" providerId="ADAL" clId="{30A4FB54-0A2B-6444-AFF8-7EB78259ED5C}" dt="2025-01-15T13:24:14.179" v="1592" actId="14100"/>
          <ac:spMkLst>
            <pc:docMk/>
            <pc:sldMk cId="3196026138" sldId="281"/>
            <ac:spMk id="21" creationId="{03678DDC-D745-0992-B13E-7385348A3B7A}"/>
          </ac:spMkLst>
        </pc:spChg>
        <pc:spChg chg="mod">
          <ac:chgData name="Harshi Rateria" userId="509ab90b-c2bf-43b6-bee4-35299838a0ca" providerId="ADAL" clId="{30A4FB54-0A2B-6444-AFF8-7EB78259ED5C}" dt="2025-01-16T05:53:29.616" v="1694" actId="207"/>
          <ac:spMkLst>
            <pc:docMk/>
            <pc:sldMk cId="3196026138" sldId="281"/>
            <ac:spMk id="22" creationId="{30C72C5A-D23B-8A02-26A8-A670B8DCDC32}"/>
          </ac:spMkLst>
        </pc:spChg>
        <pc:spChg chg="mod">
          <ac:chgData name="Harshi Rateria" userId="509ab90b-c2bf-43b6-bee4-35299838a0ca" providerId="ADAL" clId="{30A4FB54-0A2B-6444-AFF8-7EB78259ED5C}" dt="2025-01-15T13:23:54.963" v="1588" actId="1076"/>
          <ac:spMkLst>
            <pc:docMk/>
            <pc:sldMk cId="3196026138" sldId="281"/>
            <ac:spMk id="30" creationId="{25AE7F82-AFE5-A901-F057-EFD4AD5CDA28}"/>
          </ac:spMkLst>
        </pc:spChg>
        <pc:spChg chg="mod">
          <ac:chgData name="Harshi Rateria" userId="509ab90b-c2bf-43b6-bee4-35299838a0ca" providerId="ADAL" clId="{30A4FB54-0A2B-6444-AFF8-7EB78259ED5C}" dt="2025-01-15T13:24:09.675" v="1591" actId="14100"/>
          <ac:spMkLst>
            <pc:docMk/>
            <pc:sldMk cId="3196026138" sldId="281"/>
            <ac:spMk id="32" creationId="{E0ED5684-0931-064D-6025-1D32FC3552A5}"/>
          </ac:spMkLst>
        </pc:spChg>
        <pc:spChg chg="mod">
          <ac:chgData name="Harshi Rateria" userId="509ab90b-c2bf-43b6-bee4-35299838a0ca" providerId="ADAL" clId="{30A4FB54-0A2B-6444-AFF8-7EB78259ED5C}" dt="2025-01-15T13:23:54.963" v="1588" actId="1076"/>
          <ac:spMkLst>
            <pc:docMk/>
            <pc:sldMk cId="3196026138" sldId="281"/>
            <ac:spMk id="33" creationId="{D9725574-50A4-11B9-8861-CBABE7E22D71}"/>
          </ac:spMkLst>
        </pc:spChg>
        <pc:spChg chg="mod">
          <ac:chgData name="Harshi Rateria" userId="509ab90b-c2bf-43b6-bee4-35299838a0ca" providerId="ADAL" clId="{30A4FB54-0A2B-6444-AFF8-7EB78259ED5C}" dt="2025-01-15T13:23:59.043" v="1589" actId="14100"/>
          <ac:spMkLst>
            <pc:docMk/>
            <pc:sldMk cId="3196026138" sldId="281"/>
            <ac:spMk id="34" creationId="{84C7E935-ECDB-70A3-5F11-2723050F71BC}"/>
          </ac:spMkLst>
        </pc:spChg>
        <pc:spChg chg="mod">
          <ac:chgData name="Harshi Rateria" userId="509ab90b-c2bf-43b6-bee4-35299838a0ca" providerId="ADAL" clId="{30A4FB54-0A2B-6444-AFF8-7EB78259ED5C}" dt="2025-01-15T13:23:54.963" v="1588" actId="1076"/>
          <ac:spMkLst>
            <pc:docMk/>
            <pc:sldMk cId="3196026138" sldId="281"/>
            <ac:spMk id="35" creationId="{CB976FEB-02F0-3607-7273-CDEB448C9AB2}"/>
          </ac:spMkLst>
        </pc:spChg>
        <pc:spChg chg="mod">
          <ac:chgData name="Harshi Rateria" userId="509ab90b-c2bf-43b6-bee4-35299838a0ca" providerId="ADAL" clId="{30A4FB54-0A2B-6444-AFF8-7EB78259ED5C}" dt="2025-01-15T13:19:49.644" v="1551" actId="207"/>
          <ac:spMkLst>
            <pc:docMk/>
            <pc:sldMk cId="3196026138" sldId="281"/>
            <ac:spMk id="37" creationId="{387524D2-7CA5-C81D-8EB6-6155BC5109B6}"/>
          </ac:spMkLst>
        </pc:spChg>
        <pc:spChg chg="mod">
          <ac:chgData name="Harshi Rateria" userId="509ab90b-c2bf-43b6-bee4-35299838a0ca" providerId="ADAL" clId="{30A4FB54-0A2B-6444-AFF8-7EB78259ED5C}" dt="2025-01-15T13:23:54.963" v="1588" actId="1076"/>
          <ac:spMkLst>
            <pc:docMk/>
            <pc:sldMk cId="3196026138" sldId="281"/>
            <ac:spMk id="41" creationId="{33866305-57C9-9071-6FB7-2C49A8BD4A47}"/>
          </ac:spMkLst>
        </pc:spChg>
        <pc:spChg chg="mod">
          <ac:chgData name="Harshi Rateria" userId="509ab90b-c2bf-43b6-bee4-35299838a0ca" providerId="ADAL" clId="{30A4FB54-0A2B-6444-AFF8-7EB78259ED5C}" dt="2025-01-16T05:53:36.609" v="1695" actId="207"/>
          <ac:spMkLst>
            <pc:docMk/>
            <pc:sldMk cId="3196026138" sldId="281"/>
            <ac:spMk id="42" creationId="{8BF1C696-F5CD-BB00-E324-54DB77A04235}"/>
          </ac:spMkLst>
        </pc:spChg>
        <pc:spChg chg="mod">
          <ac:chgData name="Harshi Rateria" userId="509ab90b-c2bf-43b6-bee4-35299838a0ca" providerId="ADAL" clId="{30A4FB54-0A2B-6444-AFF8-7EB78259ED5C}" dt="2025-01-15T13:23:54.963" v="1588" actId="1076"/>
          <ac:spMkLst>
            <pc:docMk/>
            <pc:sldMk cId="3196026138" sldId="281"/>
            <ac:spMk id="43" creationId="{5A1610F5-826F-B72E-74CD-2DB0EEEBEDAC}"/>
          </ac:spMkLst>
        </pc:spChg>
        <pc:spChg chg="mod">
          <ac:chgData name="Harshi Rateria" userId="509ab90b-c2bf-43b6-bee4-35299838a0ca" providerId="ADAL" clId="{30A4FB54-0A2B-6444-AFF8-7EB78259ED5C}" dt="2025-01-15T13:21:38.948" v="1566" actId="1035"/>
          <ac:spMkLst>
            <pc:docMk/>
            <pc:sldMk cId="3196026138" sldId="281"/>
            <ac:spMk id="44" creationId="{383EFA6F-5471-925E-DAF1-94EC94D3E147}"/>
          </ac:spMkLst>
        </pc:spChg>
        <pc:spChg chg="mod">
          <ac:chgData name="Harshi Rateria" userId="509ab90b-c2bf-43b6-bee4-35299838a0ca" providerId="ADAL" clId="{30A4FB54-0A2B-6444-AFF8-7EB78259ED5C}" dt="2025-01-15T13:21:38.948" v="1566" actId="1035"/>
          <ac:spMkLst>
            <pc:docMk/>
            <pc:sldMk cId="3196026138" sldId="281"/>
            <ac:spMk id="46" creationId="{3A16600B-A182-98A6-BCB1-7E42BF073B4C}"/>
          </ac:spMkLst>
        </pc:spChg>
        <pc:spChg chg="mod">
          <ac:chgData name="Harshi Rateria" userId="509ab90b-c2bf-43b6-bee4-35299838a0ca" providerId="ADAL" clId="{30A4FB54-0A2B-6444-AFF8-7EB78259ED5C}" dt="2025-01-15T13:21:38.948" v="1566" actId="1035"/>
          <ac:spMkLst>
            <pc:docMk/>
            <pc:sldMk cId="3196026138" sldId="281"/>
            <ac:spMk id="47" creationId="{1D180C6A-78E9-A3C2-A240-323A13303654}"/>
          </ac:spMkLst>
        </pc:spChg>
        <pc:spChg chg="mod">
          <ac:chgData name="Harshi Rateria" userId="509ab90b-c2bf-43b6-bee4-35299838a0ca" providerId="ADAL" clId="{30A4FB54-0A2B-6444-AFF8-7EB78259ED5C}" dt="2025-01-15T13:21:38.948" v="1566" actId="1035"/>
          <ac:spMkLst>
            <pc:docMk/>
            <pc:sldMk cId="3196026138" sldId="281"/>
            <ac:spMk id="48" creationId="{51FD8BBB-A9D3-7653-8D79-0C125497C05E}"/>
          </ac:spMkLst>
        </pc:spChg>
        <pc:spChg chg="mod">
          <ac:chgData name="Harshi Rateria" userId="509ab90b-c2bf-43b6-bee4-35299838a0ca" providerId="ADAL" clId="{30A4FB54-0A2B-6444-AFF8-7EB78259ED5C}" dt="2025-01-15T13:23:54.963" v="1588" actId="1076"/>
          <ac:spMkLst>
            <pc:docMk/>
            <pc:sldMk cId="3196026138" sldId="281"/>
            <ac:spMk id="50" creationId="{9FB57AD6-C623-16C2-72EE-FE7C1583A3DA}"/>
          </ac:spMkLst>
        </pc:spChg>
        <pc:spChg chg="mod">
          <ac:chgData name="Harshi Rateria" userId="509ab90b-c2bf-43b6-bee4-35299838a0ca" providerId="ADAL" clId="{30A4FB54-0A2B-6444-AFF8-7EB78259ED5C}" dt="2025-01-15T13:20:41.990" v="1553" actId="2711"/>
          <ac:spMkLst>
            <pc:docMk/>
            <pc:sldMk cId="3196026138" sldId="281"/>
            <ac:spMk id="51" creationId="{C1743477-0637-4691-91EC-7C12DE435BCB}"/>
          </ac:spMkLst>
        </pc:spChg>
        <pc:spChg chg="mod">
          <ac:chgData name="Harshi Rateria" userId="509ab90b-c2bf-43b6-bee4-35299838a0ca" providerId="ADAL" clId="{30A4FB54-0A2B-6444-AFF8-7EB78259ED5C}" dt="2025-01-15T13:20:41.990" v="1553" actId="2711"/>
          <ac:spMkLst>
            <pc:docMk/>
            <pc:sldMk cId="3196026138" sldId="281"/>
            <ac:spMk id="56" creationId="{C33652C0-E6B8-DA89-1916-599D909695AC}"/>
          </ac:spMkLst>
        </pc:spChg>
        <pc:spChg chg="mod">
          <ac:chgData name="Harshi Rateria" userId="509ab90b-c2bf-43b6-bee4-35299838a0ca" providerId="ADAL" clId="{30A4FB54-0A2B-6444-AFF8-7EB78259ED5C}" dt="2025-01-15T13:19:49.644" v="1551" actId="207"/>
          <ac:spMkLst>
            <pc:docMk/>
            <pc:sldMk cId="3196026138" sldId="281"/>
            <ac:spMk id="57" creationId="{21CE358D-F109-36DA-8B54-B5545968ED0F}"/>
          </ac:spMkLst>
        </pc:spChg>
        <pc:picChg chg="mod">
          <ac:chgData name="Harshi Rateria" userId="509ab90b-c2bf-43b6-bee4-35299838a0ca" providerId="ADAL" clId="{30A4FB54-0A2B-6444-AFF8-7EB78259ED5C}" dt="2025-01-15T13:24:20.826" v="1593" actId="1076"/>
          <ac:picMkLst>
            <pc:docMk/>
            <pc:sldMk cId="3196026138" sldId="281"/>
            <ac:picMk id="2" creationId="{84FBC688-D551-A26D-B1DF-4C8217AE605B}"/>
          </ac:picMkLst>
        </pc:picChg>
        <pc:picChg chg="mod">
          <ac:chgData name="Harshi Rateria" userId="509ab90b-c2bf-43b6-bee4-35299838a0ca" providerId="ADAL" clId="{30A4FB54-0A2B-6444-AFF8-7EB78259ED5C}" dt="2025-01-15T13:23:54.963" v="1588" actId="1076"/>
          <ac:picMkLst>
            <pc:docMk/>
            <pc:sldMk cId="3196026138" sldId="281"/>
            <ac:picMk id="45" creationId="{B2E77ABD-BEE3-FC5F-46F0-89B903E2F16C}"/>
          </ac:picMkLst>
        </pc:picChg>
        <pc:picChg chg="mod">
          <ac:chgData name="Harshi Rateria" userId="509ab90b-c2bf-43b6-bee4-35299838a0ca" providerId="ADAL" clId="{30A4FB54-0A2B-6444-AFF8-7EB78259ED5C}" dt="2025-01-15T13:21:23.337" v="1560" actId="207"/>
          <ac:picMkLst>
            <pc:docMk/>
            <pc:sldMk cId="3196026138" sldId="281"/>
            <ac:picMk id="49" creationId="{6B38674E-179B-DE5B-94E1-EFF16327887F}"/>
          </ac:picMkLst>
        </pc:picChg>
        <pc:picChg chg="mod">
          <ac:chgData name="Harshi Rateria" userId="509ab90b-c2bf-43b6-bee4-35299838a0ca" providerId="ADAL" clId="{30A4FB54-0A2B-6444-AFF8-7EB78259ED5C}" dt="2025-01-15T13:22:47.691" v="1577" actId="207"/>
          <ac:picMkLst>
            <pc:docMk/>
            <pc:sldMk cId="3196026138" sldId="281"/>
            <ac:picMk id="53" creationId="{DB0D216B-EA4D-C874-F83C-32474E7C4C11}"/>
          </ac:picMkLst>
        </pc:picChg>
        <pc:picChg chg="mod">
          <ac:chgData name="Harshi Rateria" userId="509ab90b-c2bf-43b6-bee4-35299838a0ca" providerId="ADAL" clId="{30A4FB54-0A2B-6444-AFF8-7EB78259ED5C}" dt="2025-01-15T13:23:54.963" v="1588" actId="1076"/>
          <ac:picMkLst>
            <pc:docMk/>
            <pc:sldMk cId="3196026138" sldId="281"/>
            <ac:picMk id="55" creationId="{F128CE59-A984-2BB8-467B-A6E713F6CAFD}"/>
          </ac:picMkLst>
        </pc:picChg>
      </pc:sldChg>
      <pc:sldChg chg="add del">
        <pc:chgData name="Harshi Rateria" userId="509ab90b-c2bf-43b6-bee4-35299838a0ca" providerId="ADAL" clId="{30A4FB54-0A2B-6444-AFF8-7EB78259ED5C}" dt="2025-01-15T12:37:24.406" v="1287" actId="2696"/>
        <pc:sldMkLst>
          <pc:docMk/>
          <pc:sldMk cId="3259453010" sldId="281"/>
        </pc:sldMkLst>
      </pc:sldChg>
      <pc:sldChg chg="modTransition">
        <pc:chgData name="Harshi Rateria" userId="509ab90b-c2bf-43b6-bee4-35299838a0ca" providerId="ADAL" clId="{30A4FB54-0A2B-6444-AFF8-7EB78259ED5C}" dt="2025-01-15T11:42:03.356" v="1154"/>
        <pc:sldMkLst>
          <pc:docMk/>
          <pc:sldMk cId="3753633270" sldId="282"/>
        </pc:sldMkLst>
      </pc:sldChg>
      <pc:sldChg chg="modTransition">
        <pc:chgData name="Harshi Rateria" userId="509ab90b-c2bf-43b6-bee4-35299838a0ca" providerId="ADAL" clId="{30A4FB54-0A2B-6444-AFF8-7EB78259ED5C}" dt="2025-01-15T11:42:03.356" v="1154"/>
        <pc:sldMkLst>
          <pc:docMk/>
          <pc:sldMk cId="2453782732" sldId="283"/>
        </pc:sldMkLst>
      </pc:sldChg>
      <pc:sldChg chg="modTransition">
        <pc:chgData name="Harshi Rateria" userId="509ab90b-c2bf-43b6-bee4-35299838a0ca" providerId="ADAL" clId="{30A4FB54-0A2B-6444-AFF8-7EB78259ED5C}" dt="2025-01-15T11:42:03.356" v="1154"/>
        <pc:sldMkLst>
          <pc:docMk/>
          <pc:sldMk cId="595150051" sldId="284"/>
        </pc:sldMkLst>
      </pc:sldChg>
      <pc:sldChg chg="modTransition">
        <pc:chgData name="Harshi Rateria" userId="509ab90b-c2bf-43b6-bee4-35299838a0ca" providerId="ADAL" clId="{30A4FB54-0A2B-6444-AFF8-7EB78259ED5C}" dt="2025-01-15T11:42:03.356" v="1154"/>
        <pc:sldMkLst>
          <pc:docMk/>
          <pc:sldMk cId="2233467875" sldId="285"/>
        </pc:sldMkLst>
      </pc:sldChg>
      <pc:sldChg chg="addSp delSp modSp add mod modTransition modClrScheme chgLayout">
        <pc:chgData name="Harshi Rateria" userId="509ab90b-c2bf-43b6-bee4-35299838a0ca" providerId="ADAL" clId="{30A4FB54-0A2B-6444-AFF8-7EB78259ED5C}" dt="2025-01-16T05:54:31.751" v="1699" actId="14100"/>
        <pc:sldMkLst>
          <pc:docMk/>
          <pc:sldMk cId="2161039759" sldId="286"/>
        </pc:sldMkLst>
      </pc:sldChg>
      <pc:sldChg chg="addSp delSp modSp add mod modTransition modClrScheme chgLayout">
        <pc:chgData name="Harshi Rateria" userId="509ab90b-c2bf-43b6-bee4-35299838a0ca" providerId="ADAL" clId="{30A4FB54-0A2B-6444-AFF8-7EB78259ED5C}" dt="2025-01-15T11:42:03.356" v="1154"/>
        <pc:sldMkLst>
          <pc:docMk/>
          <pc:sldMk cId="162438159" sldId="287"/>
        </pc:sldMkLst>
      </pc:sldChg>
      <pc:sldChg chg="addSp delSp modSp add mod modTransition modClrScheme chgLayout">
        <pc:chgData name="Harshi Rateria" userId="509ab90b-c2bf-43b6-bee4-35299838a0ca" providerId="ADAL" clId="{30A4FB54-0A2B-6444-AFF8-7EB78259ED5C}" dt="2025-01-15T11:42:03.356" v="1154"/>
        <pc:sldMkLst>
          <pc:docMk/>
          <pc:sldMk cId="3071321685" sldId="288"/>
        </pc:sldMkLst>
      </pc:sldChg>
      <pc:sldChg chg="addSp delSp modSp add mod modTransition modClrScheme chgLayout">
        <pc:chgData name="Harshi Rateria" userId="509ab90b-c2bf-43b6-bee4-35299838a0ca" providerId="ADAL" clId="{30A4FB54-0A2B-6444-AFF8-7EB78259ED5C}" dt="2025-01-15T11:42:03.356" v="1154"/>
        <pc:sldMkLst>
          <pc:docMk/>
          <pc:sldMk cId="2921276079" sldId="289"/>
        </pc:sldMkLst>
        <pc:spChg chg="mod ord">
          <ac:chgData name="Harshi Rateria" userId="509ab90b-c2bf-43b6-bee4-35299838a0ca" providerId="ADAL" clId="{30A4FB54-0A2B-6444-AFF8-7EB78259ED5C}" dt="2025-01-15T09:55:57.203" v="669" actId="2711"/>
          <ac:spMkLst>
            <pc:docMk/>
            <pc:sldMk cId="2921276079" sldId="289"/>
            <ac:spMk id="4" creationId="{F9DCA6C5-4A70-4CF0-3FCA-159A81331115}"/>
          </ac:spMkLst>
        </pc:spChg>
        <pc:spChg chg="mod">
          <ac:chgData name="Harshi Rateria" userId="509ab90b-c2bf-43b6-bee4-35299838a0ca" providerId="ADAL" clId="{30A4FB54-0A2B-6444-AFF8-7EB78259ED5C}" dt="2025-01-15T10:22:59.989" v="925" actId="113"/>
          <ac:spMkLst>
            <pc:docMk/>
            <pc:sldMk cId="2921276079" sldId="289"/>
            <ac:spMk id="5" creationId="{A26D01C1-586A-292C-BE31-F7D43A5178B1}"/>
          </ac:spMkLst>
        </pc:spChg>
        <pc:spChg chg="mod">
          <ac:chgData name="Harshi Rateria" userId="509ab90b-c2bf-43b6-bee4-35299838a0ca" providerId="ADAL" clId="{30A4FB54-0A2B-6444-AFF8-7EB78259ED5C}" dt="2025-01-15T09:53:58.397" v="659" actId="207"/>
          <ac:spMkLst>
            <pc:docMk/>
            <pc:sldMk cId="2921276079" sldId="289"/>
            <ac:spMk id="6" creationId="{1C385724-EE20-F892-1C44-99AD83574832}"/>
          </ac:spMkLst>
        </pc:spChg>
        <pc:spChg chg="mod">
          <ac:chgData name="Harshi Rateria" userId="509ab90b-c2bf-43b6-bee4-35299838a0ca" providerId="ADAL" clId="{30A4FB54-0A2B-6444-AFF8-7EB78259ED5C}" dt="2025-01-15T09:56:55.531" v="822" actId="207"/>
          <ac:spMkLst>
            <pc:docMk/>
            <pc:sldMk cId="2921276079" sldId="289"/>
            <ac:spMk id="7" creationId="{FD7C3A94-A662-BBA9-E5C5-5F3374826320}"/>
          </ac:spMkLst>
        </pc:spChg>
        <pc:spChg chg="mod">
          <ac:chgData name="Harshi Rateria" userId="509ab90b-c2bf-43b6-bee4-35299838a0ca" providerId="ADAL" clId="{30A4FB54-0A2B-6444-AFF8-7EB78259ED5C}" dt="2025-01-15T09:56:55.531" v="822" actId="207"/>
          <ac:spMkLst>
            <pc:docMk/>
            <pc:sldMk cId="2921276079" sldId="289"/>
            <ac:spMk id="8" creationId="{A6FC790A-5318-229F-A0B7-0F9A065534BB}"/>
          </ac:spMkLst>
        </pc:spChg>
        <pc:spChg chg="mod">
          <ac:chgData name="Harshi Rateria" userId="509ab90b-c2bf-43b6-bee4-35299838a0ca" providerId="ADAL" clId="{30A4FB54-0A2B-6444-AFF8-7EB78259ED5C}" dt="2025-01-15T09:56:55.531" v="822" actId="207"/>
          <ac:spMkLst>
            <pc:docMk/>
            <pc:sldMk cId="2921276079" sldId="289"/>
            <ac:spMk id="14" creationId="{9F7548CF-80F3-FEE6-C282-0DD03765EB15}"/>
          </ac:spMkLst>
        </pc:spChg>
        <pc:spChg chg="mod">
          <ac:chgData name="Harshi Rateria" userId="509ab90b-c2bf-43b6-bee4-35299838a0ca" providerId="ADAL" clId="{30A4FB54-0A2B-6444-AFF8-7EB78259ED5C}" dt="2025-01-15T09:57:49.417" v="833" actId="207"/>
          <ac:spMkLst>
            <pc:docMk/>
            <pc:sldMk cId="2921276079" sldId="289"/>
            <ac:spMk id="24" creationId="{4DD27036-7B57-09E0-989D-F44BD8BA806F}"/>
          </ac:spMkLst>
        </pc:spChg>
        <pc:spChg chg="mod">
          <ac:chgData name="Harshi Rateria" userId="509ab90b-c2bf-43b6-bee4-35299838a0ca" providerId="ADAL" clId="{30A4FB54-0A2B-6444-AFF8-7EB78259ED5C}" dt="2025-01-15T09:57:05.158" v="824" actId="1076"/>
          <ac:spMkLst>
            <pc:docMk/>
            <pc:sldMk cId="2921276079" sldId="289"/>
            <ac:spMk id="25" creationId="{B9DED259-F9E2-D048-98E8-4F65351CFDDB}"/>
          </ac:spMkLst>
        </pc:spChg>
        <pc:spChg chg="mod">
          <ac:chgData name="Harshi Rateria" userId="509ab90b-c2bf-43b6-bee4-35299838a0ca" providerId="ADAL" clId="{30A4FB54-0A2B-6444-AFF8-7EB78259ED5C}" dt="2025-01-15T09:55:57.203" v="669" actId="2711"/>
          <ac:spMkLst>
            <pc:docMk/>
            <pc:sldMk cId="2921276079" sldId="289"/>
            <ac:spMk id="39" creationId="{8D8F58FF-7D60-088D-1D1A-6A5A5B0EB832}"/>
          </ac:spMkLst>
        </pc:spChg>
        <pc:spChg chg="mod">
          <ac:chgData name="Harshi Rateria" userId="509ab90b-c2bf-43b6-bee4-35299838a0ca" providerId="ADAL" clId="{30A4FB54-0A2B-6444-AFF8-7EB78259ED5C}" dt="2025-01-15T10:22:53.819" v="922" actId="1076"/>
          <ac:spMkLst>
            <pc:docMk/>
            <pc:sldMk cId="2921276079" sldId="289"/>
            <ac:spMk id="70" creationId="{D0107EDD-E88E-601C-0BA8-046B6241164F}"/>
          </ac:spMkLst>
        </pc:spChg>
        <pc:spChg chg="mod">
          <ac:chgData name="Harshi Rateria" userId="509ab90b-c2bf-43b6-bee4-35299838a0ca" providerId="ADAL" clId="{30A4FB54-0A2B-6444-AFF8-7EB78259ED5C}" dt="2025-01-15T10:22:53.819" v="922" actId="1076"/>
          <ac:spMkLst>
            <pc:docMk/>
            <pc:sldMk cId="2921276079" sldId="289"/>
            <ac:spMk id="71" creationId="{76F56CD3-2DB1-1071-7171-B77CD0670CC2}"/>
          </ac:spMkLst>
        </pc:spChg>
        <pc:spChg chg="mod">
          <ac:chgData name="Harshi Rateria" userId="509ab90b-c2bf-43b6-bee4-35299838a0ca" providerId="ADAL" clId="{30A4FB54-0A2B-6444-AFF8-7EB78259ED5C}" dt="2025-01-15T10:22:53.819" v="922" actId="1076"/>
          <ac:spMkLst>
            <pc:docMk/>
            <pc:sldMk cId="2921276079" sldId="289"/>
            <ac:spMk id="72" creationId="{1B9EA600-CAFA-20A3-7C0E-7A6BDDAAA54B}"/>
          </ac:spMkLst>
        </pc:spChg>
        <pc:spChg chg="mod">
          <ac:chgData name="Harshi Rateria" userId="509ab90b-c2bf-43b6-bee4-35299838a0ca" providerId="ADAL" clId="{30A4FB54-0A2B-6444-AFF8-7EB78259ED5C}" dt="2025-01-15T09:55:48.592" v="668" actId="207"/>
          <ac:spMkLst>
            <pc:docMk/>
            <pc:sldMk cId="2921276079" sldId="289"/>
            <ac:spMk id="76" creationId="{9EB58160-216F-1872-DD27-1298743F0251}"/>
          </ac:spMkLst>
        </pc:spChg>
        <pc:grpChg chg="mod">
          <ac:chgData name="Harshi Rateria" userId="509ab90b-c2bf-43b6-bee4-35299838a0ca" providerId="ADAL" clId="{30A4FB54-0A2B-6444-AFF8-7EB78259ED5C}" dt="2025-01-15T09:57:23.341" v="827" actId="1076"/>
          <ac:grpSpMkLst>
            <pc:docMk/>
            <pc:sldMk cId="2921276079" sldId="289"/>
            <ac:grpSpMk id="2" creationId="{77F7DA38-D492-89E4-1674-67E4345B2E9A}"/>
          </ac:grpSpMkLst>
        </pc:grpChg>
        <pc:grpChg chg="mod">
          <ac:chgData name="Harshi Rateria" userId="509ab90b-c2bf-43b6-bee4-35299838a0ca" providerId="ADAL" clId="{30A4FB54-0A2B-6444-AFF8-7EB78259ED5C}" dt="2025-01-15T09:55:57.203" v="669" actId="2711"/>
          <ac:grpSpMkLst>
            <pc:docMk/>
            <pc:sldMk cId="2921276079" sldId="289"/>
            <ac:grpSpMk id="38" creationId="{FB3ED847-5F78-859E-9513-84EFF497D9BB}"/>
          </ac:grpSpMkLst>
        </pc:grpChg>
        <pc:grpChg chg="mod">
          <ac:chgData name="Harshi Rateria" userId="509ab90b-c2bf-43b6-bee4-35299838a0ca" providerId="ADAL" clId="{30A4FB54-0A2B-6444-AFF8-7EB78259ED5C}" dt="2025-01-15T09:56:33.419" v="694" actId="1076"/>
          <ac:grpSpMkLst>
            <pc:docMk/>
            <pc:sldMk cId="2921276079" sldId="289"/>
            <ac:grpSpMk id="45" creationId="{A2FD80C5-43B3-5C64-3108-88019DB4D5CF}"/>
          </ac:grpSpMkLst>
        </pc:grpChg>
      </pc:sldChg>
      <pc:sldChg chg="addSp delSp modSp add mod modTransition modClrScheme chgLayout">
        <pc:chgData name="Harshi Rateria" userId="509ab90b-c2bf-43b6-bee4-35299838a0ca" providerId="ADAL" clId="{30A4FB54-0A2B-6444-AFF8-7EB78259ED5C}" dt="2025-01-15T11:42:03.356" v="1154"/>
        <pc:sldMkLst>
          <pc:docMk/>
          <pc:sldMk cId="3973081514" sldId="290"/>
        </pc:sldMkLst>
        <pc:spChg chg="mod">
          <ac:chgData name="Harshi Rateria" userId="509ab90b-c2bf-43b6-bee4-35299838a0ca" providerId="ADAL" clId="{30A4FB54-0A2B-6444-AFF8-7EB78259ED5C}" dt="2025-01-15T09:49:12.133" v="603" actId="1076"/>
          <ac:spMkLst>
            <pc:docMk/>
            <pc:sldMk cId="3973081514" sldId="290"/>
            <ac:spMk id="11" creationId="{16E5DF13-DF94-A939-1806-70A0EE24A871}"/>
          </ac:spMkLst>
        </pc:spChg>
        <pc:spChg chg="mod">
          <ac:chgData name="Harshi Rateria" userId="509ab90b-c2bf-43b6-bee4-35299838a0ca" providerId="ADAL" clId="{30A4FB54-0A2B-6444-AFF8-7EB78259ED5C}" dt="2025-01-15T09:52:19.623" v="648" actId="1076"/>
          <ac:spMkLst>
            <pc:docMk/>
            <pc:sldMk cId="3973081514" sldId="290"/>
            <ac:spMk id="12" creationId="{D144BFCB-E674-7992-80DE-E1E5B5C91514}"/>
          </ac:spMkLst>
        </pc:spChg>
        <pc:spChg chg="mod">
          <ac:chgData name="Harshi Rateria" userId="509ab90b-c2bf-43b6-bee4-35299838a0ca" providerId="ADAL" clId="{30A4FB54-0A2B-6444-AFF8-7EB78259ED5C}" dt="2025-01-15T09:52:19.623" v="648" actId="1076"/>
          <ac:spMkLst>
            <pc:docMk/>
            <pc:sldMk cId="3973081514" sldId="290"/>
            <ac:spMk id="14" creationId="{36305634-12F5-1112-5579-4ABE66A4C96D}"/>
          </ac:spMkLst>
        </pc:spChg>
        <pc:spChg chg="add mod">
          <ac:chgData name="Harshi Rateria" userId="509ab90b-c2bf-43b6-bee4-35299838a0ca" providerId="ADAL" clId="{30A4FB54-0A2B-6444-AFF8-7EB78259ED5C}" dt="2025-01-15T09:28:50.285" v="544" actId="2711"/>
          <ac:spMkLst>
            <pc:docMk/>
            <pc:sldMk cId="3973081514" sldId="290"/>
            <ac:spMk id="18" creationId="{DB5A790F-944C-4A8B-303C-737ED200A68A}"/>
          </ac:spMkLst>
        </pc:spChg>
        <pc:spChg chg="mod">
          <ac:chgData name="Harshi Rateria" userId="509ab90b-c2bf-43b6-bee4-35299838a0ca" providerId="ADAL" clId="{30A4FB54-0A2B-6444-AFF8-7EB78259ED5C}" dt="2025-01-15T09:50:31.340" v="625" actId="1076"/>
          <ac:spMkLst>
            <pc:docMk/>
            <pc:sldMk cId="3973081514" sldId="290"/>
            <ac:spMk id="20" creationId="{F9BFEE32-4993-FF20-4ADD-124739FF34CC}"/>
          </ac:spMkLst>
        </pc:spChg>
        <pc:spChg chg="add mod">
          <ac:chgData name="Harshi Rateria" userId="509ab90b-c2bf-43b6-bee4-35299838a0ca" providerId="ADAL" clId="{30A4FB54-0A2B-6444-AFF8-7EB78259ED5C}" dt="2025-01-15T09:52:42.936" v="652" actId="167"/>
          <ac:spMkLst>
            <pc:docMk/>
            <pc:sldMk cId="3973081514" sldId="290"/>
            <ac:spMk id="24" creationId="{ED7CEA4B-0483-1EEE-EB61-FB5F0107797F}"/>
          </ac:spMkLst>
        </pc:spChg>
        <pc:spChg chg="add mod">
          <ac:chgData name="Harshi Rateria" userId="509ab90b-c2bf-43b6-bee4-35299838a0ca" providerId="ADAL" clId="{30A4FB54-0A2B-6444-AFF8-7EB78259ED5C}" dt="2025-01-15T09:51:04.034" v="632" actId="2085"/>
          <ac:spMkLst>
            <pc:docMk/>
            <pc:sldMk cId="3973081514" sldId="290"/>
            <ac:spMk id="25" creationId="{929A94A0-20FB-3E92-2EFF-48F439C07948}"/>
          </ac:spMkLst>
        </pc:spChg>
        <pc:spChg chg="add mod">
          <ac:chgData name="Harshi Rateria" userId="509ab90b-c2bf-43b6-bee4-35299838a0ca" providerId="ADAL" clId="{30A4FB54-0A2B-6444-AFF8-7EB78259ED5C}" dt="2025-01-15T09:51:07.110" v="633" actId="2085"/>
          <ac:spMkLst>
            <pc:docMk/>
            <pc:sldMk cId="3973081514" sldId="290"/>
            <ac:spMk id="29" creationId="{3681457B-78AC-7869-FB8C-88D8BB1B0740}"/>
          </ac:spMkLst>
        </pc:spChg>
        <pc:spChg chg="add mod">
          <ac:chgData name="Harshi Rateria" userId="509ab90b-c2bf-43b6-bee4-35299838a0ca" providerId="ADAL" clId="{30A4FB54-0A2B-6444-AFF8-7EB78259ED5C}" dt="2025-01-15T09:51:07.110" v="633" actId="2085"/>
          <ac:spMkLst>
            <pc:docMk/>
            <pc:sldMk cId="3973081514" sldId="290"/>
            <ac:spMk id="30" creationId="{9DC31C4A-8D9E-3BDB-19E1-D30591A1A5F2}"/>
          </ac:spMkLst>
        </pc:spChg>
        <pc:spChg chg="add mod">
          <ac:chgData name="Harshi Rateria" userId="509ab90b-c2bf-43b6-bee4-35299838a0ca" providerId="ADAL" clId="{30A4FB54-0A2B-6444-AFF8-7EB78259ED5C}" dt="2025-01-15T09:52:36.447" v="651" actId="167"/>
          <ac:spMkLst>
            <pc:docMk/>
            <pc:sldMk cId="3973081514" sldId="290"/>
            <ac:spMk id="31" creationId="{6690C43F-B5DC-D2F9-ED22-24014C9FF08C}"/>
          </ac:spMkLst>
        </pc:spChg>
      </pc:sldChg>
      <pc:sldChg chg="addSp delSp modSp add mod modTransition modClrScheme chgLayout">
        <pc:chgData name="Harshi Rateria" userId="509ab90b-c2bf-43b6-bee4-35299838a0ca" providerId="ADAL" clId="{30A4FB54-0A2B-6444-AFF8-7EB78259ED5C}" dt="2025-01-15T11:42:03.356" v="1154"/>
        <pc:sldMkLst>
          <pc:docMk/>
          <pc:sldMk cId="1672098358" sldId="291"/>
        </pc:sldMkLst>
      </pc:sldChg>
      <pc:sldChg chg="addSp delSp modSp add mod modTransition modClrScheme chgLayout">
        <pc:chgData name="Harshi Rateria" userId="509ab90b-c2bf-43b6-bee4-35299838a0ca" providerId="ADAL" clId="{30A4FB54-0A2B-6444-AFF8-7EB78259ED5C}" dt="2025-01-15T11:42:03.356" v="1154"/>
        <pc:sldMkLst>
          <pc:docMk/>
          <pc:sldMk cId="1710977659" sldId="292"/>
        </pc:sldMkLst>
      </pc:sldChg>
      <pc:sldChg chg="addSp delSp modSp add mod modTransition modClrScheme chgLayout">
        <pc:chgData name="Harshi Rateria" userId="509ab90b-c2bf-43b6-bee4-35299838a0ca" providerId="ADAL" clId="{30A4FB54-0A2B-6444-AFF8-7EB78259ED5C}" dt="2025-01-15T12:23:00.155" v="1273" actId="1076"/>
        <pc:sldMkLst>
          <pc:docMk/>
          <pc:sldMk cId="3320606156" sldId="293"/>
        </pc:sldMkLst>
      </pc:sldChg>
      <pc:sldChg chg="addSp delSp modSp add mod modClrScheme chgLayout">
        <pc:chgData name="Harshi Rateria" userId="509ab90b-c2bf-43b6-bee4-35299838a0ca" providerId="ADAL" clId="{30A4FB54-0A2B-6444-AFF8-7EB78259ED5C}" dt="2025-01-15T12:48:02.698" v="1331" actId="1037"/>
        <pc:sldMkLst>
          <pc:docMk/>
          <pc:sldMk cId="4130976296" sldId="294"/>
        </pc:sldMkLst>
        <pc:spChg chg="mod">
          <ac:chgData name="Harshi Rateria" userId="509ab90b-c2bf-43b6-bee4-35299838a0ca" providerId="ADAL" clId="{30A4FB54-0A2B-6444-AFF8-7EB78259ED5C}" dt="2025-01-15T12:47:01.285" v="1319" actId="1076"/>
          <ac:spMkLst>
            <pc:docMk/>
            <pc:sldMk cId="4130976296" sldId="294"/>
            <ac:spMk id="3" creationId="{B67A4B8E-D5B3-145A-55D7-1A6567367573}"/>
          </ac:spMkLst>
        </pc:spChg>
        <pc:spChg chg="mod">
          <ac:chgData name="Harshi Rateria" userId="509ab90b-c2bf-43b6-bee4-35299838a0ca" providerId="ADAL" clId="{30A4FB54-0A2B-6444-AFF8-7EB78259ED5C}" dt="2025-01-15T12:45:32.183" v="1311" actId="2711"/>
          <ac:spMkLst>
            <pc:docMk/>
            <pc:sldMk cId="4130976296" sldId="294"/>
            <ac:spMk id="4" creationId="{6A957D22-5386-46CD-3ACB-7CC5FD1FD033}"/>
          </ac:spMkLst>
        </pc:spChg>
        <pc:spChg chg="mod">
          <ac:chgData name="Harshi Rateria" userId="509ab90b-c2bf-43b6-bee4-35299838a0ca" providerId="ADAL" clId="{30A4FB54-0A2B-6444-AFF8-7EB78259ED5C}" dt="2025-01-15T12:46:25.198" v="1315" actId="1076"/>
          <ac:spMkLst>
            <pc:docMk/>
            <pc:sldMk cId="4130976296" sldId="294"/>
            <ac:spMk id="8" creationId="{03C51EBB-8216-6AD9-5EDC-3C0AD11F29E8}"/>
          </ac:spMkLst>
        </pc:spChg>
        <pc:spChg chg="mod">
          <ac:chgData name="Harshi Rateria" userId="509ab90b-c2bf-43b6-bee4-35299838a0ca" providerId="ADAL" clId="{30A4FB54-0A2B-6444-AFF8-7EB78259ED5C}" dt="2025-01-15T12:47:09.897" v="1321" actId="1076"/>
          <ac:spMkLst>
            <pc:docMk/>
            <pc:sldMk cId="4130976296" sldId="294"/>
            <ac:spMk id="11" creationId="{F5897C84-3224-D7DA-916D-204D9F02FCAD}"/>
          </ac:spMkLst>
        </pc:spChg>
        <pc:spChg chg="mod">
          <ac:chgData name="Harshi Rateria" userId="509ab90b-c2bf-43b6-bee4-35299838a0ca" providerId="ADAL" clId="{30A4FB54-0A2B-6444-AFF8-7EB78259ED5C}" dt="2025-01-15T12:47:47.935" v="1326" actId="1076"/>
          <ac:spMkLst>
            <pc:docMk/>
            <pc:sldMk cId="4130976296" sldId="294"/>
            <ac:spMk id="12" creationId="{9FE5147F-C9CE-16A7-5E0D-56ED85F6CB1E}"/>
          </ac:spMkLst>
        </pc:spChg>
        <pc:spChg chg="mod">
          <ac:chgData name="Harshi Rateria" userId="509ab90b-c2bf-43b6-bee4-35299838a0ca" providerId="ADAL" clId="{30A4FB54-0A2B-6444-AFF8-7EB78259ED5C}" dt="2025-01-15T12:47:31.547" v="1325" actId="554"/>
          <ac:spMkLst>
            <pc:docMk/>
            <pc:sldMk cId="4130976296" sldId="294"/>
            <ac:spMk id="20" creationId="{1CA8E8A2-2FAE-C56C-9FE8-53AC7AD865A5}"/>
          </ac:spMkLst>
        </pc:spChg>
        <pc:spChg chg="mod">
          <ac:chgData name="Harshi Rateria" userId="509ab90b-c2bf-43b6-bee4-35299838a0ca" providerId="ADAL" clId="{30A4FB54-0A2B-6444-AFF8-7EB78259ED5C}" dt="2025-01-15T12:47:31.547" v="1325" actId="554"/>
          <ac:spMkLst>
            <pc:docMk/>
            <pc:sldMk cId="4130976296" sldId="294"/>
            <ac:spMk id="21" creationId="{A22A89F4-6DD2-5D3E-F21F-A9C4EB70F066}"/>
          </ac:spMkLst>
        </pc:spChg>
        <pc:spChg chg="mod">
          <ac:chgData name="Harshi Rateria" userId="509ab90b-c2bf-43b6-bee4-35299838a0ca" providerId="ADAL" clId="{30A4FB54-0A2B-6444-AFF8-7EB78259ED5C}" dt="2025-01-15T12:47:31.547" v="1325" actId="554"/>
          <ac:spMkLst>
            <pc:docMk/>
            <pc:sldMk cId="4130976296" sldId="294"/>
            <ac:spMk id="24" creationId="{03AACF92-4F31-3FA5-776C-C4DA790B55F2}"/>
          </ac:spMkLst>
        </pc:spChg>
        <pc:picChg chg="mod">
          <ac:chgData name="Harshi Rateria" userId="509ab90b-c2bf-43b6-bee4-35299838a0ca" providerId="ADAL" clId="{30A4FB54-0A2B-6444-AFF8-7EB78259ED5C}" dt="2025-01-15T12:47:52.504" v="1327" actId="1076"/>
          <ac:picMkLst>
            <pc:docMk/>
            <pc:sldMk cId="4130976296" sldId="294"/>
            <ac:picMk id="2" creationId="{E8A3EB40-3F64-99BA-A44A-E80F45EF64EF}"/>
          </ac:picMkLst>
        </pc:picChg>
        <pc:picChg chg="mod">
          <ac:chgData name="Harshi Rateria" userId="509ab90b-c2bf-43b6-bee4-35299838a0ca" providerId="ADAL" clId="{30A4FB54-0A2B-6444-AFF8-7EB78259ED5C}" dt="2025-01-15T12:45:32.183" v="1311" actId="2711"/>
          <ac:picMkLst>
            <pc:docMk/>
            <pc:sldMk cId="4130976296" sldId="294"/>
            <ac:picMk id="2050" creationId="{8C2825EA-1AB7-A3FB-9138-5BFB1F323625}"/>
          </ac:picMkLst>
        </pc:picChg>
        <pc:cxnChg chg="mod">
          <ac:chgData name="Harshi Rateria" userId="509ab90b-c2bf-43b6-bee4-35299838a0ca" providerId="ADAL" clId="{30A4FB54-0A2B-6444-AFF8-7EB78259ED5C}" dt="2025-01-15T12:48:02.698" v="1331" actId="1037"/>
          <ac:cxnSpMkLst>
            <pc:docMk/>
            <pc:sldMk cId="4130976296" sldId="294"/>
            <ac:cxnSpMk id="17" creationId="{E61EA63D-48BC-D7ED-8443-8CE763FA3BED}"/>
          </ac:cxnSpMkLst>
        </pc:cxnChg>
      </pc:sldChg>
      <pc:sldChg chg="add del mod modShow">
        <pc:chgData name="Harshi Rateria" userId="509ab90b-c2bf-43b6-bee4-35299838a0ca" providerId="ADAL" clId="{30A4FB54-0A2B-6444-AFF8-7EB78259ED5C}" dt="2025-01-15T13:24:30.116" v="1594" actId="2696"/>
        <pc:sldMkLst>
          <pc:docMk/>
          <pc:sldMk cId="1237095939" sldId="295"/>
        </pc:sldMkLst>
      </pc:sldChg>
      <pc:sldChg chg="addSp delSp modSp add mod modClrScheme chgLayout">
        <pc:chgData name="Harshi Rateria" userId="509ab90b-c2bf-43b6-bee4-35299838a0ca" providerId="ADAL" clId="{30A4FB54-0A2B-6444-AFF8-7EB78259ED5C}" dt="2025-01-15T13:52:19.834" v="1690" actId="166"/>
        <pc:sldMkLst>
          <pc:docMk/>
          <pc:sldMk cId="2608621991" sldId="295"/>
        </pc:sldMkLst>
        <pc:spChg chg="mod">
          <ac:chgData name="Harshi Rateria" userId="509ab90b-c2bf-43b6-bee4-35299838a0ca" providerId="ADAL" clId="{30A4FB54-0A2B-6444-AFF8-7EB78259ED5C}" dt="2025-01-15T13:47:58.970" v="1643" actId="1076"/>
          <ac:spMkLst>
            <pc:docMk/>
            <pc:sldMk cId="2608621991" sldId="295"/>
            <ac:spMk id="3" creationId="{80035B0A-7E88-CA8B-DAE9-BB3C7E5DDAB5}"/>
          </ac:spMkLst>
        </pc:spChg>
        <pc:spChg chg="mod">
          <ac:chgData name="Harshi Rateria" userId="509ab90b-c2bf-43b6-bee4-35299838a0ca" providerId="ADAL" clId="{30A4FB54-0A2B-6444-AFF8-7EB78259ED5C}" dt="2025-01-15T13:46:01.984" v="1632" actId="2711"/>
          <ac:spMkLst>
            <pc:docMk/>
            <pc:sldMk cId="2608621991" sldId="295"/>
            <ac:spMk id="10" creationId="{EA7EFA0A-5486-CFCE-13E3-AAAF83FC1B38}"/>
          </ac:spMkLst>
        </pc:spChg>
        <pc:spChg chg="mod">
          <ac:chgData name="Harshi Rateria" userId="509ab90b-c2bf-43b6-bee4-35299838a0ca" providerId="ADAL" clId="{30A4FB54-0A2B-6444-AFF8-7EB78259ED5C}" dt="2025-01-15T13:48:29.271" v="1648" actId="255"/>
          <ac:spMkLst>
            <pc:docMk/>
            <pc:sldMk cId="2608621991" sldId="295"/>
            <ac:spMk id="14" creationId="{615DA6D0-9A4D-0BAD-367E-40B296458B44}"/>
          </ac:spMkLst>
        </pc:spChg>
        <pc:spChg chg="mod">
          <ac:chgData name="Harshi Rateria" userId="509ab90b-c2bf-43b6-bee4-35299838a0ca" providerId="ADAL" clId="{30A4FB54-0A2B-6444-AFF8-7EB78259ED5C}" dt="2025-01-15T13:48:34.114" v="1649" actId="1076"/>
          <ac:spMkLst>
            <pc:docMk/>
            <pc:sldMk cId="2608621991" sldId="295"/>
            <ac:spMk id="15" creationId="{F273871B-A330-5E83-0472-1CC71241648A}"/>
          </ac:spMkLst>
        </pc:spChg>
        <pc:spChg chg="mod">
          <ac:chgData name="Harshi Rateria" userId="509ab90b-c2bf-43b6-bee4-35299838a0ca" providerId="ADAL" clId="{30A4FB54-0A2B-6444-AFF8-7EB78259ED5C}" dt="2025-01-15T13:48:23.595" v="1647" actId="14100"/>
          <ac:spMkLst>
            <pc:docMk/>
            <pc:sldMk cId="2608621991" sldId="295"/>
            <ac:spMk id="18" creationId="{022ADD08-24E0-9C34-29D3-6EEA46301414}"/>
          </ac:spMkLst>
        </pc:spChg>
        <pc:spChg chg="mod">
          <ac:chgData name="Harshi Rateria" userId="509ab90b-c2bf-43b6-bee4-35299838a0ca" providerId="ADAL" clId="{30A4FB54-0A2B-6444-AFF8-7EB78259ED5C}" dt="2025-01-15T13:46:01.984" v="1632" actId="2711"/>
          <ac:spMkLst>
            <pc:docMk/>
            <pc:sldMk cId="2608621991" sldId="295"/>
            <ac:spMk id="21" creationId="{89841ACE-1FC5-251C-D322-8DB409F06E48}"/>
          </ac:spMkLst>
        </pc:spChg>
        <pc:spChg chg="add del mod">
          <ac:chgData name="Harshi Rateria" userId="509ab90b-c2bf-43b6-bee4-35299838a0ca" providerId="ADAL" clId="{30A4FB54-0A2B-6444-AFF8-7EB78259ED5C}" dt="2025-01-15T13:48:08.430" v="1644" actId="14100"/>
          <ac:spMkLst>
            <pc:docMk/>
            <pc:sldMk cId="2608621991" sldId="295"/>
            <ac:spMk id="23" creationId="{185E65E1-9A9B-F66C-AA5D-6FF5443A45F7}"/>
          </ac:spMkLst>
        </pc:spChg>
        <pc:spChg chg="mod">
          <ac:chgData name="Harshi Rateria" userId="509ab90b-c2bf-43b6-bee4-35299838a0ca" providerId="ADAL" clId="{30A4FB54-0A2B-6444-AFF8-7EB78259ED5C}" dt="2025-01-15T13:51:51.153" v="1688" actId="571"/>
          <ac:spMkLst>
            <pc:docMk/>
            <pc:sldMk cId="2608621991" sldId="295"/>
            <ac:spMk id="26" creationId="{34339D16-4012-0372-7856-3D61BBE3B7C2}"/>
          </ac:spMkLst>
        </pc:spChg>
        <pc:spChg chg="mod">
          <ac:chgData name="Harshi Rateria" userId="509ab90b-c2bf-43b6-bee4-35299838a0ca" providerId="ADAL" clId="{30A4FB54-0A2B-6444-AFF8-7EB78259ED5C}" dt="2025-01-15T13:51:51.153" v="1688" actId="571"/>
          <ac:spMkLst>
            <pc:docMk/>
            <pc:sldMk cId="2608621991" sldId="295"/>
            <ac:spMk id="27" creationId="{8DE4C2CE-5AED-5A84-5410-B99EC8EE377A}"/>
          </ac:spMkLst>
        </pc:spChg>
        <pc:spChg chg="mod">
          <ac:chgData name="Harshi Rateria" userId="509ab90b-c2bf-43b6-bee4-35299838a0ca" providerId="ADAL" clId="{30A4FB54-0A2B-6444-AFF8-7EB78259ED5C}" dt="2025-01-15T13:51:51.153" v="1688" actId="571"/>
          <ac:spMkLst>
            <pc:docMk/>
            <pc:sldMk cId="2608621991" sldId="295"/>
            <ac:spMk id="28" creationId="{892D9073-0029-A352-5EFF-F85C0C92A2ED}"/>
          </ac:spMkLst>
        </pc:spChg>
        <pc:spChg chg="mod">
          <ac:chgData name="Harshi Rateria" userId="509ab90b-c2bf-43b6-bee4-35299838a0ca" providerId="ADAL" clId="{30A4FB54-0A2B-6444-AFF8-7EB78259ED5C}" dt="2025-01-15T13:51:51.153" v="1688" actId="571"/>
          <ac:spMkLst>
            <pc:docMk/>
            <pc:sldMk cId="2608621991" sldId="295"/>
            <ac:spMk id="29" creationId="{940C9A9E-71F1-6AFD-8014-245636AC494D}"/>
          </ac:spMkLst>
        </pc:spChg>
        <pc:spChg chg="mod">
          <ac:chgData name="Harshi Rateria" userId="509ab90b-c2bf-43b6-bee4-35299838a0ca" providerId="ADAL" clId="{30A4FB54-0A2B-6444-AFF8-7EB78259ED5C}" dt="2025-01-15T13:52:19.834" v="1690" actId="166"/>
          <ac:spMkLst>
            <pc:docMk/>
            <pc:sldMk cId="2608621991" sldId="295"/>
            <ac:spMk id="33" creationId="{C454EFA5-F928-AFE9-A850-38D385203425}"/>
          </ac:spMkLst>
        </pc:spChg>
        <pc:spChg chg="mod">
          <ac:chgData name="Harshi Rateria" userId="509ab90b-c2bf-43b6-bee4-35299838a0ca" providerId="ADAL" clId="{30A4FB54-0A2B-6444-AFF8-7EB78259ED5C}" dt="2025-01-15T13:52:19.834" v="1690" actId="166"/>
          <ac:spMkLst>
            <pc:docMk/>
            <pc:sldMk cId="2608621991" sldId="295"/>
            <ac:spMk id="34" creationId="{23F60AB6-8B43-9215-1505-D47CF9C828A9}"/>
          </ac:spMkLst>
        </pc:spChg>
        <pc:spChg chg="mod">
          <ac:chgData name="Harshi Rateria" userId="509ab90b-c2bf-43b6-bee4-35299838a0ca" providerId="ADAL" clId="{30A4FB54-0A2B-6444-AFF8-7EB78259ED5C}" dt="2025-01-15T13:51:51.153" v="1688" actId="571"/>
          <ac:spMkLst>
            <pc:docMk/>
            <pc:sldMk cId="2608621991" sldId="295"/>
            <ac:spMk id="35" creationId="{6CA5FC00-53DD-4C71-3B87-5A0AE2BD9D7A}"/>
          </ac:spMkLst>
        </pc:spChg>
        <pc:spChg chg="mod">
          <ac:chgData name="Harshi Rateria" userId="509ab90b-c2bf-43b6-bee4-35299838a0ca" providerId="ADAL" clId="{30A4FB54-0A2B-6444-AFF8-7EB78259ED5C}" dt="2025-01-15T13:51:51.153" v="1688" actId="571"/>
          <ac:spMkLst>
            <pc:docMk/>
            <pc:sldMk cId="2608621991" sldId="295"/>
            <ac:spMk id="36" creationId="{FA70E85A-429B-A2CE-98B8-EDE226921FAC}"/>
          </ac:spMkLst>
        </pc:spChg>
        <pc:spChg chg="mod">
          <ac:chgData name="Harshi Rateria" userId="509ab90b-c2bf-43b6-bee4-35299838a0ca" providerId="ADAL" clId="{30A4FB54-0A2B-6444-AFF8-7EB78259ED5C}" dt="2025-01-15T13:51:58.316" v="1689" actId="14100"/>
          <ac:spMkLst>
            <pc:docMk/>
            <pc:sldMk cId="2608621991" sldId="295"/>
            <ac:spMk id="37" creationId="{C96C1D46-DB9E-836A-E0E5-2BDC4EB670EB}"/>
          </ac:spMkLst>
        </pc:spChg>
        <pc:spChg chg="mod">
          <ac:chgData name="Harshi Rateria" userId="509ab90b-c2bf-43b6-bee4-35299838a0ca" providerId="ADAL" clId="{30A4FB54-0A2B-6444-AFF8-7EB78259ED5C}" dt="2025-01-15T13:46:01.984" v="1632" actId="2711"/>
          <ac:spMkLst>
            <pc:docMk/>
            <pc:sldMk cId="2608621991" sldId="295"/>
            <ac:spMk id="73" creationId="{F305AAC2-3A54-67C9-EBE0-D8293FB57BF6}"/>
          </ac:spMkLst>
        </pc:spChg>
        <pc:spChg chg="mod">
          <ac:chgData name="Harshi Rateria" userId="509ab90b-c2bf-43b6-bee4-35299838a0ca" providerId="ADAL" clId="{30A4FB54-0A2B-6444-AFF8-7EB78259ED5C}" dt="2025-01-15T13:46:01.984" v="1632" actId="2711"/>
          <ac:spMkLst>
            <pc:docMk/>
            <pc:sldMk cId="2608621991" sldId="295"/>
            <ac:spMk id="80" creationId="{1A60CD43-808A-2EB0-2DFA-750FB6463396}"/>
          </ac:spMkLst>
        </pc:spChg>
        <pc:grpChg chg="mod">
          <ac:chgData name="Harshi Rateria" userId="509ab90b-c2bf-43b6-bee4-35299838a0ca" providerId="ADAL" clId="{30A4FB54-0A2B-6444-AFF8-7EB78259ED5C}" dt="2025-01-15T13:51:51.153" v="1688" actId="571"/>
          <ac:grpSpMkLst>
            <pc:docMk/>
            <pc:sldMk cId="2608621991" sldId="295"/>
            <ac:grpSpMk id="25" creationId="{6F3CBE71-EFB5-6B32-08C5-19AC5BF959FB}"/>
          </ac:grpSpMkLst>
        </pc:grpChg>
        <pc:picChg chg="mod">
          <ac:chgData name="Harshi Rateria" userId="509ab90b-c2bf-43b6-bee4-35299838a0ca" providerId="ADAL" clId="{30A4FB54-0A2B-6444-AFF8-7EB78259ED5C}" dt="2025-01-15T13:47:09.782" v="1640" actId="1076"/>
          <ac:picMkLst>
            <pc:docMk/>
            <pc:sldMk cId="2608621991" sldId="295"/>
            <ac:picMk id="4" creationId="{5063994B-15FC-131B-6A61-A90D270F82C4}"/>
          </ac:picMkLst>
        </pc:picChg>
        <pc:picChg chg="mod">
          <ac:chgData name="Harshi Rateria" userId="509ab90b-c2bf-43b6-bee4-35299838a0ca" providerId="ADAL" clId="{30A4FB54-0A2B-6444-AFF8-7EB78259ED5C}" dt="2025-01-15T13:45:38.929" v="1627" actId="167"/>
          <ac:picMkLst>
            <pc:docMk/>
            <pc:sldMk cId="2608621991" sldId="295"/>
            <ac:picMk id="13" creationId="{83E00BD6-A19E-7258-A11D-83D51BAA8F06}"/>
          </ac:picMkLst>
        </pc:picChg>
        <pc:picChg chg="mod">
          <ac:chgData name="Harshi Rateria" userId="509ab90b-c2bf-43b6-bee4-35299838a0ca" providerId="ADAL" clId="{30A4FB54-0A2B-6444-AFF8-7EB78259ED5C}" dt="2025-01-15T13:48:12.821" v="1645" actId="207"/>
          <ac:picMkLst>
            <pc:docMk/>
            <pc:sldMk cId="2608621991" sldId="295"/>
            <ac:picMk id="16" creationId="{BEDAF1E5-2969-04FE-C91F-0E6AE8C88346}"/>
          </ac:picMkLst>
        </pc:picChg>
        <pc:picChg chg="mod">
          <ac:chgData name="Harshi Rateria" userId="509ab90b-c2bf-43b6-bee4-35299838a0ca" providerId="ADAL" clId="{30A4FB54-0A2B-6444-AFF8-7EB78259ED5C}" dt="2025-01-15T13:46:25.562" v="1636" actId="207"/>
          <ac:picMkLst>
            <pc:docMk/>
            <pc:sldMk cId="2608621991" sldId="295"/>
            <ac:picMk id="24" creationId="{4A8EA889-88F6-383E-112D-6294101CF139}"/>
          </ac:picMkLst>
        </pc:picChg>
        <pc:cxnChg chg="mod">
          <ac:chgData name="Harshi Rateria" userId="509ab90b-c2bf-43b6-bee4-35299838a0ca" providerId="ADAL" clId="{30A4FB54-0A2B-6444-AFF8-7EB78259ED5C}" dt="2025-01-15T13:51:34.892" v="1684" actId="1076"/>
          <ac:cxnSpMkLst>
            <pc:docMk/>
            <pc:sldMk cId="2608621991" sldId="295"/>
            <ac:cxnSpMk id="30" creationId="{67885D1D-6E54-1B40-ECC0-D599EA847112}"/>
          </ac:cxnSpMkLst>
        </pc:cxnChg>
        <pc:cxnChg chg="mod">
          <ac:chgData name="Harshi Rateria" userId="509ab90b-c2bf-43b6-bee4-35299838a0ca" providerId="ADAL" clId="{30A4FB54-0A2B-6444-AFF8-7EB78259ED5C}" dt="2025-01-15T13:52:19.834" v="1690" actId="166"/>
          <ac:cxnSpMkLst>
            <pc:docMk/>
            <pc:sldMk cId="2608621991" sldId="295"/>
            <ac:cxnSpMk id="39" creationId="{0EB7233B-6FE7-B235-6926-F57E49372BA6}"/>
          </ac:cxnSpMkLst>
        </pc:cxnChg>
      </pc:sldChg>
      <pc:sldChg chg="modSp add del mod">
        <pc:chgData name="Harshi Rateria" userId="509ab90b-c2bf-43b6-bee4-35299838a0ca" providerId="ADAL" clId="{30A4FB54-0A2B-6444-AFF8-7EB78259ED5C}" dt="2025-01-15T13:16:49.826" v="1525"/>
        <pc:sldMkLst>
          <pc:docMk/>
          <pc:sldMk cId="3129176128" sldId="295"/>
        </pc:sldMkLst>
      </pc:sldChg>
      <pc:sldChg chg="add del">
        <pc:chgData name="Harshi Rateria" userId="509ab90b-c2bf-43b6-bee4-35299838a0ca" providerId="ADAL" clId="{30A4FB54-0A2B-6444-AFF8-7EB78259ED5C}" dt="2025-01-15T13:24:43.331" v="1596" actId="2696"/>
        <pc:sldMkLst>
          <pc:docMk/>
          <pc:sldMk cId="3347579394" sldId="295"/>
        </pc:sldMkLst>
      </pc:sldChg>
      <pc:sldChg chg="add del">
        <pc:chgData name="Harshi Rateria" userId="509ab90b-c2bf-43b6-bee4-35299838a0ca" providerId="ADAL" clId="{30A4FB54-0A2B-6444-AFF8-7EB78259ED5C}" dt="2025-01-15T13:10:46.308" v="1505" actId="2696"/>
        <pc:sldMkLst>
          <pc:docMk/>
          <pc:sldMk cId="3802224214" sldId="295"/>
        </pc:sldMkLst>
      </pc:sldChg>
      <pc:sldChg chg="modTransition">
        <pc:chgData name="Harshi Rateria" userId="509ab90b-c2bf-43b6-bee4-35299838a0ca" providerId="ADAL" clId="{30A4FB54-0A2B-6444-AFF8-7EB78259ED5C}" dt="2025-01-15T11:42:03.356" v="1154"/>
        <pc:sldMkLst>
          <pc:docMk/>
          <pc:sldMk cId="1973319100" sldId="304"/>
        </pc:sldMkLst>
      </pc:sldChg>
      <pc:sldChg chg="modTransition">
        <pc:chgData name="Harshi Rateria" userId="509ab90b-c2bf-43b6-bee4-35299838a0ca" providerId="ADAL" clId="{30A4FB54-0A2B-6444-AFF8-7EB78259ED5C}" dt="2025-01-15T11:42:03.356" v="1154"/>
        <pc:sldMkLst>
          <pc:docMk/>
          <pc:sldMk cId="1355119565" sldId="322"/>
        </pc:sldMkLst>
      </pc:sldChg>
      <pc:sldChg chg="modTransition">
        <pc:chgData name="Harshi Rateria" userId="509ab90b-c2bf-43b6-bee4-35299838a0ca" providerId="ADAL" clId="{30A4FB54-0A2B-6444-AFF8-7EB78259ED5C}" dt="2025-01-15T11:42:03.356" v="1154"/>
        <pc:sldMkLst>
          <pc:docMk/>
          <pc:sldMk cId="817991974" sldId="897"/>
        </pc:sldMkLst>
      </pc:sldChg>
      <pc:sldChg chg="modTransition">
        <pc:chgData name="Harshi Rateria" userId="509ab90b-c2bf-43b6-bee4-35299838a0ca" providerId="ADAL" clId="{30A4FB54-0A2B-6444-AFF8-7EB78259ED5C}" dt="2025-01-15T11:42:03.356" v="1154"/>
        <pc:sldMkLst>
          <pc:docMk/>
          <pc:sldMk cId="4271857827" sldId="919"/>
        </pc:sldMkLst>
      </pc:sldChg>
      <pc:sldChg chg="del mod ord modTransition modShow">
        <pc:chgData name="Harshi Rateria" userId="509ab90b-c2bf-43b6-bee4-35299838a0ca" providerId="ADAL" clId="{30A4FB54-0A2B-6444-AFF8-7EB78259ED5C}" dt="2025-01-15T13:24:30.116" v="1594" actId="2696"/>
        <pc:sldMkLst>
          <pc:docMk/>
          <pc:sldMk cId="3294424843" sldId="2145706196"/>
        </pc:sldMkLst>
      </pc:sldChg>
      <pc:sldChg chg="add">
        <pc:chgData name="Harshi Rateria" userId="509ab90b-c2bf-43b6-bee4-35299838a0ca" providerId="ADAL" clId="{30A4FB54-0A2B-6444-AFF8-7EB78259ED5C}" dt="2025-01-15T13:24:37.051" v="1595"/>
        <pc:sldMkLst>
          <pc:docMk/>
          <pc:sldMk cId="3489866631" sldId="2145706196"/>
        </pc:sldMkLst>
      </pc:sldChg>
      <pc:sldChg chg="addSp delSp modSp del mod modTransition modShow">
        <pc:chgData name="Harshi Rateria" userId="509ab90b-c2bf-43b6-bee4-35299838a0ca" providerId="ADAL" clId="{30A4FB54-0A2B-6444-AFF8-7EB78259ED5C}" dt="2025-01-15T13:24:30.116" v="1594" actId="2696"/>
        <pc:sldMkLst>
          <pc:docMk/>
          <pc:sldMk cId="834971940" sldId="2145706205"/>
        </pc:sldMkLst>
      </pc:sldChg>
      <pc:sldChg chg="add">
        <pc:chgData name="Harshi Rateria" userId="509ab90b-c2bf-43b6-bee4-35299838a0ca" providerId="ADAL" clId="{30A4FB54-0A2B-6444-AFF8-7EB78259ED5C}" dt="2025-01-15T13:24:37.051" v="1595"/>
        <pc:sldMkLst>
          <pc:docMk/>
          <pc:sldMk cId="3571719282" sldId="2145706205"/>
        </pc:sldMkLst>
      </pc:sldChg>
      <pc:sldChg chg="modTransition">
        <pc:chgData name="Harshi Rateria" userId="509ab90b-c2bf-43b6-bee4-35299838a0ca" providerId="ADAL" clId="{30A4FB54-0A2B-6444-AFF8-7EB78259ED5C}" dt="2025-01-15T11:42:03.356" v="1154"/>
        <pc:sldMkLst>
          <pc:docMk/>
          <pc:sldMk cId="807831938" sldId="2147470479"/>
        </pc:sldMkLst>
      </pc:sldChg>
      <pc:sldChg chg="addSp delSp modSp mod modTransition modClrScheme chgLayout">
        <pc:chgData name="Harshi Rateria" userId="509ab90b-c2bf-43b6-bee4-35299838a0ca" providerId="ADAL" clId="{30A4FB54-0A2B-6444-AFF8-7EB78259ED5C}" dt="2025-01-15T13:26:32.556" v="1601" actId="1076"/>
        <pc:sldMkLst>
          <pc:docMk/>
          <pc:sldMk cId="366933066" sldId="2147470511"/>
        </pc:sldMkLst>
        <pc:spChg chg="add mod">
          <ac:chgData name="Harshi Rateria" userId="509ab90b-c2bf-43b6-bee4-35299838a0ca" providerId="ADAL" clId="{30A4FB54-0A2B-6444-AFF8-7EB78259ED5C}" dt="2025-01-15T12:51:15.840" v="1357" actId="2711"/>
          <ac:spMkLst>
            <pc:docMk/>
            <pc:sldMk cId="366933066" sldId="2147470511"/>
            <ac:spMk id="6" creationId="{E272A53B-8F64-CAF6-6365-73D6E9D0484B}"/>
          </ac:spMkLst>
        </pc:spChg>
        <pc:spChg chg="add mod">
          <ac:chgData name="Harshi Rateria" userId="509ab90b-c2bf-43b6-bee4-35299838a0ca" providerId="ADAL" clId="{30A4FB54-0A2B-6444-AFF8-7EB78259ED5C}" dt="2025-01-15T12:51:15.840" v="1357" actId="2711"/>
          <ac:spMkLst>
            <pc:docMk/>
            <pc:sldMk cId="366933066" sldId="2147470511"/>
            <ac:spMk id="7" creationId="{EB8437E5-7B4B-3EE4-087F-5CBF69F7F20E}"/>
          </ac:spMkLst>
        </pc:spChg>
        <pc:spChg chg="add mod">
          <ac:chgData name="Harshi Rateria" userId="509ab90b-c2bf-43b6-bee4-35299838a0ca" providerId="ADAL" clId="{30A4FB54-0A2B-6444-AFF8-7EB78259ED5C}" dt="2025-01-15T12:51:15.840" v="1357" actId="2711"/>
          <ac:spMkLst>
            <pc:docMk/>
            <pc:sldMk cId="366933066" sldId="2147470511"/>
            <ac:spMk id="9" creationId="{E420BB3F-A807-F1FE-6D28-649A72983B7D}"/>
          </ac:spMkLst>
        </pc:spChg>
        <pc:spChg chg="mod">
          <ac:chgData name="Harshi Rateria" userId="509ab90b-c2bf-43b6-bee4-35299838a0ca" providerId="ADAL" clId="{30A4FB54-0A2B-6444-AFF8-7EB78259ED5C}" dt="2025-01-15T12:51:50.119" v="1368" actId="1076"/>
          <ac:spMkLst>
            <pc:docMk/>
            <pc:sldMk cId="366933066" sldId="2147470511"/>
            <ac:spMk id="40" creationId="{3AD93495-35AE-89E6-A8F5-A407C9FAC1BF}"/>
          </ac:spMkLst>
        </pc:spChg>
        <pc:spChg chg="mod">
          <ac:chgData name="Harshi Rateria" userId="509ab90b-c2bf-43b6-bee4-35299838a0ca" providerId="ADAL" clId="{30A4FB54-0A2B-6444-AFF8-7EB78259ED5C}" dt="2025-01-15T12:52:51.604" v="1382" actId="14100"/>
          <ac:spMkLst>
            <pc:docMk/>
            <pc:sldMk cId="366933066" sldId="2147470511"/>
            <ac:spMk id="43" creationId="{71027CEF-86BC-DBB3-1017-D13795883B16}"/>
          </ac:spMkLst>
        </pc:spChg>
        <pc:spChg chg="mod">
          <ac:chgData name="Harshi Rateria" userId="509ab90b-c2bf-43b6-bee4-35299838a0ca" providerId="ADAL" clId="{30A4FB54-0A2B-6444-AFF8-7EB78259ED5C}" dt="2025-01-15T12:52:37.302" v="1377" actId="1076"/>
          <ac:spMkLst>
            <pc:docMk/>
            <pc:sldMk cId="366933066" sldId="2147470511"/>
            <ac:spMk id="44" creationId="{D8719580-588F-621F-D406-BC0FEDBD505C}"/>
          </ac:spMkLst>
        </pc:spChg>
        <pc:spChg chg="mod">
          <ac:chgData name="Harshi Rateria" userId="509ab90b-c2bf-43b6-bee4-35299838a0ca" providerId="ADAL" clId="{30A4FB54-0A2B-6444-AFF8-7EB78259ED5C}" dt="2025-01-15T12:52:24.428" v="1373" actId="207"/>
          <ac:spMkLst>
            <pc:docMk/>
            <pc:sldMk cId="366933066" sldId="2147470511"/>
            <ac:spMk id="45" creationId="{841ABE5B-9920-E36A-23CB-35E61CDFCEB7}"/>
          </ac:spMkLst>
        </pc:spChg>
        <pc:picChg chg="mod">
          <ac:chgData name="Harshi Rateria" userId="509ab90b-c2bf-43b6-bee4-35299838a0ca" providerId="ADAL" clId="{30A4FB54-0A2B-6444-AFF8-7EB78259ED5C}" dt="2025-01-15T13:26:32.556" v="1601" actId="1076"/>
          <ac:picMkLst>
            <pc:docMk/>
            <pc:sldMk cId="366933066" sldId="2147470511"/>
            <ac:picMk id="3" creationId="{A8C9D101-E25C-3F67-573B-0AD496197596}"/>
          </ac:picMkLst>
        </pc:picChg>
        <pc:picChg chg="mod">
          <ac:chgData name="Harshi Rateria" userId="509ab90b-c2bf-43b6-bee4-35299838a0ca" providerId="ADAL" clId="{30A4FB54-0A2B-6444-AFF8-7EB78259ED5C}" dt="2025-01-15T12:52:01.416" v="1370" actId="1076"/>
          <ac:picMkLst>
            <pc:docMk/>
            <pc:sldMk cId="366933066" sldId="2147470511"/>
            <ac:picMk id="13" creationId="{B68F9316-A73B-2BCC-741B-90AF0297D4D9}"/>
          </ac:picMkLst>
        </pc:picChg>
      </pc:sldChg>
      <pc:sldChg chg="addSp delSp modSp mod modTransition">
        <pc:chgData name="Harshi Rateria" userId="509ab90b-c2bf-43b6-bee4-35299838a0ca" providerId="ADAL" clId="{30A4FB54-0A2B-6444-AFF8-7EB78259ED5C}" dt="2025-01-15T13:13:57.547" v="1517" actId="478"/>
        <pc:sldMkLst>
          <pc:docMk/>
          <pc:sldMk cId="3640596221" sldId="2147472867"/>
        </pc:sldMkLst>
        <pc:picChg chg="add del mod">
          <ac:chgData name="Harshi Rateria" userId="509ab90b-c2bf-43b6-bee4-35299838a0ca" providerId="ADAL" clId="{30A4FB54-0A2B-6444-AFF8-7EB78259ED5C}" dt="2025-01-15T13:13:54.663" v="1516" actId="478"/>
          <ac:picMkLst>
            <pc:docMk/>
            <pc:sldMk cId="3640596221" sldId="2147472867"/>
            <ac:picMk id="4" creationId="{6E96A4D5-8F6A-9EAE-3F01-FBDAF901209E}"/>
          </ac:picMkLst>
        </pc:picChg>
      </pc:sldChg>
      <pc:sldChg chg="addSp delSp modSp mod modTransition modShow">
        <pc:chgData name="Harshi Rateria" userId="509ab90b-c2bf-43b6-bee4-35299838a0ca" providerId="ADAL" clId="{30A4FB54-0A2B-6444-AFF8-7EB78259ED5C}" dt="2025-01-15T11:42:03.356" v="1154"/>
        <pc:sldMkLst>
          <pc:docMk/>
          <pc:sldMk cId="317449719" sldId="2147480923"/>
        </pc:sldMkLst>
      </pc:sldChg>
      <pc:sldChg chg="del mod modTransition modShow">
        <pc:chgData name="Harshi Rateria" userId="509ab90b-c2bf-43b6-bee4-35299838a0ca" providerId="ADAL" clId="{30A4FB54-0A2B-6444-AFF8-7EB78259ED5C}" dt="2025-01-16T06:31:35.711" v="1859" actId="2696"/>
        <pc:sldMkLst>
          <pc:docMk/>
          <pc:sldMk cId="617956213" sldId="2147482401"/>
        </pc:sldMkLst>
      </pc:sldChg>
      <pc:sldChg chg="addSp delSp modSp mod modTransition modClrScheme chgLayout">
        <pc:chgData name="Harshi Rateria" userId="509ab90b-c2bf-43b6-bee4-35299838a0ca" providerId="ADAL" clId="{30A4FB54-0A2B-6444-AFF8-7EB78259ED5C}" dt="2025-01-15T11:42:03.356" v="1154"/>
        <pc:sldMkLst>
          <pc:docMk/>
          <pc:sldMk cId="3073165865" sldId="2147482814"/>
        </pc:sldMkLst>
        <pc:spChg chg="mod ord">
          <ac:chgData name="Harshi Rateria" userId="509ab90b-c2bf-43b6-bee4-35299838a0ca" providerId="ADAL" clId="{30A4FB54-0A2B-6444-AFF8-7EB78259ED5C}" dt="2025-01-15T07:43:25.118" v="17" actId="2711"/>
          <ac:spMkLst>
            <pc:docMk/>
            <pc:sldMk cId="3073165865" sldId="2147482814"/>
            <ac:spMk id="2" creationId="{556023A7-827C-C567-8C23-75CD31D30050}"/>
          </ac:spMkLst>
        </pc:spChg>
        <pc:spChg chg="mod">
          <ac:chgData name="Harshi Rateria" userId="509ab90b-c2bf-43b6-bee4-35299838a0ca" providerId="ADAL" clId="{30A4FB54-0A2B-6444-AFF8-7EB78259ED5C}" dt="2025-01-15T07:47:53.543" v="47" actId="692"/>
          <ac:spMkLst>
            <pc:docMk/>
            <pc:sldMk cId="3073165865" sldId="2147482814"/>
            <ac:spMk id="48" creationId="{E2C3F76E-7677-842F-3EA1-B0CB0AC02B00}"/>
          </ac:spMkLst>
        </pc:spChg>
        <pc:spChg chg="mod">
          <ac:chgData name="Harshi Rateria" userId="509ab90b-c2bf-43b6-bee4-35299838a0ca" providerId="ADAL" clId="{30A4FB54-0A2B-6444-AFF8-7EB78259ED5C}" dt="2025-01-15T07:52:03.683" v="91" actId="1076"/>
          <ac:spMkLst>
            <pc:docMk/>
            <pc:sldMk cId="3073165865" sldId="2147482814"/>
            <ac:spMk id="49" creationId="{80CDE85D-F37A-C2CD-450A-DF3283AD9FEB}"/>
          </ac:spMkLst>
        </pc:spChg>
        <pc:spChg chg="mod">
          <ac:chgData name="Harshi Rateria" userId="509ab90b-c2bf-43b6-bee4-35299838a0ca" providerId="ADAL" clId="{30A4FB54-0A2B-6444-AFF8-7EB78259ED5C}" dt="2025-01-15T07:54:15.821" v="123" actId="1076"/>
          <ac:spMkLst>
            <pc:docMk/>
            <pc:sldMk cId="3073165865" sldId="2147482814"/>
            <ac:spMk id="50" creationId="{412228A6-33D7-A29C-713D-0EC6ED68F570}"/>
          </ac:spMkLst>
        </pc:spChg>
        <pc:spChg chg="mod">
          <ac:chgData name="Harshi Rateria" userId="509ab90b-c2bf-43b6-bee4-35299838a0ca" providerId="ADAL" clId="{30A4FB54-0A2B-6444-AFF8-7EB78259ED5C}" dt="2025-01-15T07:54:15.821" v="123" actId="1076"/>
          <ac:spMkLst>
            <pc:docMk/>
            <pc:sldMk cId="3073165865" sldId="2147482814"/>
            <ac:spMk id="51" creationId="{16697017-A0BB-22AD-5386-7A72458D57DB}"/>
          </ac:spMkLst>
        </pc:spChg>
        <pc:spChg chg="mod">
          <ac:chgData name="Harshi Rateria" userId="509ab90b-c2bf-43b6-bee4-35299838a0ca" providerId="ADAL" clId="{30A4FB54-0A2B-6444-AFF8-7EB78259ED5C}" dt="2025-01-15T07:49:18.315" v="62" actId="1076"/>
          <ac:spMkLst>
            <pc:docMk/>
            <pc:sldMk cId="3073165865" sldId="2147482814"/>
            <ac:spMk id="52" creationId="{60749D38-8E9F-9D4C-53CB-65A0D841D7E5}"/>
          </ac:spMkLst>
        </pc:spChg>
        <pc:spChg chg="mod">
          <ac:chgData name="Harshi Rateria" userId="509ab90b-c2bf-43b6-bee4-35299838a0ca" providerId="ADAL" clId="{30A4FB54-0A2B-6444-AFF8-7EB78259ED5C}" dt="2025-01-15T07:54:47.993" v="134" actId="1076"/>
          <ac:spMkLst>
            <pc:docMk/>
            <pc:sldMk cId="3073165865" sldId="2147482814"/>
            <ac:spMk id="53" creationId="{D5A2AC4B-EE02-0E25-5EC9-3C9A53AD0627}"/>
          </ac:spMkLst>
        </pc:spChg>
        <pc:spChg chg="mod">
          <ac:chgData name="Harshi Rateria" userId="509ab90b-c2bf-43b6-bee4-35299838a0ca" providerId="ADAL" clId="{30A4FB54-0A2B-6444-AFF8-7EB78259ED5C}" dt="2025-01-15T07:50:46.698" v="76" actId="1076"/>
          <ac:spMkLst>
            <pc:docMk/>
            <pc:sldMk cId="3073165865" sldId="2147482814"/>
            <ac:spMk id="55" creationId="{9BEDF47B-149B-F7C8-191E-04CEB56A4A2E}"/>
          </ac:spMkLst>
        </pc:spChg>
        <pc:spChg chg="mod">
          <ac:chgData name="Harshi Rateria" userId="509ab90b-c2bf-43b6-bee4-35299838a0ca" providerId="ADAL" clId="{30A4FB54-0A2B-6444-AFF8-7EB78259ED5C}" dt="2025-01-15T07:50:46.698" v="76" actId="1076"/>
          <ac:spMkLst>
            <pc:docMk/>
            <pc:sldMk cId="3073165865" sldId="2147482814"/>
            <ac:spMk id="56" creationId="{BA43E276-5F23-F6ED-9233-991B05976AE1}"/>
          </ac:spMkLst>
        </pc:spChg>
        <pc:spChg chg="mod">
          <ac:chgData name="Harshi Rateria" userId="509ab90b-c2bf-43b6-bee4-35299838a0ca" providerId="ADAL" clId="{30A4FB54-0A2B-6444-AFF8-7EB78259ED5C}" dt="2025-01-15T07:50:46.698" v="76" actId="1076"/>
          <ac:spMkLst>
            <pc:docMk/>
            <pc:sldMk cId="3073165865" sldId="2147482814"/>
            <ac:spMk id="57" creationId="{CC49FE14-AA03-EB73-C7D8-340CAD1A3A37}"/>
          </ac:spMkLst>
        </pc:spChg>
        <pc:spChg chg="mod">
          <ac:chgData name="Harshi Rateria" userId="509ab90b-c2bf-43b6-bee4-35299838a0ca" providerId="ADAL" clId="{30A4FB54-0A2B-6444-AFF8-7EB78259ED5C}" dt="2025-01-15T07:50:46.698" v="76" actId="1076"/>
          <ac:spMkLst>
            <pc:docMk/>
            <pc:sldMk cId="3073165865" sldId="2147482814"/>
            <ac:spMk id="58" creationId="{2AE9F507-15A6-1469-FF8B-CD19A14A1D2C}"/>
          </ac:spMkLst>
        </pc:spChg>
        <pc:spChg chg="mod">
          <ac:chgData name="Harshi Rateria" userId="509ab90b-c2bf-43b6-bee4-35299838a0ca" providerId="ADAL" clId="{30A4FB54-0A2B-6444-AFF8-7EB78259ED5C}" dt="2025-01-15T07:50:46.698" v="76" actId="1076"/>
          <ac:spMkLst>
            <pc:docMk/>
            <pc:sldMk cId="3073165865" sldId="2147482814"/>
            <ac:spMk id="60" creationId="{C1C23868-66AF-4D4C-2493-E0519CA4A049}"/>
          </ac:spMkLst>
        </pc:spChg>
        <pc:spChg chg="mod">
          <ac:chgData name="Harshi Rateria" userId="509ab90b-c2bf-43b6-bee4-35299838a0ca" providerId="ADAL" clId="{30A4FB54-0A2B-6444-AFF8-7EB78259ED5C}" dt="2025-01-15T07:50:46.698" v="76" actId="1076"/>
          <ac:spMkLst>
            <pc:docMk/>
            <pc:sldMk cId="3073165865" sldId="2147482814"/>
            <ac:spMk id="61" creationId="{6188B9A3-56B5-A2AF-7918-5E38E45FD1D5}"/>
          </ac:spMkLst>
        </pc:spChg>
        <pc:spChg chg="mod">
          <ac:chgData name="Harshi Rateria" userId="509ab90b-c2bf-43b6-bee4-35299838a0ca" providerId="ADAL" clId="{30A4FB54-0A2B-6444-AFF8-7EB78259ED5C}" dt="2025-01-15T07:50:46.698" v="76" actId="1076"/>
          <ac:spMkLst>
            <pc:docMk/>
            <pc:sldMk cId="3073165865" sldId="2147482814"/>
            <ac:spMk id="62" creationId="{0E201DCE-11F5-AE31-28C4-68248A4E5F7A}"/>
          </ac:spMkLst>
        </pc:spChg>
        <pc:spChg chg="add mod">
          <ac:chgData name="Harshi Rateria" userId="509ab90b-c2bf-43b6-bee4-35299838a0ca" providerId="ADAL" clId="{30A4FB54-0A2B-6444-AFF8-7EB78259ED5C}" dt="2025-01-15T07:51:44.169" v="86" actId="2711"/>
          <ac:spMkLst>
            <pc:docMk/>
            <pc:sldMk cId="3073165865" sldId="2147482814"/>
            <ac:spMk id="73" creationId="{A6218BBC-A204-1E5C-FA83-261AF191C204}"/>
          </ac:spMkLst>
        </pc:spChg>
        <pc:spChg chg="add mod">
          <ac:chgData name="Harshi Rateria" userId="509ab90b-c2bf-43b6-bee4-35299838a0ca" providerId="ADAL" clId="{30A4FB54-0A2B-6444-AFF8-7EB78259ED5C}" dt="2025-01-15T07:51:44.169" v="86" actId="2711"/>
          <ac:spMkLst>
            <pc:docMk/>
            <pc:sldMk cId="3073165865" sldId="2147482814"/>
            <ac:spMk id="74" creationId="{9AB6EAA9-DFB5-03AD-31F9-892BFB1DFB0F}"/>
          </ac:spMkLst>
        </pc:spChg>
        <pc:spChg chg="add mod">
          <ac:chgData name="Harshi Rateria" userId="509ab90b-c2bf-43b6-bee4-35299838a0ca" providerId="ADAL" clId="{30A4FB54-0A2B-6444-AFF8-7EB78259ED5C}" dt="2025-01-15T07:51:44.169" v="86" actId="2711"/>
          <ac:spMkLst>
            <pc:docMk/>
            <pc:sldMk cId="3073165865" sldId="2147482814"/>
            <ac:spMk id="75" creationId="{ACE3CE98-6136-84DD-E77C-7EDF0691E59B}"/>
          </ac:spMkLst>
        </pc:spChg>
        <pc:spChg chg="add mod">
          <ac:chgData name="Harshi Rateria" userId="509ab90b-c2bf-43b6-bee4-35299838a0ca" providerId="ADAL" clId="{30A4FB54-0A2B-6444-AFF8-7EB78259ED5C}" dt="2025-01-15T07:54:44.763" v="133" actId="1076"/>
          <ac:spMkLst>
            <pc:docMk/>
            <pc:sldMk cId="3073165865" sldId="2147482814"/>
            <ac:spMk id="80" creationId="{9D9A20FB-431B-9F90-94D7-D0CC316C1C78}"/>
          </ac:spMkLst>
        </pc:spChg>
        <pc:spChg chg="add mod">
          <ac:chgData name="Harshi Rateria" userId="509ab90b-c2bf-43b6-bee4-35299838a0ca" providerId="ADAL" clId="{30A4FB54-0A2B-6444-AFF8-7EB78259ED5C}" dt="2025-01-15T07:52:07.065" v="92" actId="1076"/>
          <ac:spMkLst>
            <pc:docMk/>
            <pc:sldMk cId="3073165865" sldId="2147482814"/>
            <ac:spMk id="82" creationId="{A3D557C6-5CC7-8E0B-A8BC-693EABB0422B}"/>
          </ac:spMkLst>
        </pc:spChg>
        <pc:spChg chg="add mod">
          <ac:chgData name="Harshi Rateria" userId="509ab90b-c2bf-43b6-bee4-35299838a0ca" providerId="ADAL" clId="{30A4FB54-0A2B-6444-AFF8-7EB78259ED5C}" dt="2025-01-15T07:52:09.819" v="93" actId="1076"/>
          <ac:spMkLst>
            <pc:docMk/>
            <pc:sldMk cId="3073165865" sldId="2147482814"/>
            <ac:spMk id="83" creationId="{1276FD8D-413C-7474-CA5F-1A40779F12BA}"/>
          </ac:spMkLst>
        </pc:spChg>
        <pc:spChg chg="add mod">
          <ac:chgData name="Harshi Rateria" userId="509ab90b-c2bf-43b6-bee4-35299838a0ca" providerId="ADAL" clId="{30A4FB54-0A2B-6444-AFF8-7EB78259ED5C}" dt="2025-01-15T07:47:53.543" v="47" actId="692"/>
          <ac:spMkLst>
            <pc:docMk/>
            <pc:sldMk cId="3073165865" sldId="2147482814"/>
            <ac:spMk id="84" creationId="{8A29ADC7-D662-4841-89F4-65EAB3876891}"/>
          </ac:spMkLst>
        </pc:spChg>
        <pc:spChg chg="add mod">
          <ac:chgData name="Harshi Rateria" userId="509ab90b-c2bf-43b6-bee4-35299838a0ca" providerId="ADAL" clId="{30A4FB54-0A2B-6444-AFF8-7EB78259ED5C}" dt="2025-01-15T07:52:22.288" v="95" actId="1076"/>
          <ac:spMkLst>
            <pc:docMk/>
            <pc:sldMk cId="3073165865" sldId="2147482814"/>
            <ac:spMk id="88" creationId="{CFC461E0-908C-8062-0451-D00873486C54}"/>
          </ac:spMkLst>
        </pc:spChg>
        <pc:spChg chg="add mod">
          <ac:chgData name="Harshi Rateria" userId="509ab90b-c2bf-43b6-bee4-35299838a0ca" providerId="ADAL" clId="{30A4FB54-0A2B-6444-AFF8-7EB78259ED5C}" dt="2025-01-15T07:55:09.082" v="138" actId="14100"/>
          <ac:spMkLst>
            <pc:docMk/>
            <pc:sldMk cId="3073165865" sldId="2147482814"/>
            <ac:spMk id="90" creationId="{AB7ADDB9-5133-8C48-CC2A-F28F360F2A38}"/>
          </ac:spMkLst>
        </pc:spChg>
        <pc:spChg chg="add mod">
          <ac:chgData name="Harshi Rateria" userId="509ab90b-c2bf-43b6-bee4-35299838a0ca" providerId="ADAL" clId="{30A4FB54-0A2B-6444-AFF8-7EB78259ED5C}" dt="2025-01-15T07:54:41.539" v="132" actId="1076"/>
          <ac:spMkLst>
            <pc:docMk/>
            <pc:sldMk cId="3073165865" sldId="2147482814"/>
            <ac:spMk id="100" creationId="{AFE39595-16BA-DE07-073D-0F1DF91FA36C}"/>
          </ac:spMkLst>
        </pc:spChg>
        <pc:picChg chg="mod">
          <ac:chgData name="Harshi Rateria" userId="509ab90b-c2bf-43b6-bee4-35299838a0ca" providerId="ADAL" clId="{30A4FB54-0A2B-6444-AFF8-7EB78259ED5C}" dt="2025-01-15T07:49:50.585" v="71" actId="14100"/>
          <ac:picMkLst>
            <pc:docMk/>
            <pc:sldMk cId="3073165865" sldId="2147482814"/>
            <ac:picMk id="54" creationId="{92BB2DB2-F4C8-BEFD-E506-265846EDCA7C}"/>
          </ac:picMkLst>
        </pc:picChg>
        <pc:picChg chg="mod">
          <ac:chgData name="Harshi Rateria" userId="509ab90b-c2bf-43b6-bee4-35299838a0ca" providerId="ADAL" clId="{30A4FB54-0A2B-6444-AFF8-7EB78259ED5C}" dt="2025-01-15T07:54:52.389" v="135" actId="1076"/>
          <ac:picMkLst>
            <pc:docMk/>
            <pc:sldMk cId="3073165865" sldId="2147482814"/>
            <ac:picMk id="63" creationId="{CA0695E2-4FAF-3AA7-75DB-D6B7B2B52B7C}"/>
          </ac:picMkLst>
        </pc:picChg>
        <pc:picChg chg="mod">
          <ac:chgData name="Harshi Rateria" userId="509ab90b-c2bf-43b6-bee4-35299838a0ca" providerId="ADAL" clId="{30A4FB54-0A2B-6444-AFF8-7EB78259ED5C}" dt="2025-01-15T07:49:01.128" v="57" actId="1076"/>
          <ac:picMkLst>
            <pc:docMk/>
            <pc:sldMk cId="3073165865" sldId="2147482814"/>
            <ac:picMk id="64" creationId="{26AE9478-60D0-25F2-8527-EF67F6CBF660}"/>
          </ac:picMkLst>
        </pc:picChg>
        <pc:picChg chg="mod">
          <ac:chgData name="Harshi Rateria" userId="509ab90b-c2bf-43b6-bee4-35299838a0ca" providerId="ADAL" clId="{30A4FB54-0A2B-6444-AFF8-7EB78259ED5C}" dt="2025-01-15T07:49:01.128" v="57" actId="1076"/>
          <ac:picMkLst>
            <pc:docMk/>
            <pc:sldMk cId="3073165865" sldId="2147482814"/>
            <ac:picMk id="65" creationId="{0E90244F-4DCB-16F9-E09D-F303545272F8}"/>
          </ac:picMkLst>
        </pc:picChg>
        <pc:picChg chg="mod">
          <ac:chgData name="Harshi Rateria" userId="509ab90b-c2bf-43b6-bee4-35299838a0ca" providerId="ADAL" clId="{30A4FB54-0A2B-6444-AFF8-7EB78259ED5C}" dt="2025-01-15T07:49:01.128" v="57" actId="1076"/>
          <ac:picMkLst>
            <pc:docMk/>
            <pc:sldMk cId="3073165865" sldId="2147482814"/>
            <ac:picMk id="66" creationId="{602A56E3-EB65-A723-E831-9E8A98C6A13B}"/>
          </ac:picMkLst>
        </pc:picChg>
        <pc:picChg chg="mod">
          <ac:chgData name="Harshi Rateria" userId="509ab90b-c2bf-43b6-bee4-35299838a0ca" providerId="ADAL" clId="{30A4FB54-0A2B-6444-AFF8-7EB78259ED5C}" dt="2025-01-15T07:54:47.993" v="134" actId="1076"/>
          <ac:picMkLst>
            <pc:docMk/>
            <pc:sldMk cId="3073165865" sldId="2147482814"/>
            <ac:picMk id="67" creationId="{95C8BCE0-FE7F-4162-6415-61C561F5417D}"/>
          </ac:picMkLst>
        </pc:picChg>
        <pc:picChg chg="mod">
          <ac:chgData name="Harshi Rateria" userId="509ab90b-c2bf-43b6-bee4-35299838a0ca" providerId="ADAL" clId="{30A4FB54-0A2B-6444-AFF8-7EB78259ED5C}" dt="2025-01-15T07:49:01.128" v="57" actId="1076"/>
          <ac:picMkLst>
            <pc:docMk/>
            <pc:sldMk cId="3073165865" sldId="2147482814"/>
            <ac:picMk id="68" creationId="{DCD86274-418F-0718-F130-E2B6FB329F82}"/>
          </ac:picMkLst>
        </pc:picChg>
        <pc:picChg chg="mod">
          <ac:chgData name="Harshi Rateria" userId="509ab90b-c2bf-43b6-bee4-35299838a0ca" providerId="ADAL" clId="{30A4FB54-0A2B-6444-AFF8-7EB78259ED5C}" dt="2025-01-15T07:48:52.700" v="56" actId="1076"/>
          <ac:picMkLst>
            <pc:docMk/>
            <pc:sldMk cId="3073165865" sldId="2147482814"/>
            <ac:picMk id="69" creationId="{A0F3B9C0-709A-410C-9E56-BF85EAD945C8}"/>
          </ac:picMkLst>
        </pc:picChg>
        <pc:picChg chg="mod">
          <ac:chgData name="Harshi Rateria" userId="509ab90b-c2bf-43b6-bee4-35299838a0ca" providerId="ADAL" clId="{30A4FB54-0A2B-6444-AFF8-7EB78259ED5C}" dt="2025-01-15T07:48:07.263" v="48"/>
          <ac:picMkLst>
            <pc:docMk/>
            <pc:sldMk cId="3073165865" sldId="2147482814"/>
            <ac:picMk id="70" creationId="{2555778A-8993-3D71-2A97-C6DB6072CDD8}"/>
          </ac:picMkLst>
        </pc:picChg>
        <pc:picChg chg="mod">
          <ac:chgData name="Harshi Rateria" userId="509ab90b-c2bf-43b6-bee4-35299838a0ca" providerId="ADAL" clId="{30A4FB54-0A2B-6444-AFF8-7EB78259ED5C}" dt="2025-01-15T07:54:37.563" v="130" actId="1076"/>
          <ac:picMkLst>
            <pc:docMk/>
            <pc:sldMk cId="3073165865" sldId="2147482814"/>
            <ac:picMk id="77" creationId="{61A47400-79B4-3407-38EE-64FA530A56E0}"/>
          </ac:picMkLst>
        </pc:picChg>
        <pc:picChg chg="mod">
          <ac:chgData name="Harshi Rateria" userId="509ab90b-c2bf-43b6-bee4-35299838a0ca" providerId="ADAL" clId="{30A4FB54-0A2B-6444-AFF8-7EB78259ED5C}" dt="2025-01-15T07:54:44.763" v="133" actId="1076"/>
          <ac:picMkLst>
            <pc:docMk/>
            <pc:sldMk cId="3073165865" sldId="2147482814"/>
            <ac:picMk id="79" creationId="{F30BAAA0-61AE-F447-2650-476FB8ED5BC1}"/>
          </ac:picMkLst>
        </pc:picChg>
        <pc:picChg chg="mod">
          <ac:chgData name="Harshi Rateria" userId="509ab90b-c2bf-43b6-bee4-35299838a0ca" providerId="ADAL" clId="{30A4FB54-0A2B-6444-AFF8-7EB78259ED5C}" dt="2025-01-15T07:45:00.620" v="27" actId="207"/>
          <ac:picMkLst>
            <pc:docMk/>
            <pc:sldMk cId="3073165865" sldId="2147482814"/>
            <ac:picMk id="81" creationId="{99A8D322-BC3A-FEFE-B972-ECEE39F4B7CE}"/>
          </ac:picMkLst>
        </pc:picChg>
        <pc:picChg chg="mod">
          <ac:chgData name="Harshi Rateria" userId="509ab90b-c2bf-43b6-bee4-35299838a0ca" providerId="ADAL" clId="{30A4FB54-0A2B-6444-AFF8-7EB78259ED5C}" dt="2025-01-15T07:45:00.620" v="27" actId="207"/>
          <ac:picMkLst>
            <pc:docMk/>
            <pc:sldMk cId="3073165865" sldId="2147482814"/>
            <ac:picMk id="85" creationId="{04A3D896-6507-17EE-BBCF-12F9A5E1215C}"/>
          </ac:picMkLst>
        </pc:picChg>
        <pc:cxnChg chg="mod">
          <ac:chgData name="Harshi Rateria" userId="509ab90b-c2bf-43b6-bee4-35299838a0ca" providerId="ADAL" clId="{30A4FB54-0A2B-6444-AFF8-7EB78259ED5C}" dt="2025-01-15T07:49:01.128" v="57" actId="1076"/>
          <ac:cxnSpMkLst>
            <pc:docMk/>
            <pc:sldMk cId="3073165865" sldId="2147482814"/>
            <ac:cxnSpMk id="59" creationId="{BE802568-875F-555F-7409-1770A3D57412}"/>
          </ac:cxnSpMkLst>
        </pc:cxnChg>
        <pc:cxnChg chg="mod">
          <ac:chgData name="Harshi Rateria" userId="509ab90b-c2bf-43b6-bee4-35299838a0ca" providerId="ADAL" clId="{30A4FB54-0A2B-6444-AFF8-7EB78259ED5C}" dt="2025-01-15T07:48:52.700" v="56" actId="1076"/>
          <ac:cxnSpMkLst>
            <pc:docMk/>
            <pc:sldMk cId="3073165865" sldId="2147482814"/>
            <ac:cxnSpMk id="76" creationId="{DD4C9511-DD6B-ED49-8B13-A89598F8C8C6}"/>
          </ac:cxnSpMkLst>
        </pc:cxnChg>
        <pc:cxnChg chg="add del mod">
          <ac:chgData name="Harshi Rateria" userId="509ab90b-c2bf-43b6-bee4-35299838a0ca" providerId="ADAL" clId="{30A4FB54-0A2B-6444-AFF8-7EB78259ED5C}" dt="2025-01-15T07:53:54.926" v="116" actId="478"/>
          <ac:cxnSpMkLst>
            <pc:docMk/>
            <pc:sldMk cId="3073165865" sldId="2147482814"/>
            <ac:cxnSpMk id="86" creationId="{9DBD1445-32C5-58A9-42F3-EFA3B1E95201}"/>
          </ac:cxnSpMkLst>
        </pc:cxnChg>
        <pc:cxnChg chg="mod">
          <ac:chgData name="Harshi Rateria" userId="509ab90b-c2bf-43b6-bee4-35299838a0ca" providerId="ADAL" clId="{30A4FB54-0A2B-6444-AFF8-7EB78259ED5C}" dt="2025-01-15T07:51:11.684" v="80" actId="14100"/>
          <ac:cxnSpMkLst>
            <pc:docMk/>
            <pc:sldMk cId="3073165865" sldId="2147482814"/>
            <ac:cxnSpMk id="87" creationId="{09823692-BBE9-649C-9A4F-204558EA3CDF}"/>
          </ac:cxnSpMkLst>
        </pc:cxnChg>
        <pc:cxnChg chg="add mod">
          <ac:chgData name="Harshi Rateria" userId="509ab90b-c2bf-43b6-bee4-35299838a0ca" providerId="ADAL" clId="{30A4FB54-0A2B-6444-AFF8-7EB78259ED5C}" dt="2025-01-15T07:54:11.668" v="122" actId="1076"/>
          <ac:cxnSpMkLst>
            <pc:docMk/>
            <pc:sldMk cId="3073165865" sldId="2147482814"/>
            <ac:cxnSpMk id="98" creationId="{C51D902F-905B-9922-FD77-BD25AE067726}"/>
          </ac:cxnSpMkLst>
        </pc:cxnChg>
        <pc:cxnChg chg="add mod">
          <ac:chgData name="Harshi Rateria" userId="509ab90b-c2bf-43b6-bee4-35299838a0ca" providerId="ADAL" clId="{30A4FB54-0A2B-6444-AFF8-7EB78259ED5C}" dt="2025-01-15T07:54:39.332" v="131" actId="1076"/>
          <ac:cxnSpMkLst>
            <pc:docMk/>
            <pc:sldMk cId="3073165865" sldId="2147482814"/>
            <ac:cxnSpMk id="99" creationId="{2BEB2765-747B-7B3A-BF12-1E3CF80BABF3}"/>
          </ac:cxnSpMkLst>
        </pc:cxnChg>
      </pc:sldChg>
      <pc:sldChg chg="add">
        <pc:chgData name="Harshi Rateria" userId="509ab90b-c2bf-43b6-bee4-35299838a0ca" providerId="ADAL" clId="{30A4FB54-0A2B-6444-AFF8-7EB78259ED5C}" dt="2025-01-15T13:52:53.381" v="1693"/>
        <pc:sldMkLst>
          <pc:docMk/>
          <pc:sldMk cId="1104953748" sldId="2147482956"/>
        </pc:sldMkLst>
      </pc:sldChg>
      <pc:sldChg chg="addSp delSp modSp del mod modTransition modClrScheme modShow chgLayout">
        <pc:chgData name="Harshi Rateria" userId="509ab90b-c2bf-43b6-bee4-35299838a0ca" providerId="ADAL" clId="{30A4FB54-0A2B-6444-AFF8-7EB78259ED5C}" dt="2025-01-15T13:52:42.759" v="1692" actId="2696"/>
        <pc:sldMkLst>
          <pc:docMk/>
          <pc:sldMk cId="2317324752" sldId="2147482956"/>
        </pc:sldMkLst>
      </pc:sldChg>
      <pc:sldChg chg="addSp delSp modSp mod modTransition modClrScheme chgLayout">
        <pc:chgData name="Harshi Rateria" userId="509ab90b-c2bf-43b6-bee4-35299838a0ca" providerId="ADAL" clId="{30A4FB54-0A2B-6444-AFF8-7EB78259ED5C}" dt="2025-01-16T06:39:55.412" v="1953" actId="207"/>
        <pc:sldMkLst>
          <pc:docMk/>
          <pc:sldMk cId="1171986220" sldId="2147483044"/>
        </pc:sldMkLst>
        <pc:spChg chg="mod ord">
          <ac:chgData name="Harshi Rateria" userId="509ab90b-c2bf-43b6-bee4-35299838a0ca" providerId="ADAL" clId="{30A4FB54-0A2B-6444-AFF8-7EB78259ED5C}" dt="2025-01-16T06:39:55.412" v="1953" actId="207"/>
          <ac:spMkLst>
            <pc:docMk/>
            <pc:sldMk cId="1171986220" sldId="2147483044"/>
            <ac:spMk id="2" creationId="{DA07B7E6-3D1C-849C-87E0-AACDBB3AFDC1}"/>
          </ac:spMkLst>
        </pc:spChg>
        <pc:spChg chg="mod">
          <ac:chgData name="Harshi Rateria" userId="509ab90b-c2bf-43b6-bee4-35299838a0ca" providerId="ADAL" clId="{30A4FB54-0A2B-6444-AFF8-7EB78259ED5C}" dt="2025-01-16T06:39:36.702" v="1949" actId="1076"/>
          <ac:spMkLst>
            <pc:docMk/>
            <pc:sldMk cId="1171986220" sldId="2147483044"/>
            <ac:spMk id="4" creationId="{D58CCDAA-CE82-0DAD-03FB-AB1BA2469D6C}"/>
          </ac:spMkLst>
        </pc:spChg>
        <pc:spChg chg="mod">
          <ac:chgData name="Harshi Rateria" userId="509ab90b-c2bf-43b6-bee4-35299838a0ca" providerId="ADAL" clId="{30A4FB54-0A2B-6444-AFF8-7EB78259ED5C}" dt="2025-01-16T06:39:24.385" v="1946" actId="2711"/>
          <ac:spMkLst>
            <pc:docMk/>
            <pc:sldMk cId="1171986220" sldId="2147483044"/>
            <ac:spMk id="5" creationId="{B4E1CD77-3795-DBBF-C2D4-7D27ED1C924F}"/>
          </ac:spMkLst>
        </pc:spChg>
        <pc:spChg chg="mod">
          <ac:chgData name="Harshi Rateria" userId="509ab90b-c2bf-43b6-bee4-35299838a0ca" providerId="ADAL" clId="{30A4FB54-0A2B-6444-AFF8-7EB78259ED5C}" dt="2025-01-16T06:38:11.514" v="1929" actId="2711"/>
          <ac:spMkLst>
            <pc:docMk/>
            <pc:sldMk cId="1171986220" sldId="2147483044"/>
            <ac:spMk id="34" creationId="{ED7BE3F9-56F8-6087-D50C-BF7A79E30F68}"/>
          </ac:spMkLst>
        </pc:spChg>
        <pc:spChg chg="mod">
          <ac:chgData name="Harshi Rateria" userId="509ab90b-c2bf-43b6-bee4-35299838a0ca" providerId="ADAL" clId="{30A4FB54-0A2B-6444-AFF8-7EB78259ED5C}" dt="2025-01-16T06:38:11.514" v="1929" actId="2711"/>
          <ac:spMkLst>
            <pc:docMk/>
            <pc:sldMk cId="1171986220" sldId="2147483044"/>
            <ac:spMk id="35" creationId="{0E8696A8-4926-65E2-F3C2-933C10846DA1}"/>
          </ac:spMkLst>
        </pc:spChg>
        <pc:spChg chg="mod">
          <ac:chgData name="Harshi Rateria" userId="509ab90b-c2bf-43b6-bee4-35299838a0ca" providerId="ADAL" clId="{30A4FB54-0A2B-6444-AFF8-7EB78259ED5C}" dt="2025-01-16T06:38:11.514" v="1929" actId="2711"/>
          <ac:spMkLst>
            <pc:docMk/>
            <pc:sldMk cId="1171986220" sldId="2147483044"/>
            <ac:spMk id="36" creationId="{A8E4AB95-BFB6-7C03-E888-C983CC9E1CC4}"/>
          </ac:spMkLst>
        </pc:spChg>
        <pc:spChg chg="mod">
          <ac:chgData name="Harshi Rateria" userId="509ab90b-c2bf-43b6-bee4-35299838a0ca" providerId="ADAL" clId="{30A4FB54-0A2B-6444-AFF8-7EB78259ED5C}" dt="2025-01-16T06:38:49.686" v="1937" actId="255"/>
          <ac:spMkLst>
            <pc:docMk/>
            <pc:sldMk cId="1171986220" sldId="2147483044"/>
            <ac:spMk id="38" creationId="{FBEB088F-710F-CB71-D42E-2FA686C7C5E0}"/>
          </ac:spMkLst>
        </pc:spChg>
        <pc:picChg chg="mod">
          <ac:chgData name="Harshi Rateria" userId="509ab90b-c2bf-43b6-bee4-35299838a0ca" providerId="ADAL" clId="{30A4FB54-0A2B-6444-AFF8-7EB78259ED5C}" dt="2025-01-16T06:37:53.186" v="1926" actId="1076"/>
          <ac:picMkLst>
            <pc:docMk/>
            <pc:sldMk cId="1171986220" sldId="2147483044"/>
            <ac:picMk id="30" creationId="{23460DDA-6E38-905B-4639-23B877983380}"/>
          </ac:picMkLst>
        </pc:picChg>
        <pc:picChg chg="mod">
          <ac:chgData name="Harshi Rateria" userId="509ab90b-c2bf-43b6-bee4-35299838a0ca" providerId="ADAL" clId="{30A4FB54-0A2B-6444-AFF8-7EB78259ED5C}" dt="2025-01-16T06:39:46.237" v="1952" actId="692"/>
          <ac:picMkLst>
            <pc:docMk/>
            <pc:sldMk cId="1171986220" sldId="2147483044"/>
            <ac:picMk id="32" creationId="{A336EC7D-F246-3C2D-4DF6-FDF3868E4C03}"/>
          </ac:picMkLst>
        </pc:picChg>
        <pc:picChg chg="mod">
          <ac:chgData name="Harshi Rateria" userId="509ab90b-c2bf-43b6-bee4-35299838a0ca" providerId="ADAL" clId="{30A4FB54-0A2B-6444-AFF8-7EB78259ED5C}" dt="2025-01-16T06:37:53.186" v="1926" actId="1076"/>
          <ac:picMkLst>
            <pc:docMk/>
            <pc:sldMk cId="1171986220" sldId="2147483044"/>
            <ac:picMk id="33" creationId="{ACBABCC1-7AF9-29BE-79BA-3E9071AD81D6}"/>
          </ac:picMkLst>
        </pc:picChg>
        <pc:picChg chg="mod">
          <ac:chgData name="Harshi Rateria" userId="509ab90b-c2bf-43b6-bee4-35299838a0ca" providerId="ADAL" clId="{30A4FB54-0A2B-6444-AFF8-7EB78259ED5C}" dt="2025-01-16T06:38:11.514" v="1929" actId="2711"/>
          <ac:picMkLst>
            <pc:docMk/>
            <pc:sldMk cId="1171986220" sldId="2147483044"/>
            <ac:picMk id="37" creationId="{72ED42BF-D974-F5A0-D7DC-E900C910DA1F}"/>
          </ac:picMkLst>
        </pc:picChg>
        <pc:picChg chg="mod">
          <ac:chgData name="Harshi Rateria" userId="509ab90b-c2bf-43b6-bee4-35299838a0ca" providerId="ADAL" clId="{30A4FB54-0A2B-6444-AFF8-7EB78259ED5C}" dt="2025-01-16T06:37:58.364" v="1927" actId="1076"/>
          <ac:picMkLst>
            <pc:docMk/>
            <pc:sldMk cId="1171986220" sldId="2147483044"/>
            <ac:picMk id="1026" creationId="{E25B0068-608B-4EEF-3AF6-C50A6D745DB6}"/>
          </ac:picMkLst>
        </pc:picChg>
        <pc:cxnChg chg="add mod">
          <ac:chgData name="Harshi Rateria" userId="509ab90b-c2bf-43b6-bee4-35299838a0ca" providerId="ADAL" clId="{30A4FB54-0A2B-6444-AFF8-7EB78259ED5C}" dt="2025-01-16T06:39:05.119" v="1943" actId="692"/>
          <ac:cxnSpMkLst>
            <pc:docMk/>
            <pc:sldMk cId="1171986220" sldId="2147483044"/>
            <ac:cxnSpMk id="9" creationId="{9ADB6D5C-6A3B-98FF-A085-DE17B1C0B648}"/>
          </ac:cxnSpMkLst>
        </pc:cxnChg>
      </pc:sldChg>
      <pc:sldChg chg="addSp modSp mod ord modTransition modShow">
        <pc:chgData name="Harshi Rateria" userId="509ab90b-c2bf-43b6-bee4-35299838a0ca" providerId="ADAL" clId="{30A4FB54-0A2B-6444-AFF8-7EB78259ED5C}" dt="2025-01-15T13:12:36.612" v="1513" actId="20578"/>
        <pc:sldMkLst>
          <pc:docMk/>
          <pc:sldMk cId="3906247168" sldId="2147483141"/>
        </pc:sldMkLst>
      </pc:sldChg>
      <pc:sldChg chg="modTransition">
        <pc:chgData name="Harshi Rateria" userId="509ab90b-c2bf-43b6-bee4-35299838a0ca" providerId="ADAL" clId="{30A4FB54-0A2B-6444-AFF8-7EB78259ED5C}" dt="2025-01-15T11:42:03.356" v="1154"/>
        <pc:sldMkLst>
          <pc:docMk/>
          <pc:sldMk cId="3348783017" sldId="2147483486"/>
        </pc:sldMkLst>
      </pc:sldChg>
      <pc:sldChg chg="modSp mod modTransition">
        <pc:chgData name="Harshi Rateria" userId="509ab90b-c2bf-43b6-bee4-35299838a0ca" providerId="ADAL" clId="{30A4FB54-0A2B-6444-AFF8-7EB78259ED5C}" dt="2025-01-15T13:44:46.279" v="1621" actId="20577"/>
        <pc:sldMkLst>
          <pc:docMk/>
          <pc:sldMk cId="1947751114" sldId="2147483496"/>
        </pc:sldMkLst>
        <pc:spChg chg="mod">
          <ac:chgData name="Harshi Rateria" userId="509ab90b-c2bf-43b6-bee4-35299838a0ca" providerId="ADAL" clId="{30A4FB54-0A2B-6444-AFF8-7EB78259ED5C}" dt="2025-01-15T13:44:46.279" v="1621" actId="20577"/>
          <ac:spMkLst>
            <pc:docMk/>
            <pc:sldMk cId="1947751114" sldId="2147483496"/>
            <ac:spMk id="5" creationId="{E9AF36CC-90FD-5743-F72D-8A3223DE2F64}"/>
          </ac:spMkLst>
        </pc:spChg>
        <pc:picChg chg="mod">
          <ac:chgData name="Harshi Rateria" userId="509ab90b-c2bf-43b6-bee4-35299838a0ca" providerId="ADAL" clId="{30A4FB54-0A2B-6444-AFF8-7EB78259ED5C}" dt="2025-01-15T12:24:23.656" v="1275"/>
          <ac:picMkLst>
            <pc:docMk/>
            <pc:sldMk cId="1947751114" sldId="2147483496"/>
            <ac:picMk id="4" creationId="{A0290160-FC20-19A0-AEB0-4EA243DE30E6}"/>
          </ac:picMkLst>
        </pc:picChg>
      </pc:sldChg>
      <pc:sldChg chg="addSp delSp modSp del mod modTransition modClrScheme modShow chgLayout">
        <pc:chgData name="Harshi Rateria" userId="509ab90b-c2bf-43b6-bee4-35299838a0ca" providerId="ADAL" clId="{30A4FB54-0A2B-6444-AFF8-7EB78259ED5C}" dt="2025-01-16T05:57:46.553" v="1733" actId="2696"/>
        <pc:sldMkLst>
          <pc:docMk/>
          <pc:sldMk cId="1145829850" sldId="2147483524"/>
        </pc:sldMkLst>
      </pc:sldChg>
      <pc:sldChg chg="addSp delSp modSp del mod modTransition modClrScheme chgLayout">
        <pc:chgData name="Harshi Rateria" userId="509ab90b-c2bf-43b6-bee4-35299838a0ca" providerId="ADAL" clId="{30A4FB54-0A2B-6444-AFF8-7EB78259ED5C}" dt="2025-01-15T13:12:13.327" v="1508" actId="2696"/>
        <pc:sldMkLst>
          <pc:docMk/>
          <pc:sldMk cId="4007769048" sldId="2147483641"/>
        </pc:sldMkLst>
      </pc:sldChg>
      <pc:sldChg chg="modTransition">
        <pc:chgData name="Harshi Rateria" userId="509ab90b-c2bf-43b6-bee4-35299838a0ca" providerId="ADAL" clId="{30A4FB54-0A2B-6444-AFF8-7EB78259ED5C}" dt="2025-01-15T11:42:03.356" v="1154"/>
        <pc:sldMkLst>
          <pc:docMk/>
          <pc:sldMk cId="2279920668" sldId="2147483646"/>
        </pc:sldMkLst>
      </pc:sldChg>
      <pc:sldChg chg="modTransition">
        <pc:chgData name="Harshi Rateria" userId="509ab90b-c2bf-43b6-bee4-35299838a0ca" providerId="ADAL" clId="{30A4FB54-0A2B-6444-AFF8-7EB78259ED5C}" dt="2025-01-15T11:42:03.356" v="1154"/>
        <pc:sldMkLst>
          <pc:docMk/>
          <pc:sldMk cId="2185007164" sldId="2147483647"/>
        </pc:sldMkLst>
      </pc:sldChg>
      <pc:sldMasterChg chg="modSldLayout">
        <pc:chgData name="Harshi Rateria" userId="509ab90b-c2bf-43b6-bee4-35299838a0ca" providerId="ADAL" clId="{30A4FB54-0A2B-6444-AFF8-7EB78259ED5C}" dt="2025-01-15T09:32:53.172" v="560" actId="735"/>
        <pc:sldMasterMkLst>
          <pc:docMk/>
          <pc:sldMasterMk cId="1697870870" sldId="2147483672"/>
        </pc:sldMasterMkLst>
        <pc:sldLayoutChg chg="modSp">
          <pc:chgData name="Harshi Rateria" userId="509ab90b-c2bf-43b6-bee4-35299838a0ca" providerId="ADAL" clId="{30A4FB54-0A2B-6444-AFF8-7EB78259ED5C}" dt="2025-01-15T09:32:53.172" v="560" actId="735"/>
          <pc:sldLayoutMkLst>
            <pc:docMk/>
            <pc:sldMasterMk cId="1697870870" sldId="2147483672"/>
            <pc:sldLayoutMk cId="3391575594" sldId="2147483679"/>
          </pc:sldLayoutMkLst>
        </pc:sldLayoutChg>
      </pc:sldMasterChg>
      <pc:sldMasterChg chg="del delSldLayout">
        <pc:chgData name="Harshi Rateria" userId="509ab90b-c2bf-43b6-bee4-35299838a0ca" providerId="ADAL" clId="{30A4FB54-0A2B-6444-AFF8-7EB78259ED5C}" dt="2025-01-16T06:33:40.138" v="1863" actId="700"/>
        <pc:sldMasterMkLst>
          <pc:docMk/>
          <pc:sldMasterMk cId="3612118310" sldId="2147483726"/>
        </pc:sldMasterMkLst>
        <pc:sldLayoutChg chg="del">
          <pc:chgData name="Harshi Rateria" userId="509ab90b-c2bf-43b6-bee4-35299838a0ca" providerId="ADAL" clId="{30A4FB54-0A2B-6444-AFF8-7EB78259ED5C}" dt="2025-01-16T06:33:40.138" v="1863" actId="700"/>
          <pc:sldLayoutMkLst>
            <pc:docMk/>
            <pc:sldMasterMk cId="3612118310" sldId="2147483726"/>
            <pc:sldLayoutMk cId="280380210" sldId="2147483727"/>
          </pc:sldLayoutMkLst>
        </pc:sldLayoutChg>
        <pc:sldLayoutChg chg="del">
          <pc:chgData name="Harshi Rateria" userId="509ab90b-c2bf-43b6-bee4-35299838a0ca" providerId="ADAL" clId="{30A4FB54-0A2B-6444-AFF8-7EB78259ED5C}" dt="2025-01-16T06:33:40.138" v="1863" actId="700"/>
          <pc:sldLayoutMkLst>
            <pc:docMk/>
            <pc:sldMasterMk cId="3612118310" sldId="2147483726"/>
            <pc:sldLayoutMk cId="1361327720" sldId="2147483728"/>
          </pc:sldLayoutMkLst>
        </pc:sldLayoutChg>
        <pc:sldLayoutChg chg="del">
          <pc:chgData name="Harshi Rateria" userId="509ab90b-c2bf-43b6-bee4-35299838a0ca" providerId="ADAL" clId="{30A4FB54-0A2B-6444-AFF8-7EB78259ED5C}" dt="2025-01-16T06:33:40.138" v="1863" actId="700"/>
          <pc:sldLayoutMkLst>
            <pc:docMk/>
            <pc:sldMasterMk cId="3612118310" sldId="2147483726"/>
            <pc:sldLayoutMk cId="2921093642" sldId="2147483729"/>
          </pc:sldLayoutMkLst>
        </pc:sldLayoutChg>
        <pc:sldLayoutChg chg="del">
          <pc:chgData name="Harshi Rateria" userId="509ab90b-c2bf-43b6-bee4-35299838a0ca" providerId="ADAL" clId="{30A4FB54-0A2B-6444-AFF8-7EB78259ED5C}" dt="2025-01-16T06:33:40.138" v="1863" actId="700"/>
          <pc:sldLayoutMkLst>
            <pc:docMk/>
            <pc:sldMasterMk cId="3612118310" sldId="2147483726"/>
            <pc:sldLayoutMk cId="149765282" sldId="2147483730"/>
          </pc:sldLayoutMkLst>
        </pc:sldLayoutChg>
        <pc:sldLayoutChg chg="del">
          <pc:chgData name="Harshi Rateria" userId="509ab90b-c2bf-43b6-bee4-35299838a0ca" providerId="ADAL" clId="{30A4FB54-0A2B-6444-AFF8-7EB78259ED5C}" dt="2025-01-16T06:33:40.138" v="1863" actId="700"/>
          <pc:sldLayoutMkLst>
            <pc:docMk/>
            <pc:sldMasterMk cId="3612118310" sldId="2147483726"/>
            <pc:sldLayoutMk cId="1255139574" sldId="2147483731"/>
          </pc:sldLayoutMkLst>
        </pc:sldLayoutChg>
        <pc:sldLayoutChg chg="del">
          <pc:chgData name="Harshi Rateria" userId="509ab90b-c2bf-43b6-bee4-35299838a0ca" providerId="ADAL" clId="{30A4FB54-0A2B-6444-AFF8-7EB78259ED5C}" dt="2025-01-16T06:33:40.138" v="1863" actId="700"/>
          <pc:sldLayoutMkLst>
            <pc:docMk/>
            <pc:sldMasterMk cId="3612118310" sldId="2147483726"/>
            <pc:sldLayoutMk cId="3335259164" sldId="2147483732"/>
          </pc:sldLayoutMkLst>
        </pc:sldLayoutChg>
        <pc:sldLayoutChg chg="del">
          <pc:chgData name="Harshi Rateria" userId="509ab90b-c2bf-43b6-bee4-35299838a0ca" providerId="ADAL" clId="{30A4FB54-0A2B-6444-AFF8-7EB78259ED5C}" dt="2025-01-16T06:33:40.138" v="1863" actId="700"/>
          <pc:sldLayoutMkLst>
            <pc:docMk/>
            <pc:sldMasterMk cId="3612118310" sldId="2147483726"/>
            <pc:sldLayoutMk cId="4249461183" sldId="2147483733"/>
          </pc:sldLayoutMkLst>
        </pc:sldLayoutChg>
        <pc:sldLayoutChg chg="del">
          <pc:chgData name="Harshi Rateria" userId="509ab90b-c2bf-43b6-bee4-35299838a0ca" providerId="ADAL" clId="{30A4FB54-0A2B-6444-AFF8-7EB78259ED5C}" dt="2025-01-16T06:33:40.138" v="1863" actId="700"/>
          <pc:sldLayoutMkLst>
            <pc:docMk/>
            <pc:sldMasterMk cId="3612118310" sldId="2147483726"/>
            <pc:sldLayoutMk cId="2997108528" sldId="2147483734"/>
          </pc:sldLayoutMkLst>
        </pc:sldLayoutChg>
        <pc:sldLayoutChg chg="del">
          <pc:chgData name="Harshi Rateria" userId="509ab90b-c2bf-43b6-bee4-35299838a0ca" providerId="ADAL" clId="{30A4FB54-0A2B-6444-AFF8-7EB78259ED5C}" dt="2025-01-16T06:33:40.138" v="1863" actId="700"/>
          <pc:sldLayoutMkLst>
            <pc:docMk/>
            <pc:sldMasterMk cId="3612118310" sldId="2147483726"/>
            <pc:sldLayoutMk cId="1609368168" sldId="2147483735"/>
          </pc:sldLayoutMkLst>
        </pc:sldLayoutChg>
        <pc:sldLayoutChg chg="del">
          <pc:chgData name="Harshi Rateria" userId="509ab90b-c2bf-43b6-bee4-35299838a0ca" providerId="ADAL" clId="{30A4FB54-0A2B-6444-AFF8-7EB78259ED5C}" dt="2025-01-16T06:33:40.138" v="1863" actId="700"/>
          <pc:sldLayoutMkLst>
            <pc:docMk/>
            <pc:sldMasterMk cId="3612118310" sldId="2147483726"/>
            <pc:sldLayoutMk cId="2698424810" sldId="2147483736"/>
          </pc:sldLayoutMkLst>
        </pc:sldLayoutChg>
        <pc:sldLayoutChg chg="del">
          <pc:chgData name="Harshi Rateria" userId="509ab90b-c2bf-43b6-bee4-35299838a0ca" providerId="ADAL" clId="{30A4FB54-0A2B-6444-AFF8-7EB78259ED5C}" dt="2025-01-16T06:33:40.138" v="1863" actId="700"/>
          <pc:sldLayoutMkLst>
            <pc:docMk/>
            <pc:sldMasterMk cId="3612118310" sldId="2147483726"/>
            <pc:sldLayoutMk cId="2068033365" sldId="2147483737"/>
          </pc:sldLayoutMkLst>
        </pc:sldLayoutChg>
        <pc:sldLayoutChg chg="del">
          <pc:chgData name="Harshi Rateria" userId="509ab90b-c2bf-43b6-bee4-35299838a0ca" providerId="ADAL" clId="{30A4FB54-0A2B-6444-AFF8-7EB78259ED5C}" dt="2025-01-16T06:33:40.138" v="1863" actId="700"/>
          <pc:sldLayoutMkLst>
            <pc:docMk/>
            <pc:sldMasterMk cId="3612118310" sldId="2147483726"/>
            <pc:sldLayoutMk cId="3130856111" sldId="2147483738"/>
          </pc:sldLayoutMkLst>
        </pc:sldLayoutChg>
        <pc:sldLayoutChg chg="del">
          <pc:chgData name="Harshi Rateria" userId="509ab90b-c2bf-43b6-bee4-35299838a0ca" providerId="ADAL" clId="{30A4FB54-0A2B-6444-AFF8-7EB78259ED5C}" dt="2025-01-16T06:33:40.138" v="1863" actId="700"/>
          <pc:sldLayoutMkLst>
            <pc:docMk/>
            <pc:sldMasterMk cId="3612118310" sldId="2147483726"/>
            <pc:sldLayoutMk cId="2393022590" sldId="2147483739"/>
          </pc:sldLayoutMkLst>
        </pc:sldLayoutChg>
        <pc:sldLayoutChg chg="del">
          <pc:chgData name="Harshi Rateria" userId="509ab90b-c2bf-43b6-bee4-35299838a0ca" providerId="ADAL" clId="{30A4FB54-0A2B-6444-AFF8-7EB78259ED5C}" dt="2025-01-16T06:33:40.138" v="1863" actId="700"/>
          <pc:sldLayoutMkLst>
            <pc:docMk/>
            <pc:sldMasterMk cId="3612118310" sldId="2147483726"/>
            <pc:sldLayoutMk cId="58037306" sldId="2147483740"/>
          </pc:sldLayoutMkLst>
        </pc:sldLayoutChg>
        <pc:sldLayoutChg chg="del">
          <pc:chgData name="Harshi Rateria" userId="509ab90b-c2bf-43b6-bee4-35299838a0ca" providerId="ADAL" clId="{30A4FB54-0A2B-6444-AFF8-7EB78259ED5C}" dt="2025-01-16T06:33:40.138" v="1863" actId="700"/>
          <pc:sldLayoutMkLst>
            <pc:docMk/>
            <pc:sldMasterMk cId="3612118310" sldId="2147483726"/>
            <pc:sldLayoutMk cId="3784408311" sldId="2147483741"/>
          </pc:sldLayoutMkLst>
        </pc:sldLayoutChg>
        <pc:sldLayoutChg chg="del">
          <pc:chgData name="Harshi Rateria" userId="509ab90b-c2bf-43b6-bee4-35299838a0ca" providerId="ADAL" clId="{30A4FB54-0A2B-6444-AFF8-7EB78259ED5C}" dt="2025-01-16T06:33:40.138" v="1863" actId="700"/>
          <pc:sldLayoutMkLst>
            <pc:docMk/>
            <pc:sldMasterMk cId="3612118310" sldId="2147483726"/>
            <pc:sldLayoutMk cId="2883321885" sldId="2147483742"/>
          </pc:sldLayoutMkLst>
        </pc:sldLayoutChg>
        <pc:sldLayoutChg chg="del">
          <pc:chgData name="Harshi Rateria" userId="509ab90b-c2bf-43b6-bee4-35299838a0ca" providerId="ADAL" clId="{30A4FB54-0A2B-6444-AFF8-7EB78259ED5C}" dt="2025-01-16T06:33:40.138" v="1863" actId="700"/>
          <pc:sldLayoutMkLst>
            <pc:docMk/>
            <pc:sldMasterMk cId="3612118310" sldId="2147483726"/>
            <pc:sldLayoutMk cId="3083913145" sldId="2147483743"/>
          </pc:sldLayoutMkLst>
        </pc:sldLayoutChg>
        <pc:sldLayoutChg chg="del">
          <pc:chgData name="Harshi Rateria" userId="509ab90b-c2bf-43b6-bee4-35299838a0ca" providerId="ADAL" clId="{30A4FB54-0A2B-6444-AFF8-7EB78259ED5C}" dt="2025-01-16T06:33:40.138" v="1863" actId="700"/>
          <pc:sldLayoutMkLst>
            <pc:docMk/>
            <pc:sldMasterMk cId="3612118310" sldId="2147483726"/>
            <pc:sldLayoutMk cId="1676982045" sldId="2147483744"/>
          </pc:sldLayoutMkLst>
        </pc:sldLayoutChg>
        <pc:sldLayoutChg chg="del">
          <pc:chgData name="Harshi Rateria" userId="509ab90b-c2bf-43b6-bee4-35299838a0ca" providerId="ADAL" clId="{30A4FB54-0A2B-6444-AFF8-7EB78259ED5C}" dt="2025-01-16T06:33:40.138" v="1863" actId="700"/>
          <pc:sldLayoutMkLst>
            <pc:docMk/>
            <pc:sldMasterMk cId="3612118310" sldId="2147483726"/>
            <pc:sldLayoutMk cId="88822403" sldId="2147483745"/>
          </pc:sldLayoutMkLst>
        </pc:sldLayoutChg>
        <pc:sldLayoutChg chg="del">
          <pc:chgData name="Harshi Rateria" userId="509ab90b-c2bf-43b6-bee4-35299838a0ca" providerId="ADAL" clId="{30A4FB54-0A2B-6444-AFF8-7EB78259ED5C}" dt="2025-01-16T06:33:40.138" v="1863" actId="700"/>
          <pc:sldLayoutMkLst>
            <pc:docMk/>
            <pc:sldMasterMk cId="3612118310" sldId="2147483726"/>
            <pc:sldLayoutMk cId="3580886177" sldId="2147483746"/>
          </pc:sldLayoutMkLst>
        </pc:sldLayoutChg>
        <pc:sldLayoutChg chg="del">
          <pc:chgData name="Harshi Rateria" userId="509ab90b-c2bf-43b6-bee4-35299838a0ca" providerId="ADAL" clId="{30A4FB54-0A2B-6444-AFF8-7EB78259ED5C}" dt="2025-01-16T06:33:40.138" v="1863" actId="700"/>
          <pc:sldLayoutMkLst>
            <pc:docMk/>
            <pc:sldMasterMk cId="3612118310" sldId="2147483726"/>
            <pc:sldLayoutMk cId="1984052201" sldId="2147483747"/>
          </pc:sldLayoutMkLst>
        </pc:sldLayoutChg>
        <pc:sldLayoutChg chg="del">
          <pc:chgData name="Harshi Rateria" userId="509ab90b-c2bf-43b6-bee4-35299838a0ca" providerId="ADAL" clId="{30A4FB54-0A2B-6444-AFF8-7EB78259ED5C}" dt="2025-01-16T06:33:40.138" v="1863" actId="700"/>
          <pc:sldLayoutMkLst>
            <pc:docMk/>
            <pc:sldMasterMk cId="3612118310" sldId="2147483726"/>
            <pc:sldLayoutMk cId="574533821" sldId="2147483748"/>
          </pc:sldLayoutMkLst>
        </pc:sldLayoutChg>
        <pc:sldLayoutChg chg="del">
          <pc:chgData name="Harshi Rateria" userId="509ab90b-c2bf-43b6-bee4-35299838a0ca" providerId="ADAL" clId="{30A4FB54-0A2B-6444-AFF8-7EB78259ED5C}" dt="2025-01-16T06:33:40.138" v="1863" actId="700"/>
          <pc:sldLayoutMkLst>
            <pc:docMk/>
            <pc:sldMasterMk cId="3612118310" sldId="2147483726"/>
            <pc:sldLayoutMk cId="3067925848" sldId="2147483751"/>
          </pc:sldLayoutMkLst>
        </pc:sldLayoutChg>
      </pc:sldMasterChg>
      <pc:sldMasterChg chg="add del addSldLayout delSldLayout">
        <pc:chgData name="Harshi Rateria" userId="509ab90b-c2bf-43b6-bee4-35299838a0ca" providerId="ADAL" clId="{30A4FB54-0A2B-6444-AFF8-7EB78259ED5C}" dt="2025-01-15T13:52:42.759" v="1692" actId="2696"/>
        <pc:sldMasterMkLst>
          <pc:docMk/>
          <pc:sldMasterMk cId="3099542824" sldId="2147483851"/>
        </pc:sldMasterMkLst>
        <pc:sldLayoutChg chg="add del">
          <pc:chgData name="Harshi Rateria" userId="509ab90b-c2bf-43b6-bee4-35299838a0ca" providerId="ADAL" clId="{30A4FB54-0A2B-6444-AFF8-7EB78259ED5C}" dt="2025-01-15T13:52:42.759" v="1692" actId="2696"/>
          <pc:sldLayoutMkLst>
            <pc:docMk/>
            <pc:sldMasterMk cId="3099542824" sldId="2147483851"/>
            <pc:sldLayoutMk cId="3050990978" sldId="2147483852"/>
          </pc:sldLayoutMkLst>
        </pc:sldLayoutChg>
        <pc:sldLayoutChg chg="add del">
          <pc:chgData name="Harshi Rateria" userId="509ab90b-c2bf-43b6-bee4-35299838a0ca" providerId="ADAL" clId="{30A4FB54-0A2B-6444-AFF8-7EB78259ED5C}" dt="2025-01-15T13:52:42.759" v="1692" actId="2696"/>
          <pc:sldLayoutMkLst>
            <pc:docMk/>
            <pc:sldMasterMk cId="3099542824" sldId="2147483851"/>
            <pc:sldLayoutMk cId="3018949949" sldId="2147483853"/>
          </pc:sldLayoutMkLst>
        </pc:sldLayoutChg>
        <pc:sldLayoutChg chg="add del">
          <pc:chgData name="Harshi Rateria" userId="509ab90b-c2bf-43b6-bee4-35299838a0ca" providerId="ADAL" clId="{30A4FB54-0A2B-6444-AFF8-7EB78259ED5C}" dt="2025-01-15T13:52:42.759" v="1692" actId="2696"/>
          <pc:sldLayoutMkLst>
            <pc:docMk/>
            <pc:sldMasterMk cId="3099542824" sldId="2147483851"/>
            <pc:sldLayoutMk cId="3622271075" sldId="2147483854"/>
          </pc:sldLayoutMkLst>
        </pc:sldLayoutChg>
        <pc:sldLayoutChg chg="add del">
          <pc:chgData name="Harshi Rateria" userId="509ab90b-c2bf-43b6-bee4-35299838a0ca" providerId="ADAL" clId="{30A4FB54-0A2B-6444-AFF8-7EB78259ED5C}" dt="2025-01-15T13:52:42.759" v="1692" actId="2696"/>
          <pc:sldLayoutMkLst>
            <pc:docMk/>
            <pc:sldMasterMk cId="3099542824" sldId="2147483851"/>
            <pc:sldLayoutMk cId="1368550064" sldId="2147483855"/>
          </pc:sldLayoutMkLst>
        </pc:sldLayoutChg>
        <pc:sldLayoutChg chg="add del">
          <pc:chgData name="Harshi Rateria" userId="509ab90b-c2bf-43b6-bee4-35299838a0ca" providerId="ADAL" clId="{30A4FB54-0A2B-6444-AFF8-7EB78259ED5C}" dt="2025-01-15T13:52:42.759" v="1692" actId="2696"/>
          <pc:sldLayoutMkLst>
            <pc:docMk/>
            <pc:sldMasterMk cId="3099542824" sldId="2147483851"/>
            <pc:sldLayoutMk cId="2493012294" sldId="2147483856"/>
          </pc:sldLayoutMkLst>
        </pc:sldLayoutChg>
        <pc:sldLayoutChg chg="add del">
          <pc:chgData name="Harshi Rateria" userId="509ab90b-c2bf-43b6-bee4-35299838a0ca" providerId="ADAL" clId="{30A4FB54-0A2B-6444-AFF8-7EB78259ED5C}" dt="2025-01-15T13:52:42.759" v="1692" actId="2696"/>
          <pc:sldLayoutMkLst>
            <pc:docMk/>
            <pc:sldMasterMk cId="3099542824" sldId="2147483851"/>
            <pc:sldLayoutMk cId="2596950848" sldId="2147483857"/>
          </pc:sldLayoutMkLst>
        </pc:sldLayoutChg>
        <pc:sldLayoutChg chg="add del">
          <pc:chgData name="Harshi Rateria" userId="509ab90b-c2bf-43b6-bee4-35299838a0ca" providerId="ADAL" clId="{30A4FB54-0A2B-6444-AFF8-7EB78259ED5C}" dt="2025-01-15T13:52:42.759" v="1692" actId="2696"/>
          <pc:sldLayoutMkLst>
            <pc:docMk/>
            <pc:sldMasterMk cId="3099542824" sldId="2147483851"/>
            <pc:sldLayoutMk cId="3697463241" sldId="2147483858"/>
          </pc:sldLayoutMkLst>
        </pc:sldLayoutChg>
        <pc:sldLayoutChg chg="add del">
          <pc:chgData name="Harshi Rateria" userId="509ab90b-c2bf-43b6-bee4-35299838a0ca" providerId="ADAL" clId="{30A4FB54-0A2B-6444-AFF8-7EB78259ED5C}" dt="2025-01-15T13:52:42.759" v="1692" actId="2696"/>
          <pc:sldLayoutMkLst>
            <pc:docMk/>
            <pc:sldMasterMk cId="3099542824" sldId="2147483851"/>
            <pc:sldLayoutMk cId="3300059364" sldId="2147483859"/>
          </pc:sldLayoutMkLst>
        </pc:sldLayoutChg>
        <pc:sldLayoutChg chg="add del">
          <pc:chgData name="Harshi Rateria" userId="509ab90b-c2bf-43b6-bee4-35299838a0ca" providerId="ADAL" clId="{30A4FB54-0A2B-6444-AFF8-7EB78259ED5C}" dt="2025-01-15T13:52:42.759" v="1692" actId="2696"/>
          <pc:sldLayoutMkLst>
            <pc:docMk/>
            <pc:sldMasterMk cId="3099542824" sldId="2147483851"/>
            <pc:sldLayoutMk cId="331812406" sldId="2147483860"/>
          </pc:sldLayoutMkLst>
        </pc:sldLayoutChg>
        <pc:sldLayoutChg chg="add del">
          <pc:chgData name="Harshi Rateria" userId="509ab90b-c2bf-43b6-bee4-35299838a0ca" providerId="ADAL" clId="{30A4FB54-0A2B-6444-AFF8-7EB78259ED5C}" dt="2025-01-15T13:52:42.759" v="1692" actId="2696"/>
          <pc:sldLayoutMkLst>
            <pc:docMk/>
            <pc:sldMasterMk cId="3099542824" sldId="2147483851"/>
            <pc:sldLayoutMk cId="811250" sldId="2147483861"/>
          </pc:sldLayoutMkLst>
        </pc:sldLayoutChg>
        <pc:sldLayoutChg chg="add del">
          <pc:chgData name="Harshi Rateria" userId="509ab90b-c2bf-43b6-bee4-35299838a0ca" providerId="ADAL" clId="{30A4FB54-0A2B-6444-AFF8-7EB78259ED5C}" dt="2025-01-15T13:52:42.759" v="1692" actId="2696"/>
          <pc:sldLayoutMkLst>
            <pc:docMk/>
            <pc:sldMasterMk cId="3099542824" sldId="2147483851"/>
            <pc:sldLayoutMk cId="629840390" sldId="2147483862"/>
          </pc:sldLayoutMkLst>
        </pc:sldLayoutChg>
        <pc:sldLayoutChg chg="add del">
          <pc:chgData name="Harshi Rateria" userId="509ab90b-c2bf-43b6-bee4-35299838a0ca" providerId="ADAL" clId="{30A4FB54-0A2B-6444-AFF8-7EB78259ED5C}" dt="2025-01-15T13:52:42.759" v="1692" actId="2696"/>
          <pc:sldLayoutMkLst>
            <pc:docMk/>
            <pc:sldMasterMk cId="3099542824" sldId="2147483851"/>
            <pc:sldLayoutMk cId="1738369892" sldId="2147483863"/>
          </pc:sldLayoutMkLst>
        </pc:sldLayoutChg>
        <pc:sldLayoutChg chg="add del">
          <pc:chgData name="Harshi Rateria" userId="509ab90b-c2bf-43b6-bee4-35299838a0ca" providerId="ADAL" clId="{30A4FB54-0A2B-6444-AFF8-7EB78259ED5C}" dt="2025-01-15T13:52:42.759" v="1692" actId="2696"/>
          <pc:sldLayoutMkLst>
            <pc:docMk/>
            <pc:sldMasterMk cId="3099542824" sldId="2147483851"/>
            <pc:sldLayoutMk cId="2382306604" sldId="2147483864"/>
          </pc:sldLayoutMkLst>
        </pc:sldLayoutChg>
        <pc:sldLayoutChg chg="add del">
          <pc:chgData name="Harshi Rateria" userId="509ab90b-c2bf-43b6-bee4-35299838a0ca" providerId="ADAL" clId="{30A4FB54-0A2B-6444-AFF8-7EB78259ED5C}" dt="2025-01-15T13:52:42.759" v="1692" actId="2696"/>
          <pc:sldLayoutMkLst>
            <pc:docMk/>
            <pc:sldMasterMk cId="3099542824" sldId="2147483851"/>
            <pc:sldLayoutMk cId="4006647525" sldId="2147483865"/>
          </pc:sldLayoutMkLst>
        </pc:sldLayoutChg>
        <pc:sldLayoutChg chg="add del">
          <pc:chgData name="Harshi Rateria" userId="509ab90b-c2bf-43b6-bee4-35299838a0ca" providerId="ADAL" clId="{30A4FB54-0A2B-6444-AFF8-7EB78259ED5C}" dt="2025-01-15T13:52:42.759" v="1692" actId="2696"/>
          <pc:sldLayoutMkLst>
            <pc:docMk/>
            <pc:sldMasterMk cId="3099542824" sldId="2147483851"/>
            <pc:sldLayoutMk cId="3594541418" sldId="2147483866"/>
          </pc:sldLayoutMkLst>
        </pc:sldLayoutChg>
        <pc:sldLayoutChg chg="add del">
          <pc:chgData name="Harshi Rateria" userId="509ab90b-c2bf-43b6-bee4-35299838a0ca" providerId="ADAL" clId="{30A4FB54-0A2B-6444-AFF8-7EB78259ED5C}" dt="2025-01-15T13:52:42.759" v="1692" actId="2696"/>
          <pc:sldLayoutMkLst>
            <pc:docMk/>
            <pc:sldMasterMk cId="3099542824" sldId="2147483851"/>
            <pc:sldLayoutMk cId="148832333" sldId="2147483867"/>
          </pc:sldLayoutMkLst>
        </pc:sldLayoutChg>
        <pc:sldLayoutChg chg="add del">
          <pc:chgData name="Harshi Rateria" userId="509ab90b-c2bf-43b6-bee4-35299838a0ca" providerId="ADAL" clId="{30A4FB54-0A2B-6444-AFF8-7EB78259ED5C}" dt="2025-01-15T13:52:42.759" v="1692" actId="2696"/>
          <pc:sldLayoutMkLst>
            <pc:docMk/>
            <pc:sldMasterMk cId="3099542824" sldId="2147483851"/>
            <pc:sldLayoutMk cId="1222395421" sldId="2147483868"/>
          </pc:sldLayoutMkLst>
        </pc:sldLayoutChg>
        <pc:sldLayoutChg chg="add del">
          <pc:chgData name="Harshi Rateria" userId="509ab90b-c2bf-43b6-bee4-35299838a0ca" providerId="ADAL" clId="{30A4FB54-0A2B-6444-AFF8-7EB78259ED5C}" dt="2025-01-15T13:52:42.759" v="1692" actId="2696"/>
          <pc:sldLayoutMkLst>
            <pc:docMk/>
            <pc:sldMasterMk cId="3099542824" sldId="2147483851"/>
            <pc:sldLayoutMk cId="3649228895" sldId="2147483869"/>
          </pc:sldLayoutMkLst>
        </pc:sldLayoutChg>
        <pc:sldLayoutChg chg="add del">
          <pc:chgData name="Harshi Rateria" userId="509ab90b-c2bf-43b6-bee4-35299838a0ca" providerId="ADAL" clId="{30A4FB54-0A2B-6444-AFF8-7EB78259ED5C}" dt="2025-01-15T13:52:42.759" v="1692" actId="2696"/>
          <pc:sldLayoutMkLst>
            <pc:docMk/>
            <pc:sldMasterMk cId="3099542824" sldId="2147483851"/>
            <pc:sldLayoutMk cId="553125579" sldId="2147483870"/>
          </pc:sldLayoutMkLst>
        </pc:sldLayoutChg>
        <pc:sldLayoutChg chg="add del">
          <pc:chgData name="Harshi Rateria" userId="509ab90b-c2bf-43b6-bee4-35299838a0ca" providerId="ADAL" clId="{30A4FB54-0A2B-6444-AFF8-7EB78259ED5C}" dt="2025-01-15T13:52:42.759" v="1692" actId="2696"/>
          <pc:sldLayoutMkLst>
            <pc:docMk/>
            <pc:sldMasterMk cId="3099542824" sldId="2147483851"/>
            <pc:sldLayoutMk cId="882870155" sldId="2147483871"/>
          </pc:sldLayoutMkLst>
        </pc:sldLayoutChg>
        <pc:sldLayoutChg chg="add del">
          <pc:chgData name="Harshi Rateria" userId="509ab90b-c2bf-43b6-bee4-35299838a0ca" providerId="ADAL" clId="{30A4FB54-0A2B-6444-AFF8-7EB78259ED5C}" dt="2025-01-15T13:52:42.759" v="1692" actId="2696"/>
          <pc:sldLayoutMkLst>
            <pc:docMk/>
            <pc:sldMasterMk cId="3099542824" sldId="2147483851"/>
            <pc:sldLayoutMk cId="1289697742" sldId="2147483872"/>
          </pc:sldLayoutMkLst>
        </pc:sldLayoutChg>
        <pc:sldLayoutChg chg="add del">
          <pc:chgData name="Harshi Rateria" userId="509ab90b-c2bf-43b6-bee4-35299838a0ca" providerId="ADAL" clId="{30A4FB54-0A2B-6444-AFF8-7EB78259ED5C}" dt="2025-01-15T13:52:42.759" v="1692" actId="2696"/>
          <pc:sldLayoutMkLst>
            <pc:docMk/>
            <pc:sldMasterMk cId="3099542824" sldId="2147483851"/>
            <pc:sldLayoutMk cId="543769946" sldId="2147483873"/>
          </pc:sldLayoutMkLst>
        </pc:sldLayoutChg>
        <pc:sldLayoutChg chg="add del">
          <pc:chgData name="Harshi Rateria" userId="509ab90b-c2bf-43b6-bee4-35299838a0ca" providerId="ADAL" clId="{30A4FB54-0A2B-6444-AFF8-7EB78259ED5C}" dt="2025-01-15T13:52:42.759" v="1692" actId="2696"/>
          <pc:sldLayoutMkLst>
            <pc:docMk/>
            <pc:sldMasterMk cId="3099542824" sldId="2147483851"/>
            <pc:sldLayoutMk cId="509317035" sldId="2147483874"/>
          </pc:sldLayoutMkLst>
        </pc:sldLayoutChg>
        <pc:sldLayoutChg chg="add del">
          <pc:chgData name="Harshi Rateria" userId="509ab90b-c2bf-43b6-bee4-35299838a0ca" providerId="ADAL" clId="{30A4FB54-0A2B-6444-AFF8-7EB78259ED5C}" dt="2025-01-15T13:52:42.759" v="1692" actId="2696"/>
          <pc:sldLayoutMkLst>
            <pc:docMk/>
            <pc:sldMasterMk cId="3099542824" sldId="2147483851"/>
            <pc:sldLayoutMk cId="4286407511" sldId="2147483875"/>
          </pc:sldLayoutMkLst>
        </pc:sldLayoutChg>
        <pc:sldLayoutChg chg="add del">
          <pc:chgData name="Harshi Rateria" userId="509ab90b-c2bf-43b6-bee4-35299838a0ca" providerId="ADAL" clId="{30A4FB54-0A2B-6444-AFF8-7EB78259ED5C}" dt="2025-01-15T13:52:42.759" v="1692" actId="2696"/>
          <pc:sldLayoutMkLst>
            <pc:docMk/>
            <pc:sldMasterMk cId="3099542824" sldId="2147483851"/>
            <pc:sldLayoutMk cId="846959654" sldId="2147483876"/>
          </pc:sldLayoutMkLst>
        </pc:sldLayoutChg>
        <pc:sldLayoutChg chg="add del">
          <pc:chgData name="Harshi Rateria" userId="509ab90b-c2bf-43b6-bee4-35299838a0ca" providerId="ADAL" clId="{30A4FB54-0A2B-6444-AFF8-7EB78259ED5C}" dt="2025-01-15T13:52:42.759" v="1692" actId="2696"/>
          <pc:sldLayoutMkLst>
            <pc:docMk/>
            <pc:sldMasterMk cId="3099542824" sldId="2147483851"/>
            <pc:sldLayoutMk cId="206029340" sldId="2147483877"/>
          </pc:sldLayoutMkLst>
        </pc:sldLayoutChg>
        <pc:sldLayoutChg chg="add del">
          <pc:chgData name="Harshi Rateria" userId="509ab90b-c2bf-43b6-bee4-35299838a0ca" providerId="ADAL" clId="{30A4FB54-0A2B-6444-AFF8-7EB78259ED5C}" dt="2025-01-15T13:52:42.759" v="1692" actId="2696"/>
          <pc:sldLayoutMkLst>
            <pc:docMk/>
            <pc:sldMasterMk cId="3099542824" sldId="2147483851"/>
            <pc:sldLayoutMk cId="452656823" sldId="2147483878"/>
          </pc:sldLayoutMkLst>
        </pc:sldLayoutChg>
        <pc:sldLayoutChg chg="add del">
          <pc:chgData name="Harshi Rateria" userId="509ab90b-c2bf-43b6-bee4-35299838a0ca" providerId="ADAL" clId="{30A4FB54-0A2B-6444-AFF8-7EB78259ED5C}" dt="2025-01-15T13:52:42.759" v="1692" actId="2696"/>
          <pc:sldLayoutMkLst>
            <pc:docMk/>
            <pc:sldMasterMk cId="3099542824" sldId="2147483851"/>
            <pc:sldLayoutMk cId="1211785450" sldId="2147483879"/>
          </pc:sldLayoutMkLst>
        </pc:sldLayoutChg>
        <pc:sldLayoutChg chg="add del">
          <pc:chgData name="Harshi Rateria" userId="509ab90b-c2bf-43b6-bee4-35299838a0ca" providerId="ADAL" clId="{30A4FB54-0A2B-6444-AFF8-7EB78259ED5C}" dt="2025-01-15T13:52:42.759" v="1692" actId="2696"/>
          <pc:sldLayoutMkLst>
            <pc:docMk/>
            <pc:sldMasterMk cId="3099542824" sldId="2147483851"/>
            <pc:sldLayoutMk cId="4292972383" sldId="2147483880"/>
          </pc:sldLayoutMkLst>
        </pc:sldLayoutChg>
        <pc:sldLayoutChg chg="add del">
          <pc:chgData name="Harshi Rateria" userId="509ab90b-c2bf-43b6-bee4-35299838a0ca" providerId="ADAL" clId="{30A4FB54-0A2B-6444-AFF8-7EB78259ED5C}" dt="2025-01-15T13:52:42.759" v="1692" actId="2696"/>
          <pc:sldLayoutMkLst>
            <pc:docMk/>
            <pc:sldMasterMk cId="3099542824" sldId="2147483851"/>
            <pc:sldLayoutMk cId="852621457" sldId="2147483881"/>
          </pc:sldLayoutMkLst>
        </pc:sldLayoutChg>
        <pc:sldLayoutChg chg="del">
          <pc:chgData name="Harshi Rateria" userId="509ab90b-c2bf-43b6-bee4-35299838a0ca" providerId="ADAL" clId="{30A4FB54-0A2B-6444-AFF8-7EB78259ED5C}" dt="2025-01-15T13:24:30.116" v="1594" actId="2696"/>
          <pc:sldLayoutMkLst>
            <pc:docMk/>
            <pc:sldMasterMk cId="3099542824" sldId="2147483851"/>
            <pc:sldLayoutMk cId="2697595114" sldId="2147484021"/>
          </pc:sldLayoutMkLst>
        </pc:sldLayoutChg>
      </pc:sldMasterChg>
    </pc:docChg>
  </pc:docChgLst>
  <pc:docChgLst>
    <pc:chgData name="Aswani Chittilla" userId="e4377af8-5c25-4d6d-97ff-a0a1ea235d6c" providerId="ADAL" clId="{B859F12A-DB62-4831-93E9-547965406892}"/>
    <pc:docChg chg="undo custSel addSld modSld">
      <pc:chgData name="Aswani Chittilla" userId="e4377af8-5c25-4d6d-97ff-a0a1ea235d6c" providerId="ADAL" clId="{B859F12A-DB62-4831-93E9-547965406892}" dt="2025-02-05T15:54:27.716" v="1104" actId="20577"/>
      <pc:docMkLst>
        <pc:docMk/>
      </pc:docMkLst>
      <pc:sldChg chg="modSp mod">
        <pc:chgData name="Aswani Chittilla" userId="e4377af8-5c25-4d6d-97ff-a0a1ea235d6c" providerId="ADAL" clId="{B859F12A-DB62-4831-93E9-547965406892}" dt="2025-02-05T15:54:27.716" v="1104" actId="20577"/>
        <pc:sldMkLst>
          <pc:docMk/>
          <pc:sldMk cId="508278704" sldId="257"/>
        </pc:sldMkLst>
        <pc:spChg chg="mod">
          <ac:chgData name="Aswani Chittilla" userId="e4377af8-5c25-4d6d-97ff-a0a1ea235d6c" providerId="ADAL" clId="{B859F12A-DB62-4831-93E9-547965406892}" dt="2025-02-05T15:54:27.716" v="1104" actId="20577"/>
          <ac:spMkLst>
            <pc:docMk/>
            <pc:sldMk cId="508278704" sldId="257"/>
            <ac:spMk id="3" creationId="{6FAF2BE4-9C90-C04B-5F78-BBBDE63578DE}"/>
          </ac:spMkLst>
        </pc:spChg>
        <pc:spChg chg="mod">
          <ac:chgData name="Aswani Chittilla" userId="e4377af8-5c25-4d6d-97ff-a0a1ea235d6c" providerId="ADAL" clId="{B859F12A-DB62-4831-93E9-547965406892}" dt="2025-02-05T06:47:04.160" v="222" actId="20577"/>
          <ac:spMkLst>
            <pc:docMk/>
            <pc:sldMk cId="508278704" sldId="257"/>
            <ac:spMk id="9" creationId="{ABF5E307-C06B-4071-D5A1-90C0454A7B01}"/>
          </ac:spMkLst>
        </pc:spChg>
      </pc:sldChg>
      <pc:sldChg chg="modSp mod">
        <pc:chgData name="Aswani Chittilla" userId="e4377af8-5c25-4d6d-97ff-a0a1ea235d6c" providerId="ADAL" clId="{B859F12A-DB62-4831-93E9-547965406892}" dt="2025-02-05T05:24:27.656" v="40" actId="5793"/>
        <pc:sldMkLst>
          <pc:docMk/>
          <pc:sldMk cId="205159607" sldId="258"/>
        </pc:sldMkLst>
        <pc:spChg chg="mod">
          <ac:chgData name="Aswani Chittilla" userId="e4377af8-5c25-4d6d-97ff-a0a1ea235d6c" providerId="ADAL" clId="{B859F12A-DB62-4831-93E9-547965406892}" dt="2025-02-05T05:24:27.656" v="40" actId="5793"/>
          <ac:spMkLst>
            <pc:docMk/>
            <pc:sldMk cId="205159607" sldId="258"/>
            <ac:spMk id="56" creationId="{79F78477-EB87-D119-9106-6CAD669F49FB}"/>
          </ac:spMkLst>
        </pc:spChg>
      </pc:sldChg>
      <pc:sldChg chg="delSp modSp add mod">
        <pc:chgData name="Aswani Chittilla" userId="e4377af8-5c25-4d6d-97ff-a0a1ea235d6c" providerId="ADAL" clId="{B859F12A-DB62-4831-93E9-547965406892}" dt="2025-02-05T09:54:45.991" v="917" actId="20577"/>
        <pc:sldMkLst>
          <pc:docMk/>
          <pc:sldMk cId="2396673663" sldId="258"/>
        </pc:sldMkLst>
        <pc:spChg chg="del topLvl">
          <ac:chgData name="Aswani Chittilla" userId="e4377af8-5c25-4d6d-97ff-a0a1ea235d6c" providerId="ADAL" clId="{B859F12A-DB62-4831-93E9-547965406892}" dt="2025-02-05T09:25:14.801" v="350" actId="478"/>
          <ac:spMkLst>
            <pc:docMk/>
            <pc:sldMk cId="2396673663" sldId="258"/>
            <ac:spMk id="5" creationId="{7F873EEF-8F9F-22F2-760D-9A8CE810885A}"/>
          </ac:spMkLst>
        </pc:spChg>
        <pc:spChg chg="mod">
          <ac:chgData name="Aswani Chittilla" userId="e4377af8-5c25-4d6d-97ff-a0a1ea235d6c" providerId="ADAL" clId="{B859F12A-DB62-4831-93E9-547965406892}" dt="2025-02-05T09:23:52.336" v="327" actId="1076"/>
          <ac:spMkLst>
            <pc:docMk/>
            <pc:sldMk cId="2396673663" sldId="258"/>
            <ac:spMk id="6" creationId="{E355E589-0CFD-0C24-916A-45F0F0313227}"/>
          </ac:spMkLst>
        </pc:spChg>
        <pc:spChg chg="mod">
          <ac:chgData name="Aswani Chittilla" userId="e4377af8-5c25-4d6d-97ff-a0a1ea235d6c" providerId="ADAL" clId="{B859F12A-DB62-4831-93E9-547965406892}" dt="2025-02-05T09:23:45.752" v="325" actId="14100"/>
          <ac:spMkLst>
            <pc:docMk/>
            <pc:sldMk cId="2396673663" sldId="258"/>
            <ac:spMk id="7" creationId="{69767CD9-585C-77D6-EBE7-4C88DBFD745C}"/>
          </ac:spMkLst>
        </pc:spChg>
        <pc:spChg chg="mod">
          <ac:chgData name="Aswani Chittilla" userId="e4377af8-5c25-4d6d-97ff-a0a1ea235d6c" providerId="ADAL" clId="{B859F12A-DB62-4831-93E9-547965406892}" dt="2025-02-05T09:25:22.456" v="352" actId="1076"/>
          <ac:spMkLst>
            <pc:docMk/>
            <pc:sldMk cId="2396673663" sldId="258"/>
            <ac:spMk id="8" creationId="{CBD3C7BB-4D4B-87FA-8921-575463566FA5}"/>
          </ac:spMkLst>
        </pc:spChg>
        <pc:spChg chg="mod">
          <ac:chgData name="Aswani Chittilla" userId="e4377af8-5c25-4d6d-97ff-a0a1ea235d6c" providerId="ADAL" clId="{B859F12A-DB62-4831-93E9-547965406892}" dt="2025-02-05T09:25:29.885" v="355" actId="14100"/>
          <ac:spMkLst>
            <pc:docMk/>
            <pc:sldMk cId="2396673663" sldId="258"/>
            <ac:spMk id="15" creationId="{2833C2F5-EE08-9963-D0BF-DD4F5D1ACB7B}"/>
          </ac:spMkLst>
        </pc:spChg>
        <pc:spChg chg="mod">
          <ac:chgData name="Aswani Chittilla" userId="e4377af8-5c25-4d6d-97ff-a0a1ea235d6c" providerId="ADAL" clId="{B859F12A-DB62-4831-93E9-547965406892}" dt="2025-02-05T09:25:27.573" v="354" actId="14100"/>
          <ac:spMkLst>
            <pc:docMk/>
            <pc:sldMk cId="2396673663" sldId="258"/>
            <ac:spMk id="16" creationId="{674BA63F-7D39-4B4E-C82A-1462FB9558AD}"/>
          </ac:spMkLst>
        </pc:spChg>
        <pc:spChg chg="mod">
          <ac:chgData name="Aswani Chittilla" userId="e4377af8-5c25-4d6d-97ff-a0a1ea235d6c" providerId="ADAL" clId="{B859F12A-DB62-4831-93E9-547965406892}" dt="2025-02-05T09:24:17.146" v="345" actId="20577"/>
          <ac:spMkLst>
            <pc:docMk/>
            <pc:sldMk cId="2396673663" sldId="258"/>
            <ac:spMk id="17" creationId="{DFB6BDE6-4D5F-5079-7A14-123E8C35456E}"/>
          </ac:spMkLst>
        </pc:spChg>
        <pc:spChg chg="del topLvl">
          <ac:chgData name="Aswani Chittilla" userId="e4377af8-5c25-4d6d-97ff-a0a1ea235d6c" providerId="ADAL" clId="{B859F12A-DB62-4831-93E9-547965406892}" dt="2025-02-05T09:25:17.769" v="351" actId="478"/>
          <ac:spMkLst>
            <pc:docMk/>
            <pc:sldMk cId="2396673663" sldId="258"/>
            <ac:spMk id="20" creationId="{7ADF8F7D-7033-5F19-FCE8-DF9ED6431527}"/>
          </ac:spMkLst>
        </pc:spChg>
        <pc:spChg chg="mod">
          <ac:chgData name="Aswani Chittilla" userId="e4377af8-5c25-4d6d-97ff-a0a1ea235d6c" providerId="ADAL" clId="{B859F12A-DB62-4831-93E9-547965406892}" dt="2025-02-05T09:24:11.954" v="333" actId="20577"/>
          <ac:spMkLst>
            <pc:docMk/>
            <pc:sldMk cId="2396673663" sldId="258"/>
            <ac:spMk id="22" creationId="{7370C137-AEB7-D5F4-D4CD-A57BCEDA3944}"/>
          </ac:spMkLst>
        </pc:spChg>
        <pc:spChg chg="mod">
          <ac:chgData name="Aswani Chittilla" userId="e4377af8-5c25-4d6d-97ff-a0a1ea235d6c" providerId="ADAL" clId="{B859F12A-DB62-4831-93E9-547965406892}" dt="2025-02-05T09:24:25.298" v="348" actId="6549"/>
          <ac:spMkLst>
            <pc:docMk/>
            <pc:sldMk cId="2396673663" sldId="258"/>
            <ac:spMk id="31" creationId="{D580E771-D00F-B6ED-9D11-A5EFC15921E3}"/>
          </ac:spMkLst>
        </pc:spChg>
        <pc:spChg chg="mod">
          <ac:chgData name="Aswani Chittilla" userId="e4377af8-5c25-4d6d-97ff-a0a1ea235d6c" providerId="ADAL" clId="{B859F12A-DB62-4831-93E9-547965406892}" dt="2025-02-05T09:24:28.253" v="349" actId="6549"/>
          <ac:spMkLst>
            <pc:docMk/>
            <pc:sldMk cId="2396673663" sldId="258"/>
            <ac:spMk id="33" creationId="{782EBF6A-3422-B21F-791C-9182B7E24EBC}"/>
          </ac:spMkLst>
        </pc:spChg>
        <pc:spChg chg="mod">
          <ac:chgData name="Aswani Chittilla" userId="e4377af8-5c25-4d6d-97ff-a0a1ea235d6c" providerId="ADAL" clId="{B859F12A-DB62-4831-93E9-547965406892}" dt="2025-02-05T09:54:01.148" v="905" actId="6549"/>
          <ac:spMkLst>
            <pc:docMk/>
            <pc:sldMk cId="2396673663" sldId="258"/>
            <ac:spMk id="35" creationId="{C91E3352-243C-018A-F89C-2AC6E850D804}"/>
          </ac:spMkLst>
        </pc:spChg>
        <pc:spChg chg="mod">
          <ac:chgData name="Aswani Chittilla" userId="e4377af8-5c25-4d6d-97ff-a0a1ea235d6c" providerId="ADAL" clId="{B859F12A-DB62-4831-93E9-547965406892}" dt="2025-02-05T09:25:57.718" v="356" actId="1076"/>
          <ac:spMkLst>
            <pc:docMk/>
            <pc:sldMk cId="2396673663" sldId="258"/>
            <ac:spMk id="42" creationId="{91AA8356-3817-1422-E5D9-862807C99EFC}"/>
          </ac:spMkLst>
        </pc:spChg>
        <pc:spChg chg="del">
          <ac:chgData name="Aswani Chittilla" userId="e4377af8-5c25-4d6d-97ff-a0a1ea235d6c" providerId="ADAL" clId="{B859F12A-DB62-4831-93E9-547965406892}" dt="2025-02-05T09:24:00.176" v="328" actId="478"/>
          <ac:spMkLst>
            <pc:docMk/>
            <pc:sldMk cId="2396673663" sldId="258"/>
            <ac:spMk id="43" creationId="{31654500-AD72-8FF3-1556-1E3F4CBAAE34}"/>
          </ac:spMkLst>
        </pc:spChg>
        <pc:spChg chg="del">
          <ac:chgData name="Aswani Chittilla" userId="e4377af8-5c25-4d6d-97ff-a0a1ea235d6c" providerId="ADAL" clId="{B859F12A-DB62-4831-93E9-547965406892}" dt="2025-02-05T09:24:01.488" v="329" actId="478"/>
          <ac:spMkLst>
            <pc:docMk/>
            <pc:sldMk cId="2396673663" sldId="258"/>
            <ac:spMk id="44" creationId="{F249975E-3F69-C4A0-AC8B-4BFE91CE6134}"/>
          </ac:spMkLst>
        </pc:spChg>
        <pc:spChg chg="mod">
          <ac:chgData name="Aswani Chittilla" userId="e4377af8-5c25-4d6d-97ff-a0a1ea235d6c" providerId="ADAL" clId="{B859F12A-DB62-4831-93E9-547965406892}" dt="2025-02-05T09:54:45.991" v="917" actId="20577"/>
          <ac:spMkLst>
            <pc:docMk/>
            <pc:sldMk cId="2396673663" sldId="258"/>
            <ac:spMk id="45" creationId="{AC85E602-A933-1EED-7B22-AEFCA5F56D5A}"/>
          </ac:spMkLst>
        </pc:spChg>
        <pc:grpChg chg="del">
          <ac:chgData name="Aswani Chittilla" userId="e4377af8-5c25-4d6d-97ff-a0a1ea235d6c" providerId="ADAL" clId="{B859F12A-DB62-4831-93E9-547965406892}" dt="2025-02-05T09:25:14.801" v="350" actId="478"/>
          <ac:grpSpMkLst>
            <pc:docMk/>
            <pc:sldMk cId="2396673663" sldId="258"/>
            <ac:grpSpMk id="25" creationId="{4D65B9F4-8E51-76A6-134D-5AF9CFFC2B51}"/>
          </ac:grpSpMkLst>
        </pc:grpChg>
        <pc:picChg chg="mod">
          <ac:chgData name="Aswani Chittilla" userId="e4377af8-5c25-4d6d-97ff-a0a1ea235d6c" providerId="ADAL" clId="{B859F12A-DB62-4831-93E9-547965406892}" dt="2025-02-05T09:54:15.520" v="906" actId="1076"/>
          <ac:picMkLst>
            <pc:docMk/>
            <pc:sldMk cId="2396673663" sldId="258"/>
            <ac:picMk id="18" creationId="{4FA58DD0-2CDA-1C25-1178-ABF9B680EFF2}"/>
          </ac:picMkLst>
        </pc:picChg>
        <pc:picChg chg="mod">
          <ac:chgData name="Aswani Chittilla" userId="e4377af8-5c25-4d6d-97ff-a0a1ea235d6c" providerId="ADAL" clId="{B859F12A-DB62-4831-93E9-547965406892}" dt="2025-02-05T09:54:21.920" v="907" actId="1076"/>
          <ac:picMkLst>
            <pc:docMk/>
            <pc:sldMk cId="2396673663" sldId="258"/>
            <ac:picMk id="19" creationId="{2942D526-5E0C-C820-065F-2973516DFD9E}"/>
          </ac:picMkLst>
        </pc:picChg>
        <pc:picChg chg="del">
          <ac:chgData name="Aswani Chittilla" userId="e4377af8-5c25-4d6d-97ff-a0a1ea235d6c" providerId="ADAL" clId="{B859F12A-DB62-4831-93E9-547965406892}" dt="2025-02-05T09:53:56.984" v="904" actId="478"/>
          <ac:picMkLst>
            <pc:docMk/>
            <pc:sldMk cId="2396673663" sldId="258"/>
            <ac:picMk id="3074" creationId="{D802191C-2843-2EE3-2861-143EDA8F60A4}"/>
          </ac:picMkLst>
        </pc:picChg>
      </pc:sldChg>
      <pc:sldChg chg="modSp mod">
        <pc:chgData name="Aswani Chittilla" userId="e4377af8-5c25-4d6d-97ff-a0a1ea235d6c" providerId="ADAL" clId="{B859F12A-DB62-4831-93E9-547965406892}" dt="2025-02-05T09:53:09.854" v="903" actId="20577"/>
        <pc:sldMkLst>
          <pc:docMk/>
          <pc:sldMk cId="3112683689" sldId="262"/>
        </pc:sldMkLst>
        <pc:spChg chg="mod">
          <ac:chgData name="Aswani Chittilla" userId="e4377af8-5c25-4d6d-97ff-a0a1ea235d6c" providerId="ADAL" clId="{B859F12A-DB62-4831-93E9-547965406892}" dt="2025-02-05T09:53:09.854" v="903" actId="20577"/>
          <ac:spMkLst>
            <pc:docMk/>
            <pc:sldMk cId="3112683689" sldId="262"/>
            <ac:spMk id="3" creationId="{6FAF2BE4-9C90-C04B-5F78-BBBDE63578DE}"/>
          </ac:spMkLst>
        </pc:spChg>
      </pc:sldChg>
      <pc:sldChg chg="modSp mod">
        <pc:chgData name="Aswani Chittilla" userId="e4377af8-5c25-4d6d-97ff-a0a1ea235d6c" providerId="ADAL" clId="{B859F12A-DB62-4831-93E9-547965406892}" dt="2025-02-05T15:41:11.226" v="955" actId="20577"/>
        <pc:sldMkLst>
          <pc:docMk/>
          <pc:sldMk cId="186803692" sldId="263"/>
        </pc:sldMkLst>
        <pc:spChg chg="mod">
          <ac:chgData name="Aswani Chittilla" userId="e4377af8-5c25-4d6d-97ff-a0a1ea235d6c" providerId="ADAL" clId="{B859F12A-DB62-4831-93E9-547965406892}" dt="2025-02-05T15:41:11.226" v="955" actId="20577"/>
          <ac:spMkLst>
            <pc:docMk/>
            <pc:sldMk cId="186803692" sldId="263"/>
            <ac:spMk id="89" creationId="{C7A16A98-0809-47F6-728A-5D6DCAA318F3}"/>
          </ac:spMkLst>
        </pc:spChg>
      </pc:sldChg>
      <pc:sldChg chg="modSp mod">
        <pc:chgData name="Aswani Chittilla" userId="e4377af8-5c25-4d6d-97ff-a0a1ea235d6c" providerId="ADAL" clId="{B859F12A-DB62-4831-93E9-547965406892}" dt="2025-02-05T09:26:28.960" v="361" actId="20577"/>
        <pc:sldMkLst>
          <pc:docMk/>
          <pc:sldMk cId="1780373343" sldId="263"/>
        </pc:sldMkLst>
        <pc:spChg chg="mod">
          <ac:chgData name="Aswani Chittilla" userId="e4377af8-5c25-4d6d-97ff-a0a1ea235d6c" providerId="ADAL" clId="{B859F12A-DB62-4831-93E9-547965406892}" dt="2025-02-05T09:26:28.960" v="361" actId="20577"/>
          <ac:spMkLst>
            <pc:docMk/>
            <pc:sldMk cId="1780373343" sldId="263"/>
            <ac:spMk id="17" creationId="{8F7DBB11-D5FA-BFDF-FE57-0780F47465FD}"/>
          </ac:spMkLst>
        </pc:spChg>
      </pc:sldChg>
      <pc:sldChg chg="modSp mod">
        <pc:chgData name="Aswani Chittilla" userId="e4377af8-5c25-4d6d-97ff-a0a1ea235d6c" providerId="ADAL" clId="{B859F12A-DB62-4831-93E9-547965406892}" dt="2025-02-05T09:34:32.747" v="556" actId="20577"/>
        <pc:sldMkLst>
          <pc:docMk/>
          <pc:sldMk cId="55496167" sldId="271"/>
        </pc:sldMkLst>
        <pc:spChg chg="mod">
          <ac:chgData name="Aswani Chittilla" userId="e4377af8-5c25-4d6d-97ff-a0a1ea235d6c" providerId="ADAL" clId="{B859F12A-DB62-4831-93E9-547965406892}" dt="2025-02-05T09:34:32.747" v="556" actId="20577"/>
          <ac:spMkLst>
            <pc:docMk/>
            <pc:sldMk cId="55496167" sldId="271"/>
            <ac:spMk id="2" creationId="{B30B3923-E669-4CF8-6107-89C95132CAF8}"/>
          </ac:spMkLst>
        </pc:spChg>
      </pc:sldChg>
      <pc:sldChg chg="modSp mod">
        <pc:chgData name="Aswani Chittilla" userId="e4377af8-5c25-4d6d-97ff-a0a1ea235d6c" providerId="ADAL" clId="{B859F12A-DB62-4831-93E9-547965406892}" dt="2025-02-05T09:40:35.901" v="643" actId="20577"/>
        <pc:sldMkLst>
          <pc:docMk/>
          <pc:sldMk cId="509631690" sldId="276"/>
        </pc:sldMkLst>
        <pc:spChg chg="mod">
          <ac:chgData name="Aswani Chittilla" userId="e4377af8-5c25-4d6d-97ff-a0a1ea235d6c" providerId="ADAL" clId="{B859F12A-DB62-4831-93E9-547965406892}" dt="2025-02-05T09:40:35.901" v="643" actId="20577"/>
          <ac:spMkLst>
            <pc:docMk/>
            <pc:sldMk cId="509631690" sldId="276"/>
            <ac:spMk id="4" creationId="{CA47EB22-40A2-59EE-8A59-1137715835BB}"/>
          </ac:spMkLst>
        </pc:spChg>
      </pc:sldChg>
      <pc:sldChg chg="modSp mod">
        <pc:chgData name="Aswani Chittilla" userId="e4377af8-5c25-4d6d-97ff-a0a1ea235d6c" providerId="ADAL" clId="{B859F12A-DB62-4831-93E9-547965406892}" dt="2025-02-04T10:59:06.349" v="12" actId="207"/>
        <pc:sldMkLst>
          <pc:docMk/>
          <pc:sldMk cId="1355154243" sldId="280"/>
        </pc:sldMkLst>
      </pc:sldChg>
      <pc:sldChg chg="modSp mod">
        <pc:chgData name="Aswani Chittilla" userId="e4377af8-5c25-4d6d-97ff-a0a1ea235d6c" providerId="ADAL" clId="{B859F12A-DB62-4831-93E9-547965406892}" dt="2025-02-05T10:26:42.452" v="944" actId="1076"/>
        <pc:sldMkLst>
          <pc:docMk/>
          <pc:sldMk cId="2453782732" sldId="283"/>
        </pc:sldMkLst>
        <pc:spChg chg="mod">
          <ac:chgData name="Aswani Chittilla" userId="e4377af8-5c25-4d6d-97ff-a0a1ea235d6c" providerId="ADAL" clId="{B859F12A-DB62-4831-93E9-547965406892}" dt="2025-02-05T10:26:42.452" v="944" actId="1076"/>
          <ac:spMkLst>
            <pc:docMk/>
            <pc:sldMk cId="2453782732" sldId="283"/>
            <ac:spMk id="2" creationId="{B93ED0FB-8E2E-9846-F884-475AF4C10409}"/>
          </ac:spMkLst>
        </pc:spChg>
        <pc:spChg chg="mod">
          <ac:chgData name="Aswani Chittilla" userId="e4377af8-5c25-4d6d-97ff-a0a1ea235d6c" providerId="ADAL" clId="{B859F12A-DB62-4831-93E9-547965406892}" dt="2025-02-05T10:26:33.926" v="943" actId="1076"/>
          <ac:spMkLst>
            <pc:docMk/>
            <pc:sldMk cId="2453782732" sldId="283"/>
            <ac:spMk id="44" creationId="{5ACA73A8-C3CB-E318-BFED-6C29EDE47D2E}"/>
          </ac:spMkLst>
        </pc:spChg>
        <pc:spChg chg="mod">
          <ac:chgData name="Aswani Chittilla" userId="e4377af8-5c25-4d6d-97ff-a0a1ea235d6c" providerId="ADAL" clId="{B859F12A-DB62-4831-93E9-547965406892}" dt="2025-02-05T10:26:27.823" v="942" actId="1076"/>
          <ac:spMkLst>
            <pc:docMk/>
            <pc:sldMk cId="2453782732" sldId="283"/>
            <ac:spMk id="48" creationId="{30B03309-B479-1960-D1D2-6C91F83A0BAB}"/>
          </ac:spMkLst>
        </pc:spChg>
      </pc:sldChg>
      <pc:sldChg chg="modSp mod">
        <pc:chgData name="Aswani Chittilla" userId="e4377af8-5c25-4d6d-97ff-a0a1ea235d6c" providerId="ADAL" clId="{B859F12A-DB62-4831-93E9-547965406892}" dt="2025-02-04T10:57:43.506" v="10" actId="20577"/>
        <pc:sldMkLst>
          <pc:docMk/>
          <pc:sldMk cId="2161039759" sldId="286"/>
        </pc:sldMkLst>
      </pc:sldChg>
      <pc:sldChg chg="modSp mod">
        <pc:chgData name="Aswani Chittilla" userId="e4377af8-5c25-4d6d-97ff-a0a1ea235d6c" providerId="ADAL" clId="{B859F12A-DB62-4831-93E9-547965406892}" dt="2025-02-05T09:42:50.128" v="670" actId="13926"/>
        <pc:sldMkLst>
          <pc:docMk/>
          <pc:sldMk cId="870452227" sldId="288"/>
        </pc:sldMkLst>
        <pc:spChg chg="mod">
          <ac:chgData name="Aswani Chittilla" userId="e4377af8-5c25-4d6d-97ff-a0a1ea235d6c" providerId="ADAL" clId="{B859F12A-DB62-4831-93E9-547965406892}" dt="2025-02-05T06:42:08.949" v="91" actId="1076"/>
          <ac:spMkLst>
            <pc:docMk/>
            <pc:sldMk cId="870452227" sldId="288"/>
            <ac:spMk id="6" creationId="{49A830A4-FF15-43A8-6DC1-FEE86CF861AA}"/>
          </ac:spMkLst>
        </pc:spChg>
        <pc:spChg chg="mod">
          <ac:chgData name="Aswani Chittilla" userId="e4377af8-5c25-4d6d-97ff-a0a1ea235d6c" providerId="ADAL" clId="{B859F12A-DB62-4831-93E9-547965406892}" dt="2025-02-05T09:42:50.128" v="670" actId="13926"/>
          <ac:spMkLst>
            <pc:docMk/>
            <pc:sldMk cId="870452227" sldId="288"/>
            <ac:spMk id="24" creationId="{EEC110FC-0384-4A0C-83DD-AF704BABE5F0}"/>
          </ac:spMkLst>
        </pc:spChg>
        <pc:spChg chg="mod">
          <ac:chgData name="Aswani Chittilla" userId="e4377af8-5c25-4d6d-97ff-a0a1ea235d6c" providerId="ADAL" clId="{B859F12A-DB62-4831-93E9-547965406892}" dt="2025-02-05T06:42:00.065" v="90" actId="13926"/>
          <ac:spMkLst>
            <pc:docMk/>
            <pc:sldMk cId="870452227" sldId="288"/>
            <ac:spMk id="44" creationId="{9B161ACE-F86A-B4A1-D58C-4BD857E45E15}"/>
          </ac:spMkLst>
        </pc:spChg>
      </pc:sldChg>
      <pc:sldChg chg="modSp mod">
        <pc:chgData name="Aswani Chittilla" userId="e4377af8-5c25-4d6d-97ff-a0a1ea235d6c" providerId="ADAL" clId="{B859F12A-DB62-4831-93E9-547965406892}" dt="2025-02-05T09:56:17.211" v="934" actId="13926"/>
        <pc:sldMkLst>
          <pc:docMk/>
          <pc:sldMk cId="3865543623" sldId="297"/>
        </pc:sldMkLst>
        <pc:spChg chg="mod">
          <ac:chgData name="Aswani Chittilla" userId="e4377af8-5c25-4d6d-97ff-a0a1ea235d6c" providerId="ADAL" clId="{B859F12A-DB62-4831-93E9-547965406892}" dt="2025-02-05T06:43:49.428" v="126" actId="1036"/>
          <ac:spMkLst>
            <pc:docMk/>
            <pc:sldMk cId="3865543623" sldId="297"/>
            <ac:spMk id="3" creationId="{6090A78A-F2F7-2BDF-5FE7-56FDA678B1AF}"/>
          </ac:spMkLst>
        </pc:spChg>
        <pc:spChg chg="mod">
          <ac:chgData name="Aswani Chittilla" userId="e4377af8-5c25-4d6d-97ff-a0a1ea235d6c" providerId="ADAL" clId="{B859F12A-DB62-4831-93E9-547965406892}" dt="2025-02-05T06:43:56.647" v="127" actId="1076"/>
          <ac:spMkLst>
            <pc:docMk/>
            <pc:sldMk cId="3865543623" sldId="297"/>
            <ac:spMk id="7" creationId="{CC0DBF53-878B-77BA-CFA9-5DB39D02BB80}"/>
          </ac:spMkLst>
        </pc:spChg>
        <pc:spChg chg="mod">
          <ac:chgData name="Aswani Chittilla" userId="e4377af8-5c25-4d6d-97ff-a0a1ea235d6c" providerId="ADAL" clId="{B859F12A-DB62-4831-93E9-547965406892}" dt="2025-02-05T06:46:00.886" v="194" actId="1076"/>
          <ac:spMkLst>
            <pc:docMk/>
            <pc:sldMk cId="3865543623" sldId="297"/>
            <ac:spMk id="10" creationId="{8B8291BB-8955-9497-A0FD-49AD63502B0E}"/>
          </ac:spMkLst>
        </pc:spChg>
        <pc:spChg chg="mod">
          <ac:chgData name="Aswani Chittilla" userId="e4377af8-5c25-4d6d-97ff-a0a1ea235d6c" providerId="ADAL" clId="{B859F12A-DB62-4831-93E9-547965406892}" dt="2025-02-05T09:43:13.220" v="671" actId="1076"/>
          <ac:spMkLst>
            <pc:docMk/>
            <pc:sldMk cId="3865543623" sldId="297"/>
            <ac:spMk id="11" creationId="{1152F570-6756-F27E-5E0C-AE6333EADD0D}"/>
          </ac:spMkLst>
        </pc:spChg>
        <pc:spChg chg="mod">
          <ac:chgData name="Aswani Chittilla" userId="e4377af8-5c25-4d6d-97ff-a0a1ea235d6c" providerId="ADAL" clId="{B859F12A-DB62-4831-93E9-547965406892}" dt="2025-02-05T09:56:17.211" v="934" actId="13926"/>
          <ac:spMkLst>
            <pc:docMk/>
            <pc:sldMk cId="3865543623" sldId="297"/>
            <ac:spMk id="12" creationId="{AE67A667-A5A7-7947-9FB4-457CBC6B2B9C}"/>
          </ac:spMkLst>
        </pc:spChg>
        <pc:spChg chg="mod">
          <ac:chgData name="Aswani Chittilla" userId="e4377af8-5c25-4d6d-97ff-a0a1ea235d6c" providerId="ADAL" clId="{B859F12A-DB62-4831-93E9-547965406892}" dt="2025-02-05T06:43:49.428" v="126" actId="1036"/>
          <ac:spMkLst>
            <pc:docMk/>
            <pc:sldMk cId="3865543623" sldId="297"/>
            <ac:spMk id="52" creationId="{6F121BCD-84C3-736B-7F98-D97334AF7110}"/>
          </ac:spMkLst>
        </pc:spChg>
        <pc:spChg chg="mod">
          <ac:chgData name="Aswani Chittilla" userId="e4377af8-5c25-4d6d-97ff-a0a1ea235d6c" providerId="ADAL" clId="{B859F12A-DB62-4831-93E9-547965406892}" dt="2025-02-05T06:43:49.428" v="126" actId="1036"/>
          <ac:spMkLst>
            <pc:docMk/>
            <pc:sldMk cId="3865543623" sldId="297"/>
            <ac:spMk id="53" creationId="{ACC86075-5444-3C44-A521-E6D82B0E6FF2}"/>
          </ac:spMkLst>
        </pc:spChg>
      </pc:sldChg>
      <pc:sldChg chg="modSp mod">
        <pc:chgData name="Aswani Chittilla" userId="e4377af8-5c25-4d6d-97ff-a0a1ea235d6c" providerId="ADAL" clId="{B859F12A-DB62-4831-93E9-547965406892}" dt="2025-02-05T10:36:25.458" v="954" actId="20577"/>
        <pc:sldMkLst>
          <pc:docMk/>
          <pc:sldMk cId="4208253848" sldId="299"/>
        </pc:sldMkLst>
        <pc:spChg chg="mod">
          <ac:chgData name="Aswani Chittilla" userId="e4377af8-5c25-4d6d-97ff-a0a1ea235d6c" providerId="ADAL" clId="{B859F12A-DB62-4831-93E9-547965406892}" dt="2025-02-05T10:36:17.348" v="952" actId="20577"/>
          <ac:spMkLst>
            <pc:docMk/>
            <pc:sldMk cId="4208253848" sldId="299"/>
            <ac:spMk id="4" creationId="{6EF7D236-4E20-FA7C-2212-66C22F4F6E07}"/>
          </ac:spMkLst>
        </pc:spChg>
        <pc:spChg chg="mod">
          <ac:chgData name="Aswani Chittilla" userId="e4377af8-5c25-4d6d-97ff-a0a1ea235d6c" providerId="ADAL" clId="{B859F12A-DB62-4831-93E9-547965406892}" dt="2025-02-05T10:36:25.458" v="954" actId="20577"/>
          <ac:spMkLst>
            <pc:docMk/>
            <pc:sldMk cId="4208253848" sldId="299"/>
            <ac:spMk id="89" creationId="{48A23675-22D0-54D5-8DB2-DB09733D3621}"/>
          </ac:spMkLst>
        </pc:spChg>
      </pc:sldChg>
      <pc:sldChg chg="modSp new mod">
        <pc:chgData name="Aswani Chittilla" userId="e4377af8-5c25-4d6d-97ff-a0a1ea235d6c" providerId="ADAL" clId="{B859F12A-DB62-4831-93E9-547965406892}" dt="2025-02-05T05:30:34.873" v="81" actId="14100"/>
        <pc:sldMkLst>
          <pc:docMk/>
          <pc:sldMk cId="2940475054" sldId="300"/>
        </pc:sldMkLst>
        <pc:picChg chg="mod">
          <ac:chgData name="Aswani Chittilla" userId="e4377af8-5c25-4d6d-97ff-a0a1ea235d6c" providerId="ADAL" clId="{B859F12A-DB62-4831-93E9-547965406892}" dt="2025-02-05T05:30:34.873" v="81" actId="14100"/>
          <ac:picMkLst>
            <pc:docMk/>
            <pc:sldMk cId="2940475054" sldId="300"/>
            <ac:picMk id="6" creationId="{FFF2D48D-D632-13FB-7FB4-2C8E35A48448}"/>
          </ac:picMkLst>
        </pc:picChg>
      </pc:sldChg>
      <pc:sldChg chg="modSp mod">
        <pc:chgData name="Aswani Chittilla" userId="e4377af8-5c25-4d6d-97ff-a0a1ea235d6c" providerId="ADAL" clId="{B859F12A-DB62-4831-93E9-547965406892}" dt="2025-02-05T06:52:21.857" v="278" actId="20577"/>
        <pc:sldMkLst>
          <pc:docMk/>
          <pc:sldMk cId="2640976559" sldId="301"/>
        </pc:sldMkLst>
        <pc:spChg chg="mod">
          <ac:chgData name="Aswani Chittilla" userId="e4377af8-5c25-4d6d-97ff-a0a1ea235d6c" providerId="ADAL" clId="{B859F12A-DB62-4831-93E9-547965406892}" dt="2025-02-05T06:52:21.857" v="278" actId="20577"/>
          <ac:spMkLst>
            <pc:docMk/>
            <pc:sldMk cId="2640976559" sldId="301"/>
            <ac:spMk id="3" creationId="{B3BAA018-4B95-860C-524F-9FCAC9C67C30}"/>
          </ac:spMkLst>
        </pc:spChg>
      </pc:sldChg>
      <pc:sldChg chg="addSp delSp modSp mod">
        <pc:chgData name="Aswani Chittilla" userId="e4377af8-5c25-4d6d-97ff-a0a1ea235d6c" providerId="ADAL" clId="{B859F12A-DB62-4831-93E9-547965406892}" dt="2025-02-05T10:30:24.435" v="950" actId="1076"/>
        <pc:sldMkLst>
          <pc:docMk/>
          <pc:sldMk cId="1078193935" sldId="302"/>
        </pc:sldMkLst>
        <pc:spChg chg="mod">
          <ac:chgData name="Aswani Chittilla" userId="e4377af8-5c25-4d6d-97ff-a0a1ea235d6c" providerId="ADAL" clId="{B859F12A-DB62-4831-93E9-547965406892}" dt="2025-02-05T09:28:55.438" v="370" actId="1076"/>
          <ac:spMkLst>
            <pc:docMk/>
            <pc:sldMk cId="1078193935" sldId="302"/>
            <ac:spMk id="25" creationId="{B3539653-7646-47E3-8813-83FA2CC22720}"/>
          </ac:spMkLst>
        </pc:spChg>
        <pc:spChg chg="mod">
          <ac:chgData name="Aswani Chittilla" userId="e4377af8-5c25-4d6d-97ff-a0a1ea235d6c" providerId="ADAL" clId="{B859F12A-DB62-4831-93E9-547965406892}" dt="2025-02-05T09:28:50.324" v="369" actId="1076"/>
          <ac:spMkLst>
            <pc:docMk/>
            <pc:sldMk cId="1078193935" sldId="302"/>
            <ac:spMk id="30" creationId="{FA5690DC-4EF6-9757-0EEE-7BE1596CB8E7}"/>
          </ac:spMkLst>
        </pc:spChg>
        <pc:spChg chg="mod">
          <ac:chgData name="Aswani Chittilla" userId="e4377af8-5c25-4d6d-97ff-a0a1ea235d6c" providerId="ADAL" clId="{B859F12A-DB62-4831-93E9-547965406892}" dt="2025-02-05T09:55:28.647" v="922" actId="14100"/>
          <ac:spMkLst>
            <pc:docMk/>
            <pc:sldMk cId="1078193935" sldId="302"/>
            <ac:spMk id="31" creationId="{1B738369-9158-DC18-B548-3F27D13E4A30}"/>
          </ac:spMkLst>
        </pc:spChg>
        <pc:spChg chg="mod">
          <ac:chgData name="Aswani Chittilla" userId="e4377af8-5c25-4d6d-97ff-a0a1ea235d6c" providerId="ADAL" clId="{B859F12A-DB62-4831-93E9-547965406892}" dt="2025-02-05T09:29:23.292" v="380" actId="6549"/>
          <ac:spMkLst>
            <pc:docMk/>
            <pc:sldMk cId="1078193935" sldId="302"/>
            <ac:spMk id="33" creationId="{41892F68-2488-2BD1-2D74-2ABD42F7D7D1}"/>
          </ac:spMkLst>
        </pc:spChg>
        <pc:spChg chg="mod">
          <ac:chgData name="Aswani Chittilla" userId="e4377af8-5c25-4d6d-97ff-a0a1ea235d6c" providerId="ADAL" clId="{B859F12A-DB62-4831-93E9-547965406892}" dt="2025-02-05T09:55:35.088" v="925" actId="14100"/>
          <ac:spMkLst>
            <pc:docMk/>
            <pc:sldMk cId="1078193935" sldId="302"/>
            <ac:spMk id="34" creationId="{595A1D83-2B91-E7A6-F7E3-0C7C43DE5C7A}"/>
          </ac:spMkLst>
        </pc:spChg>
        <pc:spChg chg="add del">
          <ac:chgData name="Aswani Chittilla" userId="e4377af8-5c25-4d6d-97ff-a0a1ea235d6c" providerId="ADAL" clId="{B859F12A-DB62-4831-93E9-547965406892}" dt="2025-02-05T09:27:46.882" v="363" actId="478"/>
          <ac:spMkLst>
            <pc:docMk/>
            <pc:sldMk cId="1078193935" sldId="302"/>
            <ac:spMk id="55" creationId="{3F7C4A96-1AC7-1899-21AB-12C9D11429DE}"/>
          </ac:spMkLst>
        </pc:spChg>
        <pc:spChg chg="mod">
          <ac:chgData name="Aswani Chittilla" userId="e4377af8-5c25-4d6d-97ff-a0a1ea235d6c" providerId="ADAL" clId="{B859F12A-DB62-4831-93E9-547965406892}" dt="2025-02-05T05:25:03.199" v="42" actId="5793"/>
          <ac:spMkLst>
            <pc:docMk/>
            <pc:sldMk cId="1078193935" sldId="302"/>
            <ac:spMk id="56" creationId="{40880C4E-9B57-0AF5-5F4C-51D318690EBA}"/>
          </ac:spMkLst>
        </pc:spChg>
        <pc:spChg chg="mod">
          <ac:chgData name="Aswani Chittilla" userId="e4377af8-5c25-4d6d-97ff-a0a1ea235d6c" providerId="ADAL" clId="{B859F12A-DB62-4831-93E9-547965406892}" dt="2025-02-05T09:55:20.511" v="919" actId="14100"/>
          <ac:spMkLst>
            <pc:docMk/>
            <pc:sldMk cId="1078193935" sldId="302"/>
            <ac:spMk id="59" creationId="{15FDB899-329A-CD45-BF68-A6623A4D3C1F}"/>
          </ac:spMkLst>
        </pc:spChg>
        <pc:spChg chg="mod">
          <ac:chgData name="Aswani Chittilla" userId="e4377af8-5c25-4d6d-97ff-a0a1ea235d6c" providerId="ADAL" clId="{B859F12A-DB62-4831-93E9-547965406892}" dt="2025-02-05T09:29:49.941" v="430" actId="404"/>
          <ac:spMkLst>
            <pc:docMk/>
            <pc:sldMk cId="1078193935" sldId="302"/>
            <ac:spMk id="60" creationId="{3162A752-AC50-E22F-F649-27E2CDB2581F}"/>
          </ac:spMkLst>
        </pc:spChg>
        <pc:spChg chg="mod">
          <ac:chgData name="Aswani Chittilla" userId="e4377af8-5c25-4d6d-97ff-a0a1ea235d6c" providerId="ADAL" clId="{B859F12A-DB62-4831-93E9-547965406892}" dt="2025-02-05T09:55:25.657" v="921" actId="1076"/>
          <ac:spMkLst>
            <pc:docMk/>
            <pc:sldMk cId="1078193935" sldId="302"/>
            <ac:spMk id="64" creationId="{AE380F07-5CE9-BBC5-D18F-E0DC4DFE28FB}"/>
          </ac:spMkLst>
        </pc:spChg>
        <pc:spChg chg="mod">
          <ac:chgData name="Aswani Chittilla" userId="e4377af8-5c25-4d6d-97ff-a0a1ea235d6c" providerId="ADAL" clId="{B859F12A-DB62-4831-93E9-547965406892}" dt="2025-02-05T09:55:30.560" v="923" actId="1076"/>
          <ac:spMkLst>
            <pc:docMk/>
            <pc:sldMk cId="1078193935" sldId="302"/>
            <ac:spMk id="67" creationId="{69598EDD-4D54-6706-9E8E-8B3EE4476B48}"/>
          </ac:spMkLst>
        </pc:spChg>
        <pc:spChg chg="mod">
          <ac:chgData name="Aswani Chittilla" userId="e4377af8-5c25-4d6d-97ff-a0a1ea235d6c" providerId="ADAL" clId="{B859F12A-DB62-4831-93E9-547965406892}" dt="2025-02-05T09:30:16.509" v="436" actId="14100"/>
          <ac:spMkLst>
            <pc:docMk/>
            <pc:sldMk cId="1078193935" sldId="302"/>
            <ac:spMk id="69" creationId="{4A13A916-D3A9-B09F-F790-08BFCA4B4BB7}"/>
          </ac:spMkLst>
        </pc:spChg>
        <pc:spChg chg="mod">
          <ac:chgData name="Aswani Chittilla" userId="e4377af8-5c25-4d6d-97ff-a0a1ea235d6c" providerId="ADAL" clId="{B859F12A-DB62-4831-93E9-547965406892}" dt="2025-02-05T10:29:45.716" v="945" actId="1076"/>
          <ac:spMkLst>
            <pc:docMk/>
            <pc:sldMk cId="1078193935" sldId="302"/>
            <ac:spMk id="73" creationId="{C13955D7-3A0C-D173-E4D5-785466E2205B}"/>
          </ac:spMkLst>
        </pc:spChg>
        <pc:spChg chg="mod">
          <ac:chgData name="Aswani Chittilla" userId="e4377af8-5c25-4d6d-97ff-a0a1ea235d6c" providerId="ADAL" clId="{B859F12A-DB62-4831-93E9-547965406892}" dt="2025-02-05T10:29:49.049" v="946" actId="1076"/>
          <ac:spMkLst>
            <pc:docMk/>
            <pc:sldMk cId="1078193935" sldId="302"/>
            <ac:spMk id="76" creationId="{7A7836A0-CAE1-EF52-6AC9-0CF8E059E7C2}"/>
          </ac:spMkLst>
        </pc:spChg>
        <pc:spChg chg="mod">
          <ac:chgData name="Aswani Chittilla" userId="e4377af8-5c25-4d6d-97ff-a0a1ea235d6c" providerId="ADAL" clId="{B859F12A-DB62-4831-93E9-547965406892}" dt="2025-02-05T10:30:00.349" v="948" actId="1076"/>
          <ac:spMkLst>
            <pc:docMk/>
            <pc:sldMk cId="1078193935" sldId="302"/>
            <ac:spMk id="77" creationId="{47D7240F-C267-DCB1-69DD-F3110243C355}"/>
          </ac:spMkLst>
        </pc:spChg>
        <pc:spChg chg="mod">
          <ac:chgData name="Aswani Chittilla" userId="e4377af8-5c25-4d6d-97ff-a0a1ea235d6c" providerId="ADAL" clId="{B859F12A-DB62-4831-93E9-547965406892}" dt="2025-02-05T10:29:52.915" v="947" actId="1076"/>
          <ac:spMkLst>
            <pc:docMk/>
            <pc:sldMk cId="1078193935" sldId="302"/>
            <ac:spMk id="78" creationId="{08EA35EF-1124-C531-45DE-59D7361BF480}"/>
          </ac:spMkLst>
        </pc:spChg>
        <pc:spChg chg="mod">
          <ac:chgData name="Aswani Chittilla" userId="e4377af8-5c25-4d6d-97ff-a0a1ea235d6c" providerId="ADAL" clId="{B859F12A-DB62-4831-93E9-547965406892}" dt="2025-02-05T10:30:24.435" v="950" actId="1076"/>
          <ac:spMkLst>
            <pc:docMk/>
            <pc:sldMk cId="1078193935" sldId="302"/>
            <ac:spMk id="82" creationId="{C4EA8F04-9E53-9AA5-ADBA-3645CC3143D4}"/>
          </ac:spMkLst>
        </pc:spChg>
        <pc:grpChg chg="mod">
          <ac:chgData name="Aswani Chittilla" userId="e4377af8-5c25-4d6d-97ff-a0a1ea235d6c" providerId="ADAL" clId="{B859F12A-DB62-4831-93E9-547965406892}" dt="2025-02-05T09:55:23.661" v="920" actId="1076"/>
          <ac:grpSpMkLst>
            <pc:docMk/>
            <pc:sldMk cId="1078193935" sldId="302"/>
            <ac:grpSpMk id="83" creationId="{A8269AF8-5EB7-7489-4E5C-8DB2D7EE9216}"/>
          </ac:grpSpMkLst>
        </pc:grpChg>
        <pc:picChg chg="mod">
          <ac:chgData name="Aswani Chittilla" userId="e4377af8-5c25-4d6d-97ff-a0a1ea235d6c" providerId="ADAL" clId="{B859F12A-DB62-4831-93E9-547965406892}" dt="2025-02-05T09:55:23.661" v="920" actId="1076"/>
          <ac:picMkLst>
            <pc:docMk/>
            <pc:sldMk cId="1078193935" sldId="302"/>
            <ac:picMk id="47" creationId="{BF4EA66A-4D8D-CC1F-D5D7-15AF88A83020}"/>
          </ac:picMkLst>
        </pc:picChg>
        <pc:picChg chg="mod">
          <ac:chgData name="Aswani Chittilla" userId="e4377af8-5c25-4d6d-97ff-a0a1ea235d6c" providerId="ADAL" clId="{B859F12A-DB62-4831-93E9-547965406892}" dt="2025-02-05T09:55:23.661" v="920" actId="1076"/>
          <ac:picMkLst>
            <pc:docMk/>
            <pc:sldMk cId="1078193935" sldId="302"/>
            <ac:picMk id="48" creationId="{7EA6D0B2-E582-84B9-82B6-510B56487D25}"/>
          </ac:picMkLst>
        </pc:picChg>
      </pc:sldChg>
      <pc:sldChg chg="modSp add mod">
        <pc:chgData name="Aswani Chittilla" userId="e4377af8-5c25-4d6d-97ff-a0a1ea235d6c" providerId="ADAL" clId="{B859F12A-DB62-4831-93E9-547965406892}" dt="2025-02-05T10:30:34.203" v="951" actId="6549"/>
        <pc:sldMkLst>
          <pc:docMk/>
          <pc:sldMk cId="3804778257" sldId="305"/>
        </pc:sldMkLst>
        <pc:spChg chg="mod">
          <ac:chgData name="Aswani Chittilla" userId="e4377af8-5c25-4d6d-97ff-a0a1ea235d6c" providerId="ADAL" clId="{B859F12A-DB62-4831-93E9-547965406892}" dt="2025-02-05T09:34:21.853" v="546" actId="20577"/>
          <ac:spMkLst>
            <pc:docMk/>
            <pc:sldMk cId="3804778257" sldId="305"/>
            <ac:spMk id="2" creationId="{A09099DD-969D-7FC8-DFB0-FB06D6A08637}"/>
          </ac:spMkLst>
        </pc:spChg>
        <pc:spChg chg="mod">
          <ac:chgData name="Aswani Chittilla" userId="e4377af8-5c25-4d6d-97ff-a0a1ea235d6c" providerId="ADAL" clId="{B859F12A-DB62-4831-93E9-547965406892}" dt="2025-02-05T10:30:34.203" v="951" actId="6549"/>
          <ac:spMkLst>
            <pc:docMk/>
            <pc:sldMk cId="3804778257" sldId="305"/>
            <ac:spMk id="11" creationId="{A54B1AA3-50C8-8AAC-E35A-49D843171DBD}"/>
          </ac:spMkLst>
        </pc:spChg>
        <pc:spChg chg="mod">
          <ac:chgData name="Aswani Chittilla" userId="e4377af8-5c25-4d6d-97ff-a0a1ea235d6c" providerId="ADAL" clId="{B859F12A-DB62-4831-93E9-547965406892}" dt="2025-02-05T09:40:00.033" v="623" actId="20577"/>
          <ac:spMkLst>
            <pc:docMk/>
            <pc:sldMk cId="3804778257" sldId="305"/>
            <ac:spMk id="13" creationId="{2CD91FEE-5C33-E962-4CF3-1C1B0CB945F8}"/>
          </ac:spMkLst>
        </pc:spChg>
        <pc:spChg chg="mod">
          <ac:chgData name="Aswani Chittilla" userId="e4377af8-5c25-4d6d-97ff-a0a1ea235d6c" providerId="ADAL" clId="{B859F12A-DB62-4831-93E9-547965406892}" dt="2025-02-05T09:36:27.545" v="557" actId="6549"/>
          <ac:spMkLst>
            <pc:docMk/>
            <pc:sldMk cId="3804778257" sldId="305"/>
            <ac:spMk id="15" creationId="{691F6963-2954-3A54-A644-7C49537E2C4B}"/>
          </ac:spMkLst>
        </pc:spChg>
        <pc:spChg chg="mod">
          <ac:chgData name="Aswani Chittilla" userId="e4377af8-5c25-4d6d-97ff-a0a1ea235d6c" providerId="ADAL" clId="{B859F12A-DB62-4831-93E9-547965406892}" dt="2025-02-05T09:37:29.202" v="559" actId="6549"/>
          <ac:spMkLst>
            <pc:docMk/>
            <pc:sldMk cId="3804778257" sldId="305"/>
            <ac:spMk id="17" creationId="{73EDB197-3D9B-53C5-F8CC-187BBDF30AAF}"/>
          </ac:spMkLst>
        </pc:spChg>
      </pc:sldChg>
    </pc:docChg>
  </pc:docChgLst>
  <pc:docChgLst>
    <pc:chgData name="Pallavi Sridhar" userId="4ed18fab-7c6c-4cb6-8aab-f1897096fbe9" providerId="ADAL" clId="{76C28D90-2D50-3940-948B-CDA9D0D4D2B0}"/>
    <pc:docChg chg="undo custSel addSld modSld modMainMaster">
      <pc:chgData name="Pallavi Sridhar" userId="4ed18fab-7c6c-4cb6-8aab-f1897096fbe9" providerId="ADAL" clId="{76C28D90-2D50-3940-948B-CDA9D0D4D2B0}" dt="2025-01-21T10:09:13.674" v="489" actId="14100"/>
      <pc:docMkLst>
        <pc:docMk/>
      </pc:docMkLst>
      <pc:sldChg chg="modSp mod">
        <pc:chgData name="Pallavi Sridhar" userId="4ed18fab-7c6c-4cb6-8aab-f1897096fbe9" providerId="ADAL" clId="{76C28D90-2D50-3940-948B-CDA9D0D4D2B0}" dt="2025-01-21T09:19:10.971" v="474" actId="2085"/>
        <pc:sldMkLst>
          <pc:docMk/>
          <pc:sldMk cId="205159607" sldId="258"/>
        </pc:sldMkLst>
      </pc:sldChg>
      <pc:sldChg chg="addSp delSp modSp mod">
        <pc:chgData name="Pallavi Sridhar" userId="4ed18fab-7c6c-4cb6-8aab-f1897096fbe9" providerId="ADAL" clId="{76C28D90-2D50-3940-948B-CDA9D0D4D2B0}" dt="2025-01-13T14:13:11.590" v="255" actId="20577"/>
        <pc:sldMkLst>
          <pc:docMk/>
          <pc:sldMk cId="2744513089" sldId="261"/>
        </pc:sldMkLst>
      </pc:sldChg>
      <pc:sldChg chg="modSp mod">
        <pc:chgData name="Pallavi Sridhar" userId="4ed18fab-7c6c-4cb6-8aab-f1897096fbe9" providerId="ADAL" clId="{76C28D90-2D50-3940-948B-CDA9D0D4D2B0}" dt="2025-01-20T09:15:20.115" v="328" actId="554"/>
        <pc:sldMkLst>
          <pc:docMk/>
          <pc:sldMk cId="1780373343" sldId="263"/>
        </pc:sldMkLst>
      </pc:sldChg>
      <pc:sldChg chg="addSp delSp modSp mod modShow">
        <pc:chgData name="Pallavi Sridhar" userId="4ed18fab-7c6c-4cb6-8aab-f1897096fbe9" providerId="ADAL" clId="{76C28D90-2D50-3940-948B-CDA9D0D4D2B0}" dt="2025-01-13T12:13:15.015" v="146"/>
        <pc:sldMkLst>
          <pc:docMk/>
          <pc:sldMk cId="2384182653" sldId="265"/>
        </pc:sldMkLst>
      </pc:sldChg>
      <pc:sldChg chg="modSp mod modCm modNotesTx">
        <pc:chgData name="Pallavi Sridhar" userId="4ed18fab-7c6c-4cb6-8aab-f1897096fbe9" providerId="ADAL" clId="{76C28D90-2D50-3940-948B-CDA9D0D4D2B0}" dt="2025-01-20T13:40:19.363" v="421" actId="1076"/>
        <pc:sldMkLst>
          <pc:docMk/>
          <pc:sldMk cId="3405252415" sldId="265"/>
        </pc:sldMkLst>
        <pc:spChg chg="mod">
          <ac:chgData name="Pallavi Sridhar" userId="4ed18fab-7c6c-4cb6-8aab-f1897096fbe9" providerId="ADAL" clId="{76C28D90-2D50-3940-948B-CDA9D0D4D2B0}" dt="2025-01-20T13:40:19.363" v="421" actId="1076"/>
          <ac:spMkLst>
            <pc:docMk/>
            <pc:sldMk cId="3405252415" sldId="265"/>
            <ac:spMk id="6" creationId="{44DA5164-CAFD-5BC1-2D86-BECBDCE5F437}"/>
          </ac:spMkLst>
        </pc:spChg>
        <pc:spChg chg="mod">
          <ac:chgData name="Pallavi Sridhar" userId="4ed18fab-7c6c-4cb6-8aab-f1897096fbe9" providerId="ADAL" clId="{76C28D90-2D50-3940-948B-CDA9D0D4D2B0}" dt="2025-01-20T13:40:12.083" v="419" actId="14100"/>
          <ac:spMkLst>
            <pc:docMk/>
            <pc:sldMk cId="3405252415" sldId="265"/>
            <ac:spMk id="18" creationId="{E1730618-2942-7EAD-2A66-787B07CBA62C}"/>
          </ac:spMkLst>
        </pc:spChg>
        <pc:picChg chg="mod">
          <ac:chgData name="Pallavi Sridhar" userId="4ed18fab-7c6c-4cb6-8aab-f1897096fbe9" providerId="ADAL" clId="{76C28D90-2D50-3940-948B-CDA9D0D4D2B0}" dt="2025-01-20T13:40:16.224" v="420" actId="1076"/>
          <ac:picMkLst>
            <pc:docMk/>
            <pc:sldMk cId="3405252415" sldId="265"/>
            <ac:picMk id="9" creationId="{62E10EB1-0EE7-2EC6-3054-96EBBAD64AA7}"/>
          </ac:picMkLst>
        </pc:picChg>
        <pc:extLst>
          <p:ext xmlns:p="http://schemas.openxmlformats.org/presentationml/2006/main" uri="{D6D511B9-2390-475A-947B-AFAB55BFBCF1}">
            <pc226:cmChg xmlns:pc226="http://schemas.microsoft.com/office/powerpoint/2022/06/main/command" chg="mod">
              <pc226:chgData name="Pallavi Sridhar" userId="4ed18fab-7c6c-4cb6-8aab-f1897096fbe9" providerId="ADAL" clId="{76C28D90-2D50-3940-948B-CDA9D0D4D2B0}" dt="2025-01-20T13:39:25.139" v="409" actId="21"/>
              <pc2:cmMkLst xmlns:pc2="http://schemas.microsoft.com/office/powerpoint/2019/9/main/command">
                <pc:docMk/>
                <pc:sldMk cId="3405252415" sldId="265"/>
                <pc2:cmMk id="{6B353D66-055A-4775-9B3E-CFD412BB8EDB}"/>
              </pc2:cmMkLst>
            </pc226:cmChg>
            <pc226:cmChg xmlns:pc226="http://schemas.microsoft.com/office/powerpoint/2022/06/main/command" chg="mod">
              <pc226:chgData name="Pallavi Sridhar" userId="4ed18fab-7c6c-4cb6-8aab-f1897096fbe9" providerId="ADAL" clId="{76C28D90-2D50-3940-948B-CDA9D0D4D2B0}" dt="2025-01-20T13:39:25.139" v="409" actId="21"/>
              <pc2:cmMkLst xmlns:pc2="http://schemas.microsoft.com/office/powerpoint/2019/9/main/command">
                <pc:docMk/>
                <pc:sldMk cId="3405252415" sldId="265"/>
                <pc2:cmMk id="{59FE1DF8-71D3-465E-B078-1A713F3EB903}"/>
              </pc2:cmMkLst>
            </pc226:cmChg>
          </p:ext>
        </pc:extLst>
      </pc:sldChg>
      <pc:sldChg chg="addSp delSp modSp mod">
        <pc:chgData name="Pallavi Sridhar" userId="4ed18fab-7c6c-4cb6-8aab-f1897096fbe9" providerId="ADAL" clId="{76C28D90-2D50-3940-948B-CDA9D0D4D2B0}" dt="2025-01-13T14:13:15.539" v="258" actId="20577"/>
        <pc:sldMkLst>
          <pc:docMk/>
          <pc:sldMk cId="3719333180" sldId="266"/>
        </pc:sldMkLst>
      </pc:sldChg>
      <pc:sldChg chg="addSp delSp modSp mod">
        <pc:chgData name="Pallavi Sridhar" userId="4ed18fab-7c6c-4cb6-8aab-f1897096fbe9" providerId="ADAL" clId="{76C28D90-2D50-3940-948B-CDA9D0D4D2B0}" dt="2025-01-13T14:13:02.188" v="252" actId="20577"/>
        <pc:sldMkLst>
          <pc:docMk/>
          <pc:sldMk cId="997764512" sldId="269"/>
        </pc:sldMkLst>
      </pc:sldChg>
      <pc:sldChg chg="delSp modSp mod">
        <pc:chgData name="Pallavi Sridhar" userId="4ed18fab-7c6c-4cb6-8aab-f1897096fbe9" providerId="ADAL" clId="{76C28D90-2D50-3940-948B-CDA9D0D4D2B0}" dt="2025-01-21T10:09:13.674" v="489" actId="14100"/>
        <pc:sldMkLst>
          <pc:docMk/>
          <pc:sldMk cId="2370674296" sldId="270"/>
        </pc:sldMkLst>
        <pc:spChg chg="mod">
          <ac:chgData name="Pallavi Sridhar" userId="4ed18fab-7c6c-4cb6-8aab-f1897096fbe9" providerId="ADAL" clId="{76C28D90-2D50-3940-948B-CDA9D0D4D2B0}" dt="2025-01-21T09:40:22.950" v="488" actId="1035"/>
          <ac:spMkLst>
            <pc:docMk/>
            <pc:sldMk cId="2370674296" sldId="270"/>
            <ac:spMk id="3" creationId="{9BC29C6B-FF76-A2BB-0CF3-ACF9CCC3C294}"/>
          </ac:spMkLst>
        </pc:spChg>
        <pc:spChg chg="mod">
          <ac:chgData name="Pallavi Sridhar" userId="4ed18fab-7c6c-4cb6-8aab-f1897096fbe9" providerId="ADAL" clId="{76C28D90-2D50-3940-948B-CDA9D0D4D2B0}" dt="2025-01-21T10:09:13.674" v="489" actId="14100"/>
          <ac:spMkLst>
            <pc:docMk/>
            <pc:sldMk cId="2370674296" sldId="270"/>
            <ac:spMk id="5" creationId="{5F3B5A13-EF5C-C7FC-DED1-47B25B39950D}"/>
          </ac:spMkLst>
        </pc:spChg>
        <pc:spChg chg="mod">
          <ac:chgData name="Pallavi Sridhar" userId="4ed18fab-7c6c-4cb6-8aab-f1897096fbe9" providerId="ADAL" clId="{76C28D90-2D50-3940-948B-CDA9D0D4D2B0}" dt="2025-01-21T09:40:15.592" v="482" actId="1076"/>
          <ac:spMkLst>
            <pc:docMk/>
            <pc:sldMk cId="2370674296" sldId="270"/>
            <ac:spMk id="24" creationId="{982B54AF-66C4-483E-7B16-0EB08C4472C9}"/>
          </ac:spMkLst>
        </pc:spChg>
      </pc:sldChg>
      <pc:sldChg chg="addSp delSp modSp add mod">
        <pc:chgData name="Pallavi Sridhar" userId="4ed18fab-7c6c-4cb6-8aab-f1897096fbe9" providerId="ADAL" clId="{76C28D90-2D50-3940-948B-CDA9D0D4D2B0}" dt="2025-01-13T11:30:37.785" v="132" actId="478"/>
        <pc:sldMkLst>
          <pc:docMk/>
          <pc:sldMk cId="1889066921" sldId="271"/>
        </pc:sldMkLst>
      </pc:sldChg>
      <pc:sldChg chg="mod modShow">
        <pc:chgData name="Pallavi Sridhar" userId="4ed18fab-7c6c-4cb6-8aab-f1897096fbe9" providerId="ADAL" clId="{76C28D90-2D50-3940-948B-CDA9D0D4D2B0}" dt="2025-01-15T13:33:22.939" v="263" actId="729"/>
        <pc:sldMkLst>
          <pc:docMk/>
          <pc:sldMk cId="2723152668" sldId="271"/>
        </pc:sldMkLst>
      </pc:sldChg>
      <pc:sldChg chg="modSp mod">
        <pc:chgData name="Pallavi Sridhar" userId="4ed18fab-7c6c-4cb6-8aab-f1897096fbe9" providerId="ADAL" clId="{76C28D90-2D50-3940-948B-CDA9D0D4D2B0}" dt="2025-01-16T14:09:30.978" v="313" actId="1036"/>
        <pc:sldMkLst>
          <pc:docMk/>
          <pc:sldMk cId="1822844449" sldId="275"/>
        </pc:sldMkLst>
        <pc:spChg chg="mod">
          <ac:chgData name="Pallavi Sridhar" userId="4ed18fab-7c6c-4cb6-8aab-f1897096fbe9" providerId="ADAL" clId="{76C28D90-2D50-3940-948B-CDA9D0D4D2B0}" dt="2025-01-16T14:06:57.925" v="276" actId="14100"/>
          <ac:spMkLst>
            <pc:docMk/>
            <pc:sldMk cId="1822844449" sldId="275"/>
            <ac:spMk id="5" creationId="{F095116F-38D9-965D-2BB6-7BFD992D2019}"/>
          </ac:spMkLst>
        </pc:spChg>
        <pc:spChg chg="mod">
          <ac:chgData name="Pallavi Sridhar" userId="4ed18fab-7c6c-4cb6-8aab-f1897096fbe9" providerId="ADAL" clId="{76C28D90-2D50-3940-948B-CDA9D0D4D2B0}" dt="2025-01-16T14:08:56.475" v="285" actId="108"/>
          <ac:spMkLst>
            <pc:docMk/>
            <pc:sldMk cId="1822844449" sldId="275"/>
            <ac:spMk id="13" creationId="{AFD1E2DD-EC59-B1DD-CAD4-D987470DD0F2}"/>
          </ac:spMkLst>
        </pc:spChg>
        <pc:spChg chg="mod">
          <ac:chgData name="Pallavi Sridhar" userId="4ed18fab-7c6c-4cb6-8aab-f1897096fbe9" providerId="ADAL" clId="{76C28D90-2D50-3940-948B-CDA9D0D4D2B0}" dt="2025-01-16T14:09:30.978" v="313" actId="1036"/>
          <ac:spMkLst>
            <pc:docMk/>
            <pc:sldMk cId="1822844449" sldId="275"/>
            <ac:spMk id="16" creationId="{85AE2BD0-6AC2-BE1E-7761-56DDB0D54041}"/>
          </ac:spMkLst>
        </pc:spChg>
        <pc:spChg chg="mod">
          <ac:chgData name="Pallavi Sridhar" userId="4ed18fab-7c6c-4cb6-8aab-f1897096fbe9" providerId="ADAL" clId="{76C28D90-2D50-3940-948B-CDA9D0D4D2B0}" dt="2025-01-16T14:08:54.638" v="284" actId="108"/>
          <ac:spMkLst>
            <pc:docMk/>
            <pc:sldMk cId="1822844449" sldId="275"/>
            <ac:spMk id="22" creationId="{8E4B56EF-9316-60E8-6A6B-7076469139DA}"/>
          </ac:spMkLst>
        </pc:spChg>
        <pc:spChg chg="mod">
          <ac:chgData name="Pallavi Sridhar" userId="4ed18fab-7c6c-4cb6-8aab-f1897096fbe9" providerId="ADAL" clId="{76C28D90-2D50-3940-948B-CDA9D0D4D2B0}" dt="2025-01-16T14:09:28.856" v="311" actId="1036"/>
          <ac:spMkLst>
            <pc:docMk/>
            <pc:sldMk cId="1822844449" sldId="275"/>
            <ac:spMk id="23" creationId="{23616F66-E4FD-7A55-D3BD-54431A292693}"/>
          </ac:spMkLst>
        </pc:spChg>
        <pc:spChg chg="mod">
          <ac:chgData name="Pallavi Sridhar" userId="4ed18fab-7c6c-4cb6-8aab-f1897096fbe9" providerId="ADAL" clId="{76C28D90-2D50-3940-948B-CDA9D0D4D2B0}" dt="2025-01-16T14:08:47.592" v="283" actId="404"/>
          <ac:spMkLst>
            <pc:docMk/>
            <pc:sldMk cId="1822844449" sldId="275"/>
            <ac:spMk id="30" creationId="{573FC98C-D66D-0512-6181-1E79BA44C027}"/>
          </ac:spMkLst>
        </pc:spChg>
        <pc:picChg chg="mod modCrop">
          <ac:chgData name="Pallavi Sridhar" userId="4ed18fab-7c6c-4cb6-8aab-f1897096fbe9" providerId="ADAL" clId="{76C28D90-2D50-3940-948B-CDA9D0D4D2B0}" dt="2025-01-16T14:06:31.210" v="272" actId="732"/>
          <ac:picMkLst>
            <pc:docMk/>
            <pc:sldMk cId="1822844449" sldId="275"/>
            <ac:picMk id="4" creationId="{C445A65C-7DD4-D0BE-BF27-D985A69D7AFE}"/>
          </ac:picMkLst>
        </pc:picChg>
      </pc:sldChg>
      <pc:sldChg chg="modSp mod">
        <pc:chgData name="Pallavi Sridhar" userId="4ed18fab-7c6c-4cb6-8aab-f1897096fbe9" providerId="ADAL" clId="{76C28D90-2D50-3940-948B-CDA9D0D4D2B0}" dt="2025-01-20T09:18:25.836" v="401" actId="20577"/>
        <pc:sldMkLst>
          <pc:docMk/>
          <pc:sldMk cId="1240683963" sldId="278"/>
        </pc:sldMkLst>
        <pc:spChg chg="mod">
          <ac:chgData name="Pallavi Sridhar" userId="4ed18fab-7c6c-4cb6-8aab-f1897096fbe9" providerId="ADAL" clId="{76C28D90-2D50-3940-948B-CDA9D0D4D2B0}" dt="2025-01-20T09:18:25.836" v="401" actId="20577"/>
          <ac:spMkLst>
            <pc:docMk/>
            <pc:sldMk cId="1240683963" sldId="278"/>
            <ac:spMk id="19" creationId="{5EF01094-171F-A251-08EB-ADF4056E0AC4}"/>
          </ac:spMkLst>
        </pc:spChg>
      </pc:sldChg>
      <pc:sldChg chg="delSp modSp mod">
        <pc:chgData name="Pallavi Sridhar" userId="4ed18fab-7c6c-4cb6-8aab-f1897096fbe9" providerId="ADAL" clId="{76C28D90-2D50-3940-948B-CDA9D0D4D2B0}" dt="2025-01-20T09:17:37.159" v="361"/>
        <pc:sldMkLst>
          <pc:docMk/>
          <pc:sldMk cId="2233467875" sldId="285"/>
        </pc:sldMkLst>
      </pc:sldChg>
      <pc:sldChg chg="modSp mod">
        <pc:chgData name="Pallavi Sridhar" userId="4ed18fab-7c6c-4cb6-8aab-f1897096fbe9" providerId="ADAL" clId="{76C28D90-2D50-3940-948B-CDA9D0D4D2B0}" dt="2025-01-20T09:20:08.242" v="408" actId="1076"/>
        <pc:sldMkLst>
          <pc:docMk/>
          <pc:sldMk cId="2921276079" sldId="289"/>
        </pc:sldMkLst>
        <pc:spChg chg="mod">
          <ac:chgData name="Pallavi Sridhar" userId="4ed18fab-7c6c-4cb6-8aab-f1897096fbe9" providerId="ADAL" clId="{76C28D90-2D50-3940-948B-CDA9D0D4D2B0}" dt="2025-01-20T09:19:52.627" v="406" actId="465"/>
          <ac:spMkLst>
            <pc:docMk/>
            <pc:sldMk cId="2921276079" sldId="289"/>
            <ac:spMk id="5" creationId="{A26D01C1-586A-292C-BE31-F7D43A5178B1}"/>
          </ac:spMkLst>
        </pc:spChg>
        <pc:spChg chg="mod">
          <ac:chgData name="Pallavi Sridhar" userId="4ed18fab-7c6c-4cb6-8aab-f1897096fbe9" providerId="ADAL" clId="{76C28D90-2D50-3940-948B-CDA9D0D4D2B0}" dt="2025-01-20T09:19:52.627" v="406" actId="465"/>
          <ac:spMkLst>
            <pc:docMk/>
            <pc:sldMk cId="2921276079" sldId="289"/>
            <ac:spMk id="70" creationId="{D0107EDD-E88E-601C-0BA8-046B6241164F}"/>
          </ac:spMkLst>
        </pc:spChg>
        <pc:spChg chg="mod">
          <ac:chgData name="Pallavi Sridhar" userId="4ed18fab-7c6c-4cb6-8aab-f1897096fbe9" providerId="ADAL" clId="{76C28D90-2D50-3940-948B-CDA9D0D4D2B0}" dt="2025-01-20T09:19:52.627" v="406" actId="465"/>
          <ac:spMkLst>
            <pc:docMk/>
            <pc:sldMk cId="2921276079" sldId="289"/>
            <ac:spMk id="71" creationId="{76F56CD3-2DB1-1071-7171-B77CD0670CC2}"/>
          </ac:spMkLst>
        </pc:spChg>
        <pc:spChg chg="mod">
          <ac:chgData name="Pallavi Sridhar" userId="4ed18fab-7c6c-4cb6-8aab-f1897096fbe9" providerId="ADAL" clId="{76C28D90-2D50-3940-948B-CDA9D0D4D2B0}" dt="2025-01-20T09:19:52.627" v="406" actId="465"/>
          <ac:spMkLst>
            <pc:docMk/>
            <pc:sldMk cId="2921276079" sldId="289"/>
            <ac:spMk id="72" creationId="{1B9EA600-CAFA-20A3-7C0E-7A6BDDAAA54B}"/>
          </ac:spMkLst>
        </pc:spChg>
        <pc:grpChg chg="mod">
          <ac:chgData name="Pallavi Sridhar" userId="4ed18fab-7c6c-4cb6-8aab-f1897096fbe9" providerId="ADAL" clId="{76C28D90-2D50-3940-948B-CDA9D0D4D2B0}" dt="2025-01-20T09:20:08.242" v="408" actId="1076"/>
          <ac:grpSpMkLst>
            <pc:docMk/>
            <pc:sldMk cId="2921276079" sldId="289"/>
            <ac:grpSpMk id="45" creationId="{A2FD80C5-43B3-5C64-3108-88019DB4D5CF}"/>
          </ac:grpSpMkLst>
        </pc:grpChg>
      </pc:sldChg>
      <pc:sldChg chg="modSp mod">
        <pc:chgData name="Pallavi Sridhar" userId="4ed18fab-7c6c-4cb6-8aab-f1897096fbe9" providerId="ADAL" clId="{76C28D90-2D50-3940-948B-CDA9D0D4D2B0}" dt="2025-01-20T09:19:20.326" v="404" actId="3064"/>
        <pc:sldMkLst>
          <pc:docMk/>
          <pc:sldMk cId="1072605819" sldId="296"/>
        </pc:sldMkLst>
      </pc:sldChg>
      <pc:sldChg chg="add">
        <pc:chgData name="Pallavi Sridhar" userId="4ed18fab-7c6c-4cb6-8aab-f1897096fbe9" providerId="ADAL" clId="{76C28D90-2D50-3940-948B-CDA9D0D4D2B0}" dt="2025-01-13T13:36:48.016" v="147"/>
        <pc:sldMkLst>
          <pc:docMk/>
          <pc:sldMk cId="2616118139" sldId="896"/>
        </pc:sldMkLst>
      </pc:sldChg>
      <pc:sldChg chg="add">
        <pc:chgData name="Pallavi Sridhar" userId="4ed18fab-7c6c-4cb6-8aab-f1897096fbe9" providerId="ADAL" clId="{76C28D90-2D50-3940-948B-CDA9D0D4D2B0}" dt="2025-01-13T13:36:48.016" v="147"/>
        <pc:sldMkLst>
          <pc:docMk/>
          <pc:sldMk cId="817991974" sldId="897"/>
        </pc:sldMkLst>
      </pc:sldChg>
      <pc:sldChg chg="add">
        <pc:chgData name="Pallavi Sridhar" userId="4ed18fab-7c6c-4cb6-8aab-f1897096fbe9" providerId="ADAL" clId="{76C28D90-2D50-3940-948B-CDA9D0D4D2B0}" dt="2025-01-13T13:36:48.016" v="147"/>
        <pc:sldMkLst>
          <pc:docMk/>
          <pc:sldMk cId="835199428" sldId="898"/>
        </pc:sldMkLst>
      </pc:sldChg>
      <pc:sldChg chg="add">
        <pc:chgData name="Pallavi Sridhar" userId="4ed18fab-7c6c-4cb6-8aab-f1897096fbe9" providerId="ADAL" clId="{76C28D90-2D50-3940-948B-CDA9D0D4D2B0}" dt="2025-01-13T13:36:48.016" v="147"/>
        <pc:sldMkLst>
          <pc:docMk/>
          <pc:sldMk cId="4271857827" sldId="919"/>
        </pc:sldMkLst>
      </pc:sldChg>
      <pc:sldChg chg="modSp mod">
        <pc:chgData name="Pallavi Sridhar" userId="4ed18fab-7c6c-4cb6-8aab-f1897096fbe9" providerId="ADAL" clId="{76C28D90-2D50-3940-948B-CDA9D0D4D2B0}" dt="2025-01-10T09:38:48.802" v="88" actId="1076"/>
        <pc:sldMkLst>
          <pc:docMk/>
          <pc:sldMk cId="1142178253" sldId="2147483028"/>
        </pc:sldMkLst>
      </pc:sldChg>
      <pc:sldChg chg="delSp modSp mod">
        <pc:chgData name="Pallavi Sridhar" userId="4ed18fab-7c6c-4cb6-8aab-f1897096fbe9" providerId="ADAL" clId="{76C28D90-2D50-3940-948B-CDA9D0D4D2B0}" dt="2025-01-13T12:11:55.093" v="144"/>
        <pc:sldMkLst>
          <pc:docMk/>
          <pc:sldMk cId="3816778254" sldId="2147483645"/>
        </pc:sldMkLst>
      </pc:sldChg>
      <pc:sldChg chg="modSp mod">
        <pc:chgData name="Pallavi Sridhar" userId="4ed18fab-7c6c-4cb6-8aab-f1897096fbe9" providerId="ADAL" clId="{76C28D90-2D50-3940-948B-CDA9D0D4D2B0}" dt="2025-01-20T13:41:54.073" v="444" actId="108"/>
        <pc:sldMkLst>
          <pc:docMk/>
          <pc:sldMk cId="2185007164" sldId="2147483647"/>
        </pc:sldMkLst>
        <pc:spChg chg="mod">
          <ac:chgData name="Pallavi Sridhar" userId="4ed18fab-7c6c-4cb6-8aab-f1897096fbe9" providerId="ADAL" clId="{76C28D90-2D50-3940-948B-CDA9D0D4D2B0}" dt="2025-01-20T13:41:30.567" v="437" actId="1076"/>
          <ac:spMkLst>
            <pc:docMk/>
            <pc:sldMk cId="2185007164" sldId="2147483647"/>
            <ac:spMk id="21" creationId="{DA4A5C8C-AC78-20E8-CBA9-23E1AE52B331}"/>
          </ac:spMkLst>
        </pc:spChg>
        <pc:spChg chg="mod">
          <ac:chgData name="Pallavi Sridhar" userId="4ed18fab-7c6c-4cb6-8aab-f1897096fbe9" providerId="ADAL" clId="{76C28D90-2D50-3940-948B-CDA9D0D4D2B0}" dt="2025-01-20T13:41:54.073" v="444" actId="108"/>
          <ac:spMkLst>
            <pc:docMk/>
            <pc:sldMk cId="2185007164" sldId="2147483647"/>
            <ac:spMk id="23" creationId="{818F686E-6633-A7CA-08C2-66D4D66FFF14}"/>
          </ac:spMkLst>
        </pc:spChg>
      </pc:sldChg>
      <pc:sldChg chg="delSp modSp mod">
        <pc:chgData name="Pallavi Sridhar" userId="4ed18fab-7c6c-4cb6-8aab-f1897096fbe9" providerId="ADAL" clId="{76C28D90-2D50-3940-948B-CDA9D0D4D2B0}" dt="2025-01-13T12:11:07.517" v="140"/>
        <pc:sldMkLst>
          <pc:docMk/>
          <pc:sldMk cId="3043737274" sldId="2147483647"/>
        </pc:sldMkLst>
      </pc:sldChg>
      <pc:sldMasterChg chg="modSldLayout">
        <pc:chgData name="Pallavi Sridhar" userId="4ed18fab-7c6c-4cb6-8aab-f1897096fbe9" providerId="ADAL" clId="{76C28D90-2D50-3940-948B-CDA9D0D4D2B0}" dt="2025-01-21T09:17:45.595" v="456" actId="207"/>
        <pc:sldMasterMkLst>
          <pc:docMk/>
          <pc:sldMasterMk cId="306858297" sldId="2147484153"/>
        </pc:sldMasterMkLst>
        <pc:sldLayoutChg chg="modSp mod">
          <pc:chgData name="Pallavi Sridhar" userId="4ed18fab-7c6c-4cb6-8aab-f1897096fbe9" providerId="ADAL" clId="{76C28D90-2D50-3940-948B-CDA9D0D4D2B0}" dt="2025-01-21T09:17:24.533" v="453" actId="207"/>
          <pc:sldLayoutMkLst>
            <pc:docMk/>
            <pc:sldMasterMk cId="306858297" sldId="2147484153"/>
            <pc:sldLayoutMk cId="203270129" sldId="2147484159"/>
          </pc:sldLayoutMkLst>
        </pc:sldLayoutChg>
        <pc:sldLayoutChg chg="modSp mod">
          <pc:chgData name="Pallavi Sridhar" userId="4ed18fab-7c6c-4cb6-8aab-f1897096fbe9" providerId="ADAL" clId="{76C28D90-2D50-3940-948B-CDA9D0D4D2B0}" dt="2025-01-21T09:17:32.412" v="454" actId="207"/>
          <pc:sldLayoutMkLst>
            <pc:docMk/>
            <pc:sldMasterMk cId="306858297" sldId="2147484153"/>
            <pc:sldLayoutMk cId="2490315358" sldId="2147484163"/>
          </pc:sldLayoutMkLst>
        </pc:sldLayoutChg>
        <pc:sldLayoutChg chg="modSp mod">
          <pc:chgData name="Pallavi Sridhar" userId="4ed18fab-7c6c-4cb6-8aab-f1897096fbe9" providerId="ADAL" clId="{76C28D90-2D50-3940-948B-CDA9D0D4D2B0}" dt="2025-01-21T09:17:38.977" v="455" actId="207"/>
          <pc:sldLayoutMkLst>
            <pc:docMk/>
            <pc:sldMasterMk cId="306858297" sldId="2147484153"/>
            <pc:sldLayoutMk cId="2206299575" sldId="2147484165"/>
          </pc:sldLayoutMkLst>
        </pc:sldLayoutChg>
        <pc:sldLayoutChg chg="modSp mod">
          <pc:chgData name="Pallavi Sridhar" userId="4ed18fab-7c6c-4cb6-8aab-f1897096fbe9" providerId="ADAL" clId="{76C28D90-2D50-3940-948B-CDA9D0D4D2B0}" dt="2025-01-21T09:17:45.595" v="456" actId="207"/>
          <pc:sldLayoutMkLst>
            <pc:docMk/>
            <pc:sldMasterMk cId="306858297" sldId="2147484153"/>
            <pc:sldLayoutMk cId="4025292376" sldId="2147484169"/>
          </pc:sldLayoutMkLst>
        </pc:sldLayoutChg>
      </pc:sldMasterChg>
      <pc:sldMasterChg chg="modSldLayout">
        <pc:chgData name="Pallavi Sridhar" userId="4ed18fab-7c6c-4cb6-8aab-f1897096fbe9" providerId="ADAL" clId="{76C28D90-2D50-3940-948B-CDA9D0D4D2B0}" dt="2025-01-21T09:18:23.294" v="462" actId="767"/>
        <pc:sldMasterMkLst>
          <pc:docMk/>
          <pc:sldMasterMk cId="1488275023" sldId="2147484177"/>
        </pc:sldMasterMkLst>
        <pc:sldLayoutChg chg="modSp mod">
          <pc:chgData name="Pallavi Sridhar" userId="4ed18fab-7c6c-4cb6-8aab-f1897096fbe9" providerId="ADAL" clId="{76C28D90-2D50-3940-948B-CDA9D0D4D2B0}" dt="2025-01-21T09:16:21.317" v="449" actId="20577"/>
          <pc:sldLayoutMkLst>
            <pc:docMk/>
            <pc:sldMasterMk cId="1488275023" sldId="2147484177"/>
            <pc:sldLayoutMk cId="1996400725" sldId="2147484183"/>
          </pc:sldLayoutMkLst>
        </pc:sldLayoutChg>
        <pc:sldLayoutChg chg="modSp mod">
          <pc:chgData name="Pallavi Sridhar" userId="4ed18fab-7c6c-4cb6-8aab-f1897096fbe9" providerId="ADAL" clId="{76C28D90-2D50-3940-948B-CDA9D0D4D2B0}" dt="2025-01-21T09:17:59.671" v="457" actId="207"/>
          <pc:sldLayoutMkLst>
            <pc:docMk/>
            <pc:sldMasterMk cId="1488275023" sldId="2147484177"/>
            <pc:sldLayoutMk cId="1520843710" sldId="2147484187"/>
          </pc:sldLayoutMkLst>
        </pc:sldLayoutChg>
        <pc:sldLayoutChg chg="addSp modSp mod">
          <pc:chgData name="Pallavi Sridhar" userId="4ed18fab-7c6c-4cb6-8aab-f1897096fbe9" providerId="ADAL" clId="{76C28D90-2D50-3940-948B-CDA9D0D4D2B0}" dt="2025-01-21T09:18:15.091" v="460" actId="20577"/>
          <pc:sldLayoutMkLst>
            <pc:docMk/>
            <pc:sldMasterMk cId="1488275023" sldId="2147484177"/>
            <pc:sldLayoutMk cId="3487819201" sldId="2147484189"/>
          </pc:sldLayoutMkLst>
        </pc:sldLayoutChg>
        <pc:sldLayoutChg chg="addSp modSp mod">
          <pc:chgData name="Pallavi Sridhar" userId="4ed18fab-7c6c-4cb6-8aab-f1897096fbe9" providerId="ADAL" clId="{76C28D90-2D50-3940-948B-CDA9D0D4D2B0}" dt="2025-01-21T09:18:23.294" v="462" actId="767"/>
          <pc:sldLayoutMkLst>
            <pc:docMk/>
            <pc:sldMasterMk cId="1488275023" sldId="2147484177"/>
            <pc:sldLayoutMk cId="3468140499" sldId="2147484193"/>
          </pc:sldLayoutMkLst>
        </pc:sldLayoutChg>
      </pc:sldMasterChg>
    </pc:docChg>
  </pc:docChgLst>
  <pc:docChgLst>
    <pc:chgData name="Adwait Aralkar" userId="ae1719c1-ed02-42aa-a1d9-0d6e6247f692" providerId="ADAL" clId="{3F587D8B-EC67-422E-A694-1F3A026A2B27}"/>
    <pc:docChg chg="undo redo custSel addSld delSld modSld sldOrd delMainMaster modMainMaster">
      <pc:chgData name="Adwait Aralkar" userId="ae1719c1-ed02-42aa-a1d9-0d6e6247f692" providerId="ADAL" clId="{3F587D8B-EC67-422E-A694-1F3A026A2B27}" dt="2025-01-21T08:43:14.038" v="5418" actId="20577"/>
      <pc:docMkLst>
        <pc:docMk/>
      </pc:docMkLst>
      <pc:sldChg chg="modSp del">
        <pc:chgData name="Adwait Aralkar" userId="ae1719c1-ed02-42aa-a1d9-0d6e6247f692" providerId="ADAL" clId="{3F587D8B-EC67-422E-A694-1F3A026A2B27}" dt="2025-01-10T09:23:55.362" v="630" actId="47"/>
        <pc:sldMkLst>
          <pc:docMk/>
          <pc:sldMk cId="236287519" sldId="256"/>
        </pc:sldMkLst>
      </pc:sldChg>
      <pc:sldChg chg="del">
        <pc:chgData name="Adwait Aralkar" userId="ae1719c1-ed02-42aa-a1d9-0d6e6247f692" providerId="ADAL" clId="{3F587D8B-EC67-422E-A694-1F3A026A2B27}" dt="2025-01-13T15:25:42.715" v="3616" actId="2696"/>
        <pc:sldMkLst>
          <pc:docMk/>
          <pc:sldMk cId="408414969" sldId="256"/>
        </pc:sldMkLst>
      </pc:sldChg>
      <pc:sldChg chg="add del">
        <pc:chgData name="Adwait Aralkar" userId="ae1719c1-ed02-42aa-a1d9-0d6e6247f692" providerId="ADAL" clId="{3F587D8B-EC67-422E-A694-1F3A026A2B27}" dt="2025-01-10T09:26:06.519" v="674" actId="2890"/>
        <pc:sldMkLst>
          <pc:docMk/>
          <pc:sldMk cId="1023003893" sldId="256"/>
        </pc:sldMkLst>
      </pc:sldChg>
      <pc:sldChg chg="add del">
        <pc:chgData name="Adwait Aralkar" userId="ae1719c1-ed02-42aa-a1d9-0d6e6247f692" providerId="ADAL" clId="{3F587D8B-EC67-422E-A694-1F3A026A2B27}" dt="2025-01-16T05:20:18.809" v="4809" actId="47"/>
        <pc:sldMkLst>
          <pc:docMk/>
          <pc:sldMk cId="1655075879" sldId="256"/>
        </pc:sldMkLst>
      </pc:sldChg>
      <pc:sldChg chg="add del">
        <pc:chgData name="Adwait Aralkar" userId="ae1719c1-ed02-42aa-a1d9-0d6e6247f692" providerId="ADAL" clId="{3F587D8B-EC67-422E-A694-1F3A026A2B27}" dt="2025-01-13T15:25:51.779" v="3618"/>
        <pc:sldMkLst>
          <pc:docMk/>
          <pc:sldMk cId="1676452129" sldId="256"/>
        </pc:sldMkLst>
      </pc:sldChg>
      <pc:sldChg chg="add del">
        <pc:chgData name="Adwait Aralkar" userId="ae1719c1-ed02-42aa-a1d9-0d6e6247f692" providerId="ADAL" clId="{3F587D8B-EC67-422E-A694-1F3A026A2B27}" dt="2025-01-16T05:05:04.245" v="4785" actId="2696"/>
        <pc:sldMkLst>
          <pc:docMk/>
          <pc:sldMk cId="2692449286" sldId="256"/>
        </pc:sldMkLst>
      </pc:sldChg>
      <pc:sldChg chg="addSp delSp modSp add mod">
        <pc:chgData name="Adwait Aralkar" userId="ae1719c1-ed02-42aa-a1d9-0d6e6247f692" providerId="ADAL" clId="{3F587D8B-EC67-422E-A694-1F3A026A2B27}" dt="2025-01-10T14:41:20.791" v="1525" actId="478"/>
        <pc:sldMkLst>
          <pc:docMk/>
          <pc:sldMk cId="2831883595" sldId="256"/>
        </pc:sldMkLst>
      </pc:sldChg>
      <pc:sldChg chg="addSp modSp mod">
        <pc:chgData name="Adwait Aralkar" userId="ae1719c1-ed02-42aa-a1d9-0d6e6247f692" providerId="ADAL" clId="{3F587D8B-EC67-422E-A694-1F3A026A2B27}" dt="2025-01-16T06:11:30.146" v="4847" actId="1076"/>
        <pc:sldMkLst>
          <pc:docMk/>
          <pc:sldMk cId="508278704" sldId="257"/>
        </pc:sldMkLst>
        <pc:spChg chg="mod">
          <ac:chgData name="Adwait Aralkar" userId="ae1719c1-ed02-42aa-a1d9-0d6e6247f692" providerId="ADAL" clId="{3F587D8B-EC67-422E-A694-1F3A026A2B27}" dt="2025-01-15T08:57:52.391" v="4009" actId="1036"/>
          <ac:spMkLst>
            <pc:docMk/>
            <pc:sldMk cId="508278704" sldId="257"/>
            <ac:spMk id="6" creationId="{372D4ADC-302B-4E41-5E56-06456EBEBF60}"/>
          </ac:spMkLst>
        </pc:spChg>
      </pc:sldChg>
      <pc:sldChg chg="addSp modSp new mod">
        <pc:chgData name="Adwait Aralkar" userId="ae1719c1-ed02-42aa-a1d9-0d6e6247f692" providerId="ADAL" clId="{3F587D8B-EC67-422E-A694-1F3A026A2B27}" dt="2025-01-09T15:21:09.339" v="527" actId="13926"/>
        <pc:sldMkLst>
          <pc:docMk/>
          <pc:sldMk cId="546235532" sldId="257"/>
        </pc:sldMkLst>
      </pc:sldChg>
      <pc:sldChg chg="modSp del">
        <pc:chgData name="Adwait Aralkar" userId="ae1719c1-ed02-42aa-a1d9-0d6e6247f692" providerId="ADAL" clId="{3F587D8B-EC67-422E-A694-1F3A026A2B27}" dt="2025-01-09T12:10:32.450" v="490" actId="47"/>
        <pc:sldMkLst>
          <pc:docMk/>
          <pc:sldMk cId="2042906756" sldId="257"/>
        </pc:sldMkLst>
      </pc:sldChg>
      <pc:sldChg chg="addSp modSp add mod">
        <pc:chgData name="Adwait Aralkar" userId="ae1719c1-ed02-42aa-a1d9-0d6e6247f692" providerId="ADAL" clId="{3F587D8B-EC67-422E-A694-1F3A026A2B27}" dt="2025-01-10T12:39:21.841" v="1417"/>
        <pc:sldMkLst>
          <pc:docMk/>
          <pc:sldMk cId="2378481855" sldId="257"/>
        </pc:sldMkLst>
      </pc:sldChg>
      <pc:sldChg chg="modSp add del">
        <pc:chgData name="Adwait Aralkar" userId="ae1719c1-ed02-42aa-a1d9-0d6e6247f692" providerId="ADAL" clId="{3F587D8B-EC67-422E-A694-1F3A026A2B27}" dt="2025-01-10T12:23:18.356" v="1382" actId="47"/>
        <pc:sldMkLst>
          <pc:docMk/>
          <pc:sldMk cId="2493251175" sldId="257"/>
        </pc:sldMkLst>
      </pc:sldChg>
      <pc:sldChg chg="add del">
        <pc:chgData name="Adwait Aralkar" userId="ae1719c1-ed02-42aa-a1d9-0d6e6247f692" providerId="ADAL" clId="{3F587D8B-EC67-422E-A694-1F3A026A2B27}" dt="2025-01-10T12:39:05.390" v="1412" actId="47"/>
        <pc:sldMkLst>
          <pc:docMk/>
          <pc:sldMk cId="3689486263" sldId="257"/>
        </pc:sldMkLst>
      </pc:sldChg>
      <pc:sldChg chg="modNotesTx">
        <pc:chgData name="Adwait Aralkar" userId="ae1719c1-ed02-42aa-a1d9-0d6e6247f692" providerId="ADAL" clId="{3F587D8B-EC67-422E-A694-1F3A026A2B27}" dt="2025-01-20T14:36:25.091" v="5294" actId="20577"/>
        <pc:sldMkLst>
          <pc:docMk/>
          <pc:sldMk cId="205159607" sldId="258"/>
        </pc:sldMkLst>
      </pc:sldChg>
      <pc:sldChg chg="addSp delSp modSp mod ord modNotesTx">
        <pc:chgData name="Adwait Aralkar" userId="ae1719c1-ed02-42aa-a1d9-0d6e6247f692" providerId="ADAL" clId="{3F587D8B-EC67-422E-A694-1F3A026A2B27}" dt="2025-01-13T10:58:13.795" v="2428"/>
        <pc:sldMkLst>
          <pc:docMk/>
          <pc:sldMk cId="992006725" sldId="258"/>
        </pc:sldMkLst>
      </pc:sldChg>
      <pc:sldChg chg="del">
        <pc:chgData name="Adwait Aralkar" userId="ae1719c1-ed02-42aa-a1d9-0d6e6247f692" providerId="ADAL" clId="{3F587D8B-EC67-422E-A694-1F3A026A2B27}" dt="2025-01-13T08:03:22.439" v="1966" actId="47"/>
        <pc:sldMkLst>
          <pc:docMk/>
          <pc:sldMk cId="835719868" sldId="259"/>
        </pc:sldMkLst>
      </pc:sldChg>
      <pc:sldChg chg="addSp delSp modSp add del mod">
        <pc:chgData name="Adwait Aralkar" userId="ae1719c1-ed02-42aa-a1d9-0d6e6247f692" providerId="ADAL" clId="{3F587D8B-EC67-422E-A694-1F3A026A2B27}" dt="2025-01-15T13:16:44.922" v="4080" actId="2696"/>
        <pc:sldMkLst>
          <pc:docMk/>
          <pc:sldMk cId="2324598690" sldId="259"/>
        </pc:sldMkLst>
      </pc:sldChg>
      <pc:sldChg chg="del mod modShow">
        <pc:chgData name="Adwait Aralkar" userId="ae1719c1-ed02-42aa-a1d9-0d6e6247f692" providerId="ADAL" clId="{3F587D8B-EC67-422E-A694-1F3A026A2B27}" dt="2025-01-10T09:24:11.447" v="633" actId="47"/>
        <pc:sldMkLst>
          <pc:docMk/>
          <pc:sldMk cId="3534333545" sldId="259"/>
        </pc:sldMkLst>
      </pc:sldChg>
      <pc:sldChg chg="modSp add del">
        <pc:chgData name="Adwait Aralkar" userId="ae1719c1-ed02-42aa-a1d9-0d6e6247f692" providerId="ADAL" clId="{3F587D8B-EC67-422E-A694-1F3A026A2B27}" dt="2025-01-16T05:20:31.501" v="4816" actId="47"/>
        <pc:sldMkLst>
          <pc:docMk/>
          <pc:sldMk cId="4130873003" sldId="259"/>
        </pc:sldMkLst>
      </pc:sldChg>
      <pc:sldChg chg="add del">
        <pc:chgData name="Adwait Aralkar" userId="ae1719c1-ed02-42aa-a1d9-0d6e6247f692" providerId="ADAL" clId="{3F587D8B-EC67-422E-A694-1F3A026A2B27}" dt="2025-01-09T14:16:42.132" v="497" actId="47"/>
        <pc:sldMkLst>
          <pc:docMk/>
          <pc:sldMk cId="2248175452" sldId="260"/>
        </pc:sldMkLst>
      </pc:sldChg>
      <pc:sldChg chg="addSp delSp modSp del mod">
        <pc:chgData name="Adwait Aralkar" userId="ae1719c1-ed02-42aa-a1d9-0d6e6247f692" providerId="ADAL" clId="{3F587D8B-EC67-422E-A694-1F3A026A2B27}" dt="2025-01-10T13:13:21.234" v="1505" actId="47"/>
        <pc:sldMkLst>
          <pc:docMk/>
          <pc:sldMk cId="2688495003" sldId="260"/>
        </pc:sldMkLst>
      </pc:sldChg>
      <pc:sldChg chg="modSp del mod">
        <pc:chgData name="Adwait Aralkar" userId="ae1719c1-ed02-42aa-a1d9-0d6e6247f692" providerId="ADAL" clId="{3F587D8B-EC67-422E-A694-1F3A026A2B27}" dt="2025-01-13T15:04:53.202" v="3527" actId="47"/>
        <pc:sldMkLst>
          <pc:docMk/>
          <pc:sldMk cId="3659709379" sldId="260"/>
        </pc:sldMkLst>
      </pc:sldChg>
      <pc:sldChg chg="addSp delSp modSp add del mod">
        <pc:chgData name="Adwait Aralkar" userId="ae1719c1-ed02-42aa-a1d9-0d6e6247f692" providerId="ADAL" clId="{3F587D8B-EC67-422E-A694-1F3A026A2B27}" dt="2025-01-13T15:06:57.803" v="3528" actId="47"/>
        <pc:sldMkLst>
          <pc:docMk/>
          <pc:sldMk cId="2744513089" sldId="261"/>
        </pc:sldMkLst>
      </pc:sldChg>
      <pc:sldChg chg="modSp add del">
        <pc:chgData name="Adwait Aralkar" userId="ae1719c1-ed02-42aa-a1d9-0d6e6247f692" providerId="ADAL" clId="{3F587D8B-EC67-422E-A694-1F3A026A2B27}" dt="2025-01-16T05:20:41.958" v="4821" actId="47"/>
        <pc:sldMkLst>
          <pc:docMk/>
          <pc:sldMk cId="568912271" sldId="262"/>
        </pc:sldMkLst>
      </pc:sldChg>
      <pc:sldChg chg="addSp delSp modSp add del mod modShow">
        <pc:chgData name="Adwait Aralkar" userId="ae1719c1-ed02-42aa-a1d9-0d6e6247f692" providerId="ADAL" clId="{3F587D8B-EC67-422E-A694-1F3A026A2B27}" dt="2025-01-13T11:13:38.787" v="2642" actId="2696"/>
        <pc:sldMkLst>
          <pc:docMk/>
          <pc:sldMk cId="2502320555" sldId="262"/>
        </pc:sldMkLst>
      </pc:sldChg>
      <pc:sldChg chg="addSp delSp modSp new del mod modShow">
        <pc:chgData name="Adwait Aralkar" userId="ae1719c1-ed02-42aa-a1d9-0d6e6247f692" providerId="ADAL" clId="{3F587D8B-EC67-422E-A694-1F3A026A2B27}" dt="2025-01-15T06:17:56.482" v="3969" actId="2696"/>
        <pc:sldMkLst>
          <pc:docMk/>
          <pc:sldMk cId="2960758128" sldId="262"/>
        </pc:sldMkLst>
      </pc:sldChg>
      <pc:sldChg chg="addSp delSp modSp mod">
        <pc:chgData name="Adwait Aralkar" userId="ae1719c1-ed02-42aa-a1d9-0d6e6247f692" providerId="ADAL" clId="{3F587D8B-EC67-422E-A694-1F3A026A2B27}" dt="2025-01-21T08:43:14.038" v="5418" actId="20577"/>
        <pc:sldMkLst>
          <pc:docMk/>
          <pc:sldMk cId="3112683689" sldId="262"/>
        </pc:sldMkLst>
        <pc:spChg chg="mod">
          <ac:chgData name="Adwait Aralkar" userId="ae1719c1-ed02-42aa-a1d9-0d6e6247f692" providerId="ADAL" clId="{3F587D8B-EC67-422E-A694-1F3A026A2B27}" dt="2025-01-21T08:43:14.038" v="5418" actId="20577"/>
          <ac:spMkLst>
            <pc:docMk/>
            <pc:sldMk cId="3112683689" sldId="262"/>
            <ac:spMk id="3" creationId="{6FAF2BE4-9C90-C04B-5F78-BBBDE63578DE}"/>
          </ac:spMkLst>
        </pc:spChg>
      </pc:sldChg>
      <pc:sldChg chg="modSp add del">
        <pc:chgData name="Adwait Aralkar" userId="ae1719c1-ed02-42aa-a1d9-0d6e6247f692" providerId="ADAL" clId="{3F587D8B-EC67-422E-A694-1F3A026A2B27}" dt="2025-01-13T14:03:14.788" v="3280" actId="47"/>
        <pc:sldMkLst>
          <pc:docMk/>
          <pc:sldMk cId="3288426072" sldId="262"/>
        </pc:sldMkLst>
      </pc:sldChg>
      <pc:sldChg chg="addSp delSp modSp new mod ord modShow">
        <pc:chgData name="Adwait Aralkar" userId="ae1719c1-ed02-42aa-a1d9-0d6e6247f692" providerId="ADAL" clId="{3F587D8B-EC67-422E-A694-1F3A026A2B27}" dt="2025-01-13T11:21:47.245" v="2970" actId="729"/>
        <pc:sldMkLst>
          <pc:docMk/>
          <pc:sldMk cId="1573368600" sldId="263"/>
        </pc:sldMkLst>
      </pc:sldChg>
      <pc:sldChg chg="addSp delSp modSp add del mod">
        <pc:chgData name="Adwait Aralkar" userId="ae1719c1-ed02-42aa-a1d9-0d6e6247f692" providerId="ADAL" clId="{3F587D8B-EC67-422E-A694-1F3A026A2B27}" dt="2025-01-13T15:24:10.680" v="3582" actId="2696"/>
        <pc:sldMkLst>
          <pc:docMk/>
          <pc:sldMk cId="408414969" sldId="264"/>
        </pc:sldMkLst>
      </pc:sldChg>
      <pc:sldChg chg="add del">
        <pc:chgData name="Adwait Aralkar" userId="ae1719c1-ed02-42aa-a1d9-0d6e6247f692" providerId="ADAL" clId="{3F587D8B-EC67-422E-A694-1F3A026A2B27}" dt="2025-01-13T15:24:19.756" v="3584"/>
        <pc:sldMkLst>
          <pc:docMk/>
          <pc:sldMk cId="2268651302" sldId="264"/>
        </pc:sldMkLst>
      </pc:sldChg>
      <pc:sldChg chg="add del">
        <pc:chgData name="Adwait Aralkar" userId="ae1719c1-ed02-42aa-a1d9-0d6e6247f692" providerId="ADAL" clId="{3F587D8B-EC67-422E-A694-1F3A026A2B27}" dt="2025-01-13T15:25:57.139" v="3620" actId="47"/>
        <pc:sldMkLst>
          <pc:docMk/>
          <pc:sldMk cId="2532526565" sldId="264"/>
        </pc:sldMkLst>
      </pc:sldChg>
      <pc:sldChg chg="addSp modSp mod">
        <pc:chgData name="Adwait Aralkar" userId="ae1719c1-ed02-42aa-a1d9-0d6e6247f692" providerId="ADAL" clId="{3F587D8B-EC67-422E-A694-1F3A026A2B27}" dt="2025-01-10T09:34:49.264" v="785"/>
        <pc:sldMkLst>
          <pc:docMk/>
          <pc:sldMk cId="3257369342" sldId="264"/>
        </pc:sldMkLst>
      </pc:sldChg>
      <pc:sldChg chg="modSp mod">
        <pc:chgData name="Adwait Aralkar" userId="ae1719c1-ed02-42aa-a1d9-0d6e6247f692" providerId="ADAL" clId="{3F587D8B-EC67-422E-A694-1F3A026A2B27}" dt="2025-01-09T12:10:17.151" v="489" actId="20577"/>
        <pc:sldMkLst>
          <pc:docMk/>
          <pc:sldMk cId="2384182653" sldId="265"/>
        </pc:sldMkLst>
      </pc:sldChg>
      <pc:sldChg chg="addSp delSp modSp add del mod">
        <pc:chgData name="Adwait Aralkar" userId="ae1719c1-ed02-42aa-a1d9-0d6e6247f692" providerId="ADAL" clId="{3F587D8B-EC67-422E-A694-1F3A026A2B27}" dt="2025-01-13T15:06:58.397" v="3529" actId="47"/>
        <pc:sldMkLst>
          <pc:docMk/>
          <pc:sldMk cId="3719333180" sldId="266"/>
        </pc:sldMkLst>
      </pc:sldChg>
      <pc:sldChg chg="addSp delSp modSp new mod ord">
        <pc:chgData name="Adwait Aralkar" userId="ae1719c1-ed02-42aa-a1d9-0d6e6247f692" providerId="ADAL" clId="{3F587D8B-EC67-422E-A694-1F3A026A2B27}" dt="2025-01-09T12:08:27.285" v="473" actId="20577"/>
        <pc:sldMkLst>
          <pc:docMk/>
          <pc:sldMk cId="3882660682" sldId="266"/>
        </pc:sldMkLst>
      </pc:sldChg>
      <pc:sldChg chg="modSp del mod">
        <pc:chgData name="Adwait Aralkar" userId="ae1719c1-ed02-42aa-a1d9-0d6e6247f692" providerId="ADAL" clId="{3F587D8B-EC67-422E-A694-1F3A026A2B27}" dt="2025-01-20T07:37:20.343" v="5110" actId="2696"/>
        <pc:sldMkLst>
          <pc:docMk/>
          <pc:sldMk cId="3384076873" sldId="267"/>
        </pc:sldMkLst>
      </pc:sldChg>
      <pc:sldChg chg="add del">
        <pc:chgData name="Adwait Aralkar" userId="ae1719c1-ed02-42aa-a1d9-0d6e6247f692" providerId="ADAL" clId="{3F587D8B-EC67-422E-A694-1F3A026A2B27}" dt="2025-01-20T07:37:28.651" v="5112"/>
        <pc:sldMkLst>
          <pc:docMk/>
          <pc:sldMk cId="4033859740" sldId="267"/>
        </pc:sldMkLst>
      </pc:sldChg>
      <pc:sldChg chg="addSp delSp modSp mod ord modNotesTx">
        <pc:chgData name="Adwait Aralkar" userId="ae1719c1-ed02-42aa-a1d9-0d6e6247f692" providerId="ADAL" clId="{3F587D8B-EC67-422E-A694-1F3A026A2B27}" dt="2025-01-20T13:42:32.380" v="5121"/>
        <pc:sldMkLst>
          <pc:docMk/>
          <pc:sldMk cId="1138799537" sldId="268"/>
        </pc:sldMkLst>
        <pc:spChg chg="mod">
          <ac:chgData name="Adwait Aralkar" userId="ae1719c1-ed02-42aa-a1d9-0d6e6247f692" providerId="ADAL" clId="{3F587D8B-EC67-422E-A694-1F3A026A2B27}" dt="2025-01-13T14:52:19.795" v="3510" actId="1076"/>
          <ac:spMkLst>
            <pc:docMk/>
            <pc:sldMk cId="1138799537" sldId="268"/>
            <ac:spMk id="3" creationId="{55D6EE85-A9BA-8C28-A926-D2CFCCA107FF}"/>
          </ac:spMkLst>
        </pc:spChg>
        <pc:spChg chg="add mod">
          <ac:chgData name="Adwait Aralkar" userId="ae1719c1-ed02-42aa-a1d9-0d6e6247f692" providerId="ADAL" clId="{3F587D8B-EC67-422E-A694-1F3A026A2B27}" dt="2025-01-16T04:56:53.094" v="4706" actId="1076"/>
          <ac:spMkLst>
            <pc:docMk/>
            <pc:sldMk cId="1138799537" sldId="268"/>
            <ac:spMk id="6" creationId="{F060ADAB-CD4A-8CEA-757F-7F6DBF99384A}"/>
          </ac:spMkLst>
        </pc:spChg>
        <pc:spChg chg="mod">
          <ac:chgData name="Adwait Aralkar" userId="ae1719c1-ed02-42aa-a1d9-0d6e6247f692" providerId="ADAL" clId="{3F587D8B-EC67-422E-A694-1F3A026A2B27}" dt="2025-01-13T07:56:21.260" v="1900" actId="13926"/>
          <ac:spMkLst>
            <pc:docMk/>
            <pc:sldMk cId="1138799537" sldId="268"/>
            <ac:spMk id="7" creationId="{8EA0F6D5-1C51-D87C-348B-4E867EBC16B7}"/>
          </ac:spMkLst>
        </pc:spChg>
        <pc:spChg chg="mod">
          <ac:chgData name="Adwait Aralkar" userId="ae1719c1-ed02-42aa-a1d9-0d6e6247f692" providerId="ADAL" clId="{3F587D8B-EC67-422E-A694-1F3A026A2B27}" dt="2025-01-17T03:44:57.149" v="4850" actId="20577"/>
          <ac:spMkLst>
            <pc:docMk/>
            <pc:sldMk cId="1138799537" sldId="268"/>
            <ac:spMk id="10" creationId="{57F68571-AC73-3F38-89AC-3CA6E09F4091}"/>
          </ac:spMkLst>
        </pc:spChg>
        <pc:spChg chg="mod">
          <ac:chgData name="Adwait Aralkar" userId="ae1719c1-ed02-42aa-a1d9-0d6e6247f692" providerId="ADAL" clId="{3F587D8B-EC67-422E-A694-1F3A026A2B27}" dt="2025-01-16T04:54:01.706" v="4452" actId="1035"/>
          <ac:spMkLst>
            <pc:docMk/>
            <pc:sldMk cId="1138799537" sldId="268"/>
            <ac:spMk id="11" creationId="{9A7FF3D1-B018-D206-6654-47315FDD97C1}"/>
          </ac:spMkLst>
        </pc:spChg>
      </pc:sldChg>
      <pc:sldChg chg="addSp delSp modSp add del mod">
        <pc:chgData name="Adwait Aralkar" userId="ae1719c1-ed02-42aa-a1d9-0d6e6247f692" providerId="ADAL" clId="{3F587D8B-EC67-422E-A694-1F3A026A2B27}" dt="2025-01-13T15:06:59.514" v="3530" actId="47"/>
        <pc:sldMkLst>
          <pc:docMk/>
          <pc:sldMk cId="997764512" sldId="269"/>
        </pc:sldMkLst>
      </pc:sldChg>
      <pc:sldChg chg="modSp mod">
        <pc:chgData name="Adwait Aralkar" userId="ae1719c1-ed02-42aa-a1d9-0d6e6247f692" providerId="ADAL" clId="{3F587D8B-EC67-422E-A694-1F3A026A2B27}" dt="2025-01-13T15:24:31.320" v="3594" actId="20577"/>
        <pc:sldMkLst>
          <pc:docMk/>
          <pc:sldMk cId="2384130812" sldId="269"/>
        </pc:sldMkLst>
        <pc:spChg chg="mod">
          <ac:chgData name="Adwait Aralkar" userId="ae1719c1-ed02-42aa-a1d9-0d6e6247f692" providerId="ADAL" clId="{3F587D8B-EC67-422E-A694-1F3A026A2B27}" dt="2025-01-13T15:24:31.320" v="3594" actId="20577"/>
          <ac:spMkLst>
            <pc:docMk/>
            <pc:sldMk cId="2384130812" sldId="269"/>
            <ac:spMk id="19" creationId="{5EF01094-171F-A251-08EB-ADF4056E0AC4}"/>
          </ac:spMkLst>
        </pc:spChg>
      </pc:sldChg>
      <pc:sldChg chg="addSp modSp add del mod">
        <pc:chgData name="Adwait Aralkar" userId="ae1719c1-ed02-42aa-a1d9-0d6e6247f692" providerId="ADAL" clId="{3F587D8B-EC67-422E-A694-1F3A026A2B27}" dt="2025-01-15T10:02:48.483" v="4063" actId="2696"/>
        <pc:sldMkLst>
          <pc:docMk/>
          <pc:sldMk cId="648062910" sldId="270"/>
        </pc:sldMkLst>
      </pc:sldChg>
      <pc:sldChg chg="modSp add del">
        <pc:chgData name="Adwait Aralkar" userId="ae1719c1-ed02-42aa-a1d9-0d6e6247f692" providerId="ADAL" clId="{3F587D8B-EC67-422E-A694-1F3A026A2B27}" dt="2025-01-16T05:20:34.542" v="4818" actId="47"/>
        <pc:sldMkLst>
          <pc:docMk/>
          <pc:sldMk cId="2600833936" sldId="270"/>
        </pc:sldMkLst>
      </pc:sldChg>
      <pc:sldChg chg="modSp new mod">
        <pc:chgData name="Adwait Aralkar" userId="ae1719c1-ed02-42aa-a1d9-0d6e6247f692" providerId="ADAL" clId="{3F587D8B-EC67-422E-A694-1F3A026A2B27}" dt="2025-01-17T09:32:27.659" v="4879" actId="14100"/>
        <pc:sldMkLst>
          <pc:docMk/>
          <pc:sldMk cId="2784011318" sldId="270"/>
        </pc:sldMkLst>
      </pc:sldChg>
      <pc:sldChg chg="modSp mod modCm">
        <pc:chgData name="Adwait Aralkar" userId="ae1719c1-ed02-42aa-a1d9-0d6e6247f692" providerId="ADAL" clId="{3F587D8B-EC67-422E-A694-1F3A026A2B27}" dt="2025-01-20T13:53:50.372" v="5134" actId="20577"/>
        <pc:sldMkLst>
          <pc:docMk/>
          <pc:sldMk cId="55496167" sldId="271"/>
        </pc:sldMkLst>
        <pc:extLst>
          <p:ext xmlns:p="http://schemas.openxmlformats.org/presentationml/2006/main" uri="{D6D511B9-2390-475A-947B-AFAB55BFBCF1}">
            <pc226:cmChg xmlns:pc226="http://schemas.microsoft.com/office/powerpoint/2022/06/main/command" chg="mod">
              <pc226:chgData name="Adwait Aralkar" userId="ae1719c1-ed02-42aa-a1d9-0d6e6247f692" providerId="ADAL" clId="{3F587D8B-EC67-422E-A694-1F3A026A2B27}" dt="2025-01-20T13:53:50.372" v="5134" actId="20577"/>
              <pc2:cmMkLst xmlns:pc2="http://schemas.microsoft.com/office/powerpoint/2019/9/main/command">
                <pc:docMk/>
                <pc:sldMk cId="55496167" sldId="271"/>
                <pc2:cmMk id="{D2B81886-A6F9-4855-A363-8886D2A24D57}"/>
              </pc2:cmMkLst>
            </pc226:cmChg>
          </p:ext>
        </pc:extLst>
      </pc:sldChg>
      <pc:sldChg chg="add del">
        <pc:chgData name="Adwait Aralkar" userId="ae1719c1-ed02-42aa-a1d9-0d6e6247f692" providerId="ADAL" clId="{3F587D8B-EC67-422E-A694-1F3A026A2B27}" dt="2025-01-16T05:28:11.795" v="4826"/>
        <pc:sldMkLst>
          <pc:docMk/>
          <pc:sldMk cId="2585903432" sldId="271"/>
        </pc:sldMkLst>
      </pc:sldChg>
      <pc:sldChg chg="del mod modShow">
        <pc:chgData name="Adwait Aralkar" userId="ae1719c1-ed02-42aa-a1d9-0d6e6247f692" providerId="ADAL" clId="{3F587D8B-EC67-422E-A694-1F3A026A2B27}" dt="2025-01-16T05:28:02.518" v="4824" actId="2696"/>
        <pc:sldMkLst>
          <pc:docMk/>
          <pc:sldMk cId="2723152668" sldId="271"/>
        </pc:sldMkLst>
      </pc:sldChg>
      <pc:sldChg chg="add del">
        <pc:chgData name="Adwait Aralkar" userId="ae1719c1-ed02-42aa-a1d9-0d6e6247f692" providerId="ADAL" clId="{3F587D8B-EC67-422E-A694-1F3A026A2B27}" dt="2025-01-13T10:19:56.658" v="2131" actId="47"/>
        <pc:sldMkLst>
          <pc:docMk/>
          <pc:sldMk cId="3541086506" sldId="272"/>
        </pc:sldMkLst>
      </pc:sldChg>
      <pc:sldChg chg="addSp delSp modSp new del mod">
        <pc:chgData name="Adwait Aralkar" userId="ae1719c1-ed02-42aa-a1d9-0d6e6247f692" providerId="ADAL" clId="{3F587D8B-EC67-422E-A694-1F3A026A2B27}" dt="2025-01-13T11:12:35.136" v="2636" actId="47"/>
        <pc:sldMkLst>
          <pc:docMk/>
          <pc:sldMk cId="3642872914" sldId="273"/>
        </pc:sldMkLst>
      </pc:sldChg>
      <pc:sldChg chg="addSp delSp modSp add mod">
        <pc:chgData name="Adwait Aralkar" userId="ae1719c1-ed02-42aa-a1d9-0d6e6247f692" providerId="ADAL" clId="{3F587D8B-EC67-422E-A694-1F3A026A2B27}" dt="2025-01-17T13:41:09.696" v="5016" actId="20577"/>
        <pc:sldMkLst>
          <pc:docMk/>
          <pc:sldMk cId="3853684040" sldId="273"/>
        </pc:sldMkLst>
      </pc:sldChg>
      <pc:sldChg chg="addSp delSp modSp new del mod">
        <pc:chgData name="Adwait Aralkar" userId="ae1719c1-ed02-42aa-a1d9-0d6e6247f692" providerId="ADAL" clId="{3F587D8B-EC67-422E-A694-1F3A026A2B27}" dt="2025-01-13T11:12:36.443" v="2637" actId="47"/>
        <pc:sldMkLst>
          <pc:docMk/>
          <pc:sldMk cId="2354357223" sldId="274"/>
        </pc:sldMkLst>
      </pc:sldChg>
      <pc:sldChg chg="modSp add del mod">
        <pc:chgData name="Adwait Aralkar" userId="ae1719c1-ed02-42aa-a1d9-0d6e6247f692" providerId="ADAL" clId="{3F587D8B-EC67-422E-A694-1F3A026A2B27}" dt="2025-01-13T15:24:41.725" v="3595" actId="47"/>
        <pc:sldMkLst>
          <pc:docMk/>
          <pc:sldMk cId="3462525710" sldId="274"/>
        </pc:sldMkLst>
      </pc:sldChg>
      <pc:sldChg chg="modSp add del">
        <pc:chgData name="Adwait Aralkar" userId="ae1719c1-ed02-42aa-a1d9-0d6e6247f692" providerId="ADAL" clId="{3F587D8B-EC67-422E-A694-1F3A026A2B27}" dt="2025-01-13T15:24:42.400" v="3596" actId="47"/>
        <pc:sldMkLst>
          <pc:docMk/>
          <pc:sldMk cId="2221110200" sldId="275"/>
        </pc:sldMkLst>
      </pc:sldChg>
      <pc:sldChg chg="add del mod modShow">
        <pc:chgData name="Adwait Aralkar" userId="ae1719c1-ed02-42aa-a1d9-0d6e6247f692" providerId="ADAL" clId="{3F587D8B-EC67-422E-A694-1F3A026A2B27}" dt="2025-01-13T11:21:51.565" v="2971" actId="2696"/>
        <pc:sldMkLst>
          <pc:docMk/>
          <pc:sldMk cId="3575603297" sldId="275"/>
        </pc:sldMkLst>
      </pc:sldChg>
      <pc:sldChg chg="addSp delSp modSp add mod">
        <pc:chgData name="Adwait Aralkar" userId="ae1719c1-ed02-42aa-a1d9-0d6e6247f692" providerId="ADAL" clId="{3F587D8B-EC67-422E-A694-1F3A026A2B27}" dt="2025-01-13T15:25:04.761" v="3600" actId="20577"/>
        <pc:sldMkLst>
          <pc:docMk/>
          <pc:sldMk cId="150871088" sldId="276"/>
        </pc:sldMkLst>
      </pc:sldChg>
      <pc:sldChg chg="del">
        <pc:chgData name="Adwait Aralkar" userId="ae1719c1-ed02-42aa-a1d9-0d6e6247f692" providerId="ADAL" clId="{3F587D8B-EC67-422E-A694-1F3A026A2B27}" dt="2025-01-16T05:20:33.209" v="4817" actId="47"/>
        <pc:sldMkLst>
          <pc:docMk/>
          <pc:sldMk cId="969732776" sldId="276"/>
        </pc:sldMkLst>
      </pc:sldChg>
      <pc:sldChg chg="del">
        <pc:chgData name="Adwait Aralkar" userId="ae1719c1-ed02-42aa-a1d9-0d6e6247f692" providerId="ADAL" clId="{3F587D8B-EC67-422E-A694-1F3A026A2B27}" dt="2025-01-13T15:24:10.680" v="3582" actId="2696"/>
        <pc:sldMkLst>
          <pc:docMk/>
          <pc:sldMk cId="262660124" sldId="277"/>
        </pc:sldMkLst>
      </pc:sldChg>
      <pc:sldChg chg="add del">
        <pc:chgData name="Adwait Aralkar" userId="ae1719c1-ed02-42aa-a1d9-0d6e6247f692" providerId="ADAL" clId="{3F587D8B-EC67-422E-A694-1F3A026A2B27}" dt="2025-01-13T15:24:19.756" v="3584"/>
        <pc:sldMkLst>
          <pc:docMk/>
          <pc:sldMk cId="894286322" sldId="277"/>
        </pc:sldMkLst>
      </pc:sldChg>
      <pc:sldChg chg="add">
        <pc:chgData name="Adwait Aralkar" userId="ae1719c1-ed02-42aa-a1d9-0d6e6247f692" providerId="ADAL" clId="{3F587D8B-EC67-422E-A694-1F3A026A2B27}" dt="2025-01-13T15:24:19.844" v="3585"/>
        <pc:sldMkLst>
          <pc:docMk/>
          <pc:sldMk cId="4245125396" sldId="277"/>
        </pc:sldMkLst>
      </pc:sldChg>
      <pc:sldChg chg="modSp add del">
        <pc:chgData name="Adwait Aralkar" userId="ae1719c1-ed02-42aa-a1d9-0d6e6247f692" providerId="ADAL" clId="{3F587D8B-EC67-422E-A694-1F3A026A2B27}" dt="2025-01-16T05:20:38.611" v="4819" actId="47"/>
        <pc:sldMkLst>
          <pc:docMk/>
          <pc:sldMk cId="1161784110" sldId="280"/>
        </pc:sldMkLst>
      </pc:sldChg>
      <pc:sldChg chg="modSp add mod modNotesTx">
        <pc:chgData name="Adwait Aralkar" userId="ae1719c1-ed02-42aa-a1d9-0d6e6247f692" providerId="ADAL" clId="{3F587D8B-EC67-422E-A694-1F3A026A2B27}" dt="2025-01-20T14:39:33.444" v="5413" actId="20577"/>
        <pc:sldMkLst>
          <pc:docMk/>
          <pc:sldMk cId="1355154243" sldId="280"/>
        </pc:sldMkLst>
      </pc:sldChg>
      <pc:sldChg chg="addSp delSp modSp add del mod">
        <pc:chgData name="Adwait Aralkar" userId="ae1719c1-ed02-42aa-a1d9-0d6e6247f692" providerId="ADAL" clId="{3F587D8B-EC67-422E-A694-1F3A026A2B27}" dt="2025-01-15T10:01:06.178" v="4061" actId="2696"/>
        <pc:sldMkLst>
          <pc:docMk/>
          <pc:sldMk cId="4058344080" sldId="280"/>
        </pc:sldMkLst>
      </pc:sldChg>
      <pc:sldChg chg="add">
        <pc:chgData name="Adwait Aralkar" userId="ae1719c1-ed02-42aa-a1d9-0d6e6247f692" providerId="ADAL" clId="{3F587D8B-EC67-422E-A694-1F3A026A2B27}" dt="2025-01-13T13:07:16.638" v="2997"/>
        <pc:sldMkLst>
          <pc:docMk/>
          <pc:sldMk cId="410978724" sldId="282"/>
        </pc:sldMkLst>
      </pc:sldChg>
      <pc:sldChg chg="del">
        <pc:chgData name="Adwait Aralkar" userId="ae1719c1-ed02-42aa-a1d9-0d6e6247f692" providerId="ADAL" clId="{3F587D8B-EC67-422E-A694-1F3A026A2B27}" dt="2025-01-13T13:07:06.090" v="2996" actId="2696"/>
        <pc:sldMkLst>
          <pc:docMk/>
          <pc:sldMk cId="3408441189" sldId="282"/>
        </pc:sldMkLst>
      </pc:sldChg>
      <pc:sldChg chg="modNotesTx">
        <pc:chgData name="Adwait Aralkar" userId="ae1719c1-ed02-42aa-a1d9-0d6e6247f692" providerId="ADAL" clId="{3F587D8B-EC67-422E-A694-1F3A026A2B27}" dt="2025-01-16T06:12:18.726" v="4848" actId="20577"/>
        <pc:sldMkLst>
          <pc:docMk/>
          <pc:sldMk cId="2453782732" sldId="283"/>
        </pc:sldMkLst>
      </pc:sldChg>
      <pc:sldChg chg="modSp mod">
        <pc:chgData name="Adwait Aralkar" userId="ae1719c1-ed02-42aa-a1d9-0d6e6247f692" providerId="ADAL" clId="{3F587D8B-EC67-422E-A694-1F3A026A2B27}" dt="2025-01-13T15:23:49.671" v="3581" actId="13926"/>
        <pc:sldMkLst>
          <pc:docMk/>
          <pc:sldMk cId="595150051" sldId="284"/>
        </pc:sldMkLst>
      </pc:sldChg>
      <pc:sldChg chg="modSp mod">
        <pc:chgData name="Adwait Aralkar" userId="ae1719c1-ed02-42aa-a1d9-0d6e6247f692" providerId="ADAL" clId="{3F587D8B-EC67-422E-A694-1F3A026A2B27}" dt="2025-01-16T06:11:07.754" v="4836" actId="20577"/>
        <pc:sldMkLst>
          <pc:docMk/>
          <pc:sldMk cId="2161039759" sldId="286"/>
        </pc:sldMkLst>
      </pc:sldChg>
      <pc:sldChg chg="addSp delSp modSp del mod modShow">
        <pc:chgData name="Adwait Aralkar" userId="ae1719c1-ed02-42aa-a1d9-0d6e6247f692" providerId="ADAL" clId="{3F587D8B-EC67-422E-A694-1F3A026A2B27}" dt="2025-01-16T04:59:26.654" v="4778" actId="2696"/>
        <pc:sldMkLst>
          <pc:docMk/>
          <pc:sldMk cId="162438159" sldId="287"/>
        </pc:sldMkLst>
      </pc:sldChg>
      <pc:sldChg chg="modSp mod">
        <pc:chgData name="Adwait Aralkar" userId="ae1719c1-ed02-42aa-a1d9-0d6e6247f692" providerId="ADAL" clId="{3F587D8B-EC67-422E-A694-1F3A026A2B27}" dt="2025-01-20T13:44:36.125" v="5130" actId="20577"/>
        <pc:sldMkLst>
          <pc:docMk/>
          <pc:sldMk cId="1655463585" sldId="287"/>
        </pc:sldMkLst>
        <pc:spChg chg="mod">
          <ac:chgData name="Adwait Aralkar" userId="ae1719c1-ed02-42aa-a1d9-0d6e6247f692" providerId="ADAL" clId="{3F587D8B-EC67-422E-A694-1F3A026A2B27}" dt="2025-01-20T13:44:36.125" v="5130" actId="20577"/>
          <ac:spMkLst>
            <pc:docMk/>
            <pc:sldMk cId="1655463585" sldId="287"/>
            <ac:spMk id="3" creationId="{E6AE6852-5A19-41E0-16BF-28D2F08F08AF}"/>
          </ac:spMkLst>
        </pc:spChg>
      </pc:sldChg>
      <pc:sldChg chg="add del">
        <pc:chgData name="Adwait Aralkar" userId="ae1719c1-ed02-42aa-a1d9-0d6e6247f692" providerId="ADAL" clId="{3F587D8B-EC67-422E-A694-1F3A026A2B27}" dt="2025-01-16T05:20:22.268" v="4812" actId="47"/>
        <pc:sldMkLst>
          <pc:docMk/>
          <pc:sldMk cId="3775827355" sldId="287"/>
        </pc:sldMkLst>
      </pc:sldChg>
      <pc:sldChg chg="del">
        <pc:chgData name="Adwait Aralkar" userId="ae1719c1-ed02-42aa-a1d9-0d6e6247f692" providerId="ADAL" clId="{3F587D8B-EC67-422E-A694-1F3A026A2B27}" dt="2025-01-09T10:05:11.344" v="330" actId="47"/>
        <pc:sldMkLst>
          <pc:docMk/>
          <pc:sldMk cId="2412845601" sldId="288"/>
        </pc:sldMkLst>
      </pc:sldChg>
      <pc:sldChg chg="addSp delSp modSp del mod modNotesTx">
        <pc:chgData name="Adwait Aralkar" userId="ae1719c1-ed02-42aa-a1d9-0d6e6247f692" providerId="ADAL" clId="{3F587D8B-EC67-422E-A694-1F3A026A2B27}" dt="2025-01-20T14:39:14.577" v="5406" actId="47"/>
        <pc:sldMkLst>
          <pc:docMk/>
          <pc:sldMk cId="3071321685" sldId="288"/>
        </pc:sldMkLst>
      </pc:sldChg>
      <pc:sldChg chg="addSp delSp modSp mod">
        <pc:chgData name="Adwait Aralkar" userId="ae1719c1-ed02-42aa-a1d9-0d6e6247f692" providerId="ADAL" clId="{3F587D8B-EC67-422E-A694-1F3A026A2B27}" dt="2025-01-20T14:14:18.133" v="5144" actId="478"/>
        <pc:sldMkLst>
          <pc:docMk/>
          <pc:sldMk cId="3973081514" sldId="290"/>
        </pc:sldMkLst>
        <pc:spChg chg="mod">
          <ac:chgData name="Adwait Aralkar" userId="ae1719c1-ed02-42aa-a1d9-0d6e6247f692" providerId="ADAL" clId="{3F587D8B-EC67-422E-A694-1F3A026A2B27}" dt="2025-01-20T14:07:52.033" v="5142" actId="20577"/>
          <ac:spMkLst>
            <pc:docMk/>
            <pc:sldMk cId="3973081514" sldId="290"/>
            <ac:spMk id="12" creationId="{D144BFCB-E674-7992-80DE-E1E5B5C91514}"/>
          </ac:spMkLst>
        </pc:spChg>
        <pc:spChg chg="mod">
          <ac:chgData name="Adwait Aralkar" userId="ae1719c1-ed02-42aa-a1d9-0d6e6247f692" providerId="ADAL" clId="{3F587D8B-EC67-422E-A694-1F3A026A2B27}" dt="2025-01-16T05:08:47.028" v="4794" actId="20577"/>
          <ac:spMkLst>
            <pc:docMk/>
            <pc:sldMk cId="3973081514" sldId="290"/>
            <ac:spMk id="14" creationId="{36305634-12F5-1112-5579-4ABE66A4C96D}"/>
          </ac:spMkLst>
        </pc:spChg>
        <pc:spChg chg="mod">
          <ac:chgData name="Adwait Aralkar" userId="ae1719c1-ed02-42aa-a1d9-0d6e6247f692" providerId="ADAL" clId="{3F587D8B-EC67-422E-A694-1F3A026A2B27}" dt="2025-01-20T14:06:25.954" v="5136" actId="14100"/>
          <ac:spMkLst>
            <pc:docMk/>
            <pc:sldMk cId="3973081514" sldId="290"/>
            <ac:spMk id="31" creationId="{6690C43F-B5DC-D2F9-ED22-24014C9FF08C}"/>
          </ac:spMkLst>
        </pc:spChg>
      </pc:sldChg>
      <pc:sldChg chg="modSp mod">
        <pc:chgData name="Adwait Aralkar" userId="ae1719c1-ed02-42aa-a1d9-0d6e6247f692" providerId="ADAL" clId="{3F587D8B-EC67-422E-A694-1F3A026A2B27}" dt="2025-01-16T05:05:29.230" v="4788" actId="207"/>
        <pc:sldMkLst>
          <pc:docMk/>
          <pc:sldMk cId="1672098358" sldId="291"/>
        </pc:sldMkLst>
      </pc:sldChg>
      <pc:sldChg chg="modSp mod">
        <pc:chgData name="Adwait Aralkar" userId="ae1719c1-ed02-42aa-a1d9-0d6e6247f692" providerId="ADAL" clId="{3F587D8B-EC67-422E-A694-1F3A026A2B27}" dt="2025-01-20T13:12:43.316" v="5119" actId="20577"/>
        <pc:sldMkLst>
          <pc:docMk/>
          <pc:sldMk cId="1710977659" sldId="292"/>
        </pc:sldMkLst>
      </pc:sldChg>
      <pc:sldChg chg="modNotesTx">
        <pc:chgData name="Adwait Aralkar" userId="ae1719c1-ed02-42aa-a1d9-0d6e6247f692" providerId="ADAL" clId="{3F587D8B-EC67-422E-A694-1F3A026A2B27}" dt="2025-01-21T08:42:45.370" v="5414" actId="20577"/>
        <pc:sldMkLst>
          <pc:docMk/>
          <pc:sldMk cId="2608621991" sldId="295"/>
        </pc:sldMkLst>
      </pc:sldChg>
      <pc:sldChg chg="addSp delSp modSp add mod">
        <pc:chgData name="Adwait Aralkar" userId="ae1719c1-ed02-42aa-a1d9-0d6e6247f692" providerId="ADAL" clId="{3F587D8B-EC67-422E-A694-1F3A026A2B27}" dt="2025-01-16T05:13:32.187" v="4808" actId="14100"/>
        <pc:sldMkLst>
          <pc:docMk/>
          <pc:sldMk cId="1072605819" sldId="296"/>
        </pc:sldMkLst>
      </pc:sldChg>
      <pc:sldChg chg="add del">
        <pc:chgData name="Adwait Aralkar" userId="ae1719c1-ed02-42aa-a1d9-0d6e6247f692" providerId="ADAL" clId="{3F587D8B-EC67-422E-A694-1F3A026A2B27}" dt="2025-01-16T05:20:21.319" v="4811" actId="47"/>
        <pc:sldMkLst>
          <pc:docMk/>
          <pc:sldMk cId="1463703483" sldId="297"/>
        </pc:sldMkLst>
      </pc:sldChg>
      <pc:sldChg chg="del">
        <pc:chgData name="Adwait Aralkar" userId="ae1719c1-ed02-42aa-a1d9-0d6e6247f692" providerId="ADAL" clId="{3F587D8B-EC67-422E-A694-1F3A026A2B27}" dt="2025-01-16T04:59:47.923" v="4780" actId="2696"/>
        <pc:sldMkLst>
          <pc:docMk/>
          <pc:sldMk cId="2542136055" sldId="297"/>
        </pc:sldMkLst>
      </pc:sldChg>
      <pc:sldChg chg="modSp">
        <pc:chgData name="Adwait Aralkar" userId="ae1719c1-ed02-42aa-a1d9-0d6e6247f692" providerId="ADAL" clId="{3F587D8B-EC67-422E-A694-1F3A026A2B27}" dt="2025-01-09T12:08:41.377" v="476"/>
        <pc:sldMkLst>
          <pc:docMk/>
          <pc:sldMk cId="1072385754" sldId="304"/>
        </pc:sldMkLst>
      </pc:sldChg>
      <pc:sldChg chg="modSp mod">
        <pc:chgData name="Adwait Aralkar" userId="ae1719c1-ed02-42aa-a1d9-0d6e6247f692" providerId="ADAL" clId="{3F587D8B-EC67-422E-A694-1F3A026A2B27}" dt="2025-01-09T12:09:09.637" v="477" actId="1076"/>
        <pc:sldMkLst>
          <pc:docMk/>
          <pc:sldMk cId="918775834" sldId="328"/>
        </pc:sldMkLst>
      </pc:sldChg>
      <pc:sldChg chg="del">
        <pc:chgData name="Adwait Aralkar" userId="ae1719c1-ed02-42aa-a1d9-0d6e6247f692" providerId="ADAL" clId="{3F587D8B-EC67-422E-A694-1F3A026A2B27}" dt="2025-01-09T10:03:49.717" v="322" actId="47"/>
        <pc:sldMkLst>
          <pc:docMk/>
          <pc:sldMk cId="3924513501" sldId="1977"/>
        </pc:sldMkLst>
      </pc:sldChg>
      <pc:sldChg chg="addSp modSp mod">
        <pc:chgData name="Adwait Aralkar" userId="ae1719c1-ed02-42aa-a1d9-0d6e6247f692" providerId="ADAL" clId="{3F587D8B-EC67-422E-A694-1F3A026A2B27}" dt="2025-01-10T13:14:35.355" v="1509" actId="1076"/>
        <pc:sldMkLst>
          <pc:docMk/>
          <pc:sldMk cId="3294424843" sldId="2145706196"/>
        </pc:sldMkLst>
      </pc:sldChg>
      <pc:sldChg chg="del">
        <pc:chgData name="Adwait Aralkar" userId="ae1719c1-ed02-42aa-a1d9-0d6e6247f692" providerId="ADAL" clId="{3F587D8B-EC67-422E-A694-1F3A026A2B27}" dt="2025-01-16T05:20:30.410" v="4815" actId="47"/>
        <pc:sldMkLst>
          <pc:docMk/>
          <pc:sldMk cId="3489866631" sldId="2145706196"/>
        </pc:sldMkLst>
      </pc:sldChg>
      <pc:sldChg chg="del">
        <pc:chgData name="Adwait Aralkar" userId="ae1719c1-ed02-42aa-a1d9-0d6e6247f692" providerId="ADAL" clId="{3F587D8B-EC67-422E-A694-1F3A026A2B27}" dt="2025-01-16T05:20:28.824" v="4814" actId="47"/>
        <pc:sldMkLst>
          <pc:docMk/>
          <pc:sldMk cId="3571719282" sldId="2145706205"/>
        </pc:sldMkLst>
      </pc:sldChg>
      <pc:sldChg chg="add del">
        <pc:chgData name="Adwait Aralkar" userId="ae1719c1-ed02-42aa-a1d9-0d6e6247f692" providerId="ADAL" clId="{3F587D8B-EC67-422E-A694-1F3A026A2B27}" dt="2025-01-16T05:20:43.819" v="4822" actId="47"/>
        <pc:sldMkLst>
          <pc:docMk/>
          <pc:sldMk cId="807831938" sldId="2147470479"/>
        </pc:sldMkLst>
      </pc:sldChg>
      <pc:sldChg chg="addSp delSp modSp del mod">
        <pc:chgData name="Adwait Aralkar" userId="ae1719c1-ed02-42aa-a1d9-0d6e6247f692" providerId="ADAL" clId="{3F587D8B-EC67-422E-A694-1F3A026A2B27}" dt="2025-01-13T15:26:48.753" v="3621" actId="2696"/>
        <pc:sldMkLst>
          <pc:docMk/>
          <pc:sldMk cId="861753099" sldId="2147470479"/>
        </pc:sldMkLst>
      </pc:sldChg>
      <pc:sldChg chg="modSp mod">
        <pc:chgData name="Adwait Aralkar" userId="ae1719c1-ed02-42aa-a1d9-0d6e6247f692" providerId="ADAL" clId="{3F587D8B-EC67-422E-A694-1F3A026A2B27}" dt="2025-01-10T12:40:14.289" v="1429" actId="20577"/>
        <pc:sldMkLst>
          <pc:docMk/>
          <pc:sldMk cId="3897421000" sldId="2147479353"/>
        </pc:sldMkLst>
      </pc:sldChg>
      <pc:sldChg chg="add del ord">
        <pc:chgData name="Adwait Aralkar" userId="ae1719c1-ed02-42aa-a1d9-0d6e6247f692" providerId="ADAL" clId="{3F587D8B-EC67-422E-A694-1F3A026A2B27}" dt="2025-01-16T05:05:04.245" v="4785" actId="2696"/>
        <pc:sldMkLst>
          <pc:docMk/>
          <pc:sldMk cId="317449719" sldId="2147480923"/>
        </pc:sldMkLst>
      </pc:sldChg>
      <pc:sldChg chg="add del">
        <pc:chgData name="Adwait Aralkar" userId="ae1719c1-ed02-42aa-a1d9-0d6e6247f692" providerId="ADAL" clId="{3F587D8B-EC67-422E-A694-1F3A026A2B27}" dt="2025-01-13T15:24:19.756" v="3584"/>
        <pc:sldMkLst>
          <pc:docMk/>
          <pc:sldMk cId="492416629" sldId="2147480923"/>
        </pc:sldMkLst>
      </pc:sldChg>
      <pc:sldChg chg="modSp add del mod">
        <pc:chgData name="Adwait Aralkar" userId="ae1719c1-ed02-42aa-a1d9-0d6e6247f692" providerId="ADAL" clId="{3F587D8B-EC67-422E-A694-1F3A026A2B27}" dt="2025-01-13T15:24:10.680" v="3582" actId="2696"/>
        <pc:sldMkLst>
          <pc:docMk/>
          <pc:sldMk cId="1358952509" sldId="2147480923"/>
        </pc:sldMkLst>
      </pc:sldChg>
      <pc:sldChg chg="modSp add del">
        <pc:chgData name="Adwait Aralkar" userId="ae1719c1-ed02-42aa-a1d9-0d6e6247f692" providerId="ADAL" clId="{3F587D8B-EC67-422E-A694-1F3A026A2B27}" dt="2025-01-16T05:20:19.986" v="4810" actId="47"/>
        <pc:sldMkLst>
          <pc:docMk/>
          <pc:sldMk cId="2506042202" sldId="2147480923"/>
        </pc:sldMkLst>
      </pc:sldChg>
      <pc:sldChg chg="add del ord">
        <pc:chgData name="Adwait Aralkar" userId="ae1719c1-ed02-42aa-a1d9-0d6e6247f692" providerId="ADAL" clId="{3F587D8B-EC67-422E-A694-1F3A026A2B27}" dt="2025-01-09T15:21:15.231" v="529"/>
        <pc:sldMkLst>
          <pc:docMk/>
          <pc:sldMk cId="1036954675" sldId="2147482391"/>
        </pc:sldMkLst>
      </pc:sldChg>
      <pc:sldChg chg="addSp modSp mod modShow">
        <pc:chgData name="Adwait Aralkar" userId="ae1719c1-ed02-42aa-a1d9-0d6e6247f692" providerId="ADAL" clId="{3F587D8B-EC67-422E-A694-1F3A026A2B27}" dt="2025-01-13T10:58:47.642" v="2430" actId="729"/>
        <pc:sldMkLst>
          <pc:docMk/>
          <pc:sldMk cId="617956213" sldId="2147482401"/>
        </pc:sldMkLst>
      </pc:sldChg>
      <pc:sldChg chg="addSp modSp">
        <pc:chgData name="Adwait Aralkar" userId="ae1719c1-ed02-42aa-a1d9-0d6e6247f692" providerId="ADAL" clId="{3F587D8B-EC67-422E-A694-1F3A026A2B27}" dt="2025-01-09T12:07:52.501" v="462"/>
        <pc:sldMkLst>
          <pc:docMk/>
          <pc:sldMk cId="3073165865" sldId="2147482814"/>
        </pc:sldMkLst>
      </pc:sldChg>
      <pc:sldChg chg="del">
        <pc:chgData name="Adwait Aralkar" userId="ae1719c1-ed02-42aa-a1d9-0d6e6247f692" providerId="ADAL" clId="{3F587D8B-EC67-422E-A694-1F3A026A2B27}" dt="2025-01-16T05:20:27.709" v="4813" actId="47"/>
        <pc:sldMkLst>
          <pc:docMk/>
          <pc:sldMk cId="1104953748" sldId="2147482956"/>
        </pc:sldMkLst>
      </pc:sldChg>
      <pc:sldChg chg="addSp delSp modSp mod">
        <pc:chgData name="Adwait Aralkar" userId="ae1719c1-ed02-42aa-a1d9-0d6e6247f692" providerId="ADAL" clId="{3F587D8B-EC67-422E-A694-1F3A026A2B27}" dt="2025-01-10T14:41:38.941" v="1526" actId="478"/>
        <pc:sldMkLst>
          <pc:docMk/>
          <pc:sldMk cId="2317324752" sldId="2147482956"/>
        </pc:sldMkLst>
      </pc:sldChg>
      <pc:sldChg chg="addSp modSp mod">
        <pc:chgData name="Adwait Aralkar" userId="ae1719c1-ed02-42aa-a1d9-0d6e6247f692" providerId="ADAL" clId="{3F587D8B-EC67-422E-A694-1F3A026A2B27}" dt="2025-01-09T12:08:11.018" v="467" actId="1076"/>
        <pc:sldMkLst>
          <pc:docMk/>
          <pc:sldMk cId="1142178253" sldId="2147483028"/>
        </pc:sldMkLst>
      </pc:sldChg>
      <pc:sldChg chg="addSp modSp mod">
        <pc:chgData name="Adwait Aralkar" userId="ae1719c1-ed02-42aa-a1d9-0d6e6247f692" providerId="ADAL" clId="{3F587D8B-EC67-422E-A694-1F3A026A2B27}" dt="2025-01-09T12:08:05.347" v="465" actId="1076"/>
        <pc:sldMkLst>
          <pc:docMk/>
          <pc:sldMk cId="1171986220" sldId="2147483044"/>
        </pc:sldMkLst>
      </pc:sldChg>
      <pc:sldChg chg="modSp ord">
        <pc:chgData name="Adwait Aralkar" userId="ae1719c1-ed02-42aa-a1d9-0d6e6247f692" providerId="ADAL" clId="{3F587D8B-EC67-422E-A694-1F3A026A2B27}" dt="2025-01-09T12:08:41.377" v="476"/>
        <pc:sldMkLst>
          <pc:docMk/>
          <pc:sldMk cId="92324418" sldId="2147483141"/>
        </pc:sldMkLst>
      </pc:sldChg>
      <pc:sldChg chg="del">
        <pc:chgData name="Adwait Aralkar" userId="ae1719c1-ed02-42aa-a1d9-0d6e6247f692" providerId="ADAL" clId="{3F587D8B-EC67-422E-A694-1F3A026A2B27}" dt="2025-01-13T15:24:10.680" v="3582" actId="2696"/>
        <pc:sldMkLst>
          <pc:docMk/>
          <pc:sldMk cId="2230225174" sldId="2147483141"/>
        </pc:sldMkLst>
      </pc:sldChg>
      <pc:sldChg chg="add del">
        <pc:chgData name="Adwait Aralkar" userId="ae1719c1-ed02-42aa-a1d9-0d6e6247f692" providerId="ADAL" clId="{3F587D8B-EC67-422E-A694-1F3A026A2B27}" dt="2025-01-13T15:24:19.756" v="3584"/>
        <pc:sldMkLst>
          <pc:docMk/>
          <pc:sldMk cId="3590914703" sldId="2147483141"/>
        </pc:sldMkLst>
      </pc:sldChg>
      <pc:sldChg chg="add del">
        <pc:chgData name="Adwait Aralkar" userId="ae1719c1-ed02-42aa-a1d9-0d6e6247f692" providerId="ADAL" clId="{3F587D8B-EC67-422E-A694-1F3A026A2B27}" dt="2025-01-16T05:20:46.683" v="4823" actId="47"/>
        <pc:sldMkLst>
          <pc:docMk/>
          <pc:sldMk cId="3906247168" sldId="2147483141"/>
        </pc:sldMkLst>
      </pc:sldChg>
      <pc:sldChg chg="modSp mod">
        <pc:chgData name="Adwait Aralkar" userId="ae1719c1-ed02-42aa-a1d9-0d6e6247f692" providerId="ADAL" clId="{3F587D8B-EC67-422E-A694-1F3A026A2B27}" dt="2025-01-09T12:06:48.126" v="444" actId="20577"/>
        <pc:sldMkLst>
          <pc:docMk/>
          <pc:sldMk cId="1757600844" sldId="2147483336"/>
        </pc:sldMkLst>
      </pc:sldChg>
      <pc:sldChg chg="addSp modSp del mod">
        <pc:chgData name="Adwait Aralkar" userId="ae1719c1-ed02-42aa-a1d9-0d6e6247f692" providerId="ADAL" clId="{3F587D8B-EC67-422E-A694-1F3A026A2B27}" dt="2025-01-13T15:02:02.603" v="3525" actId="2696"/>
        <pc:sldMkLst>
          <pc:docMk/>
          <pc:sldMk cId="275797870" sldId="2147483524"/>
        </pc:sldMkLst>
      </pc:sldChg>
      <pc:sldChg chg="add">
        <pc:chgData name="Adwait Aralkar" userId="ae1719c1-ed02-42aa-a1d9-0d6e6247f692" providerId="ADAL" clId="{3F587D8B-EC67-422E-A694-1F3A026A2B27}" dt="2025-01-13T15:02:06.780" v="3526"/>
        <pc:sldMkLst>
          <pc:docMk/>
          <pc:sldMk cId="1145829850" sldId="2147483524"/>
        </pc:sldMkLst>
      </pc:sldChg>
      <pc:sldChg chg="del">
        <pc:chgData name="Adwait Aralkar" userId="ae1719c1-ed02-42aa-a1d9-0d6e6247f692" providerId="ADAL" clId="{3F587D8B-EC67-422E-A694-1F3A026A2B27}" dt="2025-01-06T09:45:16.649" v="1" actId="47"/>
        <pc:sldMkLst>
          <pc:docMk/>
          <pc:sldMk cId="1668061172" sldId="2147483553"/>
        </pc:sldMkLst>
      </pc:sldChg>
      <pc:sldChg chg="modSp">
        <pc:chgData name="Adwait Aralkar" userId="ae1719c1-ed02-42aa-a1d9-0d6e6247f692" providerId="ADAL" clId="{3F587D8B-EC67-422E-A694-1F3A026A2B27}" dt="2025-01-09T12:08:41.377" v="476"/>
        <pc:sldMkLst>
          <pc:docMk/>
          <pc:sldMk cId="2500538524" sldId="2147483564"/>
        </pc:sldMkLst>
      </pc:sldChg>
      <pc:sldChg chg="del">
        <pc:chgData name="Adwait Aralkar" userId="ae1719c1-ed02-42aa-a1d9-0d6e6247f692" providerId="ADAL" clId="{3F587D8B-EC67-422E-A694-1F3A026A2B27}" dt="2025-01-09T10:03:48.568" v="321" actId="47"/>
        <pc:sldMkLst>
          <pc:docMk/>
          <pc:sldMk cId="3012746559" sldId="2147483566"/>
        </pc:sldMkLst>
      </pc:sldChg>
      <pc:sldChg chg="del">
        <pc:chgData name="Adwait Aralkar" userId="ae1719c1-ed02-42aa-a1d9-0d6e6247f692" providerId="ADAL" clId="{3F587D8B-EC67-422E-A694-1F3A026A2B27}" dt="2025-01-09T14:16:40.997" v="496" actId="47"/>
        <pc:sldMkLst>
          <pc:docMk/>
          <pc:sldMk cId="706737378" sldId="2147483567"/>
        </pc:sldMkLst>
      </pc:sldChg>
      <pc:sldChg chg="modSp del mod modShow">
        <pc:chgData name="Adwait Aralkar" userId="ae1719c1-ed02-42aa-a1d9-0d6e6247f692" providerId="ADAL" clId="{3F587D8B-EC67-422E-A694-1F3A026A2B27}" dt="2025-01-13T10:06:29.839" v="2054" actId="2696"/>
        <pc:sldMkLst>
          <pc:docMk/>
          <pc:sldMk cId="653559489" sldId="2147483568"/>
        </pc:sldMkLst>
      </pc:sldChg>
      <pc:sldChg chg="modSp add del">
        <pc:chgData name="Adwait Aralkar" userId="ae1719c1-ed02-42aa-a1d9-0d6e6247f692" providerId="ADAL" clId="{3F587D8B-EC67-422E-A694-1F3A026A2B27}" dt="2025-01-13T14:03:13.922" v="3279" actId="47"/>
        <pc:sldMkLst>
          <pc:docMk/>
          <pc:sldMk cId="1777652912" sldId="2147483568"/>
        </pc:sldMkLst>
      </pc:sldChg>
      <pc:sldChg chg="del">
        <pc:chgData name="Adwait Aralkar" userId="ae1719c1-ed02-42aa-a1d9-0d6e6247f692" providerId="ADAL" clId="{3F587D8B-EC67-422E-A694-1F3A026A2B27}" dt="2025-01-09T10:04:16.338" v="327" actId="47"/>
        <pc:sldMkLst>
          <pc:docMk/>
          <pc:sldMk cId="1781944489" sldId="2147483572"/>
        </pc:sldMkLst>
      </pc:sldChg>
      <pc:sldChg chg="del">
        <pc:chgData name="Adwait Aralkar" userId="ae1719c1-ed02-42aa-a1d9-0d6e6247f692" providerId="ADAL" clId="{3F587D8B-EC67-422E-A694-1F3A026A2B27}" dt="2025-01-09T10:03:19.791" v="315" actId="47"/>
        <pc:sldMkLst>
          <pc:docMk/>
          <pc:sldMk cId="2967717952" sldId="2147483573"/>
        </pc:sldMkLst>
      </pc:sldChg>
      <pc:sldChg chg="del">
        <pc:chgData name="Adwait Aralkar" userId="ae1719c1-ed02-42aa-a1d9-0d6e6247f692" providerId="ADAL" clId="{3F587D8B-EC67-422E-A694-1F3A026A2B27}" dt="2025-01-09T10:03:55.102" v="323" actId="47"/>
        <pc:sldMkLst>
          <pc:docMk/>
          <pc:sldMk cId="3390062601" sldId="2147483580"/>
        </pc:sldMkLst>
      </pc:sldChg>
      <pc:sldChg chg="del">
        <pc:chgData name="Adwait Aralkar" userId="ae1719c1-ed02-42aa-a1d9-0d6e6247f692" providerId="ADAL" clId="{3F587D8B-EC67-422E-A694-1F3A026A2B27}" dt="2025-01-09T10:03:56.021" v="324" actId="47"/>
        <pc:sldMkLst>
          <pc:docMk/>
          <pc:sldMk cId="4073170910" sldId="2147483581"/>
        </pc:sldMkLst>
      </pc:sldChg>
      <pc:sldChg chg="addSp delSp modSp add mod">
        <pc:chgData name="Adwait Aralkar" userId="ae1719c1-ed02-42aa-a1d9-0d6e6247f692" providerId="ADAL" clId="{3F587D8B-EC67-422E-A694-1F3A026A2B27}" dt="2025-01-13T11:00:57.791" v="2431" actId="20577"/>
        <pc:sldMkLst>
          <pc:docMk/>
          <pc:sldMk cId="333910394" sldId="2147483582"/>
        </pc:sldMkLst>
      </pc:sldChg>
      <pc:sldChg chg="modSp del mod">
        <pc:chgData name="Adwait Aralkar" userId="ae1719c1-ed02-42aa-a1d9-0d6e6247f692" providerId="ADAL" clId="{3F587D8B-EC67-422E-A694-1F3A026A2B27}" dt="2025-01-10T12:27:42.552" v="1386" actId="2696"/>
        <pc:sldMkLst>
          <pc:docMk/>
          <pc:sldMk cId="2431735813" sldId="2147483582"/>
        </pc:sldMkLst>
      </pc:sldChg>
      <pc:sldChg chg="del">
        <pc:chgData name="Adwait Aralkar" userId="ae1719c1-ed02-42aa-a1d9-0d6e6247f692" providerId="ADAL" clId="{3F587D8B-EC67-422E-A694-1F3A026A2B27}" dt="2025-01-09T14:16:42.777" v="498" actId="47"/>
        <pc:sldMkLst>
          <pc:docMk/>
          <pc:sldMk cId="1788181987" sldId="2147483583"/>
        </pc:sldMkLst>
      </pc:sldChg>
      <pc:sldChg chg="del">
        <pc:chgData name="Adwait Aralkar" userId="ae1719c1-ed02-42aa-a1d9-0d6e6247f692" providerId="ADAL" clId="{3F587D8B-EC67-422E-A694-1F3A026A2B27}" dt="2025-01-09T10:04:55.225" v="328" actId="47"/>
        <pc:sldMkLst>
          <pc:docMk/>
          <pc:sldMk cId="277753886" sldId="2147483584"/>
        </pc:sldMkLst>
      </pc:sldChg>
      <pc:sldChg chg="del">
        <pc:chgData name="Adwait Aralkar" userId="ae1719c1-ed02-42aa-a1d9-0d6e6247f692" providerId="ADAL" clId="{3F587D8B-EC67-422E-A694-1F3A026A2B27}" dt="2025-01-09T10:04:55.819" v="329" actId="47"/>
        <pc:sldMkLst>
          <pc:docMk/>
          <pc:sldMk cId="2928242548" sldId="2147483585"/>
        </pc:sldMkLst>
      </pc:sldChg>
      <pc:sldChg chg="del">
        <pc:chgData name="Adwait Aralkar" userId="ae1719c1-ed02-42aa-a1d9-0d6e6247f692" providerId="ADAL" clId="{3F587D8B-EC67-422E-A694-1F3A026A2B27}" dt="2025-01-09T14:16:40.447" v="495" actId="47"/>
        <pc:sldMkLst>
          <pc:docMk/>
          <pc:sldMk cId="3781283299" sldId="2147483587"/>
        </pc:sldMkLst>
      </pc:sldChg>
      <pc:sldChg chg="del">
        <pc:chgData name="Adwait Aralkar" userId="ae1719c1-ed02-42aa-a1d9-0d6e6247f692" providerId="ADAL" clId="{3F587D8B-EC67-422E-A694-1F3A026A2B27}" dt="2025-01-09T10:03:47.956" v="320" actId="47"/>
        <pc:sldMkLst>
          <pc:docMk/>
          <pc:sldMk cId="2408801718" sldId="2147483588"/>
        </pc:sldMkLst>
      </pc:sldChg>
      <pc:sldChg chg="modSp del">
        <pc:chgData name="Adwait Aralkar" userId="ae1719c1-ed02-42aa-a1d9-0d6e6247f692" providerId="ADAL" clId="{3F587D8B-EC67-422E-A694-1F3A026A2B27}" dt="2025-01-10T04:47:50.824" v="561" actId="47"/>
        <pc:sldMkLst>
          <pc:docMk/>
          <pc:sldMk cId="2105530410" sldId="2147483619"/>
        </pc:sldMkLst>
      </pc:sldChg>
      <pc:sldChg chg="modSp add del ord">
        <pc:chgData name="Adwait Aralkar" userId="ae1719c1-ed02-42aa-a1d9-0d6e6247f692" providerId="ADAL" clId="{3F587D8B-EC67-422E-A694-1F3A026A2B27}" dt="2025-01-10T12:27:42.552" v="1386" actId="2696"/>
        <pc:sldMkLst>
          <pc:docMk/>
          <pc:sldMk cId="822782236" sldId="2147483621"/>
        </pc:sldMkLst>
      </pc:sldChg>
      <pc:sldChg chg="modSp add del mod">
        <pc:chgData name="Adwait Aralkar" userId="ae1719c1-ed02-42aa-a1d9-0d6e6247f692" providerId="ADAL" clId="{3F587D8B-EC67-422E-A694-1F3A026A2B27}" dt="2025-01-10T12:39:43.634" v="1422" actId="47"/>
        <pc:sldMkLst>
          <pc:docMk/>
          <pc:sldMk cId="2804170345" sldId="2147483621"/>
        </pc:sldMkLst>
      </pc:sldChg>
      <pc:sldChg chg="mod modShow">
        <pc:chgData name="Adwait Aralkar" userId="ae1719c1-ed02-42aa-a1d9-0d6e6247f692" providerId="ADAL" clId="{3F587D8B-EC67-422E-A694-1F3A026A2B27}" dt="2025-01-13T10:16:39.210" v="2059" actId="729"/>
        <pc:sldMkLst>
          <pc:docMk/>
          <pc:sldMk cId="2558245899" sldId="2147483640"/>
        </pc:sldMkLst>
      </pc:sldChg>
      <pc:sldChg chg="delSp modSp mod">
        <pc:chgData name="Adwait Aralkar" userId="ae1719c1-ed02-42aa-a1d9-0d6e6247f692" providerId="ADAL" clId="{3F587D8B-EC67-422E-A694-1F3A026A2B27}" dt="2025-01-09T12:08:41.377" v="476"/>
        <pc:sldMkLst>
          <pc:docMk/>
          <pc:sldMk cId="4007769048" sldId="2147483641"/>
        </pc:sldMkLst>
      </pc:sldChg>
      <pc:sldChg chg="addSp delSp modSp del mod modShow">
        <pc:chgData name="Adwait Aralkar" userId="ae1719c1-ed02-42aa-a1d9-0d6e6247f692" providerId="ADAL" clId="{3F587D8B-EC67-422E-A694-1F3A026A2B27}" dt="2025-01-13T11:12:41.299" v="2638" actId="47"/>
        <pc:sldMkLst>
          <pc:docMk/>
          <pc:sldMk cId="177666625" sldId="2147483642"/>
        </pc:sldMkLst>
      </pc:sldChg>
      <pc:sldChg chg="modSp del">
        <pc:chgData name="Adwait Aralkar" userId="ae1719c1-ed02-42aa-a1d9-0d6e6247f692" providerId="ADAL" clId="{3F587D8B-EC67-422E-A694-1F3A026A2B27}" dt="2025-01-10T09:23:57.445" v="632" actId="47"/>
        <pc:sldMkLst>
          <pc:docMk/>
          <pc:sldMk cId="3023667837" sldId="2147483644"/>
        </pc:sldMkLst>
      </pc:sldChg>
      <pc:sldChg chg="addSp modSp add del mod modShow">
        <pc:chgData name="Adwait Aralkar" userId="ae1719c1-ed02-42aa-a1d9-0d6e6247f692" providerId="ADAL" clId="{3F587D8B-EC67-422E-A694-1F3A026A2B27}" dt="2025-01-13T14:01:13.898" v="3274" actId="47"/>
        <pc:sldMkLst>
          <pc:docMk/>
          <pc:sldMk cId="3603046698" sldId="2147483644"/>
        </pc:sldMkLst>
      </pc:sldChg>
      <pc:sldChg chg="modSp del">
        <pc:chgData name="Adwait Aralkar" userId="ae1719c1-ed02-42aa-a1d9-0d6e6247f692" providerId="ADAL" clId="{3F587D8B-EC67-422E-A694-1F3A026A2B27}" dt="2025-01-10T09:23:56.323" v="631" actId="47"/>
        <pc:sldMkLst>
          <pc:docMk/>
          <pc:sldMk cId="3041903221" sldId="2147483645"/>
        </pc:sldMkLst>
      </pc:sldChg>
      <pc:sldChg chg="addSp modSp del mod modShow">
        <pc:chgData name="Adwait Aralkar" userId="ae1719c1-ed02-42aa-a1d9-0d6e6247f692" providerId="ADAL" clId="{3F587D8B-EC67-422E-A694-1F3A026A2B27}" dt="2025-01-15T10:01:06.178" v="4061" actId="2696"/>
        <pc:sldMkLst>
          <pc:docMk/>
          <pc:sldMk cId="488370155" sldId="2147483646"/>
        </pc:sldMkLst>
      </pc:sldChg>
      <pc:sldChg chg="modSp del mod">
        <pc:chgData name="Adwait Aralkar" userId="ae1719c1-ed02-42aa-a1d9-0d6e6247f692" providerId="ADAL" clId="{3F587D8B-EC67-422E-A694-1F3A026A2B27}" dt="2025-01-10T09:23:54.558" v="629" actId="47"/>
        <pc:sldMkLst>
          <pc:docMk/>
          <pc:sldMk cId="725899358" sldId="2147483646"/>
        </pc:sldMkLst>
      </pc:sldChg>
      <pc:sldChg chg="add del">
        <pc:chgData name="Adwait Aralkar" userId="ae1719c1-ed02-42aa-a1d9-0d6e6247f692" providerId="ADAL" clId="{3F587D8B-EC67-422E-A694-1F3A026A2B27}" dt="2025-01-16T05:20:40.651" v="4820" actId="47"/>
        <pc:sldMkLst>
          <pc:docMk/>
          <pc:sldMk cId="2279920668" sldId="2147483646"/>
        </pc:sldMkLst>
      </pc:sldChg>
      <pc:sldChg chg="modSp add del mod">
        <pc:chgData name="Adwait Aralkar" userId="ae1719c1-ed02-42aa-a1d9-0d6e6247f692" providerId="ADAL" clId="{3F587D8B-EC67-422E-A694-1F3A026A2B27}" dt="2025-01-09T10:03:23.121" v="316" actId="2696"/>
        <pc:sldMkLst>
          <pc:docMk/>
          <pc:sldMk cId="357299829" sldId="2147483647"/>
        </pc:sldMkLst>
      </pc:sldChg>
      <pc:sldChg chg="add del">
        <pc:chgData name="Adwait Aralkar" userId="ae1719c1-ed02-42aa-a1d9-0d6e6247f692" providerId="ADAL" clId="{3F587D8B-EC67-422E-A694-1F3A026A2B27}" dt="2025-01-09T10:03:36.420" v="318"/>
        <pc:sldMkLst>
          <pc:docMk/>
          <pc:sldMk cId="383082431" sldId="2147483647"/>
        </pc:sldMkLst>
      </pc:sldChg>
      <pc:sldChg chg="add del">
        <pc:chgData name="Adwait Aralkar" userId="ae1719c1-ed02-42aa-a1d9-0d6e6247f692" providerId="ADAL" clId="{3F587D8B-EC67-422E-A694-1F3A026A2B27}" dt="2025-01-09T09:45:59.227" v="283" actId="47"/>
        <pc:sldMkLst>
          <pc:docMk/>
          <pc:sldMk cId="1487820150" sldId="2147483647"/>
        </pc:sldMkLst>
      </pc:sldChg>
      <pc:sldChg chg="add del">
        <pc:chgData name="Adwait Aralkar" userId="ae1719c1-ed02-42aa-a1d9-0d6e6247f692" providerId="ADAL" clId="{3F587D8B-EC67-422E-A694-1F3A026A2B27}" dt="2025-01-10T13:00:03.159" v="1471" actId="47"/>
        <pc:sldMkLst>
          <pc:docMk/>
          <pc:sldMk cId="2458789922" sldId="2147483647"/>
        </pc:sldMkLst>
      </pc:sldChg>
      <pc:sldChg chg="del">
        <pc:chgData name="Adwait Aralkar" userId="ae1719c1-ed02-42aa-a1d9-0d6e6247f692" providerId="ADAL" clId="{3F587D8B-EC67-422E-A694-1F3A026A2B27}" dt="2025-01-09T09:45:45.918" v="281" actId="2696"/>
        <pc:sldMkLst>
          <pc:docMk/>
          <pc:sldMk cId="4070920180" sldId="2147483647"/>
        </pc:sldMkLst>
      </pc:sldChg>
      <pc:sldMasterChg chg="modSldLayout">
        <pc:chgData name="Adwait Aralkar" userId="ae1719c1-ed02-42aa-a1d9-0d6e6247f692" providerId="ADAL" clId="{3F587D8B-EC67-422E-A694-1F3A026A2B27}" dt="2025-01-09T12:08:41.377" v="476"/>
        <pc:sldMasterMkLst>
          <pc:docMk/>
          <pc:sldMasterMk cId="1697870870" sldId="2147483672"/>
        </pc:sldMasterMkLst>
        <pc:sldLayoutChg chg="modSp">
          <pc:chgData name="Adwait Aralkar" userId="ae1719c1-ed02-42aa-a1d9-0d6e6247f692" providerId="ADAL" clId="{3F587D8B-EC67-422E-A694-1F3A026A2B27}" dt="2025-01-09T12:08:41.377" v="476"/>
          <pc:sldLayoutMkLst>
            <pc:docMk/>
            <pc:sldMasterMk cId="1697870870" sldId="2147483672"/>
            <pc:sldLayoutMk cId="2332178150" sldId="2147483684"/>
          </pc:sldLayoutMkLst>
        </pc:sldLayoutChg>
      </pc:sldMasterChg>
      <pc:sldMasterChg chg="modSp del delSldLayout modSldLayout">
        <pc:chgData name="Adwait Aralkar" userId="ae1719c1-ed02-42aa-a1d9-0d6e6247f692" providerId="ADAL" clId="{3F587D8B-EC67-422E-A694-1F3A026A2B27}" dt="2025-01-16T05:20:43.819" v="4822" actId="47"/>
        <pc:sldMasterMkLst>
          <pc:docMk/>
          <pc:sldMasterMk cId="185478801" sldId="2147483685"/>
        </pc:sldMasterMkLst>
        <pc:sldLayoutChg chg="modSp del">
          <pc:chgData name="Adwait Aralkar" userId="ae1719c1-ed02-42aa-a1d9-0d6e6247f692" providerId="ADAL" clId="{3F587D8B-EC67-422E-A694-1F3A026A2B27}" dt="2025-01-16T05:20:43.819" v="4822" actId="47"/>
          <pc:sldLayoutMkLst>
            <pc:docMk/>
            <pc:sldMasterMk cId="185478801" sldId="2147483685"/>
            <pc:sldLayoutMk cId="2078532938" sldId="2147483686"/>
          </pc:sldLayoutMkLst>
        </pc:sldLayoutChg>
        <pc:sldLayoutChg chg="modSp del">
          <pc:chgData name="Adwait Aralkar" userId="ae1719c1-ed02-42aa-a1d9-0d6e6247f692" providerId="ADAL" clId="{3F587D8B-EC67-422E-A694-1F3A026A2B27}" dt="2025-01-16T05:20:43.819" v="4822" actId="47"/>
          <pc:sldLayoutMkLst>
            <pc:docMk/>
            <pc:sldMasterMk cId="185478801" sldId="2147483685"/>
            <pc:sldLayoutMk cId="246977955" sldId="2147483687"/>
          </pc:sldLayoutMkLst>
        </pc:sldLayoutChg>
        <pc:sldLayoutChg chg="modSp del">
          <pc:chgData name="Adwait Aralkar" userId="ae1719c1-ed02-42aa-a1d9-0d6e6247f692" providerId="ADAL" clId="{3F587D8B-EC67-422E-A694-1F3A026A2B27}" dt="2025-01-16T05:20:43.819" v="4822" actId="47"/>
          <pc:sldLayoutMkLst>
            <pc:docMk/>
            <pc:sldMasterMk cId="185478801" sldId="2147483685"/>
            <pc:sldLayoutMk cId="3343900415" sldId="2147483688"/>
          </pc:sldLayoutMkLst>
        </pc:sldLayoutChg>
        <pc:sldLayoutChg chg="modSp del">
          <pc:chgData name="Adwait Aralkar" userId="ae1719c1-ed02-42aa-a1d9-0d6e6247f692" providerId="ADAL" clId="{3F587D8B-EC67-422E-A694-1F3A026A2B27}" dt="2025-01-16T05:20:43.819" v="4822" actId="47"/>
          <pc:sldLayoutMkLst>
            <pc:docMk/>
            <pc:sldMasterMk cId="185478801" sldId="2147483685"/>
            <pc:sldLayoutMk cId="1608259422" sldId="2147483689"/>
          </pc:sldLayoutMkLst>
        </pc:sldLayoutChg>
        <pc:sldLayoutChg chg="modSp del">
          <pc:chgData name="Adwait Aralkar" userId="ae1719c1-ed02-42aa-a1d9-0d6e6247f692" providerId="ADAL" clId="{3F587D8B-EC67-422E-A694-1F3A026A2B27}" dt="2025-01-16T05:20:43.819" v="4822" actId="47"/>
          <pc:sldLayoutMkLst>
            <pc:docMk/>
            <pc:sldMasterMk cId="185478801" sldId="2147483685"/>
            <pc:sldLayoutMk cId="2530441155" sldId="2147483690"/>
          </pc:sldLayoutMkLst>
        </pc:sldLayoutChg>
        <pc:sldLayoutChg chg="modSp del">
          <pc:chgData name="Adwait Aralkar" userId="ae1719c1-ed02-42aa-a1d9-0d6e6247f692" providerId="ADAL" clId="{3F587D8B-EC67-422E-A694-1F3A026A2B27}" dt="2025-01-16T05:20:43.819" v="4822" actId="47"/>
          <pc:sldLayoutMkLst>
            <pc:docMk/>
            <pc:sldMasterMk cId="185478801" sldId="2147483685"/>
            <pc:sldLayoutMk cId="2657620030" sldId="2147483691"/>
          </pc:sldLayoutMkLst>
        </pc:sldLayoutChg>
        <pc:sldLayoutChg chg="del">
          <pc:chgData name="Adwait Aralkar" userId="ae1719c1-ed02-42aa-a1d9-0d6e6247f692" providerId="ADAL" clId="{3F587D8B-EC67-422E-A694-1F3A026A2B27}" dt="2025-01-16T05:20:43.819" v="4822" actId="47"/>
          <pc:sldLayoutMkLst>
            <pc:docMk/>
            <pc:sldMasterMk cId="185478801" sldId="2147483685"/>
            <pc:sldLayoutMk cId="697906304" sldId="2147483692"/>
          </pc:sldLayoutMkLst>
        </pc:sldLayoutChg>
        <pc:sldLayoutChg chg="del">
          <pc:chgData name="Adwait Aralkar" userId="ae1719c1-ed02-42aa-a1d9-0d6e6247f692" providerId="ADAL" clId="{3F587D8B-EC67-422E-A694-1F3A026A2B27}" dt="2025-01-16T05:20:43.819" v="4822" actId="47"/>
          <pc:sldLayoutMkLst>
            <pc:docMk/>
            <pc:sldMasterMk cId="185478801" sldId="2147483685"/>
            <pc:sldLayoutMk cId="1958236122" sldId="2147483693"/>
          </pc:sldLayoutMkLst>
        </pc:sldLayoutChg>
        <pc:sldLayoutChg chg="del">
          <pc:chgData name="Adwait Aralkar" userId="ae1719c1-ed02-42aa-a1d9-0d6e6247f692" providerId="ADAL" clId="{3F587D8B-EC67-422E-A694-1F3A026A2B27}" dt="2025-01-16T05:20:43.819" v="4822" actId="47"/>
          <pc:sldLayoutMkLst>
            <pc:docMk/>
            <pc:sldMasterMk cId="185478801" sldId="2147483685"/>
            <pc:sldLayoutMk cId="3389586281" sldId="2147483694"/>
          </pc:sldLayoutMkLst>
        </pc:sldLayoutChg>
        <pc:sldLayoutChg chg="del">
          <pc:chgData name="Adwait Aralkar" userId="ae1719c1-ed02-42aa-a1d9-0d6e6247f692" providerId="ADAL" clId="{3F587D8B-EC67-422E-A694-1F3A026A2B27}" dt="2025-01-16T05:20:43.819" v="4822" actId="47"/>
          <pc:sldLayoutMkLst>
            <pc:docMk/>
            <pc:sldMasterMk cId="185478801" sldId="2147483685"/>
            <pc:sldLayoutMk cId="3641299068" sldId="2147483695"/>
          </pc:sldLayoutMkLst>
        </pc:sldLayoutChg>
        <pc:sldLayoutChg chg="del">
          <pc:chgData name="Adwait Aralkar" userId="ae1719c1-ed02-42aa-a1d9-0d6e6247f692" providerId="ADAL" clId="{3F587D8B-EC67-422E-A694-1F3A026A2B27}" dt="2025-01-16T05:20:43.819" v="4822" actId="47"/>
          <pc:sldLayoutMkLst>
            <pc:docMk/>
            <pc:sldMasterMk cId="185478801" sldId="2147483685"/>
            <pc:sldLayoutMk cId="1343203456" sldId="2147483696"/>
          </pc:sldLayoutMkLst>
        </pc:sldLayoutChg>
        <pc:sldLayoutChg chg="del">
          <pc:chgData name="Adwait Aralkar" userId="ae1719c1-ed02-42aa-a1d9-0d6e6247f692" providerId="ADAL" clId="{3F587D8B-EC67-422E-A694-1F3A026A2B27}" dt="2025-01-16T05:20:43.819" v="4822" actId="47"/>
          <pc:sldLayoutMkLst>
            <pc:docMk/>
            <pc:sldMasterMk cId="185478801" sldId="2147483685"/>
            <pc:sldLayoutMk cId="1425570691" sldId="2147483697"/>
          </pc:sldLayoutMkLst>
        </pc:sldLayoutChg>
        <pc:sldLayoutChg chg="del">
          <pc:chgData name="Adwait Aralkar" userId="ae1719c1-ed02-42aa-a1d9-0d6e6247f692" providerId="ADAL" clId="{3F587D8B-EC67-422E-A694-1F3A026A2B27}" dt="2025-01-16T05:20:43.819" v="4822" actId="47"/>
          <pc:sldLayoutMkLst>
            <pc:docMk/>
            <pc:sldMasterMk cId="185478801" sldId="2147483685"/>
            <pc:sldLayoutMk cId="3703489696" sldId="2147483698"/>
          </pc:sldLayoutMkLst>
        </pc:sldLayoutChg>
        <pc:sldLayoutChg chg="modSp del">
          <pc:chgData name="Adwait Aralkar" userId="ae1719c1-ed02-42aa-a1d9-0d6e6247f692" providerId="ADAL" clId="{3F587D8B-EC67-422E-A694-1F3A026A2B27}" dt="2025-01-16T05:20:43.819" v="4822" actId="47"/>
          <pc:sldLayoutMkLst>
            <pc:docMk/>
            <pc:sldMasterMk cId="185478801" sldId="2147483685"/>
            <pc:sldLayoutMk cId="2879981204" sldId="2147483699"/>
          </pc:sldLayoutMkLst>
        </pc:sldLayoutChg>
        <pc:sldLayoutChg chg="modSp del">
          <pc:chgData name="Adwait Aralkar" userId="ae1719c1-ed02-42aa-a1d9-0d6e6247f692" providerId="ADAL" clId="{3F587D8B-EC67-422E-A694-1F3A026A2B27}" dt="2025-01-16T05:20:43.819" v="4822" actId="47"/>
          <pc:sldLayoutMkLst>
            <pc:docMk/>
            <pc:sldMasterMk cId="185478801" sldId="2147483685"/>
            <pc:sldLayoutMk cId="3992565405" sldId="2147483700"/>
          </pc:sldLayoutMkLst>
        </pc:sldLayoutChg>
        <pc:sldLayoutChg chg="del">
          <pc:chgData name="Adwait Aralkar" userId="ae1719c1-ed02-42aa-a1d9-0d6e6247f692" providerId="ADAL" clId="{3F587D8B-EC67-422E-A694-1F3A026A2B27}" dt="2025-01-16T05:20:43.819" v="4822" actId="47"/>
          <pc:sldLayoutMkLst>
            <pc:docMk/>
            <pc:sldMasterMk cId="185478801" sldId="2147483685"/>
            <pc:sldLayoutMk cId="2095984494" sldId="2147483701"/>
          </pc:sldLayoutMkLst>
        </pc:sldLayoutChg>
        <pc:sldLayoutChg chg="modSp del">
          <pc:chgData name="Adwait Aralkar" userId="ae1719c1-ed02-42aa-a1d9-0d6e6247f692" providerId="ADAL" clId="{3F587D8B-EC67-422E-A694-1F3A026A2B27}" dt="2025-01-16T05:20:43.819" v="4822" actId="47"/>
          <pc:sldLayoutMkLst>
            <pc:docMk/>
            <pc:sldMasterMk cId="185478801" sldId="2147483685"/>
            <pc:sldLayoutMk cId="1578747010" sldId="2147483702"/>
          </pc:sldLayoutMkLst>
        </pc:sldLayoutChg>
        <pc:sldLayoutChg chg="modSp del">
          <pc:chgData name="Adwait Aralkar" userId="ae1719c1-ed02-42aa-a1d9-0d6e6247f692" providerId="ADAL" clId="{3F587D8B-EC67-422E-A694-1F3A026A2B27}" dt="2025-01-16T05:20:43.819" v="4822" actId="47"/>
          <pc:sldLayoutMkLst>
            <pc:docMk/>
            <pc:sldMasterMk cId="185478801" sldId="2147483685"/>
            <pc:sldLayoutMk cId="2325538098" sldId="2147483703"/>
          </pc:sldLayoutMkLst>
        </pc:sldLayoutChg>
        <pc:sldLayoutChg chg="modSp del">
          <pc:chgData name="Adwait Aralkar" userId="ae1719c1-ed02-42aa-a1d9-0d6e6247f692" providerId="ADAL" clId="{3F587D8B-EC67-422E-A694-1F3A026A2B27}" dt="2025-01-16T05:20:43.819" v="4822" actId="47"/>
          <pc:sldLayoutMkLst>
            <pc:docMk/>
            <pc:sldMasterMk cId="185478801" sldId="2147483685"/>
            <pc:sldLayoutMk cId="1715563396" sldId="2147483704"/>
          </pc:sldLayoutMkLst>
        </pc:sldLayoutChg>
        <pc:sldLayoutChg chg="del">
          <pc:chgData name="Adwait Aralkar" userId="ae1719c1-ed02-42aa-a1d9-0d6e6247f692" providerId="ADAL" clId="{3F587D8B-EC67-422E-A694-1F3A026A2B27}" dt="2025-01-16T05:20:43.819" v="4822" actId="47"/>
          <pc:sldLayoutMkLst>
            <pc:docMk/>
            <pc:sldMasterMk cId="185478801" sldId="2147483685"/>
            <pc:sldLayoutMk cId="3584933067" sldId="2147483705"/>
          </pc:sldLayoutMkLst>
        </pc:sldLayoutChg>
        <pc:sldLayoutChg chg="del">
          <pc:chgData name="Adwait Aralkar" userId="ae1719c1-ed02-42aa-a1d9-0d6e6247f692" providerId="ADAL" clId="{3F587D8B-EC67-422E-A694-1F3A026A2B27}" dt="2025-01-16T05:20:43.819" v="4822" actId="47"/>
          <pc:sldLayoutMkLst>
            <pc:docMk/>
            <pc:sldMasterMk cId="185478801" sldId="2147483685"/>
            <pc:sldLayoutMk cId="2262492966" sldId="2147483706"/>
          </pc:sldLayoutMkLst>
        </pc:sldLayoutChg>
        <pc:sldLayoutChg chg="modSp">
          <pc:chgData name="Adwait Aralkar" userId="ae1719c1-ed02-42aa-a1d9-0d6e6247f692" providerId="ADAL" clId="{3F587D8B-EC67-422E-A694-1F3A026A2B27}" dt="2025-01-09T12:08:41.377" v="476"/>
          <pc:sldLayoutMkLst>
            <pc:docMk/>
            <pc:sldMasterMk cId="185478801" sldId="2147483685"/>
            <pc:sldLayoutMk cId="19327312" sldId="2147483707"/>
          </pc:sldLayoutMkLst>
        </pc:sldLayoutChg>
        <pc:sldLayoutChg chg="modSp del">
          <pc:chgData name="Adwait Aralkar" userId="ae1719c1-ed02-42aa-a1d9-0d6e6247f692" providerId="ADAL" clId="{3F587D8B-EC67-422E-A694-1F3A026A2B27}" dt="2025-01-16T05:20:43.819" v="4822" actId="47"/>
          <pc:sldLayoutMkLst>
            <pc:docMk/>
            <pc:sldMasterMk cId="185478801" sldId="2147483685"/>
            <pc:sldLayoutMk cId="3956226249" sldId="2147483708"/>
          </pc:sldLayoutMkLst>
        </pc:sldLayoutChg>
        <pc:sldLayoutChg chg="modSp del">
          <pc:chgData name="Adwait Aralkar" userId="ae1719c1-ed02-42aa-a1d9-0d6e6247f692" providerId="ADAL" clId="{3F587D8B-EC67-422E-A694-1F3A026A2B27}" dt="2025-01-16T05:20:27.709" v="4813" actId="47"/>
          <pc:sldLayoutMkLst>
            <pc:docMk/>
            <pc:sldMasterMk cId="185478801" sldId="2147483685"/>
            <pc:sldLayoutMk cId="3079314909" sldId="2147483709"/>
          </pc:sldLayoutMkLst>
        </pc:sldLayoutChg>
        <pc:sldLayoutChg chg="del">
          <pc:chgData name="Adwait Aralkar" userId="ae1719c1-ed02-42aa-a1d9-0d6e6247f692" providerId="ADAL" clId="{3F587D8B-EC67-422E-A694-1F3A026A2B27}" dt="2025-01-13T15:24:41.725" v="3595" actId="47"/>
          <pc:sldLayoutMkLst>
            <pc:docMk/>
            <pc:sldMasterMk cId="185478801" sldId="2147483685"/>
            <pc:sldLayoutMk cId="3056536465" sldId="2147484150"/>
          </pc:sldLayoutMkLst>
        </pc:sldLayoutChg>
        <pc:sldLayoutChg chg="del">
          <pc:chgData name="Adwait Aralkar" userId="ae1719c1-ed02-42aa-a1d9-0d6e6247f692" providerId="ADAL" clId="{3F587D8B-EC67-422E-A694-1F3A026A2B27}" dt="2025-01-16T05:20:22.268" v="4812" actId="47"/>
          <pc:sldLayoutMkLst>
            <pc:docMk/>
            <pc:sldMasterMk cId="185478801" sldId="2147483685"/>
            <pc:sldLayoutMk cId="2933991832" sldId="2147484151"/>
          </pc:sldLayoutMkLst>
        </pc:sldLayoutChg>
        <pc:sldLayoutChg chg="del">
          <pc:chgData name="Adwait Aralkar" userId="ae1719c1-ed02-42aa-a1d9-0d6e6247f692" providerId="ADAL" clId="{3F587D8B-EC67-422E-A694-1F3A026A2B27}" dt="2025-01-16T05:20:43.819" v="4822" actId="47"/>
          <pc:sldLayoutMkLst>
            <pc:docMk/>
            <pc:sldMasterMk cId="185478801" sldId="2147483685"/>
            <pc:sldLayoutMk cId="956092806" sldId="2147484152"/>
          </pc:sldLayoutMkLst>
        </pc:sldLayoutChg>
      </pc:sldMasterChg>
      <pc:sldMasterChg chg="modSp modSldLayout">
        <pc:chgData name="Adwait Aralkar" userId="ae1719c1-ed02-42aa-a1d9-0d6e6247f692" providerId="ADAL" clId="{3F587D8B-EC67-422E-A694-1F3A026A2B27}" dt="2025-01-09T12:08:41.377" v="476"/>
        <pc:sldMasterMkLst>
          <pc:docMk/>
          <pc:sldMasterMk cId="629899100" sldId="2147483710"/>
        </pc:sldMasterMkLst>
        <pc:spChg chg="mod">
          <ac:chgData name="Adwait Aralkar" userId="ae1719c1-ed02-42aa-a1d9-0d6e6247f692" providerId="ADAL" clId="{3F587D8B-EC67-422E-A694-1F3A026A2B27}" dt="2025-01-09T12:08:41.377" v="476"/>
          <ac:spMkLst>
            <pc:docMk/>
            <pc:sldMasterMk cId="629899100" sldId="2147483710"/>
            <ac:spMk id="9" creationId="{F0733385-7C9E-5242-9370-380A43759513}"/>
          </ac:spMkLst>
        </pc:spChg>
        <pc:sldLayoutChg chg="modSp">
          <pc:chgData name="Adwait Aralkar" userId="ae1719c1-ed02-42aa-a1d9-0d6e6247f692" providerId="ADAL" clId="{3F587D8B-EC67-422E-A694-1F3A026A2B27}" dt="2025-01-09T12:08:41.377" v="476"/>
          <pc:sldLayoutMkLst>
            <pc:docMk/>
            <pc:sldMasterMk cId="629899100" sldId="2147483710"/>
            <pc:sldLayoutMk cId="874914937" sldId="2147483711"/>
          </pc:sldLayoutMkLst>
        </pc:sldLayoutChg>
        <pc:sldLayoutChg chg="modSp">
          <pc:chgData name="Adwait Aralkar" userId="ae1719c1-ed02-42aa-a1d9-0d6e6247f692" providerId="ADAL" clId="{3F587D8B-EC67-422E-A694-1F3A026A2B27}" dt="2025-01-09T12:08:41.377" v="476"/>
          <pc:sldLayoutMkLst>
            <pc:docMk/>
            <pc:sldMasterMk cId="629899100" sldId="2147483710"/>
            <pc:sldLayoutMk cId="3685166293" sldId="2147483712"/>
          </pc:sldLayoutMkLst>
        </pc:sldLayoutChg>
        <pc:sldLayoutChg chg="modSp">
          <pc:chgData name="Adwait Aralkar" userId="ae1719c1-ed02-42aa-a1d9-0d6e6247f692" providerId="ADAL" clId="{3F587D8B-EC67-422E-A694-1F3A026A2B27}" dt="2025-01-09T12:08:41.377" v="476"/>
          <pc:sldLayoutMkLst>
            <pc:docMk/>
            <pc:sldMasterMk cId="629899100" sldId="2147483710"/>
            <pc:sldLayoutMk cId="1970988977" sldId="2147483713"/>
          </pc:sldLayoutMkLst>
        </pc:sldLayoutChg>
        <pc:sldLayoutChg chg="modSp">
          <pc:chgData name="Adwait Aralkar" userId="ae1719c1-ed02-42aa-a1d9-0d6e6247f692" providerId="ADAL" clId="{3F587D8B-EC67-422E-A694-1F3A026A2B27}" dt="2025-01-09T12:08:41.377" v="476"/>
          <pc:sldLayoutMkLst>
            <pc:docMk/>
            <pc:sldMasterMk cId="629899100" sldId="2147483710"/>
            <pc:sldLayoutMk cId="3619489810" sldId="2147483716"/>
          </pc:sldLayoutMkLst>
        </pc:sldLayoutChg>
        <pc:sldLayoutChg chg="modSp">
          <pc:chgData name="Adwait Aralkar" userId="ae1719c1-ed02-42aa-a1d9-0d6e6247f692" providerId="ADAL" clId="{3F587D8B-EC67-422E-A694-1F3A026A2B27}" dt="2025-01-09T12:08:41.377" v="476"/>
          <pc:sldLayoutMkLst>
            <pc:docMk/>
            <pc:sldMasterMk cId="629899100" sldId="2147483710"/>
            <pc:sldLayoutMk cId="2373574705" sldId="2147483717"/>
          </pc:sldLayoutMkLst>
        </pc:sldLayoutChg>
        <pc:sldLayoutChg chg="modSp">
          <pc:chgData name="Adwait Aralkar" userId="ae1719c1-ed02-42aa-a1d9-0d6e6247f692" providerId="ADAL" clId="{3F587D8B-EC67-422E-A694-1F3A026A2B27}" dt="2025-01-09T12:08:41.377" v="476"/>
          <pc:sldLayoutMkLst>
            <pc:docMk/>
            <pc:sldMasterMk cId="629899100" sldId="2147483710"/>
            <pc:sldLayoutMk cId="2439358859" sldId="2147483718"/>
          </pc:sldLayoutMkLst>
        </pc:sldLayoutChg>
        <pc:sldLayoutChg chg="modSp">
          <pc:chgData name="Adwait Aralkar" userId="ae1719c1-ed02-42aa-a1d9-0d6e6247f692" providerId="ADAL" clId="{3F587D8B-EC67-422E-A694-1F3A026A2B27}" dt="2025-01-09T12:08:41.377" v="476"/>
          <pc:sldLayoutMkLst>
            <pc:docMk/>
            <pc:sldMasterMk cId="629899100" sldId="2147483710"/>
            <pc:sldLayoutMk cId="357722311" sldId="2147483719"/>
          </pc:sldLayoutMkLst>
        </pc:sldLayoutChg>
        <pc:sldLayoutChg chg="modSp">
          <pc:chgData name="Adwait Aralkar" userId="ae1719c1-ed02-42aa-a1d9-0d6e6247f692" providerId="ADAL" clId="{3F587D8B-EC67-422E-A694-1F3A026A2B27}" dt="2025-01-09T12:08:41.377" v="476"/>
          <pc:sldLayoutMkLst>
            <pc:docMk/>
            <pc:sldMasterMk cId="629899100" sldId="2147483710"/>
            <pc:sldLayoutMk cId="1409274960" sldId="2147483720"/>
          </pc:sldLayoutMkLst>
        </pc:sldLayoutChg>
        <pc:sldLayoutChg chg="modSp">
          <pc:chgData name="Adwait Aralkar" userId="ae1719c1-ed02-42aa-a1d9-0d6e6247f692" providerId="ADAL" clId="{3F587D8B-EC67-422E-A694-1F3A026A2B27}" dt="2025-01-09T12:08:41.377" v="476"/>
          <pc:sldLayoutMkLst>
            <pc:docMk/>
            <pc:sldMasterMk cId="629899100" sldId="2147483710"/>
            <pc:sldLayoutMk cId="638600109" sldId="2147483721"/>
          </pc:sldLayoutMkLst>
        </pc:sldLayoutChg>
        <pc:sldLayoutChg chg="modSp">
          <pc:chgData name="Adwait Aralkar" userId="ae1719c1-ed02-42aa-a1d9-0d6e6247f692" providerId="ADAL" clId="{3F587D8B-EC67-422E-A694-1F3A026A2B27}" dt="2025-01-09T12:08:41.377" v="476"/>
          <pc:sldLayoutMkLst>
            <pc:docMk/>
            <pc:sldMasterMk cId="629899100" sldId="2147483710"/>
            <pc:sldLayoutMk cId="1510142049" sldId="2147483722"/>
          </pc:sldLayoutMkLst>
        </pc:sldLayoutChg>
        <pc:sldLayoutChg chg="modSp">
          <pc:chgData name="Adwait Aralkar" userId="ae1719c1-ed02-42aa-a1d9-0d6e6247f692" providerId="ADAL" clId="{3F587D8B-EC67-422E-A694-1F3A026A2B27}" dt="2025-01-09T12:08:41.377" v="476"/>
          <pc:sldLayoutMkLst>
            <pc:docMk/>
            <pc:sldMasterMk cId="629899100" sldId="2147483710"/>
            <pc:sldLayoutMk cId="3919057651" sldId="2147483723"/>
          </pc:sldLayoutMkLst>
        </pc:sldLayoutChg>
        <pc:sldLayoutChg chg="modSp">
          <pc:chgData name="Adwait Aralkar" userId="ae1719c1-ed02-42aa-a1d9-0d6e6247f692" providerId="ADAL" clId="{3F587D8B-EC67-422E-A694-1F3A026A2B27}" dt="2025-01-09T12:08:41.377" v="476"/>
          <pc:sldLayoutMkLst>
            <pc:docMk/>
            <pc:sldMasterMk cId="629899100" sldId="2147483710"/>
            <pc:sldLayoutMk cId="3308134670" sldId="2147483724"/>
          </pc:sldLayoutMkLst>
        </pc:sldLayoutChg>
        <pc:sldLayoutChg chg="modSp">
          <pc:chgData name="Adwait Aralkar" userId="ae1719c1-ed02-42aa-a1d9-0d6e6247f692" providerId="ADAL" clId="{3F587D8B-EC67-422E-A694-1F3A026A2B27}" dt="2025-01-09T12:08:41.377" v="476"/>
          <pc:sldLayoutMkLst>
            <pc:docMk/>
            <pc:sldMasterMk cId="629899100" sldId="2147483710"/>
            <pc:sldLayoutMk cId="700740595" sldId="2147483725"/>
          </pc:sldLayoutMkLst>
        </pc:sldLayoutChg>
      </pc:sldMasterChg>
      <pc:sldMasterChg chg="modSp delSldLayout modSldLayout">
        <pc:chgData name="Adwait Aralkar" userId="ae1719c1-ed02-42aa-a1d9-0d6e6247f692" providerId="ADAL" clId="{3F587D8B-EC67-422E-A694-1F3A026A2B27}" dt="2025-01-13T15:24:10.680" v="3582" actId="2696"/>
        <pc:sldMasterMkLst>
          <pc:docMk/>
          <pc:sldMasterMk cId="3612118310" sldId="2147483726"/>
        </pc:sldMasterMkLst>
        <pc:sldLayoutChg chg="modSp">
          <pc:chgData name="Adwait Aralkar" userId="ae1719c1-ed02-42aa-a1d9-0d6e6247f692" providerId="ADAL" clId="{3F587D8B-EC67-422E-A694-1F3A026A2B27}" dt="2025-01-09T12:08:41.377" v="476"/>
          <pc:sldLayoutMkLst>
            <pc:docMk/>
            <pc:sldMasterMk cId="3612118310" sldId="2147483726"/>
            <pc:sldLayoutMk cId="280380210" sldId="2147483727"/>
          </pc:sldLayoutMkLst>
        </pc:sldLayoutChg>
        <pc:sldLayoutChg chg="modSp">
          <pc:chgData name="Adwait Aralkar" userId="ae1719c1-ed02-42aa-a1d9-0d6e6247f692" providerId="ADAL" clId="{3F587D8B-EC67-422E-A694-1F3A026A2B27}" dt="2025-01-09T12:08:41.377" v="476"/>
          <pc:sldLayoutMkLst>
            <pc:docMk/>
            <pc:sldMasterMk cId="3612118310" sldId="2147483726"/>
            <pc:sldLayoutMk cId="1361327720" sldId="2147483728"/>
          </pc:sldLayoutMkLst>
        </pc:sldLayoutChg>
        <pc:sldLayoutChg chg="modSp">
          <pc:chgData name="Adwait Aralkar" userId="ae1719c1-ed02-42aa-a1d9-0d6e6247f692" providerId="ADAL" clId="{3F587D8B-EC67-422E-A694-1F3A026A2B27}" dt="2025-01-09T12:08:41.377" v="476"/>
          <pc:sldLayoutMkLst>
            <pc:docMk/>
            <pc:sldMasterMk cId="3612118310" sldId="2147483726"/>
            <pc:sldLayoutMk cId="2921093642" sldId="2147483729"/>
          </pc:sldLayoutMkLst>
        </pc:sldLayoutChg>
        <pc:sldLayoutChg chg="modSp">
          <pc:chgData name="Adwait Aralkar" userId="ae1719c1-ed02-42aa-a1d9-0d6e6247f692" providerId="ADAL" clId="{3F587D8B-EC67-422E-A694-1F3A026A2B27}" dt="2025-01-09T12:08:41.377" v="476"/>
          <pc:sldLayoutMkLst>
            <pc:docMk/>
            <pc:sldMasterMk cId="3612118310" sldId="2147483726"/>
            <pc:sldLayoutMk cId="149765282" sldId="2147483730"/>
          </pc:sldLayoutMkLst>
        </pc:sldLayoutChg>
        <pc:sldLayoutChg chg="modSp">
          <pc:chgData name="Adwait Aralkar" userId="ae1719c1-ed02-42aa-a1d9-0d6e6247f692" providerId="ADAL" clId="{3F587D8B-EC67-422E-A694-1F3A026A2B27}" dt="2025-01-09T12:08:41.377" v="476"/>
          <pc:sldLayoutMkLst>
            <pc:docMk/>
            <pc:sldMasterMk cId="3612118310" sldId="2147483726"/>
            <pc:sldLayoutMk cId="1255139574" sldId="2147483731"/>
          </pc:sldLayoutMkLst>
        </pc:sldLayoutChg>
        <pc:sldLayoutChg chg="modSp">
          <pc:chgData name="Adwait Aralkar" userId="ae1719c1-ed02-42aa-a1d9-0d6e6247f692" providerId="ADAL" clId="{3F587D8B-EC67-422E-A694-1F3A026A2B27}" dt="2025-01-09T12:08:41.377" v="476"/>
          <pc:sldLayoutMkLst>
            <pc:docMk/>
            <pc:sldMasterMk cId="3612118310" sldId="2147483726"/>
            <pc:sldLayoutMk cId="3335259164" sldId="2147483732"/>
          </pc:sldLayoutMkLst>
        </pc:sldLayoutChg>
        <pc:sldLayoutChg chg="modSp">
          <pc:chgData name="Adwait Aralkar" userId="ae1719c1-ed02-42aa-a1d9-0d6e6247f692" providerId="ADAL" clId="{3F587D8B-EC67-422E-A694-1F3A026A2B27}" dt="2025-01-09T12:08:41.377" v="476"/>
          <pc:sldLayoutMkLst>
            <pc:docMk/>
            <pc:sldMasterMk cId="3612118310" sldId="2147483726"/>
            <pc:sldLayoutMk cId="4249461183" sldId="2147483733"/>
          </pc:sldLayoutMkLst>
        </pc:sldLayoutChg>
        <pc:sldLayoutChg chg="modSp">
          <pc:chgData name="Adwait Aralkar" userId="ae1719c1-ed02-42aa-a1d9-0d6e6247f692" providerId="ADAL" clId="{3F587D8B-EC67-422E-A694-1F3A026A2B27}" dt="2025-01-09T12:08:41.377" v="476"/>
          <pc:sldLayoutMkLst>
            <pc:docMk/>
            <pc:sldMasterMk cId="3612118310" sldId="2147483726"/>
            <pc:sldLayoutMk cId="2997108528" sldId="2147483734"/>
          </pc:sldLayoutMkLst>
        </pc:sldLayoutChg>
        <pc:sldLayoutChg chg="modSp">
          <pc:chgData name="Adwait Aralkar" userId="ae1719c1-ed02-42aa-a1d9-0d6e6247f692" providerId="ADAL" clId="{3F587D8B-EC67-422E-A694-1F3A026A2B27}" dt="2025-01-09T12:08:41.377" v="476"/>
          <pc:sldLayoutMkLst>
            <pc:docMk/>
            <pc:sldMasterMk cId="3612118310" sldId="2147483726"/>
            <pc:sldLayoutMk cId="1609368168" sldId="2147483735"/>
          </pc:sldLayoutMkLst>
        </pc:sldLayoutChg>
        <pc:sldLayoutChg chg="modSp">
          <pc:chgData name="Adwait Aralkar" userId="ae1719c1-ed02-42aa-a1d9-0d6e6247f692" providerId="ADAL" clId="{3F587D8B-EC67-422E-A694-1F3A026A2B27}" dt="2025-01-09T12:08:41.377" v="476"/>
          <pc:sldLayoutMkLst>
            <pc:docMk/>
            <pc:sldMasterMk cId="3612118310" sldId="2147483726"/>
            <pc:sldLayoutMk cId="2698424810" sldId="2147483736"/>
          </pc:sldLayoutMkLst>
        </pc:sldLayoutChg>
        <pc:sldLayoutChg chg="modSp">
          <pc:chgData name="Adwait Aralkar" userId="ae1719c1-ed02-42aa-a1d9-0d6e6247f692" providerId="ADAL" clId="{3F587D8B-EC67-422E-A694-1F3A026A2B27}" dt="2025-01-09T12:08:41.377" v="476"/>
          <pc:sldLayoutMkLst>
            <pc:docMk/>
            <pc:sldMasterMk cId="3612118310" sldId="2147483726"/>
            <pc:sldLayoutMk cId="2068033365" sldId="2147483737"/>
          </pc:sldLayoutMkLst>
        </pc:sldLayoutChg>
        <pc:sldLayoutChg chg="modSp">
          <pc:chgData name="Adwait Aralkar" userId="ae1719c1-ed02-42aa-a1d9-0d6e6247f692" providerId="ADAL" clId="{3F587D8B-EC67-422E-A694-1F3A026A2B27}" dt="2025-01-09T12:08:41.377" v="476"/>
          <pc:sldLayoutMkLst>
            <pc:docMk/>
            <pc:sldMasterMk cId="3612118310" sldId="2147483726"/>
            <pc:sldLayoutMk cId="3130856111" sldId="2147483738"/>
          </pc:sldLayoutMkLst>
        </pc:sldLayoutChg>
        <pc:sldLayoutChg chg="modSp">
          <pc:chgData name="Adwait Aralkar" userId="ae1719c1-ed02-42aa-a1d9-0d6e6247f692" providerId="ADAL" clId="{3F587D8B-EC67-422E-A694-1F3A026A2B27}" dt="2025-01-09T12:08:41.377" v="476"/>
          <pc:sldLayoutMkLst>
            <pc:docMk/>
            <pc:sldMasterMk cId="3612118310" sldId="2147483726"/>
            <pc:sldLayoutMk cId="2393022590" sldId="2147483739"/>
          </pc:sldLayoutMkLst>
        </pc:sldLayoutChg>
        <pc:sldLayoutChg chg="modSp">
          <pc:chgData name="Adwait Aralkar" userId="ae1719c1-ed02-42aa-a1d9-0d6e6247f692" providerId="ADAL" clId="{3F587D8B-EC67-422E-A694-1F3A026A2B27}" dt="2025-01-09T12:08:41.377" v="476"/>
          <pc:sldLayoutMkLst>
            <pc:docMk/>
            <pc:sldMasterMk cId="3612118310" sldId="2147483726"/>
            <pc:sldLayoutMk cId="58037306" sldId="2147483740"/>
          </pc:sldLayoutMkLst>
        </pc:sldLayoutChg>
        <pc:sldLayoutChg chg="modSp">
          <pc:chgData name="Adwait Aralkar" userId="ae1719c1-ed02-42aa-a1d9-0d6e6247f692" providerId="ADAL" clId="{3F587D8B-EC67-422E-A694-1F3A026A2B27}" dt="2025-01-09T12:08:41.377" v="476"/>
          <pc:sldLayoutMkLst>
            <pc:docMk/>
            <pc:sldMasterMk cId="3612118310" sldId="2147483726"/>
            <pc:sldLayoutMk cId="3784408311" sldId="2147483741"/>
          </pc:sldLayoutMkLst>
        </pc:sldLayoutChg>
        <pc:sldLayoutChg chg="modSp">
          <pc:chgData name="Adwait Aralkar" userId="ae1719c1-ed02-42aa-a1d9-0d6e6247f692" providerId="ADAL" clId="{3F587D8B-EC67-422E-A694-1F3A026A2B27}" dt="2025-01-09T12:08:41.377" v="476"/>
          <pc:sldLayoutMkLst>
            <pc:docMk/>
            <pc:sldMasterMk cId="3612118310" sldId="2147483726"/>
            <pc:sldLayoutMk cId="2883321885" sldId="2147483742"/>
          </pc:sldLayoutMkLst>
        </pc:sldLayoutChg>
        <pc:sldLayoutChg chg="modSp">
          <pc:chgData name="Adwait Aralkar" userId="ae1719c1-ed02-42aa-a1d9-0d6e6247f692" providerId="ADAL" clId="{3F587D8B-EC67-422E-A694-1F3A026A2B27}" dt="2025-01-09T12:08:41.377" v="476"/>
          <pc:sldLayoutMkLst>
            <pc:docMk/>
            <pc:sldMasterMk cId="3612118310" sldId="2147483726"/>
            <pc:sldLayoutMk cId="3083913145" sldId="2147483743"/>
          </pc:sldLayoutMkLst>
        </pc:sldLayoutChg>
        <pc:sldLayoutChg chg="del">
          <pc:chgData name="Adwait Aralkar" userId="ae1719c1-ed02-42aa-a1d9-0d6e6247f692" providerId="ADAL" clId="{3F587D8B-EC67-422E-A694-1F3A026A2B27}" dt="2025-01-13T15:24:10.680" v="3582" actId="2696"/>
          <pc:sldLayoutMkLst>
            <pc:docMk/>
            <pc:sldMasterMk cId="3612118310" sldId="2147483726"/>
            <pc:sldLayoutMk cId="1576092077" sldId="2147483749"/>
          </pc:sldLayoutMkLst>
        </pc:sldLayoutChg>
      </pc:sldMasterChg>
      <pc:sldMasterChg chg="modSp modSldLayout">
        <pc:chgData name="Adwait Aralkar" userId="ae1719c1-ed02-42aa-a1d9-0d6e6247f692" providerId="ADAL" clId="{3F587D8B-EC67-422E-A694-1F3A026A2B27}" dt="2025-01-09T12:08:41.377" v="476"/>
        <pc:sldMasterMkLst>
          <pc:docMk/>
          <pc:sldMasterMk cId="1709187388" sldId="2147483754"/>
        </pc:sldMasterMkLst>
        <pc:spChg chg="mod">
          <ac:chgData name="Adwait Aralkar" userId="ae1719c1-ed02-42aa-a1d9-0d6e6247f692" providerId="ADAL" clId="{3F587D8B-EC67-422E-A694-1F3A026A2B27}" dt="2025-01-09T12:08:41.377" v="476"/>
          <ac:spMkLst>
            <pc:docMk/>
            <pc:sldMasterMk cId="1709187388" sldId="2147483754"/>
            <ac:spMk id="4" creationId="{00000000-0000-0000-0000-000000000000}"/>
          </ac:spMkLst>
        </pc:spChg>
        <pc:spChg chg="mod">
          <ac:chgData name="Adwait Aralkar" userId="ae1719c1-ed02-42aa-a1d9-0d6e6247f692" providerId="ADAL" clId="{3F587D8B-EC67-422E-A694-1F3A026A2B27}" dt="2025-01-09T12:08:41.377" v="476"/>
          <ac:spMkLst>
            <pc:docMk/>
            <pc:sldMasterMk cId="1709187388" sldId="2147483754"/>
            <ac:spMk id="8" creationId="{D9B53F39-AAEF-FC4A-BFE2-B8D83F4AE1EA}"/>
          </ac:spMkLst>
        </pc:spChg>
        <pc:sldLayoutChg chg="modSp">
          <pc:chgData name="Adwait Aralkar" userId="ae1719c1-ed02-42aa-a1d9-0d6e6247f692" providerId="ADAL" clId="{3F587D8B-EC67-422E-A694-1F3A026A2B27}" dt="2025-01-09T12:08:41.377" v="476"/>
          <pc:sldLayoutMkLst>
            <pc:docMk/>
            <pc:sldMasterMk cId="1709187388" sldId="2147483754"/>
            <pc:sldLayoutMk cId="2696553179" sldId="2147483755"/>
          </pc:sldLayoutMkLst>
        </pc:sldLayoutChg>
        <pc:sldLayoutChg chg="modSp">
          <pc:chgData name="Adwait Aralkar" userId="ae1719c1-ed02-42aa-a1d9-0d6e6247f692" providerId="ADAL" clId="{3F587D8B-EC67-422E-A694-1F3A026A2B27}" dt="2025-01-09T12:08:41.377" v="476"/>
          <pc:sldLayoutMkLst>
            <pc:docMk/>
            <pc:sldMasterMk cId="1709187388" sldId="2147483754"/>
            <pc:sldLayoutMk cId="874312986" sldId="2147483756"/>
          </pc:sldLayoutMkLst>
        </pc:sldLayoutChg>
        <pc:sldLayoutChg chg="modSp">
          <pc:chgData name="Adwait Aralkar" userId="ae1719c1-ed02-42aa-a1d9-0d6e6247f692" providerId="ADAL" clId="{3F587D8B-EC67-422E-A694-1F3A026A2B27}" dt="2025-01-09T12:08:41.377" v="476"/>
          <pc:sldLayoutMkLst>
            <pc:docMk/>
            <pc:sldMasterMk cId="1709187388" sldId="2147483754"/>
            <pc:sldLayoutMk cId="608997603" sldId="2147483757"/>
          </pc:sldLayoutMkLst>
        </pc:sldLayoutChg>
        <pc:sldLayoutChg chg="modSp">
          <pc:chgData name="Adwait Aralkar" userId="ae1719c1-ed02-42aa-a1d9-0d6e6247f692" providerId="ADAL" clId="{3F587D8B-EC67-422E-A694-1F3A026A2B27}" dt="2025-01-09T12:08:41.377" v="476"/>
          <pc:sldLayoutMkLst>
            <pc:docMk/>
            <pc:sldMasterMk cId="1709187388" sldId="2147483754"/>
            <pc:sldLayoutMk cId="2277993898" sldId="2147483758"/>
          </pc:sldLayoutMkLst>
        </pc:sldLayoutChg>
        <pc:sldLayoutChg chg="modSp">
          <pc:chgData name="Adwait Aralkar" userId="ae1719c1-ed02-42aa-a1d9-0d6e6247f692" providerId="ADAL" clId="{3F587D8B-EC67-422E-A694-1F3A026A2B27}" dt="2025-01-09T12:08:41.377" v="476"/>
          <pc:sldLayoutMkLst>
            <pc:docMk/>
            <pc:sldMasterMk cId="1709187388" sldId="2147483754"/>
            <pc:sldLayoutMk cId="3416565842" sldId="2147483759"/>
          </pc:sldLayoutMkLst>
        </pc:sldLayoutChg>
        <pc:sldLayoutChg chg="modSp">
          <pc:chgData name="Adwait Aralkar" userId="ae1719c1-ed02-42aa-a1d9-0d6e6247f692" providerId="ADAL" clId="{3F587D8B-EC67-422E-A694-1F3A026A2B27}" dt="2025-01-09T12:08:41.377" v="476"/>
          <pc:sldLayoutMkLst>
            <pc:docMk/>
            <pc:sldMasterMk cId="1709187388" sldId="2147483754"/>
            <pc:sldLayoutMk cId="1103876183" sldId="2147483760"/>
          </pc:sldLayoutMkLst>
        </pc:sldLayoutChg>
        <pc:sldLayoutChg chg="modSp">
          <pc:chgData name="Adwait Aralkar" userId="ae1719c1-ed02-42aa-a1d9-0d6e6247f692" providerId="ADAL" clId="{3F587D8B-EC67-422E-A694-1F3A026A2B27}" dt="2025-01-09T12:08:41.377" v="476"/>
          <pc:sldLayoutMkLst>
            <pc:docMk/>
            <pc:sldMasterMk cId="1709187388" sldId="2147483754"/>
            <pc:sldLayoutMk cId="1246723384" sldId="2147483761"/>
          </pc:sldLayoutMkLst>
        </pc:sldLayoutChg>
        <pc:sldLayoutChg chg="modSp">
          <pc:chgData name="Adwait Aralkar" userId="ae1719c1-ed02-42aa-a1d9-0d6e6247f692" providerId="ADAL" clId="{3F587D8B-EC67-422E-A694-1F3A026A2B27}" dt="2025-01-09T12:08:41.377" v="476"/>
          <pc:sldLayoutMkLst>
            <pc:docMk/>
            <pc:sldMasterMk cId="1709187388" sldId="2147483754"/>
            <pc:sldLayoutMk cId="3026319090" sldId="2147483762"/>
          </pc:sldLayoutMkLst>
        </pc:sldLayoutChg>
        <pc:sldLayoutChg chg="modSp">
          <pc:chgData name="Adwait Aralkar" userId="ae1719c1-ed02-42aa-a1d9-0d6e6247f692" providerId="ADAL" clId="{3F587D8B-EC67-422E-A694-1F3A026A2B27}" dt="2025-01-09T12:08:41.377" v="476"/>
          <pc:sldLayoutMkLst>
            <pc:docMk/>
            <pc:sldMasterMk cId="1709187388" sldId="2147483754"/>
            <pc:sldLayoutMk cId="34473839" sldId="2147483763"/>
          </pc:sldLayoutMkLst>
        </pc:sldLayoutChg>
        <pc:sldLayoutChg chg="modSp">
          <pc:chgData name="Adwait Aralkar" userId="ae1719c1-ed02-42aa-a1d9-0d6e6247f692" providerId="ADAL" clId="{3F587D8B-EC67-422E-A694-1F3A026A2B27}" dt="2025-01-09T12:08:41.377" v="476"/>
          <pc:sldLayoutMkLst>
            <pc:docMk/>
            <pc:sldMasterMk cId="1709187388" sldId="2147483754"/>
            <pc:sldLayoutMk cId="1964160950" sldId="2147483764"/>
          </pc:sldLayoutMkLst>
        </pc:sldLayoutChg>
        <pc:sldLayoutChg chg="modSp">
          <pc:chgData name="Adwait Aralkar" userId="ae1719c1-ed02-42aa-a1d9-0d6e6247f692" providerId="ADAL" clId="{3F587D8B-EC67-422E-A694-1F3A026A2B27}" dt="2025-01-09T12:08:41.377" v="476"/>
          <pc:sldLayoutMkLst>
            <pc:docMk/>
            <pc:sldMasterMk cId="1709187388" sldId="2147483754"/>
            <pc:sldLayoutMk cId="2651654448" sldId="2147483765"/>
          </pc:sldLayoutMkLst>
        </pc:sldLayoutChg>
        <pc:sldLayoutChg chg="modSp">
          <pc:chgData name="Adwait Aralkar" userId="ae1719c1-ed02-42aa-a1d9-0d6e6247f692" providerId="ADAL" clId="{3F587D8B-EC67-422E-A694-1F3A026A2B27}" dt="2025-01-09T12:08:41.377" v="476"/>
          <pc:sldLayoutMkLst>
            <pc:docMk/>
            <pc:sldMasterMk cId="1709187388" sldId="2147483754"/>
            <pc:sldLayoutMk cId="1567107369" sldId="2147483766"/>
          </pc:sldLayoutMkLst>
        </pc:sldLayoutChg>
        <pc:sldLayoutChg chg="modSp">
          <pc:chgData name="Adwait Aralkar" userId="ae1719c1-ed02-42aa-a1d9-0d6e6247f692" providerId="ADAL" clId="{3F587D8B-EC67-422E-A694-1F3A026A2B27}" dt="2025-01-09T12:08:41.377" v="476"/>
          <pc:sldLayoutMkLst>
            <pc:docMk/>
            <pc:sldMasterMk cId="1709187388" sldId="2147483754"/>
            <pc:sldLayoutMk cId="694714554" sldId="2147483767"/>
          </pc:sldLayoutMkLst>
        </pc:sldLayoutChg>
        <pc:sldLayoutChg chg="modSp">
          <pc:chgData name="Adwait Aralkar" userId="ae1719c1-ed02-42aa-a1d9-0d6e6247f692" providerId="ADAL" clId="{3F587D8B-EC67-422E-A694-1F3A026A2B27}" dt="2025-01-09T12:08:41.377" v="476"/>
          <pc:sldLayoutMkLst>
            <pc:docMk/>
            <pc:sldMasterMk cId="1709187388" sldId="2147483754"/>
            <pc:sldLayoutMk cId="102069652" sldId="2147483768"/>
          </pc:sldLayoutMkLst>
        </pc:sldLayoutChg>
        <pc:sldLayoutChg chg="modSp">
          <pc:chgData name="Adwait Aralkar" userId="ae1719c1-ed02-42aa-a1d9-0d6e6247f692" providerId="ADAL" clId="{3F587D8B-EC67-422E-A694-1F3A026A2B27}" dt="2025-01-09T12:08:41.377" v="476"/>
          <pc:sldLayoutMkLst>
            <pc:docMk/>
            <pc:sldMasterMk cId="1709187388" sldId="2147483754"/>
            <pc:sldLayoutMk cId="3303459086" sldId="2147483769"/>
          </pc:sldLayoutMkLst>
        </pc:sldLayoutChg>
        <pc:sldLayoutChg chg="modSp">
          <pc:chgData name="Adwait Aralkar" userId="ae1719c1-ed02-42aa-a1d9-0d6e6247f692" providerId="ADAL" clId="{3F587D8B-EC67-422E-A694-1F3A026A2B27}" dt="2025-01-09T12:08:41.377" v="476"/>
          <pc:sldLayoutMkLst>
            <pc:docMk/>
            <pc:sldMasterMk cId="1709187388" sldId="2147483754"/>
            <pc:sldLayoutMk cId="991107865" sldId="2147483771"/>
          </pc:sldLayoutMkLst>
        </pc:sldLayoutChg>
        <pc:sldLayoutChg chg="modSp">
          <pc:chgData name="Adwait Aralkar" userId="ae1719c1-ed02-42aa-a1d9-0d6e6247f692" providerId="ADAL" clId="{3F587D8B-EC67-422E-A694-1F3A026A2B27}" dt="2025-01-09T12:08:41.377" v="476"/>
          <pc:sldLayoutMkLst>
            <pc:docMk/>
            <pc:sldMasterMk cId="1709187388" sldId="2147483754"/>
            <pc:sldLayoutMk cId="783395927" sldId="2147483772"/>
          </pc:sldLayoutMkLst>
        </pc:sldLayoutChg>
      </pc:sldMasterChg>
      <pc:sldMasterChg chg="del delSldLayout">
        <pc:chgData name="Adwait Aralkar" userId="ae1719c1-ed02-42aa-a1d9-0d6e6247f692" providerId="ADAL" clId="{3F587D8B-EC67-422E-A694-1F3A026A2B27}" dt="2025-01-09T10:05:11.344" v="330" actId="47"/>
        <pc:sldMasterMkLst>
          <pc:docMk/>
          <pc:sldMasterMk cId="2179353300" sldId="2147483801"/>
        </pc:sldMasterMkLst>
        <pc:sldLayoutChg chg="del">
          <pc:chgData name="Adwait Aralkar" userId="ae1719c1-ed02-42aa-a1d9-0d6e6247f692" providerId="ADAL" clId="{3F587D8B-EC67-422E-A694-1F3A026A2B27}" dt="2025-01-09T10:05:11.344" v="330" actId="47"/>
          <pc:sldLayoutMkLst>
            <pc:docMk/>
            <pc:sldMasterMk cId="2179353300" sldId="2147483801"/>
            <pc:sldLayoutMk cId="3967619506" sldId="2147483802"/>
          </pc:sldLayoutMkLst>
        </pc:sldLayoutChg>
        <pc:sldLayoutChg chg="del">
          <pc:chgData name="Adwait Aralkar" userId="ae1719c1-ed02-42aa-a1d9-0d6e6247f692" providerId="ADAL" clId="{3F587D8B-EC67-422E-A694-1F3A026A2B27}" dt="2025-01-09T10:05:11.344" v="330" actId="47"/>
          <pc:sldLayoutMkLst>
            <pc:docMk/>
            <pc:sldMasterMk cId="2179353300" sldId="2147483801"/>
            <pc:sldLayoutMk cId="977865839" sldId="2147483803"/>
          </pc:sldLayoutMkLst>
        </pc:sldLayoutChg>
        <pc:sldLayoutChg chg="del">
          <pc:chgData name="Adwait Aralkar" userId="ae1719c1-ed02-42aa-a1d9-0d6e6247f692" providerId="ADAL" clId="{3F587D8B-EC67-422E-A694-1F3A026A2B27}" dt="2025-01-09T10:05:11.344" v="330" actId="47"/>
          <pc:sldLayoutMkLst>
            <pc:docMk/>
            <pc:sldMasterMk cId="2179353300" sldId="2147483801"/>
            <pc:sldLayoutMk cId="1002664716" sldId="2147483804"/>
          </pc:sldLayoutMkLst>
        </pc:sldLayoutChg>
        <pc:sldLayoutChg chg="del">
          <pc:chgData name="Adwait Aralkar" userId="ae1719c1-ed02-42aa-a1d9-0d6e6247f692" providerId="ADAL" clId="{3F587D8B-EC67-422E-A694-1F3A026A2B27}" dt="2025-01-09T10:05:11.344" v="330" actId="47"/>
          <pc:sldLayoutMkLst>
            <pc:docMk/>
            <pc:sldMasterMk cId="2179353300" sldId="2147483801"/>
            <pc:sldLayoutMk cId="2250674555" sldId="2147483805"/>
          </pc:sldLayoutMkLst>
        </pc:sldLayoutChg>
        <pc:sldLayoutChg chg="del">
          <pc:chgData name="Adwait Aralkar" userId="ae1719c1-ed02-42aa-a1d9-0d6e6247f692" providerId="ADAL" clId="{3F587D8B-EC67-422E-A694-1F3A026A2B27}" dt="2025-01-09T10:05:11.344" v="330" actId="47"/>
          <pc:sldLayoutMkLst>
            <pc:docMk/>
            <pc:sldMasterMk cId="2179353300" sldId="2147483801"/>
            <pc:sldLayoutMk cId="1561091364" sldId="2147483806"/>
          </pc:sldLayoutMkLst>
        </pc:sldLayoutChg>
        <pc:sldLayoutChg chg="del">
          <pc:chgData name="Adwait Aralkar" userId="ae1719c1-ed02-42aa-a1d9-0d6e6247f692" providerId="ADAL" clId="{3F587D8B-EC67-422E-A694-1F3A026A2B27}" dt="2025-01-09T10:05:11.344" v="330" actId="47"/>
          <pc:sldLayoutMkLst>
            <pc:docMk/>
            <pc:sldMasterMk cId="2179353300" sldId="2147483801"/>
            <pc:sldLayoutMk cId="2011397678" sldId="2147483807"/>
          </pc:sldLayoutMkLst>
        </pc:sldLayoutChg>
        <pc:sldLayoutChg chg="del">
          <pc:chgData name="Adwait Aralkar" userId="ae1719c1-ed02-42aa-a1d9-0d6e6247f692" providerId="ADAL" clId="{3F587D8B-EC67-422E-A694-1F3A026A2B27}" dt="2025-01-09T10:05:11.344" v="330" actId="47"/>
          <pc:sldLayoutMkLst>
            <pc:docMk/>
            <pc:sldMasterMk cId="2179353300" sldId="2147483801"/>
            <pc:sldLayoutMk cId="4219577496" sldId="2147483808"/>
          </pc:sldLayoutMkLst>
        </pc:sldLayoutChg>
        <pc:sldLayoutChg chg="del">
          <pc:chgData name="Adwait Aralkar" userId="ae1719c1-ed02-42aa-a1d9-0d6e6247f692" providerId="ADAL" clId="{3F587D8B-EC67-422E-A694-1F3A026A2B27}" dt="2025-01-09T10:05:11.344" v="330" actId="47"/>
          <pc:sldLayoutMkLst>
            <pc:docMk/>
            <pc:sldMasterMk cId="2179353300" sldId="2147483801"/>
            <pc:sldLayoutMk cId="1937433603" sldId="2147483809"/>
          </pc:sldLayoutMkLst>
        </pc:sldLayoutChg>
        <pc:sldLayoutChg chg="del">
          <pc:chgData name="Adwait Aralkar" userId="ae1719c1-ed02-42aa-a1d9-0d6e6247f692" providerId="ADAL" clId="{3F587D8B-EC67-422E-A694-1F3A026A2B27}" dt="2025-01-09T10:05:11.344" v="330" actId="47"/>
          <pc:sldLayoutMkLst>
            <pc:docMk/>
            <pc:sldMasterMk cId="2179353300" sldId="2147483801"/>
            <pc:sldLayoutMk cId="1111557415" sldId="2147483810"/>
          </pc:sldLayoutMkLst>
        </pc:sldLayoutChg>
        <pc:sldLayoutChg chg="del">
          <pc:chgData name="Adwait Aralkar" userId="ae1719c1-ed02-42aa-a1d9-0d6e6247f692" providerId="ADAL" clId="{3F587D8B-EC67-422E-A694-1F3A026A2B27}" dt="2025-01-09T10:05:11.344" v="330" actId="47"/>
          <pc:sldLayoutMkLst>
            <pc:docMk/>
            <pc:sldMasterMk cId="2179353300" sldId="2147483801"/>
            <pc:sldLayoutMk cId="3770861207" sldId="2147483811"/>
          </pc:sldLayoutMkLst>
        </pc:sldLayoutChg>
        <pc:sldLayoutChg chg="del">
          <pc:chgData name="Adwait Aralkar" userId="ae1719c1-ed02-42aa-a1d9-0d6e6247f692" providerId="ADAL" clId="{3F587D8B-EC67-422E-A694-1F3A026A2B27}" dt="2025-01-09T10:05:11.344" v="330" actId="47"/>
          <pc:sldLayoutMkLst>
            <pc:docMk/>
            <pc:sldMasterMk cId="2179353300" sldId="2147483801"/>
            <pc:sldLayoutMk cId="810313945" sldId="2147483812"/>
          </pc:sldLayoutMkLst>
        </pc:sldLayoutChg>
        <pc:sldLayoutChg chg="del">
          <pc:chgData name="Adwait Aralkar" userId="ae1719c1-ed02-42aa-a1d9-0d6e6247f692" providerId="ADAL" clId="{3F587D8B-EC67-422E-A694-1F3A026A2B27}" dt="2025-01-09T10:05:11.344" v="330" actId="47"/>
          <pc:sldLayoutMkLst>
            <pc:docMk/>
            <pc:sldMasterMk cId="2179353300" sldId="2147483801"/>
            <pc:sldLayoutMk cId="3294860172" sldId="2147483813"/>
          </pc:sldLayoutMkLst>
        </pc:sldLayoutChg>
        <pc:sldLayoutChg chg="del">
          <pc:chgData name="Adwait Aralkar" userId="ae1719c1-ed02-42aa-a1d9-0d6e6247f692" providerId="ADAL" clId="{3F587D8B-EC67-422E-A694-1F3A026A2B27}" dt="2025-01-09T10:05:11.344" v="330" actId="47"/>
          <pc:sldLayoutMkLst>
            <pc:docMk/>
            <pc:sldMasterMk cId="2179353300" sldId="2147483801"/>
            <pc:sldLayoutMk cId="1336528807" sldId="2147483814"/>
          </pc:sldLayoutMkLst>
        </pc:sldLayoutChg>
        <pc:sldLayoutChg chg="del">
          <pc:chgData name="Adwait Aralkar" userId="ae1719c1-ed02-42aa-a1d9-0d6e6247f692" providerId="ADAL" clId="{3F587D8B-EC67-422E-A694-1F3A026A2B27}" dt="2025-01-09T10:05:11.344" v="330" actId="47"/>
          <pc:sldLayoutMkLst>
            <pc:docMk/>
            <pc:sldMasterMk cId="2179353300" sldId="2147483801"/>
            <pc:sldLayoutMk cId="1714669370" sldId="2147483815"/>
          </pc:sldLayoutMkLst>
        </pc:sldLayoutChg>
        <pc:sldLayoutChg chg="del">
          <pc:chgData name="Adwait Aralkar" userId="ae1719c1-ed02-42aa-a1d9-0d6e6247f692" providerId="ADAL" clId="{3F587D8B-EC67-422E-A694-1F3A026A2B27}" dt="2025-01-09T10:05:11.344" v="330" actId="47"/>
          <pc:sldLayoutMkLst>
            <pc:docMk/>
            <pc:sldMasterMk cId="2179353300" sldId="2147483801"/>
            <pc:sldLayoutMk cId="1788627625" sldId="2147483816"/>
          </pc:sldLayoutMkLst>
        </pc:sldLayoutChg>
        <pc:sldLayoutChg chg="del">
          <pc:chgData name="Adwait Aralkar" userId="ae1719c1-ed02-42aa-a1d9-0d6e6247f692" providerId="ADAL" clId="{3F587D8B-EC67-422E-A694-1F3A026A2B27}" dt="2025-01-09T10:05:11.344" v="330" actId="47"/>
          <pc:sldLayoutMkLst>
            <pc:docMk/>
            <pc:sldMasterMk cId="2179353300" sldId="2147483801"/>
            <pc:sldLayoutMk cId="4140755712" sldId="2147483817"/>
          </pc:sldLayoutMkLst>
        </pc:sldLayoutChg>
        <pc:sldLayoutChg chg="del">
          <pc:chgData name="Adwait Aralkar" userId="ae1719c1-ed02-42aa-a1d9-0d6e6247f692" providerId="ADAL" clId="{3F587D8B-EC67-422E-A694-1F3A026A2B27}" dt="2025-01-09T10:05:11.344" v="330" actId="47"/>
          <pc:sldLayoutMkLst>
            <pc:docMk/>
            <pc:sldMasterMk cId="2179353300" sldId="2147483801"/>
            <pc:sldLayoutMk cId="2656799188" sldId="2147483818"/>
          </pc:sldLayoutMkLst>
        </pc:sldLayoutChg>
        <pc:sldLayoutChg chg="del">
          <pc:chgData name="Adwait Aralkar" userId="ae1719c1-ed02-42aa-a1d9-0d6e6247f692" providerId="ADAL" clId="{3F587D8B-EC67-422E-A694-1F3A026A2B27}" dt="2025-01-09T10:05:11.344" v="330" actId="47"/>
          <pc:sldLayoutMkLst>
            <pc:docMk/>
            <pc:sldMasterMk cId="2179353300" sldId="2147483801"/>
            <pc:sldLayoutMk cId="4088864348" sldId="2147483819"/>
          </pc:sldLayoutMkLst>
        </pc:sldLayoutChg>
        <pc:sldLayoutChg chg="del">
          <pc:chgData name="Adwait Aralkar" userId="ae1719c1-ed02-42aa-a1d9-0d6e6247f692" providerId="ADAL" clId="{3F587D8B-EC67-422E-A694-1F3A026A2B27}" dt="2025-01-09T10:05:11.344" v="330" actId="47"/>
          <pc:sldLayoutMkLst>
            <pc:docMk/>
            <pc:sldMasterMk cId="2179353300" sldId="2147483801"/>
            <pc:sldLayoutMk cId="611598775" sldId="2147483820"/>
          </pc:sldLayoutMkLst>
        </pc:sldLayoutChg>
        <pc:sldLayoutChg chg="del">
          <pc:chgData name="Adwait Aralkar" userId="ae1719c1-ed02-42aa-a1d9-0d6e6247f692" providerId="ADAL" clId="{3F587D8B-EC67-422E-A694-1F3A026A2B27}" dt="2025-01-09T10:05:11.344" v="330" actId="47"/>
          <pc:sldLayoutMkLst>
            <pc:docMk/>
            <pc:sldMasterMk cId="2179353300" sldId="2147483801"/>
            <pc:sldLayoutMk cId="1557334546" sldId="2147483821"/>
          </pc:sldLayoutMkLst>
        </pc:sldLayoutChg>
        <pc:sldLayoutChg chg="del">
          <pc:chgData name="Adwait Aralkar" userId="ae1719c1-ed02-42aa-a1d9-0d6e6247f692" providerId="ADAL" clId="{3F587D8B-EC67-422E-A694-1F3A026A2B27}" dt="2025-01-09T10:05:11.344" v="330" actId="47"/>
          <pc:sldLayoutMkLst>
            <pc:docMk/>
            <pc:sldMasterMk cId="2179353300" sldId="2147483801"/>
            <pc:sldLayoutMk cId="36154557" sldId="2147483822"/>
          </pc:sldLayoutMkLst>
        </pc:sldLayoutChg>
        <pc:sldLayoutChg chg="del">
          <pc:chgData name="Adwait Aralkar" userId="ae1719c1-ed02-42aa-a1d9-0d6e6247f692" providerId="ADAL" clId="{3F587D8B-EC67-422E-A694-1F3A026A2B27}" dt="2025-01-09T10:05:11.344" v="330" actId="47"/>
          <pc:sldLayoutMkLst>
            <pc:docMk/>
            <pc:sldMasterMk cId="2179353300" sldId="2147483801"/>
            <pc:sldLayoutMk cId="288986030" sldId="2147483823"/>
          </pc:sldLayoutMkLst>
        </pc:sldLayoutChg>
        <pc:sldLayoutChg chg="del">
          <pc:chgData name="Adwait Aralkar" userId="ae1719c1-ed02-42aa-a1d9-0d6e6247f692" providerId="ADAL" clId="{3F587D8B-EC67-422E-A694-1F3A026A2B27}" dt="2025-01-09T10:05:11.344" v="330" actId="47"/>
          <pc:sldLayoutMkLst>
            <pc:docMk/>
            <pc:sldMasterMk cId="2179353300" sldId="2147483801"/>
            <pc:sldLayoutMk cId="1490388333" sldId="2147483824"/>
          </pc:sldLayoutMkLst>
        </pc:sldLayoutChg>
        <pc:sldLayoutChg chg="del">
          <pc:chgData name="Adwait Aralkar" userId="ae1719c1-ed02-42aa-a1d9-0d6e6247f692" providerId="ADAL" clId="{3F587D8B-EC67-422E-A694-1F3A026A2B27}" dt="2025-01-09T10:05:11.344" v="330" actId="47"/>
          <pc:sldLayoutMkLst>
            <pc:docMk/>
            <pc:sldMasterMk cId="2179353300" sldId="2147483801"/>
            <pc:sldLayoutMk cId="2729221251" sldId="2147483825"/>
          </pc:sldLayoutMkLst>
        </pc:sldLayoutChg>
        <pc:sldLayoutChg chg="del">
          <pc:chgData name="Adwait Aralkar" userId="ae1719c1-ed02-42aa-a1d9-0d6e6247f692" providerId="ADAL" clId="{3F587D8B-EC67-422E-A694-1F3A026A2B27}" dt="2025-01-09T10:05:11.344" v="330" actId="47"/>
          <pc:sldLayoutMkLst>
            <pc:docMk/>
            <pc:sldMasterMk cId="2179353300" sldId="2147483801"/>
            <pc:sldLayoutMk cId="3627730162" sldId="2147483826"/>
          </pc:sldLayoutMkLst>
        </pc:sldLayoutChg>
        <pc:sldLayoutChg chg="del">
          <pc:chgData name="Adwait Aralkar" userId="ae1719c1-ed02-42aa-a1d9-0d6e6247f692" providerId="ADAL" clId="{3F587D8B-EC67-422E-A694-1F3A026A2B27}" dt="2025-01-09T10:05:11.344" v="330" actId="47"/>
          <pc:sldLayoutMkLst>
            <pc:docMk/>
            <pc:sldMasterMk cId="2179353300" sldId="2147483801"/>
            <pc:sldLayoutMk cId="870487693" sldId="2147483827"/>
          </pc:sldLayoutMkLst>
        </pc:sldLayoutChg>
        <pc:sldLayoutChg chg="del">
          <pc:chgData name="Adwait Aralkar" userId="ae1719c1-ed02-42aa-a1d9-0d6e6247f692" providerId="ADAL" clId="{3F587D8B-EC67-422E-A694-1F3A026A2B27}" dt="2025-01-09T10:05:11.344" v="330" actId="47"/>
          <pc:sldLayoutMkLst>
            <pc:docMk/>
            <pc:sldMasterMk cId="2179353300" sldId="2147483801"/>
            <pc:sldLayoutMk cId="3551315216" sldId="2147483828"/>
          </pc:sldLayoutMkLst>
        </pc:sldLayoutChg>
        <pc:sldLayoutChg chg="del">
          <pc:chgData name="Adwait Aralkar" userId="ae1719c1-ed02-42aa-a1d9-0d6e6247f692" providerId="ADAL" clId="{3F587D8B-EC67-422E-A694-1F3A026A2B27}" dt="2025-01-09T10:05:11.344" v="330" actId="47"/>
          <pc:sldLayoutMkLst>
            <pc:docMk/>
            <pc:sldMasterMk cId="2179353300" sldId="2147483801"/>
            <pc:sldLayoutMk cId="30293424" sldId="2147483829"/>
          </pc:sldLayoutMkLst>
        </pc:sldLayoutChg>
        <pc:sldLayoutChg chg="del">
          <pc:chgData name="Adwait Aralkar" userId="ae1719c1-ed02-42aa-a1d9-0d6e6247f692" providerId="ADAL" clId="{3F587D8B-EC67-422E-A694-1F3A026A2B27}" dt="2025-01-09T10:05:11.344" v="330" actId="47"/>
          <pc:sldLayoutMkLst>
            <pc:docMk/>
            <pc:sldMasterMk cId="2179353300" sldId="2147483801"/>
            <pc:sldLayoutMk cId="1520916522" sldId="2147483830"/>
          </pc:sldLayoutMkLst>
        </pc:sldLayoutChg>
        <pc:sldLayoutChg chg="del">
          <pc:chgData name="Adwait Aralkar" userId="ae1719c1-ed02-42aa-a1d9-0d6e6247f692" providerId="ADAL" clId="{3F587D8B-EC67-422E-A694-1F3A026A2B27}" dt="2025-01-09T10:05:11.344" v="330" actId="47"/>
          <pc:sldLayoutMkLst>
            <pc:docMk/>
            <pc:sldMasterMk cId="2179353300" sldId="2147483801"/>
            <pc:sldLayoutMk cId="1582294639" sldId="2147483831"/>
          </pc:sldLayoutMkLst>
        </pc:sldLayoutChg>
        <pc:sldLayoutChg chg="del">
          <pc:chgData name="Adwait Aralkar" userId="ae1719c1-ed02-42aa-a1d9-0d6e6247f692" providerId="ADAL" clId="{3F587D8B-EC67-422E-A694-1F3A026A2B27}" dt="2025-01-09T10:05:11.344" v="330" actId="47"/>
          <pc:sldLayoutMkLst>
            <pc:docMk/>
            <pc:sldMasterMk cId="2179353300" sldId="2147483801"/>
            <pc:sldLayoutMk cId="4185874818" sldId="2147483832"/>
          </pc:sldLayoutMkLst>
        </pc:sldLayoutChg>
        <pc:sldLayoutChg chg="del">
          <pc:chgData name="Adwait Aralkar" userId="ae1719c1-ed02-42aa-a1d9-0d6e6247f692" providerId="ADAL" clId="{3F587D8B-EC67-422E-A694-1F3A026A2B27}" dt="2025-01-09T10:05:11.344" v="330" actId="47"/>
          <pc:sldLayoutMkLst>
            <pc:docMk/>
            <pc:sldMasterMk cId="2179353300" sldId="2147483801"/>
            <pc:sldLayoutMk cId="1866475479" sldId="2147483833"/>
          </pc:sldLayoutMkLst>
        </pc:sldLayoutChg>
        <pc:sldLayoutChg chg="del">
          <pc:chgData name="Adwait Aralkar" userId="ae1719c1-ed02-42aa-a1d9-0d6e6247f692" providerId="ADAL" clId="{3F587D8B-EC67-422E-A694-1F3A026A2B27}" dt="2025-01-09T10:05:11.344" v="330" actId="47"/>
          <pc:sldLayoutMkLst>
            <pc:docMk/>
            <pc:sldMasterMk cId="2179353300" sldId="2147483801"/>
            <pc:sldLayoutMk cId="2656787227" sldId="2147483834"/>
          </pc:sldLayoutMkLst>
        </pc:sldLayoutChg>
        <pc:sldLayoutChg chg="del">
          <pc:chgData name="Adwait Aralkar" userId="ae1719c1-ed02-42aa-a1d9-0d6e6247f692" providerId="ADAL" clId="{3F587D8B-EC67-422E-A694-1F3A026A2B27}" dt="2025-01-09T10:05:11.344" v="330" actId="47"/>
          <pc:sldLayoutMkLst>
            <pc:docMk/>
            <pc:sldMasterMk cId="2179353300" sldId="2147483801"/>
            <pc:sldLayoutMk cId="3843922503" sldId="2147483835"/>
          </pc:sldLayoutMkLst>
        </pc:sldLayoutChg>
        <pc:sldLayoutChg chg="del">
          <pc:chgData name="Adwait Aralkar" userId="ae1719c1-ed02-42aa-a1d9-0d6e6247f692" providerId="ADAL" clId="{3F587D8B-EC67-422E-A694-1F3A026A2B27}" dt="2025-01-09T10:05:11.344" v="330" actId="47"/>
          <pc:sldLayoutMkLst>
            <pc:docMk/>
            <pc:sldMasterMk cId="2179353300" sldId="2147483801"/>
            <pc:sldLayoutMk cId="1862157280" sldId="2147483836"/>
          </pc:sldLayoutMkLst>
        </pc:sldLayoutChg>
        <pc:sldLayoutChg chg="del">
          <pc:chgData name="Adwait Aralkar" userId="ae1719c1-ed02-42aa-a1d9-0d6e6247f692" providerId="ADAL" clId="{3F587D8B-EC67-422E-A694-1F3A026A2B27}" dt="2025-01-09T10:05:11.344" v="330" actId="47"/>
          <pc:sldLayoutMkLst>
            <pc:docMk/>
            <pc:sldMasterMk cId="2179353300" sldId="2147483801"/>
            <pc:sldLayoutMk cId="3044473590" sldId="2147483837"/>
          </pc:sldLayoutMkLst>
        </pc:sldLayoutChg>
        <pc:sldLayoutChg chg="del">
          <pc:chgData name="Adwait Aralkar" userId="ae1719c1-ed02-42aa-a1d9-0d6e6247f692" providerId="ADAL" clId="{3F587D8B-EC67-422E-A694-1F3A026A2B27}" dt="2025-01-09T10:05:11.344" v="330" actId="47"/>
          <pc:sldLayoutMkLst>
            <pc:docMk/>
            <pc:sldMasterMk cId="2179353300" sldId="2147483801"/>
            <pc:sldLayoutMk cId="2024642462" sldId="2147483838"/>
          </pc:sldLayoutMkLst>
        </pc:sldLayoutChg>
        <pc:sldLayoutChg chg="del">
          <pc:chgData name="Adwait Aralkar" userId="ae1719c1-ed02-42aa-a1d9-0d6e6247f692" providerId="ADAL" clId="{3F587D8B-EC67-422E-A694-1F3A026A2B27}" dt="2025-01-09T10:05:11.344" v="330" actId="47"/>
          <pc:sldLayoutMkLst>
            <pc:docMk/>
            <pc:sldMasterMk cId="2179353300" sldId="2147483801"/>
            <pc:sldLayoutMk cId="1791127901" sldId="2147483839"/>
          </pc:sldLayoutMkLst>
        </pc:sldLayoutChg>
        <pc:sldLayoutChg chg="del">
          <pc:chgData name="Adwait Aralkar" userId="ae1719c1-ed02-42aa-a1d9-0d6e6247f692" providerId="ADAL" clId="{3F587D8B-EC67-422E-A694-1F3A026A2B27}" dt="2025-01-09T10:05:11.344" v="330" actId="47"/>
          <pc:sldLayoutMkLst>
            <pc:docMk/>
            <pc:sldMasterMk cId="2179353300" sldId="2147483801"/>
            <pc:sldLayoutMk cId="3628109122" sldId="2147483840"/>
          </pc:sldLayoutMkLst>
        </pc:sldLayoutChg>
        <pc:sldLayoutChg chg="del">
          <pc:chgData name="Adwait Aralkar" userId="ae1719c1-ed02-42aa-a1d9-0d6e6247f692" providerId="ADAL" clId="{3F587D8B-EC67-422E-A694-1F3A026A2B27}" dt="2025-01-09T10:05:11.344" v="330" actId="47"/>
          <pc:sldLayoutMkLst>
            <pc:docMk/>
            <pc:sldMasterMk cId="2179353300" sldId="2147483801"/>
            <pc:sldLayoutMk cId="3433429604" sldId="2147483841"/>
          </pc:sldLayoutMkLst>
        </pc:sldLayoutChg>
        <pc:sldLayoutChg chg="del">
          <pc:chgData name="Adwait Aralkar" userId="ae1719c1-ed02-42aa-a1d9-0d6e6247f692" providerId="ADAL" clId="{3F587D8B-EC67-422E-A694-1F3A026A2B27}" dt="2025-01-09T10:05:11.344" v="330" actId="47"/>
          <pc:sldLayoutMkLst>
            <pc:docMk/>
            <pc:sldMasterMk cId="2179353300" sldId="2147483801"/>
            <pc:sldLayoutMk cId="937369769" sldId="2147483842"/>
          </pc:sldLayoutMkLst>
        </pc:sldLayoutChg>
        <pc:sldLayoutChg chg="del">
          <pc:chgData name="Adwait Aralkar" userId="ae1719c1-ed02-42aa-a1d9-0d6e6247f692" providerId="ADAL" clId="{3F587D8B-EC67-422E-A694-1F3A026A2B27}" dt="2025-01-09T10:05:11.344" v="330" actId="47"/>
          <pc:sldLayoutMkLst>
            <pc:docMk/>
            <pc:sldMasterMk cId="2179353300" sldId="2147483801"/>
            <pc:sldLayoutMk cId="3217489163" sldId="2147483843"/>
          </pc:sldLayoutMkLst>
        </pc:sldLayoutChg>
        <pc:sldLayoutChg chg="del">
          <pc:chgData name="Adwait Aralkar" userId="ae1719c1-ed02-42aa-a1d9-0d6e6247f692" providerId="ADAL" clId="{3F587D8B-EC67-422E-A694-1F3A026A2B27}" dt="2025-01-09T10:05:11.344" v="330" actId="47"/>
          <pc:sldLayoutMkLst>
            <pc:docMk/>
            <pc:sldMasterMk cId="2179353300" sldId="2147483801"/>
            <pc:sldLayoutMk cId="3284835736" sldId="2147483844"/>
          </pc:sldLayoutMkLst>
        </pc:sldLayoutChg>
        <pc:sldLayoutChg chg="del">
          <pc:chgData name="Adwait Aralkar" userId="ae1719c1-ed02-42aa-a1d9-0d6e6247f692" providerId="ADAL" clId="{3F587D8B-EC67-422E-A694-1F3A026A2B27}" dt="2025-01-09T10:05:11.344" v="330" actId="47"/>
          <pc:sldLayoutMkLst>
            <pc:docMk/>
            <pc:sldMasterMk cId="2179353300" sldId="2147483801"/>
            <pc:sldLayoutMk cId="1174152899" sldId="2147483845"/>
          </pc:sldLayoutMkLst>
        </pc:sldLayoutChg>
        <pc:sldLayoutChg chg="del">
          <pc:chgData name="Adwait Aralkar" userId="ae1719c1-ed02-42aa-a1d9-0d6e6247f692" providerId="ADAL" clId="{3F587D8B-EC67-422E-A694-1F3A026A2B27}" dt="2025-01-09T10:05:11.344" v="330" actId="47"/>
          <pc:sldLayoutMkLst>
            <pc:docMk/>
            <pc:sldMasterMk cId="2179353300" sldId="2147483801"/>
            <pc:sldLayoutMk cId="3944703129" sldId="2147483846"/>
          </pc:sldLayoutMkLst>
        </pc:sldLayoutChg>
        <pc:sldLayoutChg chg="del">
          <pc:chgData name="Adwait Aralkar" userId="ae1719c1-ed02-42aa-a1d9-0d6e6247f692" providerId="ADAL" clId="{3F587D8B-EC67-422E-A694-1F3A026A2B27}" dt="2025-01-09T10:05:11.344" v="330" actId="47"/>
          <pc:sldLayoutMkLst>
            <pc:docMk/>
            <pc:sldMasterMk cId="2179353300" sldId="2147483801"/>
            <pc:sldLayoutMk cId="3702929005" sldId="2147483847"/>
          </pc:sldLayoutMkLst>
        </pc:sldLayoutChg>
        <pc:sldLayoutChg chg="del">
          <pc:chgData name="Adwait Aralkar" userId="ae1719c1-ed02-42aa-a1d9-0d6e6247f692" providerId="ADAL" clId="{3F587D8B-EC67-422E-A694-1F3A026A2B27}" dt="2025-01-09T10:05:11.344" v="330" actId="47"/>
          <pc:sldLayoutMkLst>
            <pc:docMk/>
            <pc:sldMasterMk cId="2179353300" sldId="2147483801"/>
            <pc:sldLayoutMk cId="3985217812" sldId="2147483848"/>
          </pc:sldLayoutMkLst>
        </pc:sldLayoutChg>
        <pc:sldLayoutChg chg="del">
          <pc:chgData name="Adwait Aralkar" userId="ae1719c1-ed02-42aa-a1d9-0d6e6247f692" providerId="ADAL" clId="{3F587D8B-EC67-422E-A694-1F3A026A2B27}" dt="2025-01-09T10:05:11.344" v="330" actId="47"/>
          <pc:sldLayoutMkLst>
            <pc:docMk/>
            <pc:sldMasterMk cId="2179353300" sldId="2147483801"/>
            <pc:sldLayoutMk cId="1738760420" sldId="2147483849"/>
          </pc:sldLayoutMkLst>
        </pc:sldLayoutChg>
        <pc:sldLayoutChg chg="del">
          <pc:chgData name="Adwait Aralkar" userId="ae1719c1-ed02-42aa-a1d9-0d6e6247f692" providerId="ADAL" clId="{3F587D8B-EC67-422E-A694-1F3A026A2B27}" dt="2025-01-09T10:05:11.344" v="330" actId="47"/>
          <pc:sldLayoutMkLst>
            <pc:docMk/>
            <pc:sldMasterMk cId="2179353300" sldId="2147483801"/>
            <pc:sldLayoutMk cId="3208588588" sldId="2147483850"/>
          </pc:sldLayoutMkLst>
        </pc:sldLayoutChg>
      </pc:sldMasterChg>
      <pc:sldMasterChg chg="modSldLayout">
        <pc:chgData name="Adwait Aralkar" userId="ae1719c1-ed02-42aa-a1d9-0d6e6247f692" providerId="ADAL" clId="{3F587D8B-EC67-422E-A694-1F3A026A2B27}" dt="2025-01-09T12:08:41.377" v="476"/>
        <pc:sldMasterMkLst>
          <pc:docMk/>
          <pc:sldMasterMk cId="1424960473" sldId="2147483895"/>
        </pc:sldMasterMkLst>
        <pc:sldLayoutChg chg="modSp">
          <pc:chgData name="Adwait Aralkar" userId="ae1719c1-ed02-42aa-a1d9-0d6e6247f692" providerId="ADAL" clId="{3F587D8B-EC67-422E-A694-1F3A026A2B27}" dt="2025-01-09T12:08:41.377" v="476"/>
          <pc:sldLayoutMkLst>
            <pc:docMk/>
            <pc:sldMasterMk cId="1424960473" sldId="2147483895"/>
            <pc:sldLayoutMk cId="2102270079" sldId="2147483907"/>
          </pc:sldLayoutMkLst>
        </pc:sldLayoutChg>
      </pc:sldMasterChg>
      <pc:sldMasterChg chg="modSp modSldLayout">
        <pc:chgData name="Adwait Aralkar" userId="ae1719c1-ed02-42aa-a1d9-0d6e6247f692" providerId="ADAL" clId="{3F587D8B-EC67-422E-A694-1F3A026A2B27}" dt="2025-01-09T12:08:41.377" v="476"/>
        <pc:sldMasterMkLst>
          <pc:docMk/>
          <pc:sldMasterMk cId="1575575874" sldId="2147483908"/>
        </pc:sldMasterMkLst>
        <pc:spChg chg="mod">
          <ac:chgData name="Adwait Aralkar" userId="ae1719c1-ed02-42aa-a1d9-0d6e6247f692" providerId="ADAL" clId="{3F587D8B-EC67-422E-A694-1F3A026A2B27}" dt="2025-01-09T12:08:41.377" v="476"/>
          <ac:spMkLst>
            <pc:docMk/>
            <pc:sldMasterMk cId="1575575874" sldId="2147483908"/>
            <ac:spMk id="9" creationId="{F0733385-7C9E-5242-9370-380A43759513}"/>
          </ac:spMkLst>
        </pc:spChg>
        <pc:sldLayoutChg chg="modSp">
          <pc:chgData name="Adwait Aralkar" userId="ae1719c1-ed02-42aa-a1d9-0d6e6247f692" providerId="ADAL" clId="{3F587D8B-EC67-422E-A694-1F3A026A2B27}" dt="2025-01-09T12:08:41.377" v="476"/>
          <pc:sldLayoutMkLst>
            <pc:docMk/>
            <pc:sldMasterMk cId="1575575874" sldId="2147483908"/>
            <pc:sldLayoutMk cId="562922560" sldId="2147483909"/>
          </pc:sldLayoutMkLst>
        </pc:sldLayoutChg>
        <pc:sldLayoutChg chg="modSp">
          <pc:chgData name="Adwait Aralkar" userId="ae1719c1-ed02-42aa-a1d9-0d6e6247f692" providerId="ADAL" clId="{3F587D8B-EC67-422E-A694-1F3A026A2B27}" dt="2025-01-09T12:08:41.377" v="476"/>
          <pc:sldLayoutMkLst>
            <pc:docMk/>
            <pc:sldMasterMk cId="1575575874" sldId="2147483908"/>
            <pc:sldLayoutMk cId="3322308926" sldId="2147483910"/>
          </pc:sldLayoutMkLst>
        </pc:sldLayoutChg>
        <pc:sldLayoutChg chg="modSp">
          <pc:chgData name="Adwait Aralkar" userId="ae1719c1-ed02-42aa-a1d9-0d6e6247f692" providerId="ADAL" clId="{3F587D8B-EC67-422E-A694-1F3A026A2B27}" dt="2025-01-09T12:08:41.377" v="476"/>
          <pc:sldLayoutMkLst>
            <pc:docMk/>
            <pc:sldMasterMk cId="1575575874" sldId="2147483908"/>
            <pc:sldLayoutMk cId="2932027025" sldId="2147483913"/>
          </pc:sldLayoutMkLst>
        </pc:sldLayoutChg>
        <pc:sldLayoutChg chg="modSp">
          <pc:chgData name="Adwait Aralkar" userId="ae1719c1-ed02-42aa-a1d9-0d6e6247f692" providerId="ADAL" clId="{3F587D8B-EC67-422E-A694-1F3A026A2B27}" dt="2025-01-09T12:08:41.377" v="476"/>
          <pc:sldLayoutMkLst>
            <pc:docMk/>
            <pc:sldMasterMk cId="1575575874" sldId="2147483908"/>
            <pc:sldLayoutMk cId="1701265973" sldId="2147483914"/>
          </pc:sldLayoutMkLst>
        </pc:sldLayoutChg>
        <pc:sldLayoutChg chg="modSp">
          <pc:chgData name="Adwait Aralkar" userId="ae1719c1-ed02-42aa-a1d9-0d6e6247f692" providerId="ADAL" clId="{3F587D8B-EC67-422E-A694-1F3A026A2B27}" dt="2025-01-09T12:08:41.377" v="476"/>
          <pc:sldLayoutMkLst>
            <pc:docMk/>
            <pc:sldMasterMk cId="1575575874" sldId="2147483908"/>
            <pc:sldLayoutMk cId="2190582650" sldId="2147483915"/>
          </pc:sldLayoutMkLst>
        </pc:sldLayoutChg>
        <pc:sldLayoutChg chg="modSp">
          <pc:chgData name="Adwait Aralkar" userId="ae1719c1-ed02-42aa-a1d9-0d6e6247f692" providerId="ADAL" clId="{3F587D8B-EC67-422E-A694-1F3A026A2B27}" dt="2025-01-09T12:08:41.377" v="476"/>
          <pc:sldLayoutMkLst>
            <pc:docMk/>
            <pc:sldMasterMk cId="1575575874" sldId="2147483908"/>
            <pc:sldLayoutMk cId="2241444820" sldId="2147483916"/>
          </pc:sldLayoutMkLst>
        </pc:sldLayoutChg>
        <pc:sldLayoutChg chg="modSp">
          <pc:chgData name="Adwait Aralkar" userId="ae1719c1-ed02-42aa-a1d9-0d6e6247f692" providerId="ADAL" clId="{3F587D8B-EC67-422E-A694-1F3A026A2B27}" dt="2025-01-09T12:08:41.377" v="476"/>
          <pc:sldLayoutMkLst>
            <pc:docMk/>
            <pc:sldMasterMk cId="1575575874" sldId="2147483908"/>
            <pc:sldLayoutMk cId="4242516024" sldId="2147483917"/>
          </pc:sldLayoutMkLst>
        </pc:sldLayoutChg>
        <pc:sldLayoutChg chg="modSp">
          <pc:chgData name="Adwait Aralkar" userId="ae1719c1-ed02-42aa-a1d9-0d6e6247f692" providerId="ADAL" clId="{3F587D8B-EC67-422E-A694-1F3A026A2B27}" dt="2025-01-09T12:08:41.377" v="476"/>
          <pc:sldLayoutMkLst>
            <pc:docMk/>
            <pc:sldMasterMk cId="1575575874" sldId="2147483908"/>
            <pc:sldLayoutMk cId="3645540945" sldId="2147483918"/>
          </pc:sldLayoutMkLst>
        </pc:sldLayoutChg>
      </pc:sldMasterChg>
      <pc:sldMasterChg chg="modSp del delSldLayout modSldLayout">
        <pc:chgData name="Adwait Aralkar" userId="ae1719c1-ed02-42aa-a1d9-0d6e6247f692" providerId="ADAL" clId="{3F587D8B-EC67-422E-A694-1F3A026A2B27}" dt="2025-01-09T14:16:42.777" v="498" actId="47"/>
        <pc:sldMasterMkLst>
          <pc:docMk/>
          <pc:sldMasterMk cId="1526345730" sldId="2147483919"/>
        </pc:sldMasterMkLst>
        <pc:sldLayoutChg chg="modSp del">
          <pc:chgData name="Adwait Aralkar" userId="ae1719c1-ed02-42aa-a1d9-0d6e6247f692" providerId="ADAL" clId="{3F587D8B-EC67-422E-A694-1F3A026A2B27}" dt="2025-01-09T14:16:42.777" v="498" actId="47"/>
          <pc:sldLayoutMkLst>
            <pc:docMk/>
            <pc:sldMasterMk cId="1526345730" sldId="2147483919"/>
            <pc:sldLayoutMk cId="2978966644" sldId="2147483920"/>
          </pc:sldLayoutMkLst>
        </pc:sldLayoutChg>
        <pc:sldLayoutChg chg="modSp del">
          <pc:chgData name="Adwait Aralkar" userId="ae1719c1-ed02-42aa-a1d9-0d6e6247f692" providerId="ADAL" clId="{3F587D8B-EC67-422E-A694-1F3A026A2B27}" dt="2025-01-09T14:16:42.777" v="498" actId="47"/>
          <pc:sldLayoutMkLst>
            <pc:docMk/>
            <pc:sldMasterMk cId="1526345730" sldId="2147483919"/>
            <pc:sldLayoutMk cId="1239634896" sldId="2147483921"/>
          </pc:sldLayoutMkLst>
        </pc:sldLayoutChg>
        <pc:sldLayoutChg chg="modSp del">
          <pc:chgData name="Adwait Aralkar" userId="ae1719c1-ed02-42aa-a1d9-0d6e6247f692" providerId="ADAL" clId="{3F587D8B-EC67-422E-A694-1F3A026A2B27}" dt="2025-01-09T14:16:42.777" v="498" actId="47"/>
          <pc:sldLayoutMkLst>
            <pc:docMk/>
            <pc:sldMasterMk cId="1526345730" sldId="2147483919"/>
            <pc:sldLayoutMk cId="478472768" sldId="2147483922"/>
          </pc:sldLayoutMkLst>
        </pc:sldLayoutChg>
        <pc:sldLayoutChg chg="modSp del">
          <pc:chgData name="Adwait Aralkar" userId="ae1719c1-ed02-42aa-a1d9-0d6e6247f692" providerId="ADAL" clId="{3F587D8B-EC67-422E-A694-1F3A026A2B27}" dt="2025-01-09T14:16:42.777" v="498" actId="47"/>
          <pc:sldLayoutMkLst>
            <pc:docMk/>
            <pc:sldMasterMk cId="1526345730" sldId="2147483919"/>
            <pc:sldLayoutMk cId="1545106507" sldId="2147483923"/>
          </pc:sldLayoutMkLst>
        </pc:sldLayoutChg>
        <pc:sldLayoutChg chg="modSp del">
          <pc:chgData name="Adwait Aralkar" userId="ae1719c1-ed02-42aa-a1d9-0d6e6247f692" providerId="ADAL" clId="{3F587D8B-EC67-422E-A694-1F3A026A2B27}" dt="2025-01-09T14:16:42.777" v="498" actId="47"/>
          <pc:sldLayoutMkLst>
            <pc:docMk/>
            <pc:sldMasterMk cId="1526345730" sldId="2147483919"/>
            <pc:sldLayoutMk cId="1429146318" sldId="2147483924"/>
          </pc:sldLayoutMkLst>
        </pc:sldLayoutChg>
        <pc:sldLayoutChg chg="modSp del">
          <pc:chgData name="Adwait Aralkar" userId="ae1719c1-ed02-42aa-a1d9-0d6e6247f692" providerId="ADAL" clId="{3F587D8B-EC67-422E-A694-1F3A026A2B27}" dt="2025-01-09T14:16:42.777" v="498" actId="47"/>
          <pc:sldLayoutMkLst>
            <pc:docMk/>
            <pc:sldMasterMk cId="1526345730" sldId="2147483919"/>
            <pc:sldLayoutMk cId="1046383895" sldId="2147483925"/>
          </pc:sldLayoutMkLst>
        </pc:sldLayoutChg>
        <pc:sldLayoutChg chg="del">
          <pc:chgData name="Adwait Aralkar" userId="ae1719c1-ed02-42aa-a1d9-0d6e6247f692" providerId="ADAL" clId="{3F587D8B-EC67-422E-A694-1F3A026A2B27}" dt="2025-01-09T14:16:42.777" v="498" actId="47"/>
          <pc:sldLayoutMkLst>
            <pc:docMk/>
            <pc:sldMasterMk cId="1526345730" sldId="2147483919"/>
            <pc:sldLayoutMk cId="3063092235" sldId="2147483926"/>
          </pc:sldLayoutMkLst>
        </pc:sldLayoutChg>
        <pc:sldLayoutChg chg="del">
          <pc:chgData name="Adwait Aralkar" userId="ae1719c1-ed02-42aa-a1d9-0d6e6247f692" providerId="ADAL" clId="{3F587D8B-EC67-422E-A694-1F3A026A2B27}" dt="2025-01-09T14:16:42.777" v="498" actId="47"/>
          <pc:sldLayoutMkLst>
            <pc:docMk/>
            <pc:sldMasterMk cId="1526345730" sldId="2147483919"/>
            <pc:sldLayoutMk cId="3674027496" sldId="2147483927"/>
          </pc:sldLayoutMkLst>
        </pc:sldLayoutChg>
        <pc:sldLayoutChg chg="modSp del">
          <pc:chgData name="Adwait Aralkar" userId="ae1719c1-ed02-42aa-a1d9-0d6e6247f692" providerId="ADAL" clId="{3F587D8B-EC67-422E-A694-1F3A026A2B27}" dt="2025-01-09T14:16:42.777" v="498" actId="47"/>
          <pc:sldLayoutMkLst>
            <pc:docMk/>
            <pc:sldMasterMk cId="1526345730" sldId="2147483919"/>
            <pc:sldLayoutMk cId="3701491546" sldId="2147483928"/>
          </pc:sldLayoutMkLst>
        </pc:sldLayoutChg>
      </pc:sldMasterChg>
      <pc:sldMasterChg chg="del delSldLayout">
        <pc:chgData name="Adwait Aralkar" userId="ae1719c1-ed02-42aa-a1d9-0d6e6247f692" providerId="ADAL" clId="{3F587D8B-EC67-422E-A694-1F3A026A2B27}" dt="2025-01-09T14:16:40.997" v="496" actId="47"/>
        <pc:sldMasterMkLst>
          <pc:docMk/>
          <pc:sldMasterMk cId="2774909735" sldId="2147483929"/>
        </pc:sldMasterMkLst>
        <pc:sldLayoutChg chg="del">
          <pc:chgData name="Adwait Aralkar" userId="ae1719c1-ed02-42aa-a1d9-0d6e6247f692" providerId="ADAL" clId="{3F587D8B-EC67-422E-A694-1F3A026A2B27}" dt="2025-01-09T14:16:40.997" v="496" actId="47"/>
          <pc:sldLayoutMkLst>
            <pc:docMk/>
            <pc:sldMasterMk cId="2774909735" sldId="2147483929"/>
            <pc:sldLayoutMk cId="3963842799" sldId="2147483930"/>
          </pc:sldLayoutMkLst>
        </pc:sldLayoutChg>
        <pc:sldLayoutChg chg="del">
          <pc:chgData name="Adwait Aralkar" userId="ae1719c1-ed02-42aa-a1d9-0d6e6247f692" providerId="ADAL" clId="{3F587D8B-EC67-422E-A694-1F3A026A2B27}" dt="2025-01-09T14:16:40.997" v="496" actId="47"/>
          <pc:sldLayoutMkLst>
            <pc:docMk/>
            <pc:sldMasterMk cId="2774909735" sldId="2147483929"/>
            <pc:sldLayoutMk cId="3740356013" sldId="2147483931"/>
          </pc:sldLayoutMkLst>
        </pc:sldLayoutChg>
        <pc:sldLayoutChg chg="del">
          <pc:chgData name="Adwait Aralkar" userId="ae1719c1-ed02-42aa-a1d9-0d6e6247f692" providerId="ADAL" clId="{3F587D8B-EC67-422E-A694-1F3A026A2B27}" dt="2025-01-09T14:16:40.997" v="496" actId="47"/>
          <pc:sldLayoutMkLst>
            <pc:docMk/>
            <pc:sldMasterMk cId="2774909735" sldId="2147483929"/>
            <pc:sldLayoutMk cId="1914501578" sldId="2147483932"/>
          </pc:sldLayoutMkLst>
        </pc:sldLayoutChg>
        <pc:sldLayoutChg chg="del">
          <pc:chgData name="Adwait Aralkar" userId="ae1719c1-ed02-42aa-a1d9-0d6e6247f692" providerId="ADAL" clId="{3F587D8B-EC67-422E-A694-1F3A026A2B27}" dt="2025-01-09T14:16:40.997" v="496" actId="47"/>
          <pc:sldLayoutMkLst>
            <pc:docMk/>
            <pc:sldMasterMk cId="2774909735" sldId="2147483929"/>
            <pc:sldLayoutMk cId="260369286" sldId="2147483933"/>
          </pc:sldLayoutMkLst>
        </pc:sldLayoutChg>
        <pc:sldLayoutChg chg="del">
          <pc:chgData name="Adwait Aralkar" userId="ae1719c1-ed02-42aa-a1d9-0d6e6247f692" providerId="ADAL" clId="{3F587D8B-EC67-422E-A694-1F3A026A2B27}" dt="2025-01-09T14:16:40.997" v="496" actId="47"/>
          <pc:sldLayoutMkLst>
            <pc:docMk/>
            <pc:sldMasterMk cId="2774909735" sldId="2147483929"/>
            <pc:sldLayoutMk cId="2142715606" sldId="2147483934"/>
          </pc:sldLayoutMkLst>
        </pc:sldLayoutChg>
        <pc:sldLayoutChg chg="del">
          <pc:chgData name="Adwait Aralkar" userId="ae1719c1-ed02-42aa-a1d9-0d6e6247f692" providerId="ADAL" clId="{3F587D8B-EC67-422E-A694-1F3A026A2B27}" dt="2025-01-09T14:16:40.997" v="496" actId="47"/>
          <pc:sldLayoutMkLst>
            <pc:docMk/>
            <pc:sldMasterMk cId="2774909735" sldId="2147483929"/>
            <pc:sldLayoutMk cId="1068240375" sldId="2147483935"/>
          </pc:sldLayoutMkLst>
        </pc:sldLayoutChg>
        <pc:sldLayoutChg chg="del">
          <pc:chgData name="Adwait Aralkar" userId="ae1719c1-ed02-42aa-a1d9-0d6e6247f692" providerId="ADAL" clId="{3F587D8B-EC67-422E-A694-1F3A026A2B27}" dt="2025-01-09T14:16:40.997" v="496" actId="47"/>
          <pc:sldLayoutMkLst>
            <pc:docMk/>
            <pc:sldMasterMk cId="2774909735" sldId="2147483929"/>
            <pc:sldLayoutMk cId="2948299420" sldId="2147483936"/>
          </pc:sldLayoutMkLst>
        </pc:sldLayoutChg>
        <pc:sldLayoutChg chg="del">
          <pc:chgData name="Adwait Aralkar" userId="ae1719c1-ed02-42aa-a1d9-0d6e6247f692" providerId="ADAL" clId="{3F587D8B-EC67-422E-A694-1F3A026A2B27}" dt="2025-01-09T14:16:40.997" v="496" actId="47"/>
          <pc:sldLayoutMkLst>
            <pc:docMk/>
            <pc:sldMasterMk cId="2774909735" sldId="2147483929"/>
            <pc:sldLayoutMk cId="145532880" sldId="2147483937"/>
          </pc:sldLayoutMkLst>
        </pc:sldLayoutChg>
        <pc:sldLayoutChg chg="del">
          <pc:chgData name="Adwait Aralkar" userId="ae1719c1-ed02-42aa-a1d9-0d6e6247f692" providerId="ADAL" clId="{3F587D8B-EC67-422E-A694-1F3A026A2B27}" dt="2025-01-09T14:16:40.997" v="496" actId="47"/>
          <pc:sldLayoutMkLst>
            <pc:docMk/>
            <pc:sldMasterMk cId="2774909735" sldId="2147483929"/>
            <pc:sldLayoutMk cId="2246512946" sldId="2147483938"/>
          </pc:sldLayoutMkLst>
        </pc:sldLayoutChg>
        <pc:sldLayoutChg chg="del">
          <pc:chgData name="Adwait Aralkar" userId="ae1719c1-ed02-42aa-a1d9-0d6e6247f692" providerId="ADAL" clId="{3F587D8B-EC67-422E-A694-1F3A026A2B27}" dt="2025-01-09T14:16:40.997" v="496" actId="47"/>
          <pc:sldLayoutMkLst>
            <pc:docMk/>
            <pc:sldMasterMk cId="2774909735" sldId="2147483929"/>
            <pc:sldLayoutMk cId="3653506621" sldId="2147483939"/>
          </pc:sldLayoutMkLst>
        </pc:sldLayoutChg>
        <pc:sldLayoutChg chg="del">
          <pc:chgData name="Adwait Aralkar" userId="ae1719c1-ed02-42aa-a1d9-0d6e6247f692" providerId="ADAL" clId="{3F587D8B-EC67-422E-A694-1F3A026A2B27}" dt="2025-01-09T14:16:40.997" v="496" actId="47"/>
          <pc:sldLayoutMkLst>
            <pc:docMk/>
            <pc:sldMasterMk cId="2774909735" sldId="2147483929"/>
            <pc:sldLayoutMk cId="56818147" sldId="2147483940"/>
          </pc:sldLayoutMkLst>
        </pc:sldLayoutChg>
        <pc:sldLayoutChg chg="del">
          <pc:chgData name="Adwait Aralkar" userId="ae1719c1-ed02-42aa-a1d9-0d6e6247f692" providerId="ADAL" clId="{3F587D8B-EC67-422E-A694-1F3A026A2B27}" dt="2025-01-09T14:16:40.997" v="496" actId="47"/>
          <pc:sldLayoutMkLst>
            <pc:docMk/>
            <pc:sldMasterMk cId="2774909735" sldId="2147483929"/>
            <pc:sldLayoutMk cId="1427877175" sldId="2147483941"/>
          </pc:sldLayoutMkLst>
        </pc:sldLayoutChg>
        <pc:sldLayoutChg chg="del">
          <pc:chgData name="Adwait Aralkar" userId="ae1719c1-ed02-42aa-a1d9-0d6e6247f692" providerId="ADAL" clId="{3F587D8B-EC67-422E-A694-1F3A026A2B27}" dt="2025-01-09T14:16:40.997" v="496" actId="47"/>
          <pc:sldLayoutMkLst>
            <pc:docMk/>
            <pc:sldMasterMk cId="2774909735" sldId="2147483929"/>
            <pc:sldLayoutMk cId="2784940305" sldId="2147483942"/>
          </pc:sldLayoutMkLst>
        </pc:sldLayoutChg>
        <pc:sldLayoutChg chg="del">
          <pc:chgData name="Adwait Aralkar" userId="ae1719c1-ed02-42aa-a1d9-0d6e6247f692" providerId="ADAL" clId="{3F587D8B-EC67-422E-A694-1F3A026A2B27}" dt="2025-01-09T14:16:40.997" v="496" actId="47"/>
          <pc:sldLayoutMkLst>
            <pc:docMk/>
            <pc:sldMasterMk cId="2774909735" sldId="2147483929"/>
            <pc:sldLayoutMk cId="1109695043" sldId="2147483943"/>
          </pc:sldLayoutMkLst>
        </pc:sldLayoutChg>
        <pc:sldLayoutChg chg="del">
          <pc:chgData name="Adwait Aralkar" userId="ae1719c1-ed02-42aa-a1d9-0d6e6247f692" providerId="ADAL" clId="{3F587D8B-EC67-422E-A694-1F3A026A2B27}" dt="2025-01-09T14:16:40.997" v="496" actId="47"/>
          <pc:sldLayoutMkLst>
            <pc:docMk/>
            <pc:sldMasterMk cId="2774909735" sldId="2147483929"/>
            <pc:sldLayoutMk cId="2293722663" sldId="2147483944"/>
          </pc:sldLayoutMkLst>
        </pc:sldLayoutChg>
        <pc:sldLayoutChg chg="del">
          <pc:chgData name="Adwait Aralkar" userId="ae1719c1-ed02-42aa-a1d9-0d6e6247f692" providerId="ADAL" clId="{3F587D8B-EC67-422E-A694-1F3A026A2B27}" dt="2025-01-09T14:16:40.997" v="496" actId="47"/>
          <pc:sldLayoutMkLst>
            <pc:docMk/>
            <pc:sldMasterMk cId="2774909735" sldId="2147483929"/>
            <pc:sldLayoutMk cId="714900178" sldId="2147483945"/>
          </pc:sldLayoutMkLst>
        </pc:sldLayoutChg>
        <pc:sldLayoutChg chg="del">
          <pc:chgData name="Adwait Aralkar" userId="ae1719c1-ed02-42aa-a1d9-0d6e6247f692" providerId="ADAL" clId="{3F587D8B-EC67-422E-A694-1F3A026A2B27}" dt="2025-01-09T14:16:40.997" v="496" actId="47"/>
          <pc:sldLayoutMkLst>
            <pc:docMk/>
            <pc:sldMasterMk cId="2774909735" sldId="2147483929"/>
            <pc:sldLayoutMk cId="2861257965" sldId="2147483946"/>
          </pc:sldLayoutMkLst>
        </pc:sldLayoutChg>
        <pc:sldLayoutChg chg="del">
          <pc:chgData name="Adwait Aralkar" userId="ae1719c1-ed02-42aa-a1d9-0d6e6247f692" providerId="ADAL" clId="{3F587D8B-EC67-422E-A694-1F3A026A2B27}" dt="2025-01-09T14:16:40.997" v="496" actId="47"/>
          <pc:sldLayoutMkLst>
            <pc:docMk/>
            <pc:sldMasterMk cId="2774909735" sldId="2147483929"/>
            <pc:sldLayoutMk cId="751754864" sldId="2147483947"/>
          </pc:sldLayoutMkLst>
        </pc:sldLayoutChg>
        <pc:sldLayoutChg chg="del">
          <pc:chgData name="Adwait Aralkar" userId="ae1719c1-ed02-42aa-a1d9-0d6e6247f692" providerId="ADAL" clId="{3F587D8B-EC67-422E-A694-1F3A026A2B27}" dt="2025-01-09T14:16:40.997" v="496" actId="47"/>
          <pc:sldLayoutMkLst>
            <pc:docMk/>
            <pc:sldMasterMk cId="2774909735" sldId="2147483929"/>
            <pc:sldLayoutMk cId="817698420" sldId="2147483948"/>
          </pc:sldLayoutMkLst>
        </pc:sldLayoutChg>
        <pc:sldLayoutChg chg="del">
          <pc:chgData name="Adwait Aralkar" userId="ae1719c1-ed02-42aa-a1d9-0d6e6247f692" providerId="ADAL" clId="{3F587D8B-EC67-422E-A694-1F3A026A2B27}" dt="2025-01-09T14:16:40.997" v="496" actId="47"/>
          <pc:sldLayoutMkLst>
            <pc:docMk/>
            <pc:sldMasterMk cId="2774909735" sldId="2147483929"/>
            <pc:sldLayoutMk cId="4033753401" sldId="2147483949"/>
          </pc:sldLayoutMkLst>
        </pc:sldLayoutChg>
        <pc:sldLayoutChg chg="del">
          <pc:chgData name="Adwait Aralkar" userId="ae1719c1-ed02-42aa-a1d9-0d6e6247f692" providerId="ADAL" clId="{3F587D8B-EC67-422E-A694-1F3A026A2B27}" dt="2025-01-09T14:16:40.997" v="496" actId="47"/>
          <pc:sldLayoutMkLst>
            <pc:docMk/>
            <pc:sldMasterMk cId="2774909735" sldId="2147483929"/>
            <pc:sldLayoutMk cId="2411037243" sldId="2147483950"/>
          </pc:sldLayoutMkLst>
        </pc:sldLayoutChg>
      </pc:sldMasterChg>
      <pc:sldMasterChg chg="del delSldLayout">
        <pc:chgData name="Adwait Aralkar" userId="ae1719c1-ed02-42aa-a1d9-0d6e6247f692" providerId="ADAL" clId="{3F587D8B-EC67-422E-A694-1F3A026A2B27}" dt="2025-01-09T10:03:48.568" v="321" actId="47"/>
        <pc:sldMasterMkLst>
          <pc:docMk/>
          <pc:sldMasterMk cId="1486661582" sldId="2147483951"/>
        </pc:sldMasterMkLst>
        <pc:sldLayoutChg chg="del">
          <pc:chgData name="Adwait Aralkar" userId="ae1719c1-ed02-42aa-a1d9-0d6e6247f692" providerId="ADAL" clId="{3F587D8B-EC67-422E-A694-1F3A026A2B27}" dt="2025-01-09T10:03:48.568" v="321" actId="47"/>
          <pc:sldLayoutMkLst>
            <pc:docMk/>
            <pc:sldMasterMk cId="1486661582" sldId="2147483951"/>
            <pc:sldLayoutMk cId="26546038" sldId="2147483952"/>
          </pc:sldLayoutMkLst>
        </pc:sldLayoutChg>
        <pc:sldLayoutChg chg="del">
          <pc:chgData name="Adwait Aralkar" userId="ae1719c1-ed02-42aa-a1d9-0d6e6247f692" providerId="ADAL" clId="{3F587D8B-EC67-422E-A694-1F3A026A2B27}" dt="2025-01-09T10:03:48.568" v="321" actId="47"/>
          <pc:sldLayoutMkLst>
            <pc:docMk/>
            <pc:sldMasterMk cId="1486661582" sldId="2147483951"/>
            <pc:sldLayoutMk cId="1169627653" sldId="2147483953"/>
          </pc:sldLayoutMkLst>
        </pc:sldLayoutChg>
        <pc:sldLayoutChg chg="del">
          <pc:chgData name="Adwait Aralkar" userId="ae1719c1-ed02-42aa-a1d9-0d6e6247f692" providerId="ADAL" clId="{3F587D8B-EC67-422E-A694-1F3A026A2B27}" dt="2025-01-09T10:03:48.568" v="321" actId="47"/>
          <pc:sldLayoutMkLst>
            <pc:docMk/>
            <pc:sldMasterMk cId="1486661582" sldId="2147483951"/>
            <pc:sldLayoutMk cId="4058147875" sldId="2147483954"/>
          </pc:sldLayoutMkLst>
        </pc:sldLayoutChg>
        <pc:sldLayoutChg chg="del">
          <pc:chgData name="Adwait Aralkar" userId="ae1719c1-ed02-42aa-a1d9-0d6e6247f692" providerId="ADAL" clId="{3F587D8B-EC67-422E-A694-1F3A026A2B27}" dt="2025-01-09T10:03:48.568" v="321" actId="47"/>
          <pc:sldLayoutMkLst>
            <pc:docMk/>
            <pc:sldMasterMk cId="1486661582" sldId="2147483951"/>
            <pc:sldLayoutMk cId="2224755691" sldId="2147483955"/>
          </pc:sldLayoutMkLst>
        </pc:sldLayoutChg>
        <pc:sldLayoutChg chg="del">
          <pc:chgData name="Adwait Aralkar" userId="ae1719c1-ed02-42aa-a1d9-0d6e6247f692" providerId="ADAL" clId="{3F587D8B-EC67-422E-A694-1F3A026A2B27}" dt="2025-01-09T10:03:48.568" v="321" actId="47"/>
          <pc:sldLayoutMkLst>
            <pc:docMk/>
            <pc:sldMasterMk cId="1486661582" sldId="2147483951"/>
            <pc:sldLayoutMk cId="3506767897" sldId="2147483956"/>
          </pc:sldLayoutMkLst>
        </pc:sldLayoutChg>
        <pc:sldLayoutChg chg="del">
          <pc:chgData name="Adwait Aralkar" userId="ae1719c1-ed02-42aa-a1d9-0d6e6247f692" providerId="ADAL" clId="{3F587D8B-EC67-422E-A694-1F3A026A2B27}" dt="2025-01-09T10:03:48.568" v="321" actId="47"/>
          <pc:sldLayoutMkLst>
            <pc:docMk/>
            <pc:sldMasterMk cId="1486661582" sldId="2147483951"/>
            <pc:sldLayoutMk cId="3241111341" sldId="2147483957"/>
          </pc:sldLayoutMkLst>
        </pc:sldLayoutChg>
        <pc:sldLayoutChg chg="del">
          <pc:chgData name="Adwait Aralkar" userId="ae1719c1-ed02-42aa-a1d9-0d6e6247f692" providerId="ADAL" clId="{3F587D8B-EC67-422E-A694-1F3A026A2B27}" dt="2025-01-09T10:03:48.568" v="321" actId="47"/>
          <pc:sldLayoutMkLst>
            <pc:docMk/>
            <pc:sldMasterMk cId="1486661582" sldId="2147483951"/>
            <pc:sldLayoutMk cId="3364139842" sldId="2147483958"/>
          </pc:sldLayoutMkLst>
        </pc:sldLayoutChg>
        <pc:sldLayoutChg chg="del">
          <pc:chgData name="Adwait Aralkar" userId="ae1719c1-ed02-42aa-a1d9-0d6e6247f692" providerId="ADAL" clId="{3F587D8B-EC67-422E-A694-1F3A026A2B27}" dt="2025-01-09T10:03:48.568" v="321" actId="47"/>
          <pc:sldLayoutMkLst>
            <pc:docMk/>
            <pc:sldMasterMk cId="1486661582" sldId="2147483951"/>
            <pc:sldLayoutMk cId="2043300892" sldId="2147483959"/>
          </pc:sldLayoutMkLst>
        </pc:sldLayoutChg>
        <pc:sldLayoutChg chg="del">
          <pc:chgData name="Adwait Aralkar" userId="ae1719c1-ed02-42aa-a1d9-0d6e6247f692" providerId="ADAL" clId="{3F587D8B-EC67-422E-A694-1F3A026A2B27}" dt="2025-01-09T10:03:48.568" v="321" actId="47"/>
          <pc:sldLayoutMkLst>
            <pc:docMk/>
            <pc:sldMasterMk cId="1486661582" sldId="2147483951"/>
            <pc:sldLayoutMk cId="3426976703" sldId="2147483960"/>
          </pc:sldLayoutMkLst>
        </pc:sldLayoutChg>
        <pc:sldLayoutChg chg="del">
          <pc:chgData name="Adwait Aralkar" userId="ae1719c1-ed02-42aa-a1d9-0d6e6247f692" providerId="ADAL" clId="{3F587D8B-EC67-422E-A694-1F3A026A2B27}" dt="2025-01-09T10:03:48.568" v="321" actId="47"/>
          <pc:sldLayoutMkLst>
            <pc:docMk/>
            <pc:sldMasterMk cId="1486661582" sldId="2147483951"/>
            <pc:sldLayoutMk cId="622293509" sldId="2147483961"/>
          </pc:sldLayoutMkLst>
        </pc:sldLayoutChg>
        <pc:sldLayoutChg chg="del">
          <pc:chgData name="Adwait Aralkar" userId="ae1719c1-ed02-42aa-a1d9-0d6e6247f692" providerId="ADAL" clId="{3F587D8B-EC67-422E-A694-1F3A026A2B27}" dt="2025-01-09T10:03:48.568" v="321" actId="47"/>
          <pc:sldLayoutMkLst>
            <pc:docMk/>
            <pc:sldMasterMk cId="1486661582" sldId="2147483951"/>
            <pc:sldLayoutMk cId="969901951" sldId="2147483962"/>
          </pc:sldLayoutMkLst>
        </pc:sldLayoutChg>
        <pc:sldLayoutChg chg="del">
          <pc:chgData name="Adwait Aralkar" userId="ae1719c1-ed02-42aa-a1d9-0d6e6247f692" providerId="ADAL" clId="{3F587D8B-EC67-422E-A694-1F3A026A2B27}" dt="2025-01-09T10:03:48.568" v="321" actId="47"/>
          <pc:sldLayoutMkLst>
            <pc:docMk/>
            <pc:sldMasterMk cId="1486661582" sldId="2147483951"/>
            <pc:sldLayoutMk cId="2638050158" sldId="2147483963"/>
          </pc:sldLayoutMkLst>
        </pc:sldLayoutChg>
        <pc:sldLayoutChg chg="del">
          <pc:chgData name="Adwait Aralkar" userId="ae1719c1-ed02-42aa-a1d9-0d6e6247f692" providerId="ADAL" clId="{3F587D8B-EC67-422E-A694-1F3A026A2B27}" dt="2025-01-09T10:03:48.568" v="321" actId="47"/>
          <pc:sldLayoutMkLst>
            <pc:docMk/>
            <pc:sldMasterMk cId="1486661582" sldId="2147483951"/>
            <pc:sldLayoutMk cId="4109859636" sldId="2147483964"/>
          </pc:sldLayoutMkLst>
        </pc:sldLayoutChg>
        <pc:sldLayoutChg chg="del">
          <pc:chgData name="Adwait Aralkar" userId="ae1719c1-ed02-42aa-a1d9-0d6e6247f692" providerId="ADAL" clId="{3F587D8B-EC67-422E-A694-1F3A026A2B27}" dt="2025-01-09T10:03:48.568" v="321" actId="47"/>
          <pc:sldLayoutMkLst>
            <pc:docMk/>
            <pc:sldMasterMk cId="1486661582" sldId="2147483951"/>
            <pc:sldLayoutMk cId="4154893874" sldId="2147483965"/>
          </pc:sldLayoutMkLst>
        </pc:sldLayoutChg>
        <pc:sldLayoutChg chg="del">
          <pc:chgData name="Adwait Aralkar" userId="ae1719c1-ed02-42aa-a1d9-0d6e6247f692" providerId="ADAL" clId="{3F587D8B-EC67-422E-A694-1F3A026A2B27}" dt="2025-01-09T10:03:48.568" v="321" actId="47"/>
          <pc:sldLayoutMkLst>
            <pc:docMk/>
            <pc:sldMasterMk cId="1486661582" sldId="2147483951"/>
            <pc:sldLayoutMk cId="1403749593" sldId="2147483966"/>
          </pc:sldLayoutMkLst>
        </pc:sldLayoutChg>
        <pc:sldLayoutChg chg="del">
          <pc:chgData name="Adwait Aralkar" userId="ae1719c1-ed02-42aa-a1d9-0d6e6247f692" providerId="ADAL" clId="{3F587D8B-EC67-422E-A694-1F3A026A2B27}" dt="2025-01-09T10:03:48.568" v="321" actId="47"/>
          <pc:sldLayoutMkLst>
            <pc:docMk/>
            <pc:sldMasterMk cId="1486661582" sldId="2147483951"/>
            <pc:sldLayoutMk cId="2382391631" sldId="2147483967"/>
          </pc:sldLayoutMkLst>
        </pc:sldLayoutChg>
        <pc:sldLayoutChg chg="del">
          <pc:chgData name="Adwait Aralkar" userId="ae1719c1-ed02-42aa-a1d9-0d6e6247f692" providerId="ADAL" clId="{3F587D8B-EC67-422E-A694-1F3A026A2B27}" dt="2025-01-09T10:03:48.568" v="321" actId="47"/>
          <pc:sldLayoutMkLst>
            <pc:docMk/>
            <pc:sldMasterMk cId="1486661582" sldId="2147483951"/>
            <pc:sldLayoutMk cId="655351244" sldId="2147483968"/>
          </pc:sldLayoutMkLst>
        </pc:sldLayoutChg>
        <pc:sldLayoutChg chg="del">
          <pc:chgData name="Adwait Aralkar" userId="ae1719c1-ed02-42aa-a1d9-0d6e6247f692" providerId="ADAL" clId="{3F587D8B-EC67-422E-A694-1F3A026A2B27}" dt="2025-01-09T10:03:48.568" v="321" actId="47"/>
          <pc:sldLayoutMkLst>
            <pc:docMk/>
            <pc:sldMasterMk cId="1486661582" sldId="2147483951"/>
            <pc:sldLayoutMk cId="2261262522" sldId="2147483969"/>
          </pc:sldLayoutMkLst>
        </pc:sldLayoutChg>
        <pc:sldLayoutChg chg="del">
          <pc:chgData name="Adwait Aralkar" userId="ae1719c1-ed02-42aa-a1d9-0d6e6247f692" providerId="ADAL" clId="{3F587D8B-EC67-422E-A694-1F3A026A2B27}" dt="2025-01-09T10:03:48.568" v="321" actId="47"/>
          <pc:sldLayoutMkLst>
            <pc:docMk/>
            <pc:sldMasterMk cId="1486661582" sldId="2147483951"/>
            <pc:sldLayoutMk cId="2312390862" sldId="2147483970"/>
          </pc:sldLayoutMkLst>
        </pc:sldLayoutChg>
        <pc:sldLayoutChg chg="del">
          <pc:chgData name="Adwait Aralkar" userId="ae1719c1-ed02-42aa-a1d9-0d6e6247f692" providerId="ADAL" clId="{3F587D8B-EC67-422E-A694-1F3A026A2B27}" dt="2025-01-09T10:03:48.568" v="321" actId="47"/>
          <pc:sldLayoutMkLst>
            <pc:docMk/>
            <pc:sldMasterMk cId="1486661582" sldId="2147483951"/>
            <pc:sldLayoutMk cId="3719490388" sldId="2147483971"/>
          </pc:sldLayoutMkLst>
        </pc:sldLayoutChg>
        <pc:sldLayoutChg chg="del">
          <pc:chgData name="Adwait Aralkar" userId="ae1719c1-ed02-42aa-a1d9-0d6e6247f692" providerId="ADAL" clId="{3F587D8B-EC67-422E-A694-1F3A026A2B27}" dt="2025-01-09T10:03:48.568" v="321" actId="47"/>
          <pc:sldLayoutMkLst>
            <pc:docMk/>
            <pc:sldMasterMk cId="1486661582" sldId="2147483951"/>
            <pc:sldLayoutMk cId="1032303527" sldId="2147483972"/>
          </pc:sldLayoutMkLst>
        </pc:sldLayoutChg>
        <pc:sldLayoutChg chg="del">
          <pc:chgData name="Adwait Aralkar" userId="ae1719c1-ed02-42aa-a1d9-0d6e6247f692" providerId="ADAL" clId="{3F587D8B-EC67-422E-A694-1F3A026A2B27}" dt="2025-01-09T10:03:48.568" v="321" actId="47"/>
          <pc:sldLayoutMkLst>
            <pc:docMk/>
            <pc:sldMasterMk cId="1486661582" sldId="2147483951"/>
            <pc:sldLayoutMk cId="1824770341" sldId="2147483973"/>
          </pc:sldLayoutMkLst>
        </pc:sldLayoutChg>
        <pc:sldLayoutChg chg="del">
          <pc:chgData name="Adwait Aralkar" userId="ae1719c1-ed02-42aa-a1d9-0d6e6247f692" providerId="ADAL" clId="{3F587D8B-EC67-422E-A694-1F3A026A2B27}" dt="2025-01-09T10:03:48.568" v="321" actId="47"/>
          <pc:sldLayoutMkLst>
            <pc:docMk/>
            <pc:sldMasterMk cId="1486661582" sldId="2147483951"/>
            <pc:sldLayoutMk cId="354176208" sldId="2147483974"/>
          </pc:sldLayoutMkLst>
        </pc:sldLayoutChg>
        <pc:sldLayoutChg chg="del">
          <pc:chgData name="Adwait Aralkar" userId="ae1719c1-ed02-42aa-a1d9-0d6e6247f692" providerId="ADAL" clId="{3F587D8B-EC67-422E-A694-1F3A026A2B27}" dt="2025-01-09T10:03:48.568" v="321" actId="47"/>
          <pc:sldLayoutMkLst>
            <pc:docMk/>
            <pc:sldMasterMk cId="1486661582" sldId="2147483951"/>
            <pc:sldLayoutMk cId="396556831" sldId="2147483975"/>
          </pc:sldLayoutMkLst>
        </pc:sldLayoutChg>
        <pc:sldLayoutChg chg="del">
          <pc:chgData name="Adwait Aralkar" userId="ae1719c1-ed02-42aa-a1d9-0d6e6247f692" providerId="ADAL" clId="{3F587D8B-EC67-422E-A694-1F3A026A2B27}" dt="2025-01-09T10:03:48.568" v="321" actId="47"/>
          <pc:sldLayoutMkLst>
            <pc:docMk/>
            <pc:sldMasterMk cId="1486661582" sldId="2147483951"/>
            <pc:sldLayoutMk cId="1648987881" sldId="2147483976"/>
          </pc:sldLayoutMkLst>
        </pc:sldLayoutChg>
        <pc:sldLayoutChg chg="del">
          <pc:chgData name="Adwait Aralkar" userId="ae1719c1-ed02-42aa-a1d9-0d6e6247f692" providerId="ADAL" clId="{3F587D8B-EC67-422E-A694-1F3A026A2B27}" dt="2025-01-09T10:03:48.568" v="321" actId="47"/>
          <pc:sldLayoutMkLst>
            <pc:docMk/>
            <pc:sldMasterMk cId="1486661582" sldId="2147483951"/>
            <pc:sldLayoutMk cId="3991960326" sldId="2147483977"/>
          </pc:sldLayoutMkLst>
        </pc:sldLayoutChg>
        <pc:sldLayoutChg chg="del">
          <pc:chgData name="Adwait Aralkar" userId="ae1719c1-ed02-42aa-a1d9-0d6e6247f692" providerId="ADAL" clId="{3F587D8B-EC67-422E-A694-1F3A026A2B27}" dt="2025-01-09T10:03:48.568" v="321" actId="47"/>
          <pc:sldLayoutMkLst>
            <pc:docMk/>
            <pc:sldMasterMk cId="1486661582" sldId="2147483951"/>
            <pc:sldLayoutMk cId="1202601980" sldId="2147483978"/>
          </pc:sldLayoutMkLst>
        </pc:sldLayoutChg>
        <pc:sldLayoutChg chg="del">
          <pc:chgData name="Adwait Aralkar" userId="ae1719c1-ed02-42aa-a1d9-0d6e6247f692" providerId="ADAL" clId="{3F587D8B-EC67-422E-A694-1F3A026A2B27}" dt="2025-01-09T10:03:48.568" v="321" actId="47"/>
          <pc:sldLayoutMkLst>
            <pc:docMk/>
            <pc:sldMasterMk cId="1486661582" sldId="2147483951"/>
            <pc:sldLayoutMk cId="2362986263" sldId="2147483979"/>
          </pc:sldLayoutMkLst>
        </pc:sldLayoutChg>
        <pc:sldLayoutChg chg="del">
          <pc:chgData name="Adwait Aralkar" userId="ae1719c1-ed02-42aa-a1d9-0d6e6247f692" providerId="ADAL" clId="{3F587D8B-EC67-422E-A694-1F3A026A2B27}" dt="2025-01-09T10:03:48.568" v="321" actId="47"/>
          <pc:sldLayoutMkLst>
            <pc:docMk/>
            <pc:sldMasterMk cId="1486661582" sldId="2147483951"/>
            <pc:sldLayoutMk cId="3027074592" sldId="2147483980"/>
          </pc:sldLayoutMkLst>
        </pc:sldLayoutChg>
        <pc:sldLayoutChg chg="del">
          <pc:chgData name="Adwait Aralkar" userId="ae1719c1-ed02-42aa-a1d9-0d6e6247f692" providerId="ADAL" clId="{3F587D8B-EC67-422E-A694-1F3A026A2B27}" dt="2025-01-09T10:03:48.568" v="321" actId="47"/>
          <pc:sldLayoutMkLst>
            <pc:docMk/>
            <pc:sldMasterMk cId="1486661582" sldId="2147483951"/>
            <pc:sldLayoutMk cId="1685419581" sldId="2147483981"/>
          </pc:sldLayoutMkLst>
        </pc:sldLayoutChg>
        <pc:sldLayoutChg chg="del">
          <pc:chgData name="Adwait Aralkar" userId="ae1719c1-ed02-42aa-a1d9-0d6e6247f692" providerId="ADAL" clId="{3F587D8B-EC67-422E-A694-1F3A026A2B27}" dt="2025-01-09T10:03:48.568" v="321" actId="47"/>
          <pc:sldLayoutMkLst>
            <pc:docMk/>
            <pc:sldMasterMk cId="1486661582" sldId="2147483951"/>
            <pc:sldLayoutMk cId="3403310153" sldId="2147483982"/>
          </pc:sldLayoutMkLst>
        </pc:sldLayoutChg>
        <pc:sldLayoutChg chg="del">
          <pc:chgData name="Adwait Aralkar" userId="ae1719c1-ed02-42aa-a1d9-0d6e6247f692" providerId="ADAL" clId="{3F587D8B-EC67-422E-A694-1F3A026A2B27}" dt="2025-01-09T10:03:48.568" v="321" actId="47"/>
          <pc:sldLayoutMkLst>
            <pc:docMk/>
            <pc:sldMasterMk cId="1486661582" sldId="2147483951"/>
            <pc:sldLayoutMk cId="567231192" sldId="2147483983"/>
          </pc:sldLayoutMkLst>
        </pc:sldLayoutChg>
        <pc:sldLayoutChg chg="del">
          <pc:chgData name="Adwait Aralkar" userId="ae1719c1-ed02-42aa-a1d9-0d6e6247f692" providerId="ADAL" clId="{3F587D8B-EC67-422E-A694-1F3A026A2B27}" dt="2025-01-09T10:03:48.568" v="321" actId="47"/>
          <pc:sldLayoutMkLst>
            <pc:docMk/>
            <pc:sldMasterMk cId="1486661582" sldId="2147483951"/>
            <pc:sldLayoutMk cId="3484745454" sldId="2147483984"/>
          </pc:sldLayoutMkLst>
        </pc:sldLayoutChg>
        <pc:sldLayoutChg chg="del">
          <pc:chgData name="Adwait Aralkar" userId="ae1719c1-ed02-42aa-a1d9-0d6e6247f692" providerId="ADAL" clId="{3F587D8B-EC67-422E-A694-1F3A026A2B27}" dt="2025-01-09T10:03:48.568" v="321" actId="47"/>
          <pc:sldLayoutMkLst>
            <pc:docMk/>
            <pc:sldMasterMk cId="1486661582" sldId="2147483951"/>
            <pc:sldLayoutMk cId="3164195664" sldId="2147483985"/>
          </pc:sldLayoutMkLst>
        </pc:sldLayoutChg>
        <pc:sldLayoutChg chg="del">
          <pc:chgData name="Adwait Aralkar" userId="ae1719c1-ed02-42aa-a1d9-0d6e6247f692" providerId="ADAL" clId="{3F587D8B-EC67-422E-A694-1F3A026A2B27}" dt="2025-01-09T10:03:48.568" v="321" actId="47"/>
          <pc:sldLayoutMkLst>
            <pc:docMk/>
            <pc:sldMasterMk cId="1486661582" sldId="2147483951"/>
            <pc:sldLayoutMk cId="466279657" sldId="2147483986"/>
          </pc:sldLayoutMkLst>
        </pc:sldLayoutChg>
        <pc:sldLayoutChg chg="del">
          <pc:chgData name="Adwait Aralkar" userId="ae1719c1-ed02-42aa-a1d9-0d6e6247f692" providerId="ADAL" clId="{3F587D8B-EC67-422E-A694-1F3A026A2B27}" dt="2025-01-09T10:03:48.568" v="321" actId="47"/>
          <pc:sldLayoutMkLst>
            <pc:docMk/>
            <pc:sldMasterMk cId="1486661582" sldId="2147483951"/>
            <pc:sldLayoutMk cId="1609019074" sldId="2147483987"/>
          </pc:sldLayoutMkLst>
        </pc:sldLayoutChg>
        <pc:sldLayoutChg chg="del">
          <pc:chgData name="Adwait Aralkar" userId="ae1719c1-ed02-42aa-a1d9-0d6e6247f692" providerId="ADAL" clId="{3F587D8B-EC67-422E-A694-1F3A026A2B27}" dt="2025-01-09T10:03:48.568" v="321" actId="47"/>
          <pc:sldLayoutMkLst>
            <pc:docMk/>
            <pc:sldMasterMk cId="1486661582" sldId="2147483951"/>
            <pc:sldLayoutMk cId="385758277" sldId="2147483988"/>
          </pc:sldLayoutMkLst>
        </pc:sldLayoutChg>
        <pc:sldLayoutChg chg="del">
          <pc:chgData name="Adwait Aralkar" userId="ae1719c1-ed02-42aa-a1d9-0d6e6247f692" providerId="ADAL" clId="{3F587D8B-EC67-422E-A694-1F3A026A2B27}" dt="2025-01-09T10:03:48.568" v="321" actId="47"/>
          <pc:sldLayoutMkLst>
            <pc:docMk/>
            <pc:sldMasterMk cId="1486661582" sldId="2147483951"/>
            <pc:sldLayoutMk cId="1859027770" sldId="2147483989"/>
          </pc:sldLayoutMkLst>
        </pc:sldLayoutChg>
        <pc:sldLayoutChg chg="del">
          <pc:chgData name="Adwait Aralkar" userId="ae1719c1-ed02-42aa-a1d9-0d6e6247f692" providerId="ADAL" clId="{3F587D8B-EC67-422E-A694-1F3A026A2B27}" dt="2025-01-09T10:03:48.568" v="321" actId="47"/>
          <pc:sldLayoutMkLst>
            <pc:docMk/>
            <pc:sldMasterMk cId="1486661582" sldId="2147483951"/>
            <pc:sldLayoutMk cId="2025415465" sldId="2147483990"/>
          </pc:sldLayoutMkLst>
        </pc:sldLayoutChg>
        <pc:sldLayoutChg chg="del">
          <pc:chgData name="Adwait Aralkar" userId="ae1719c1-ed02-42aa-a1d9-0d6e6247f692" providerId="ADAL" clId="{3F587D8B-EC67-422E-A694-1F3A026A2B27}" dt="2025-01-09T10:03:48.568" v="321" actId="47"/>
          <pc:sldLayoutMkLst>
            <pc:docMk/>
            <pc:sldMasterMk cId="1486661582" sldId="2147483951"/>
            <pc:sldLayoutMk cId="1099974388" sldId="2147483991"/>
          </pc:sldLayoutMkLst>
        </pc:sldLayoutChg>
        <pc:sldLayoutChg chg="del">
          <pc:chgData name="Adwait Aralkar" userId="ae1719c1-ed02-42aa-a1d9-0d6e6247f692" providerId="ADAL" clId="{3F587D8B-EC67-422E-A694-1F3A026A2B27}" dt="2025-01-09T10:03:48.568" v="321" actId="47"/>
          <pc:sldLayoutMkLst>
            <pc:docMk/>
            <pc:sldMasterMk cId="1486661582" sldId="2147483951"/>
            <pc:sldLayoutMk cId="1855370260" sldId="2147483992"/>
          </pc:sldLayoutMkLst>
        </pc:sldLayoutChg>
        <pc:sldLayoutChg chg="del">
          <pc:chgData name="Adwait Aralkar" userId="ae1719c1-ed02-42aa-a1d9-0d6e6247f692" providerId="ADAL" clId="{3F587D8B-EC67-422E-A694-1F3A026A2B27}" dt="2025-01-09T10:03:48.568" v="321" actId="47"/>
          <pc:sldLayoutMkLst>
            <pc:docMk/>
            <pc:sldMasterMk cId="1486661582" sldId="2147483951"/>
            <pc:sldLayoutMk cId="448023199" sldId="2147483993"/>
          </pc:sldLayoutMkLst>
        </pc:sldLayoutChg>
        <pc:sldLayoutChg chg="del">
          <pc:chgData name="Adwait Aralkar" userId="ae1719c1-ed02-42aa-a1d9-0d6e6247f692" providerId="ADAL" clId="{3F587D8B-EC67-422E-A694-1F3A026A2B27}" dt="2025-01-09T10:03:48.568" v="321" actId="47"/>
          <pc:sldLayoutMkLst>
            <pc:docMk/>
            <pc:sldMasterMk cId="1486661582" sldId="2147483951"/>
            <pc:sldLayoutMk cId="4048857035" sldId="2147483994"/>
          </pc:sldLayoutMkLst>
        </pc:sldLayoutChg>
        <pc:sldLayoutChg chg="del">
          <pc:chgData name="Adwait Aralkar" userId="ae1719c1-ed02-42aa-a1d9-0d6e6247f692" providerId="ADAL" clId="{3F587D8B-EC67-422E-A694-1F3A026A2B27}" dt="2025-01-09T10:03:48.568" v="321" actId="47"/>
          <pc:sldLayoutMkLst>
            <pc:docMk/>
            <pc:sldMasterMk cId="1486661582" sldId="2147483951"/>
            <pc:sldLayoutMk cId="2102461482" sldId="2147483995"/>
          </pc:sldLayoutMkLst>
        </pc:sldLayoutChg>
        <pc:sldLayoutChg chg="del">
          <pc:chgData name="Adwait Aralkar" userId="ae1719c1-ed02-42aa-a1d9-0d6e6247f692" providerId="ADAL" clId="{3F587D8B-EC67-422E-A694-1F3A026A2B27}" dt="2025-01-09T10:03:48.568" v="321" actId="47"/>
          <pc:sldLayoutMkLst>
            <pc:docMk/>
            <pc:sldMasterMk cId="1486661582" sldId="2147483951"/>
            <pc:sldLayoutMk cId="692558440" sldId="2147483996"/>
          </pc:sldLayoutMkLst>
        </pc:sldLayoutChg>
        <pc:sldLayoutChg chg="del">
          <pc:chgData name="Adwait Aralkar" userId="ae1719c1-ed02-42aa-a1d9-0d6e6247f692" providerId="ADAL" clId="{3F587D8B-EC67-422E-A694-1F3A026A2B27}" dt="2025-01-09T10:03:48.568" v="321" actId="47"/>
          <pc:sldLayoutMkLst>
            <pc:docMk/>
            <pc:sldMasterMk cId="1486661582" sldId="2147483951"/>
            <pc:sldLayoutMk cId="322487314" sldId="2147483997"/>
          </pc:sldLayoutMkLst>
        </pc:sldLayoutChg>
        <pc:sldLayoutChg chg="del">
          <pc:chgData name="Adwait Aralkar" userId="ae1719c1-ed02-42aa-a1d9-0d6e6247f692" providerId="ADAL" clId="{3F587D8B-EC67-422E-A694-1F3A026A2B27}" dt="2025-01-09T10:03:48.568" v="321" actId="47"/>
          <pc:sldLayoutMkLst>
            <pc:docMk/>
            <pc:sldMasterMk cId="1486661582" sldId="2147483951"/>
            <pc:sldLayoutMk cId="2608820868" sldId="2147483998"/>
          </pc:sldLayoutMkLst>
        </pc:sldLayoutChg>
        <pc:sldLayoutChg chg="del">
          <pc:chgData name="Adwait Aralkar" userId="ae1719c1-ed02-42aa-a1d9-0d6e6247f692" providerId="ADAL" clId="{3F587D8B-EC67-422E-A694-1F3A026A2B27}" dt="2025-01-09T10:03:48.568" v="321" actId="47"/>
          <pc:sldLayoutMkLst>
            <pc:docMk/>
            <pc:sldMasterMk cId="1486661582" sldId="2147483951"/>
            <pc:sldLayoutMk cId="142771199" sldId="2147483999"/>
          </pc:sldLayoutMkLst>
        </pc:sldLayoutChg>
        <pc:sldLayoutChg chg="del">
          <pc:chgData name="Adwait Aralkar" userId="ae1719c1-ed02-42aa-a1d9-0d6e6247f692" providerId="ADAL" clId="{3F587D8B-EC67-422E-A694-1F3A026A2B27}" dt="2025-01-09T10:03:48.568" v="321" actId="47"/>
          <pc:sldLayoutMkLst>
            <pc:docMk/>
            <pc:sldMasterMk cId="1486661582" sldId="2147483951"/>
            <pc:sldLayoutMk cId="316806100" sldId="2147484000"/>
          </pc:sldLayoutMkLst>
        </pc:sldLayoutChg>
        <pc:sldLayoutChg chg="del">
          <pc:chgData name="Adwait Aralkar" userId="ae1719c1-ed02-42aa-a1d9-0d6e6247f692" providerId="ADAL" clId="{3F587D8B-EC67-422E-A694-1F3A026A2B27}" dt="2025-01-09T10:03:48.568" v="321" actId="47"/>
          <pc:sldLayoutMkLst>
            <pc:docMk/>
            <pc:sldMasterMk cId="1486661582" sldId="2147483951"/>
            <pc:sldLayoutMk cId="1981984262" sldId="2147484001"/>
          </pc:sldLayoutMkLst>
        </pc:sldLayoutChg>
        <pc:sldLayoutChg chg="del">
          <pc:chgData name="Adwait Aralkar" userId="ae1719c1-ed02-42aa-a1d9-0d6e6247f692" providerId="ADAL" clId="{3F587D8B-EC67-422E-A694-1F3A026A2B27}" dt="2025-01-09T10:03:48.568" v="321" actId="47"/>
          <pc:sldLayoutMkLst>
            <pc:docMk/>
            <pc:sldMasterMk cId="1486661582" sldId="2147483951"/>
            <pc:sldLayoutMk cId="1679404648" sldId="2147484002"/>
          </pc:sldLayoutMkLst>
        </pc:sldLayoutChg>
      </pc:sldMasterChg>
      <pc:sldMasterChg chg="del delSldLayout">
        <pc:chgData name="Adwait Aralkar" userId="ae1719c1-ed02-42aa-a1d9-0d6e6247f692" providerId="ADAL" clId="{3F587D8B-EC67-422E-A694-1F3A026A2B27}" dt="2025-01-13T15:24:10.680" v="3582" actId="2696"/>
        <pc:sldMasterMkLst>
          <pc:docMk/>
          <pc:sldMasterMk cId="4227849063" sldId="2147484042"/>
        </pc:sldMasterMkLst>
        <pc:sldLayoutChg chg="del">
          <pc:chgData name="Adwait Aralkar" userId="ae1719c1-ed02-42aa-a1d9-0d6e6247f692" providerId="ADAL" clId="{3F587D8B-EC67-422E-A694-1F3A026A2B27}" dt="2025-01-13T15:24:10.680" v="3582" actId="2696"/>
          <pc:sldLayoutMkLst>
            <pc:docMk/>
            <pc:sldMasterMk cId="4227849063" sldId="2147484042"/>
            <pc:sldLayoutMk cId="3906691360" sldId="2147484043"/>
          </pc:sldLayoutMkLst>
        </pc:sldLayoutChg>
        <pc:sldLayoutChg chg="del">
          <pc:chgData name="Adwait Aralkar" userId="ae1719c1-ed02-42aa-a1d9-0d6e6247f692" providerId="ADAL" clId="{3F587D8B-EC67-422E-A694-1F3A026A2B27}" dt="2025-01-13T15:24:10.680" v="3582" actId="2696"/>
          <pc:sldLayoutMkLst>
            <pc:docMk/>
            <pc:sldMasterMk cId="4227849063" sldId="2147484042"/>
            <pc:sldLayoutMk cId="3645032879" sldId="2147484044"/>
          </pc:sldLayoutMkLst>
        </pc:sldLayoutChg>
        <pc:sldLayoutChg chg="del">
          <pc:chgData name="Adwait Aralkar" userId="ae1719c1-ed02-42aa-a1d9-0d6e6247f692" providerId="ADAL" clId="{3F587D8B-EC67-422E-A694-1F3A026A2B27}" dt="2025-01-13T15:24:10.680" v="3582" actId="2696"/>
          <pc:sldLayoutMkLst>
            <pc:docMk/>
            <pc:sldMasterMk cId="4227849063" sldId="2147484042"/>
            <pc:sldLayoutMk cId="3062315487" sldId="2147484045"/>
          </pc:sldLayoutMkLst>
        </pc:sldLayoutChg>
        <pc:sldLayoutChg chg="del">
          <pc:chgData name="Adwait Aralkar" userId="ae1719c1-ed02-42aa-a1d9-0d6e6247f692" providerId="ADAL" clId="{3F587D8B-EC67-422E-A694-1F3A026A2B27}" dt="2025-01-13T15:24:10.680" v="3582" actId="2696"/>
          <pc:sldLayoutMkLst>
            <pc:docMk/>
            <pc:sldMasterMk cId="4227849063" sldId="2147484042"/>
            <pc:sldLayoutMk cId="2731322611" sldId="2147484046"/>
          </pc:sldLayoutMkLst>
        </pc:sldLayoutChg>
        <pc:sldLayoutChg chg="del">
          <pc:chgData name="Adwait Aralkar" userId="ae1719c1-ed02-42aa-a1d9-0d6e6247f692" providerId="ADAL" clId="{3F587D8B-EC67-422E-A694-1F3A026A2B27}" dt="2025-01-13T15:24:10.680" v="3582" actId="2696"/>
          <pc:sldLayoutMkLst>
            <pc:docMk/>
            <pc:sldMasterMk cId="4227849063" sldId="2147484042"/>
            <pc:sldLayoutMk cId="896218384" sldId="2147484047"/>
          </pc:sldLayoutMkLst>
        </pc:sldLayoutChg>
        <pc:sldLayoutChg chg="del">
          <pc:chgData name="Adwait Aralkar" userId="ae1719c1-ed02-42aa-a1d9-0d6e6247f692" providerId="ADAL" clId="{3F587D8B-EC67-422E-A694-1F3A026A2B27}" dt="2025-01-13T15:24:10.680" v="3582" actId="2696"/>
          <pc:sldLayoutMkLst>
            <pc:docMk/>
            <pc:sldMasterMk cId="4227849063" sldId="2147484042"/>
            <pc:sldLayoutMk cId="4034215529" sldId="2147484048"/>
          </pc:sldLayoutMkLst>
        </pc:sldLayoutChg>
        <pc:sldLayoutChg chg="del">
          <pc:chgData name="Adwait Aralkar" userId="ae1719c1-ed02-42aa-a1d9-0d6e6247f692" providerId="ADAL" clId="{3F587D8B-EC67-422E-A694-1F3A026A2B27}" dt="2025-01-13T15:24:10.680" v="3582" actId="2696"/>
          <pc:sldLayoutMkLst>
            <pc:docMk/>
            <pc:sldMasterMk cId="4227849063" sldId="2147484042"/>
            <pc:sldLayoutMk cId="3465003671" sldId="2147484049"/>
          </pc:sldLayoutMkLst>
        </pc:sldLayoutChg>
        <pc:sldLayoutChg chg="del">
          <pc:chgData name="Adwait Aralkar" userId="ae1719c1-ed02-42aa-a1d9-0d6e6247f692" providerId="ADAL" clId="{3F587D8B-EC67-422E-A694-1F3A026A2B27}" dt="2025-01-13T15:24:10.680" v="3582" actId="2696"/>
          <pc:sldLayoutMkLst>
            <pc:docMk/>
            <pc:sldMasterMk cId="4227849063" sldId="2147484042"/>
            <pc:sldLayoutMk cId="1175978826" sldId="2147484050"/>
          </pc:sldLayoutMkLst>
        </pc:sldLayoutChg>
        <pc:sldLayoutChg chg="del">
          <pc:chgData name="Adwait Aralkar" userId="ae1719c1-ed02-42aa-a1d9-0d6e6247f692" providerId="ADAL" clId="{3F587D8B-EC67-422E-A694-1F3A026A2B27}" dt="2025-01-13T15:24:10.680" v="3582" actId="2696"/>
          <pc:sldLayoutMkLst>
            <pc:docMk/>
            <pc:sldMasterMk cId="4227849063" sldId="2147484042"/>
            <pc:sldLayoutMk cId="1972160748" sldId="2147484051"/>
          </pc:sldLayoutMkLst>
        </pc:sldLayoutChg>
        <pc:sldLayoutChg chg="del">
          <pc:chgData name="Adwait Aralkar" userId="ae1719c1-ed02-42aa-a1d9-0d6e6247f692" providerId="ADAL" clId="{3F587D8B-EC67-422E-A694-1F3A026A2B27}" dt="2025-01-13T15:24:10.680" v="3582" actId="2696"/>
          <pc:sldLayoutMkLst>
            <pc:docMk/>
            <pc:sldMasterMk cId="4227849063" sldId="2147484042"/>
            <pc:sldLayoutMk cId="2150245948" sldId="2147484052"/>
          </pc:sldLayoutMkLst>
        </pc:sldLayoutChg>
        <pc:sldLayoutChg chg="del">
          <pc:chgData name="Adwait Aralkar" userId="ae1719c1-ed02-42aa-a1d9-0d6e6247f692" providerId="ADAL" clId="{3F587D8B-EC67-422E-A694-1F3A026A2B27}" dt="2025-01-13T15:24:10.680" v="3582" actId="2696"/>
          <pc:sldLayoutMkLst>
            <pc:docMk/>
            <pc:sldMasterMk cId="4227849063" sldId="2147484042"/>
            <pc:sldLayoutMk cId="1996809494" sldId="2147484053"/>
          </pc:sldLayoutMkLst>
        </pc:sldLayoutChg>
        <pc:sldLayoutChg chg="del">
          <pc:chgData name="Adwait Aralkar" userId="ae1719c1-ed02-42aa-a1d9-0d6e6247f692" providerId="ADAL" clId="{3F587D8B-EC67-422E-A694-1F3A026A2B27}" dt="2025-01-13T15:24:10.680" v="3582" actId="2696"/>
          <pc:sldLayoutMkLst>
            <pc:docMk/>
            <pc:sldMasterMk cId="4227849063" sldId="2147484042"/>
            <pc:sldLayoutMk cId="2904004445" sldId="2147484054"/>
          </pc:sldLayoutMkLst>
        </pc:sldLayoutChg>
        <pc:sldLayoutChg chg="del">
          <pc:chgData name="Adwait Aralkar" userId="ae1719c1-ed02-42aa-a1d9-0d6e6247f692" providerId="ADAL" clId="{3F587D8B-EC67-422E-A694-1F3A026A2B27}" dt="2025-01-13T15:24:10.680" v="3582" actId="2696"/>
          <pc:sldLayoutMkLst>
            <pc:docMk/>
            <pc:sldMasterMk cId="4227849063" sldId="2147484042"/>
            <pc:sldLayoutMk cId="2173790843" sldId="2147484055"/>
          </pc:sldLayoutMkLst>
        </pc:sldLayoutChg>
        <pc:sldLayoutChg chg="del">
          <pc:chgData name="Adwait Aralkar" userId="ae1719c1-ed02-42aa-a1d9-0d6e6247f692" providerId="ADAL" clId="{3F587D8B-EC67-422E-A694-1F3A026A2B27}" dt="2025-01-13T15:24:10.680" v="3582" actId="2696"/>
          <pc:sldLayoutMkLst>
            <pc:docMk/>
            <pc:sldMasterMk cId="4227849063" sldId="2147484042"/>
            <pc:sldLayoutMk cId="873953626" sldId="2147484056"/>
          </pc:sldLayoutMkLst>
        </pc:sldLayoutChg>
        <pc:sldLayoutChg chg="del">
          <pc:chgData name="Adwait Aralkar" userId="ae1719c1-ed02-42aa-a1d9-0d6e6247f692" providerId="ADAL" clId="{3F587D8B-EC67-422E-A694-1F3A026A2B27}" dt="2025-01-13T15:24:10.680" v="3582" actId="2696"/>
          <pc:sldLayoutMkLst>
            <pc:docMk/>
            <pc:sldMasterMk cId="4227849063" sldId="2147484042"/>
            <pc:sldLayoutMk cId="2536127545" sldId="2147484057"/>
          </pc:sldLayoutMkLst>
        </pc:sldLayoutChg>
        <pc:sldLayoutChg chg="del">
          <pc:chgData name="Adwait Aralkar" userId="ae1719c1-ed02-42aa-a1d9-0d6e6247f692" providerId="ADAL" clId="{3F587D8B-EC67-422E-A694-1F3A026A2B27}" dt="2025-01-13T15:24:10.680" v="3582" actId="2696"/>
          <pc:sldLayoutMkLst>
            <pc:docMk/>
            <pc:sldMasterMk cId="4227849063" sldId="2147484042"/>
            <pc:sldLayoutMk cId="956348736" sldId="2147484058"/>
          </pc:sldLayoutMkLst>
        </pc:sldLayoutChg>
        <pc:sldLayoutChg chg="del">
          <pc:chgData name="Adwait Aralkar" userId="ae1719c1-ed02-42aa-a1d9-0d6e6247f692" providerId="ADAL" clId="{3F587D8B-EC67-422E-A694-1F3A026A2B27}" dt="2025-01-13T15:24:10.680" v="3582" actId="2696"/>
          <pc:sldLayoutMkLst>
            <pc:docMk/>
            <pc:sldMasterMk cId="4227849063" sldId="2147484042"/>
            <pc:sldLayoutMk cId="35540201" sldId="2147484059"/>
          </pc:sldLayoutMkLst>
        </pc:sldLayoutChg>
        <pc:sldLayoutChg chg="del">
          <pc:chgData name="Adwait Aralkar" userId="ae1719c1-ed02-42aa-a1d9-0d6e6247f692" providerId="ADAL" clId="{3F587D8B-EC67-422E-A694-1F3A026A2B27}" dt="2025-01-13T15:24:10.680" v="3582" actId="2696"/>
          <pc:sldLayoutMkLst>
            <pc:docMk/>
            <pc:sldMasterMk cId="4227849063" sldId="2147484042"/>
            <pc:sldLayoutMk cId="1547586330" sldId="2147484060"/>
          </pc:sldLayoutMkLst>
        </pc:sldLayoutChg>
        <pc:sldLayoutChg chg="del">
          <pc:chgData name="Adwait Aralkar" userId="ae1719c1-ed02-42aa-a1d9-0d6e6247f692" providerId="ADAL" clId="{3F587D8B-EC67-422E-A694-1F3A026A2B27}" dt="2025-01-13T15:24:10.680" v="3582" actId="2696"/>
          <pc:sldLayoutMkLst>
            <pc:docMk/>
            <pc:sldMasterMk cId="4227849063" sldId="2147484042"/>
            <pc:sldLayoutMk cId="1753871873" sldId="2147484061"/>
          </pc:sldLayoutMkLst>
        </pc:sldLayoutChg>
        <pc:sldLayoutChg chg="del">
          <pc:chgData name="Adwait Aralkar" userId="ae1719c1-ed02-42aa-a1d9-0d6e6247f692" providerId="ADAL" clId="{3F587D8B-EC67-422E-A694-1F3A026A2B27}" dt="2025-01-13T15:24:10.680" v="3582" actId="2696"/>
          <pc:sldLayoutMkLst>
            <pc:docMk/>
            <pc:sldMasterMk cId="4227849063" sldId="2147484042"/>
            <pc:sldLayoutMk cId="1183162991" sldId="2147484062"/>
          </pc:sldLayoutMkLst>
        </pc:sldLayoutChg>
        <pc:sldLayoutChg chg="del">
          <pc:chgData name="Adwait Aralkar" userId="ae1719c1-ed02-42aa-a1d9-0d6e6247f692" providerId="ADAL" clId="{3F587D8B-EC67-422E-A694-1F3A026A2B27}" dt="2025-01-13T15:24:10.680" v="3582" actId="2696"/>
          <pc:sldLayoutMkLst>
            <pc:docMk/>
            <pc:sldMasterMk cId="4227849063" sldId="2147484042"/>
            <pc:sldLayoutMk cId="2547564627" sldId="2147484063"/>
          </pc:sldLayoutMkLst>
        </pc:sldLayoutChg>
        <pc:sldLayoutChg chg="del">
          <pc:chgData name="Adwait Aralkar" userId="ae1719c1-ed02-42aa-a1d9-0d6e6247f692" providerId="ADAL" clId="{3F587D8B-EC67-422E-A694-1F3A026A2B27}" dt="2025-01-13T15:24:10.680" v="3582" actId="2696"/>
          <pc:sldLayoutMkLst>
            <pc:docMk/>
            <pc:sldMasterMk cId="4227849063" sldId="2147484042"/>
            <pc:sldLayoutMk cId="3020573556" sldId="2147484064"/>
          </pc:sldLayoutMkLst>
        </pc:sldLayoutChg>
        <pc:sldLayoutChg chg="del">
          <pc:chgData name="Adwait Aralkar" userId="ae1719c1-ed02-42aa-a1d9-0d6e6247f692" providerId="ADAL" clId="{3F587D8B-EC67-422E-A694-1F3A026A2B27}" dt="2025-01-13T15:24:10.680" v="3582" actId="2696"/>
          <pc:sldLayoutMkLst>
            <pc:docMk/>
            <pc:sldMasterMk cId="4227849063" sldId="2147484042"/>
            <pc:sldLayoutMk cId="3162852536" sldId="2147484065"/>
          </pc:sldLayoutMkLst>
        </pc:sldLayoutChg>
        <pc:sldLayoutChg chg="del">
          <pc:chgData name="Adwait Aralkar" userId="ae1719c1-ed02-42aa-a1d9-0d6e6247f692" providerId="ADAL" clId="{3F587D8B-EC67-422E-A694-1F3A026A2B27}" dt="2025-01-13T15:24:10.680" v="3582" actId="2696"/>
          <pc:sldLayoutMkLst>
            <pc:docMk/>
            <pc:sldMasterMk cId="4227849063" sldId="2147484042"/>
            <pc:sldLayoutMk cId="978878248" sldId="2147484066"/>
          </pc:sldLayoutMkLst>
        </pc:sldLayoutChg>
        <pc:sldLayoutChg chg="del">
          <pc:chgData name="Adwait Aralkar" userId="ae1719c1-ed02-42aa-a1d9-0d6e6247f692" providerId="ADAL" clId="{3F587D8B-EC67-422E-A694-1F3A026A2B27}" dt="2025-01-13T15:24:10.680" v="3582" actId="2696"/>
          <pc:sldLayoutMkLst>
            <pc:docMk/>
            <pc:sldMasterMk cId="4227849063" sldId="2147484042"/>
            <pc:sldLayoutMk cId="741243828" sldId="2147484067"/>
          </pc:sldLayoutMkLst>
        </pc:sldLayoutChg>
        <pc:sldLayoutChg chg="del">
          <pc:chgData name="Adwait Aralkar" userId="ae1719c1-ed02-42aa-a1d9-0d6e6247f692" providerId="ADAL" clId="{3F587D8B-EC67-422E-A694-1F3A026A2B27}" dt="2025-01-13T15:24:10.680" v="3582" actId="2696"/>
          <pc:sldLayoutMkLst>
            <pc:docMk/>
            <pc:sldMasterMk cId="4227849063" sldId="2147484042"/>
            <pc:sldLayoutMk cId="2550292758" sldId="2147484068"/>
          </pc:sldLayoutMkLst>
        </pc:sldLayoutChg>
        <pc:sldLayoutChg chg="del">
          <pc:chgData name="Adwait Aralkar" userId="ae1719c1-ed02-42aa-a1d9-0d6e6247f692" providerId="ADAL" clId="{3F587D8B-EC67-422E-A694-1F3A026A2B27}" dt="2025-01-13T15:24:10.680" v="3582" actId="2696"/>
          <pc:sldLayoutMkLst>
            <pc:docMk/>
            <pc:sldMasterMk cId="4227849063" sldId="2147484042"/>
            <pc:sldLayoutMk cId="4149608820" sldId="2147484069"/>
          </pc:sldLayoutMkLst>
        </pc:sldLayoutChg>
        <pc:sldLayoutChg chg="del">
          <pc:chgData name="Adwait Aralkar" userId="ae1719c1-ed02-42aa-a1d9-0d6e6247f692" providerId="ADAL" clId="{3F587D8B-EC67-422E-A694-1F3A026A2B27}" dt="2025-01-13T15:24:10.680" v="3582" actId="2696"/>
          <pc:sldLayoutMkLst>
            <pc:docMk/>
            <pc:sldMasterMk cId="4227849063" sldId="2147484042"/>
            <pc:sldLayoutMk cId="1747396925" sldId="2147484070"/>
          </pc:sldLayoutMkLst>
        </pc:sldLayoutChg>
        <pc:sldLayoutChg chg="del">
          <pc:chgData name="Adwait Aralkar" userId="ae1719c1-ed02-42aa-a1d9-0d6e6247f692" providerId="ADAL" clId="{3F587D8B-EC67-422E-A694-1F3A026A2B27}" dt="2025-01-13T15:24:10.680" v="3582" actId="2696"/>
          <pc:sldLayoutMkLst>
            <pc:docMk/>
            <pc:sldMasterMk cId="4227849063" sldId="2147484042"/>
            <pc:sldLayoutMk cId="3376288083" sldId="2147484071"/>
          </pc:sldLayoutMkLst>
        </pc:sldLayoutChg>
        <pc:sldLayoutChg chg="del">
          <pc:chgData name="Adwait Aralkar" userId="ae1719c1-ed02-42aa-a1d9-0d6e6247f692" providerId="ADAL" clId="{3F587D8B-EC67-422E-A694-1F3A026A2B27}" dt="2025-01-13T15:24:10.680" v="3582" actId="2696"/>
          <pc:sldLayoutMkLst>
            <pc:docMk/>
            <pc:sldMasterMk cId="4227849063" sldId="2147484042"/>
            <pc:sldLayoutMk cId="704933886" sldId="2147484072"/>
          </pc:sldLayoutMkLst>
        </pc:sldLayoutChg>
        <pc:sldLayoutChg chg="del">
          <pc:chgData name="Adwait Aralkar" userId="ae1719c1-ed02-42aa-a1d9-0d6e6247f692" providerId="ADAL" clId="{3F587D8B-EC67-422E-A694-1F3A026A2B27}" dt="2025-01-13T15:24:10.680" v="3582" actId="2696"/>
          <pc:sldLayoutMkLst>
            <pc:docMk/>
            <pc:sldMasterMk cId="4227849063" sldId="2147484042"/>
            <pc:sldLayoutMk cId="1326652839" sldId="2147484073"/>
          </pc:sldLayoutMkLst>
        </pc:sldLayoutChg>
        <pc:sldLayoutChg chg="del">
          <pc:chgData name="Adwait Aralkar" userId="ae1719c1-ed02-42aa-a1d9-0d6e6247f692" providerId="ADAL" clId="{3F587D8B-EC67-422E-A694-1F3A026A2B27}" dt="2025-01-13T15:24:10.680" v="3582" actId="2696"/>
          <pc:sldLayoutMkLst>
            <pc:docMk/>
            <pc:sldMasterMk cId="4227849063" sldId="2147484042"/>
            <pc:sldLayoutMk cId="3213954657" sldId="2147484074"/>
          </pc:sldLayoutMkLst>
        </pc:sldLayoutChg>
        <pc:sldLayoutChg chg="del">
          <pc:chgData name="Adwait Aralkar" userId="ae1719c1-ed02-42aa-a1d9-0d6e6247f692" providerId="ADAL" clId="{3F587D8B-EC67-422E-A694-1F3A026A2B27}" dt="2025-01-13T15:24:10.680" v="3582" actId="2696"/>
          <pc:sldLayoutMkLst>
            <pc:docMk/>
            <pc:sldMasterMk cId="4227849063" sldId="2147484042"/>
            <pc:sldLayoutMk cId="497184570" sldId="2147484075"/>
          </pc:sldLayoutMkLst>
        </pc:sldLayoutChg>
        <pc:sldLayoutChg chg="del">
          <pc:chgData name="Adwait Aralkar" userId="ae1719c1-ed02-42aa-a1d9-0d6e6247f692" providerId="ADAL" clId="{3F587D8B-EC67-422E-A694-1F3A026A2B27}" dt="2025-01-13T15:24:10.680" v="3582" actId="2696"/>
          <pc:sldLayoutMkLst>
            <pc:docMk/>
            <pc:sldMasterMk cId="4227849063" sldId="2147484042"/>
            <pc:sldLayoutMk cId="2521963832" sldId="2147484076"/>
          </pc:sldLayoutMkLst>
        </pc:sldLayoutChg>
        <pc:sldLayoutChg chg="del">
          <pc:chgData name="Adwait Aralkar" userId="ae1719c1-ed02-42aa-a1d9-0d6e6247f692" providerId="ADAL" clId="{3F587D8B-EC67-422E-A694-1F3A026A2B27}" dt="2025-01-13T15:24:10.680" v="3582" actId="2696"/>
          <pc:sldLayoutMkLst>
            <pc:docMk/>
            <pc:sldMasterMk cId="4227849063" sldId="2147484042"/>
            <pc:sldLayoutMk cId="1601731766" sldId="2147484077"/>
          </pc:sldLayoutMkLst>
        </pc:sldLayoutChg>
        <pc:sldLayoutChg chg="del">
          <pc:chgData name="Adwait Aralkar" userId="ae1719c1-ed02-42aa-a1d9-0d6e6247f692" providerId="ADAL" clId="{3F587D8B-EC67-422E-A694-1F3A026A2B27}" dt="2025-01-13T15:24:10.680" v="3582" actId="2696"/>
          <pc:sldLayoutMkLst>
            <pc:docMk/>
            <pc:sldMasterMk cId="4227849063" sldId="2147484042"/>
            <pc:sldLayoutMk cId="103562728" sldId="2147484078"/>
          </pc:sldLayoutMkLst>
        </pc:sldLayoutChg>
        <pc:sldLayoutChg chg="del">
          <pc:chgData name="Adwait Aralkar" userId="ae1719c1-ed02-42aa-a1d9-0d6e6247f692" providerId="ADAL" clId="{3F587D8B-EC67-422E-A694-1F3A026A2B27}" dt="2025-01-13T15:24:10.680" v="3582" actId="2696"/>
          <pc:sldLayoutMkLst>
            <pc:docMk/>
            <pc:sldMasterMk cId="4227849063" sldId="2147484042"/>
            <pc:sldLayoutMk cId="2578137651" sldId="2147484079"/>
          </pc:sldLayoutMkLst>
        </pc:sldLayoutChg>
        <pc:sldLayoutChg chg="del">
          <pc:chgData name="Adwait Aralkar" userId="ae1719c1-ed02-42aa-a1d9-0d6e6247f692" providerId="ADAL" clId="{3F587D8B-EC67-422E-A694-1F3A026A2B27}" dt="2025-01-13T15:24:10.680" v="3582" actId="2696"/>
          <pc:sldLayoutMkLst>
            <pc:docMk/>
            <pc:sldMasterMk cId="4227849063" sldId="2147484042"/>
            <pc:sldLayoutMk cId="807267895" sldId="2147484080"/>
          </pc:sldLayoutMkLst>
        </pc:sldLayoutChg>
        <pc:sldLayoutChg chg="del">
          <pc:chgData name="Adwait Aralkar" userId="ae1719c1-ed02-42aa-a1d9-0d6e6247f692" providerId="ADAL" clId="{3F587D8B-EC67-422E-A694-1F3A026A2B27}" dt="2025-01-13T15:24:10.680" v="3582" actId="2696"/>
          <pc:sldLayoutMkLst>
            <pc:docMk/>
            <pc:sldMasterMk cId="4227849063" sldId="2147484042"/>
            <pc:sldLayoutMk cId="415384808" sldId="2147484081"/>
          </pc:sldLayoutMkLst>
        </pc:sldLayoutChg>
        <pc:sldLayoutChg chg="del">
          <pc:chgData name="Adwait Aralkar" userId="ae1719c1-ed02-42aa-a1d9-0d6e6247f692" providerId="ADAL" clId="{3F587D8B-EC67-422E-A694-1F3A026A2B27}" dt="2025-01-13T15:24:10.680" v="3582" actId="2696"/>
          <pc:sldLayoutMkLst>
            <pc:docMk/>
            <pc:sldMasterMk cId="4227849063" sldId="2147484042"/>
            <pc:sldLayoutMk cId="604450667" sldId="2147484082"/>
          </pc:sldLayoutMkLst>
        </pc:sldLayoutChg>
        <pc:sldLayoutChg chg="del">
          <pc:chgData name="Adwait Aralkar" userId="ae1719c1-ed02-42aa-a1d9-0d6e6247f692" providerId="ADAL" clId="{3F587D8B-EC67-422E-A694-1F3A026A2B27}" dt="2025-01-13T15:24:10.680" v="3582" actId="2696"/>
          <pc:sldLayoutMkLst>
            <pc:docMk/>
            <pc:sldMasterMk cId="4227849063" sldId="2147484042"/>
            <pc:sldLayoutMk cId="1196549402" sldId="2147484083"/>
          </pc:sldLayoutMkLst>
        </pc:sldLayoutChg>
        <pc:sldLayoutChg chg="del">
          <pc:chgData name="Adwait Aralkar" userId="ae1719c1-ed02-42aa-a1d9-0d6e6247f692" providerId="ADAL" clId="{3F587D8B-EC67-422E-A694-1F3A026A2B27}" dt="2025-01-13T15:24:10.680" v="3582" actId="2696"/>
          <pc:sldLayoutMkLst>
            <pc:docMk/>
            <pc:sldMasterMk cId="4227849063" sldId="2147484042"/>
            <pc:sldLayoutMk cId="1539968967" sldId="2147484084"/>
          </pc:sldLayoutMkLst>
        </pc:sldLayoutChg>
        <pc:sldLayoutChg chg="del">
          <pc:chgData name="Adwait Aralkar" userId="ae1719c1-ed02-42aa-a1d9-0d6e6247f692" providerId="ADAL" clId="{3F587D8B-EC67-422E-A694-1F3A026A2B27}" dt="2025-01-13T15:24:10.680" v="3582" actId="2696"/>
          <pc:sldLayoutMkLst>
            <pc:docMk/>
            <pc:sldMasterMk cId="4227849063" sldId="2147484042"/>
            <pc:sldLayoutMk cId="1787822289" sldId="2147484085"/>
          </pc:sldLayoutMkLst>
        </pc:sldLayoutChg>
        <pc:sldLayoutChg chg="del">
          <pc:chgData name="Adwait Aralkar" userId="ae1719c1-ed02-42aa-a1d9-0d6e6247f692" providerId="ADAL" clId="{3F587D8B-EC67-422E-A694-1F3A026A2B27}" dt="2025-01-13T15:24:10.680" v="3582" actId="2696"/>
          <pc:sldLayoutMkLst>
            <pc:docMk/>
            <pc:sldMasterMk cId="4227849063" sldId="2147484042"/>
            <pc:sldLayoutMk cId="1869070442" sldId="2147484086"/>
          </pc:sldLayoutMkLst>
        </pc:sldLayoutChg>
        <pc:sldLayoutChg chg="del">
          <pc:chgData name="Adwait Aralkar" userId="ae1719c1-ed02-42aa-a1d9-0d6e6247f692" providerId="ADAL" clId="{3F587D8B-EC67-422E-A694-1F3A026A2B27}" dt="2025-01-13T15:24:10.680" v="3582" actId="2696"/>
          <pc:sldLayoutMkLst>
            <pc:docMk/>
            <pc:sldMasterMk cId="4227849063" sldId="2147484042"/>
            <pc:sldLayoutMk cId="2189114953" sldId="2147484087"/>
          </pc:sldLayoutMkLst>
        </pc:sldLayoutChg>
        <pc:sldLayoutChg chg="del">
          <pc:chgData name="Adwait Aralkar" userId="ae1719c1-ed02-42aa-a1d9-0d6e6247f692" providerId="ADAL" clId="{3F587D8B-EC67-422E-A694-1F3A026A2B27}" dt="2025-01-13T15:24:10.680" v="3582" actId="2696"/>
          <pc:sldLayoutMkLst>
            <pc:docMk/>
            <pc:sldMasterMk cId="4227849063" sldId="2147484042"/>
            <pc:sldLayoutMk cId="3861949625" sldId="2147484088"/>
          </pc:sldLayoutMkLst>
        </pc:sldLayoutChg>
        <pc:sldLayoutChg chg="del">
          <pc:chgData name="Adwait Aralkar" userId="ae1719c1-ed02-42aa-a1d9-0d6e6247f692" providerId="ADAL" clId="{3F587D8B-EC67-422E-A694-1F3A026A2B27}" dt="2025-01-13T15:24:10.680" v="3582" actId="2696"/>
          <pc:sldLayoutMkLst>
            <pc:docMk/>
            <pc:sldMasterMk cId="4227849063" sldId="2147484042"/>
            <pc:sldLayoutMk cId="2275966933" sldId="2147484089"/>
          </pc:sldLayoutMkLst>
        </pc:sldLayoutChg>
        <pc:sldLayoutChg chg="del">
          <pc:chgData name="Adwait Aralkar" userId="ae1719c1-ed02-42aa-a1d9-0d6e6247f692" providerId="ADAL" clId="{3F587D8B-EC67-422E-A694-1F3A026A2B27}" dt="2025-01-13T15:24:10.680" v="3582" actId="2696"/>
          <pc:sldLayoutMkLst>
            <pc:docMk/>
            <pc:sldMasterMk cId="4227849063" sldId="2147484042"/>
            <pc:sldLayoutMk cId="4176412335" sldId="2147484090"/>
          </pc:sldLayoutMkLst>
        </pc:sldLayoutChg>
        <pc:sldLayoutChg chg="del">
          <pc:chgData name="Adwait Aralkar" userId="ae1719c1-ed02-42aa-a1d9-0d6e6247f692" providerId="ADAL" clId="{3F587D8B-EC67-422E-A694-1F3A026A2B27}" dt="2025-01-13T15:24:10.680" v="3582" actId="2696"/>
          <pc:sldLayoutMkLst>
            <pc:docMk/>
            <pc:sldMasterMk cId="4227849063" sldId="2147484042"/>
            <pc:sldLayoutMk cId="2255779754" sldId="2147484091"/>
          </pc:sldLayoutMkLst>
        </pc:sldLayoutChg>
        <pc:sldLayoutChg chg="del">
          <pc:chgData name="Adwait Aralkar" userId="ae1719c1-ed02-42aa-a1d9-0d6e6247f692" providerId="ADAL" clId="{3F587D8B-EC67-422E-A694-1F3A026A2B27}" dt="2025-01-13T15:24:10.680" v="3582" actId="2696"/>
          <pc:sldLayoutMkLst>
            <pc:docMk/>
            <pc:sldMasterMk cId="4227849063" sldId="2147484042"/>
            <pc:sldLayoutMk cId="2874601137" sldId="2147484092"/>
          </pc:sldLayoutMkLst>
        </pc:sldLayoutChg>
        <pc:sldLayoutChg chg="del">
          <pc:chgData name="Adwait Aralkar" userId="ae1719c1-ed02-42aa-a1d9-0d6e6247f692" providerId="ADAL" clId="{3F587D8B-EC67-422E-A694-1F3A026A2B27}" dt="2025-01-13T15:24:10.680" v="3582" actId="2696"/>
          <pc:sldLayoutMkLst>
            <pc:docMk/>
            <pc:sldMasterMk cId="4227849063" sldId="2147484042"/>
            <pc:sldLayoutMk cId="222425770" sldId="2147484093"/>
          </pc:sldLayoutMkLst>
        </pc:sldLayoutChg>
        <pc:sldLayoutChg chg="del">
          <pc:chgData name="Adwait Aralkar" userId="ae1719c1-ed02-42aa-a1d9-0d6e6247f692" providerId="ADAL" clId="{3F587D8B-EC67-422E-A694-1F3A026A2B27}" dt="2025-01-13T15:24:10.680" v="3582" actId="2696"/>
          <pc:sldLayoutMkLst>
            <pc:docMk/>
            <pc:sldMasterMk cId="4227849063" sldId="2147484042"/>
            <pc:sldLayoutMk cId="3362737174" sldId="2147484094"/>
          </pc:sldLayoutMkLst>
        </pc:sldLayoutChg>
        <pc:sldLayoutChg chg="del">
          <pc:chgData name="Adwait Aralkar" userId="ae1719c1-ed02-42aa-a1d9-0d6e6247f692" providerId="ADAL" clId="{3F587D8B-EC67-422E-A694-1F3A026A2B27}" dt="2025-01-13T15:24:10.680" v="3582" actId="2696"/>
          <pc:sldLayoutMkLst>
            <pc:docMk/>
            <pc:sldMasterMk cId="4227849063" sldId="2147484042"/>
            <pc:sldLayoutMk cId="3627926352" sldId="2147484095"/>
          </pc:sldLayoutMkLst>
        </pc:sldLayoutChg>
        <pc:sldLayoutChg chg="del">
          <pc:chgData name="Adwait Aralkar" userId="ae1719c1-ed02-42aa-a1d9-0d6e6247f692" providerId="ADAL" clId="{3F587D8B-EC67-422E-A694-1F3A026A2B27}" dt="2025-01-13T15:24:10.680" v="3582" actId="2696"/>
          <pc:sldLayoutMkLst>
            <pc:docMk/>
            <pc:sldMasterMk cId="4227849063" sldId="2147484042"/>
            <pc:sldLayoutMk cId="1222360055" sldId="2147484096"/>
          </pc:sldLayoutMkLst>
        </pc:sldLayoutChg>
      </pc:sldMasterChg>
      <pc:sldMasterChg chg="del delSldLayout">
        <pc:chgData name="Adwait Aralkar" userId="ae1719c1-ed02-42aa-a1d9-0d6e6247f692" providerId="ADAL" clId="{3F587D8B-EC67-422E-A694-1F3A026A2B27}" dt="2025-01-16T05:20:46.683" v="4823" actId="47"/>
        <pc:sldMasterMkLst>
          <pc:docMk/>
          <pc:sldMasterMk cId="912863715" sldId="2147484153"/>
        </pc:sldMasterMkLst>
        <pc:sldLayoutChg chg="del">
          <pc:chgData name="Adwait Aralkar" userId="ae1719c1-ed02-42aa-a1d9-0d6e6247f692" providerId="ADAL" clId="{3F587D8B-EC67-422E-A694-1F3A026A2B27}" dt="2025-01-16T05:20:46.683" v="4823" actId="47"/>
          <pc:sldLayoutMkLst>
            <pc:docMk/>
            <pc:sldMasterMk cId="912863715" sldId="2147484153"/>
            <pc:sldLayoutMk cId="799557730" sldId="2147484154"/>
          </pc:sldLayoutMkLst>
        </pc:sldLayoutChg>
        <pc:sldLayoutChg chg="del">
          <pc:chgData name="Adwait Aralkar" userId="ae1719c1-ed02-42aa-a1d9-0d6e6247f692" providerId="ADAL" clId="{3F587D8B-EC67-422E-A694-1F3A026A2B27}" dt="2025-01-16T05:20:46.683" v="4823" actId="47"/>
          <pc:sldLayoutMkLst>
            <pc:docMk/>
            <pc:sldMasterMk cId="912863715" sldId="2147484153"/>
            <pc:sldLayoutMk cId="3469406985" sldId="2147484155"/>
          </pc:sldLayoutMkLst>
        </pc:sldLayoutChg>
        <pc:sldLayoutChg chg="del">
          <pc:chgData name="Adwait Aralkar" userId="ae1719c1-ed02-42aa-a1d9-0d6e6247f692" providerId="ADAL" clId="{3F587D8B-EC67-422E-A694-1F3A026A2B27}" dt="2025-01-16T05:20:46.683" v="4823" actId="47"/>
          <pc:sldLayoutMkLst>
            <pc:docMk/>
            <pc:sldMasterMk cId="912863715" sldId="2147484153"/>
            <pc:sldLayoutMk cId="800506245" sldId="2147484156"/>
          </pc:sldLayoutMkLst>
        </pc:sldLayoutChg>
        <pc:sldLayoutChg chg="del">
          <pc:chgData name="Adwait Aralkar" userId="ae1719c1-ed02-42aa-a1d9-0d6e6247f692" providerId="ADAL" clId="{3F587D8B-EC67-422E-A694-1F3A026A2B27}" dt="2025-01-16T05:20:46.683" v="4823" actId="47"/>
          <pc:sldLayoutMkLst>
            <pc:docMk/>
            <pc:sldMasterMk cId="912863715" sldId="2147484153"/>
            <pc:sldLayoutMk cId="1141196085" sldId="2147484157"/>
          </pc:sldLayoutMkLst>
        </pc:sldLayoutChg>
        <pc:sldLayoutChg chg="del">
          <pc:chgData name="Adwait Aralkar" userId="ae1719c1-ed02-42aa-a1d9-0d6e6247f692" providerId="ADAL" clId="{3F587D8B-EC67-422E-A694-1F3A026A2B27}" dt="2025-01-16T05:20:46.683" v="4823" actId="47"/>
          <pc:sldLayoutMkLst>
            <pc:docMk/>
            <pc:sldMasterMk cId="912863715" sldId="2147484153"/>
            <pc:sldLayoutMk cId="3871444883" sldId="2147484158"/>
          </pc:sldLayoutMkLst>
        </pc:sldLayoutChg>
        <pc:sldLayoutChg chg="del">
          <pc:chgData name="Adwait Aralkar" userId="ae1719c1-ed02-42aa-a1d9-0d6e6247f692" providerId="ADAL" clId="{3F587D8B-EC67-422E-A694-1F3A026A2B27}" dt="2025-01-16T05:20:46.683" v="4823" actId="47"/>
          <pc:sldLayoutMkLst>
            <pc:docMk/>
            <pc:sldMasterMk cId="912863715" sldId="2147484153"/>
            <pc:sldLayoutMk cId="96062795" sldId="2147484159"/>
          </pc:sldLayoutMkLst>
        </pc:sldLayoutChg>
        <pc:sldLayoutChg chg="del">
          <pc:chgData name="Adwait Aralkar" userId="ae1719c1-ed02-42aa-a1d9-0d6e6247f692" providerId="ADAL" clId="{3F587D8B-EC67-422E-A694-1F3A026A2B27}" dt="2025-01-16T05:20:46.683" v="4823" actId="47"/>
          <pc:sldLayoutMkLst>
            <pc:docMk/>
            <pc:sldMasterMk cId="912863715" sldId="2147484153"/>
            <pc:sldLayoutMk cId="2545795633" sldId="2147484160"/>
          </pc:sldLayoutMkLst>
        </pc:sldLayoutChg>
        <pc:sldLayoutChg chg="del">
          <pc:chgData name="Adwait Aralkar" userId="ae1719c1-ed02-42aa-a1d9-0d6e6247f692" providerId="ADAL" clId="{3F587D8B-EC67-422E-A694-1F3A026A2B27}" dt="2025-01-16T05:20:46.683" v="4823" actId="47"/>
          <pc:sldLayoutMkLst>
            <pc:docMk/>
            <pc:sldMasterMk cId="912863715" sldId="2147484153"/>
            <pc:sldLayoutMk cId="4011700356" sldId="2147484161"/>
          </pc:sldLayoutMkLst>
        </pc:sldLayoutChg>
        <pc:sldLayoutChg chg="del">
          <pc:chgData name="Adwait Aralkar" userId="ae1719c1-ed02-42aa-a1d9-0d6e6247f692" providerId="ADAL" clId="{3F587D8B-EC67-422E-A694-1F3A026A2B27}" dt="2025-01-16T05:20:46.683" v="4823" actId="47"/>
          <pc:sldLayoutMkLst>
            <pc:docMk/>
            <pc:sldMasterMk cId="912863715" sldId="2147484153"/>
            <pc:sldLayoutMk cId="486158993" sldId="2147484162"/>
          </pc:sldLayoutMkLst>
        </pc:sldLayoutChg>
        <pc:sldLayoutChg chg="del">
          <pc:chgData name="Adwait Aralkar" userId="ae1719c1-ed02-42aa-a1d9-0d6e6247f692" providerId="ADAL" clId="{3F587D8B-EC67-422E-A694-1F3A026A2B27}" dt="2025-01-16T05:20:46.683" v="4823" actId="47"/>
          <pc:sldLayoutMkLst>
            <pc:docMk/>
            <pc:sldMasterMk cId="912863715" sldId="2147484153"/>
            <pc:sldLayoutMk cId="1053154775" sldId="2147484163"/>
          </pc:sldLayoutMkLst>
        </pc:sldLayoutChg>
        <pc:sldLayoutChg chg="del">
          <pc:chgData name="Adwait Aralkar" userId="ae1719c1-ed02-42aa-a1d9-0d6e6247f692" providerId="ADAL" clId="{3F587D8B-EC67-422E-A694-1F3A026A2B27}" dt="2025-01-16T05:20:46.683" v="4823" actId="47"/>
          <pc:sldLayoutMkLst>
            <pc:docMk/>
            <pc:sldMasterMk cId="912863715" sldId="2147484153"/>
            <pc:sldLayoutMk cId="2217680102" sldId="2147484164"/>
          </pc:sldLayoutMkLst>
        </pc:sldLayoutChg>
        <pc:sldLayoutChg chg="del">
          <pc:chgData name="Adwait Aralkar" userId="ae1719c1-ed02-42aa-a1d9-0d6e6247f692" providerId="ADAL" clId="{3F587D8B-EC67-422E-A694-1F3A026A2B27}" dt="2025-01-16T05:20:46.683" v="4823" actId="47"/>
          <pc:sldLayoutMkLst>
            <pc:docMk/>
            <pc:sldMasterMk cId="912863715" sldId="2147484153"/>
            <pc:sldLayoutMk cId="866650403" sldId="2147484165"/>
          </pc:sldLayoutMkLst>
        </pc:sldLayoutChg>
        <pc:sldLayoutChg chg="del">
          <pc:chgData name="Adwait Aralkar" userId="ae1719c1-ed02-42aa-a1d9-0d6e6247f692" providerId="ADAL" clId="{3F587D8B-EC67-422E-A694-1F3A026A2B27}" dt="2025-01-16T05:20:46.683" v="4823" actId="47"/>
          <pc:sldLayoutMkLst>
            <pc:docMk/>
            <pc:sldMasterMk cId="912863715" sldId="2147484153"/>
            <pc:sldLayoutMk cId="820880399" sldId="2147484166"/>
          </pc:sldLayoutMkLst>
        </pc:sldLayoutChg>
        <pc:sldLayoutChg chg="del">
          <pc:chgData name="Adwait Aralkar" userId="ae1719c1-ed02-42aa-a1d9-0d6e6247f692" providerId="ADAL" clId="{3F587D8B-EC67-422E-A694-1F3A026A2B27}" dt="2025-01-16T05:20:46.683" v="4823" actId="47"/>
          <pc:sldLayoutMkLst>
            <pc:docMk/>
            <pc:sldMasterMk cId="912863715" sldId="2147484153"/>
            <pc:sldLayoutMk cId="3153360066" sldId="2147484167"/>
          </pc:sldLayoutMkLst>
        </pc:sldLayoutChg>
        <pc:sldLayoutChg chg="del">
          <pc:chgData name="Adwait Aralkar" userId="ae1719c1-ed02-42aa-a1d9-0d6e6247f692" providerId="ADAL" clId="{3F587D8B-EC67-422E-A694-1F3A026A2B27}" dt="2025-01-16T05:20:46.683" v="4823" actId="47"/>
          <pc:sldLayoutMkLst>
            <pc:docMk/>
            <pc:sldMasterMk cId="912863715" sldId="2147484153"/>
            <pc:sldLayoutMk cId="3804874993" sldId="2147484168"/>
          </pc:sldLayoutMkLst>
        </pc:sldLayoutChg>
        <pc:sldLayoutChg chg="del">
          <pc:chgData name="Adwait Aralkar" userId="ae1719c1-ed02-42aa-a1d9-0d6e6247f692" providerId="ADAL" clId="{3F587D8B-EC67-422E-A694-1F3A026A2B27}" dt="2025-01-16T05:20:46.683" v="4823" actId="47"/>
          <pc:sldLayoutMkLst>
            <pc:docMk/>
            <pc:sldMasterMk cId="912863715" sldId="2147484153"/>
            <pc:sldLayoutMk cId="1761215727" sldId="2147484169"/>
          </pc:sldLayoutMkLst>
        </pc:sldLayoutChg>
        <pc:sldLayoutChg chg="del">
          <pc:chgData name="Adwait Aralkar" userId="ae1719c1-ed02-42aa-a1d9-0d6e6247f692" providerId="ADAL" clId="{3F587D8B-EC67-422E-A694-1F3A026A2B27}" dt="2025-01-16T05:20:46.683" v="4823" actId="47"/>
          <pc:sldLayoutMkLst>
            <pc:docMk/>
            <pc:sldMasterMk cId="912863715" sldId="2147484153"/>
            <pc:sldLayoutMk cId="1741777355" sldId="2147484170"/>
          </pc:sldLayoutMkLst>
        </pc:sldLayoutChg>
        <pc:sldLayoutChg chg="del">
          <pc:chgData name="Adwait Aralkar" userId="ae1719c1-ed02-42aa-a1d9-0d6e6247f692" providerId="ADAL" clId="{3F587D8B-EC67-422E-A694-1F3A026A2B27}" dt="2025-01-16T05:20:46.683" v="4823" actId="47"/>
          <pc:sldLayoutMkLst>
            <pc:docMk/>
            <pc:sldMasterMk cId="912863715" sldId="2147484153"/>
            <pc:sldLayoutMk cId="2253514427" sldId="2147484171"/>
          </pc:sldLayoutMkLst>
        </pc:sldLayoutChg>
        <pc:sldLayoutChg chg="del">
          <pc:chgData name="Adwait Aralkar" userId="ae1719c1-ed02-42aa-a1d9-0d6e6247f692" providerId="ADAL" clId="{3F587D8B-EC67-422E-A694-1F3A026A2B27}" dt="2025-01-16T05:20:46.683" v="4823" actId="47"/>
          <pc:sldLayoutMkLst>
            <pc:docMk/>
            <pc:sldMasterMk cId="912863715" sldId="2147484153"/>
            <pc:sldLayoutMk cId="2787730305" sldId="2147484172"/>
          </pc:sldLayoutMkLst>
        </pc:sldLayoutChg>
        <pc:sldLayoutChg chg="del">
          <pc:chgData name="Adwait Aralkar" userId="ae1719c1-ed02-42aa-a1d9-0d6e6247f692" providerId="ADAL" clId="{3F587D8B-EC67-422E-A694-1F3A026A2B27}" dt="2025-01-16T05:20:46.683" v="4823" actId="47"/>
          <pc:sldLayoutMkLst>
            <pc:docMk/>
            <pc:sldMasterMk cId="912863715" sldId="2147484153"/>
            <pc:sldLayoutMk cId="3095055242" sldId="2147484173"/>
          </pc:sldLayoutMkLst>
        </pc:sldLayoutChg>
        <pc:sldLayoutChg chg="del">
          <pc:chgData name="Adwait Aralkar" userId="ae1719c1-ed02-42aa-a1d9-0d6e6247f692" providerId="ADAL" clId="{3F587D8B-EC67-422E-A694-1F3A026A2B27}" dt="2025-01-16T05:20:46.683" v="4823" actId="47"/>
          <pc:sldLayoutMkLst>
            <pc:docMk/>
            <pc:sldMasterMk cId="912863715" sldId="2147484153"/>
            <pc:sldLayoutMk cId="3317667936" sldId="2147484174"/>
          </pc:sldLayoutMkLst>
        </pc:sldLayoutChg>
        <pc:sldLayoutChg chg="del">
          <pc:chgData name="Adwait Aralkar" userId="ae1719c1-ed02-42aa-a1d9-0d6e6247f692" providerId="ADAL" clId="{3F587D8B-EC67-422E-A694-1F3A026A2B27}" dt="2025-01-16T05:20:46.683" v="4823" actId="47"/>
          <pc:sldLayoutMkLst>
            <pc:docMk/>
            <pc:sldMasterMk cId="912863715" sldId="2147484153"/>
            <pc:sldLayoutMk cId="3065996300" sldId="2147484175"/>
          </pc:sldLayoutMkLst>
        </pc:sldLayoutChg>
        <pc:sldLayoutChg chg="del">
          <pc:chgData name="Adwait Aralkar" userId="ae1719c1-ed02-42aa-a1d9-0d6e6247f692" providerId="ADAL" clId="{3F587D8B-EC67-422E-A694-1F3A026A2B27}" dt="2025-01-16T05:20:46.683" v="4823" actId="47"/>
          <pc:sldLayoutMkLst>
            <pc:docMk/>
            <pc:sldMasterMk cId="912863715" sldId="2147484153"/>
            <pc:sldLayoutMk cId="2416343246" sldId="2147484176"/>
          </pc:sldLayoutMkLst>
        </pc:sldLayoutChg>
        <pc:sldLayoutChg chg="del">
          <pc:chgData name="Adwait Aralkar" userId="ae1719c1-ed02-42aa-a1d9-0d6e6247f692" providerId="ADAL" clId="{3F587D8B-EC67-422E-A694-1F3A026A2B27}" dt="2025-01-16T05:20:46.683" v="4823" actId="47"/>
          <pc:sldLayoutMkLst>
            <pc:docMk/>
            <pc:sldMasterMk cId="912863715" sldId="2147484153"/>
            <pc:sldLayoutMk cId="2552502105" sldId="2147484177"/>
          </pc:sldLayoutMkLst>
        </pc:sldLayoutChg>
      </pc:sldMasterChg>
      <pc:sldMasterChg chg="del delSldLayout">
        <pc:chgData name="Adwait Aralkar" userId="ae1719c1-ed02-42aa-a1d9-0d6e6247f692" providerId="ADAL" clId="{3F587D8B-EC67-422E-A694-1F3A026A2B27}" dt="2025-01-16T05:05:04.245" v="4785" actId="2696"/>
        <pc:sldMasterMkLst>
          <pc:docMk/>
          <pc:sldMasterMk cId="1294257025" sldId="2147484178"/>
        </pc:sldMasterMkLst>
        <pc:sldLayoutChg chg="del">
          <pc:chgData name="Adwait Aralkar" userId="ae1719c1-ed02-42aa-a1d9-0d6e6247f692" providerId="ADAL" clId="{3F587D8B-EC67-422E-A694-1F3A026A2B27}" dt="2025-01-16T05:05:04.245" v="4785" actId="2696"/>
          <pc:sldLayoutMkLst>
            <pc:docMk/>
            <pc:sldMasterMk cId="1294257025" sldId="2147484178"/>
            <pc:sldLayoutMk cId="2601872383" sldId="2147484179"/>
          </pc:sldLayoutMkLst>
        </pc:sldLayoutChg>
        <pc:sldLayoutChg chg="del">
          <pc:chgData name="Adwait Aralkar" userId="ae1719c1-ed02-42aa-a1d9-0d6e6247f692" providerId="ADAL" clId="{3F587D8B-EC67-422E-A694-1F3A026A2B27}" dt="2025-01-16T05:05:04.245" v="4785" actId="2696"/>
          <pc:sldLayoutMkLst>
            <pc:docMk/>
            <pc:sldMasterMk cId="1294257025" sldId="2147484178"/>
            <pc:sldLayoutMk cId="3327527723" sldId="2147484180"/>
          </pc:sldLayoutMkLst>
        </pc:sldLayoutChg>
        <pc:sldLayoutChg chg="del">
          <pc:chgData name="Adwait Aralkar" userId="ae1719c1-ed02-42aa-a1d9-0d6e6247f692" providerId="ADAL" clId="{3F587D8B-EC67-422E-A694-1F3A026A2B27}" dt="2025-01-16T05:05:04.245" v="4785" actId="2696"/>
          <pc:sldLayoutMkLst>
            <pc:docMk/>
            <pc:sldMasterMk cId="1294257025" sldId="2147484178"/>
            <pc:sldLayoutMk cId="249455974" sldId="2147484181"/>
          </pc:sldLayoutMkLst>
        </pc:sldLayoutChg>
        <pc:sldLayoutChg chg="del">
          <pc:chgData name="Adwait Aralkar" userId="ae1719c1-ed02-42aa-a1d9-0d6e6247f692" providerId="ADAL" clId="{3F587D8B-EC67-422E-A694-1F3A026A2B27}" dt="2025-01-16T05:05:04.245" v="4785" actId="2696"/>
          <pc:sldLayoutMkLst>
            <pc:docMk/>
            <pc:sldMasterMk cId="1294257025" sldId="2147484178"/>
            <pc:sldLayoutMk cId="1307204460" sldId="2147484182"/>
          </pc:sldLayoutMkLst>
        </pc:sldLayoutChg>
        <pc:sldLayoutChg chg="del">
          <pc:chgData name="Adwait Aralkar" userId="ae1719c1-ed02-42aa-a1d9-0d6e6247f692" providerId="ADAL" clId="{3F587D8B-EC67-422E-A694-1F3A026A2B27}" dt="2025-01-16T05:05:04.245" v="4785" actId="2696"/>
          <pc:sldLayoutMkLst>
            <pc:docMk/>
            <pc:sldMasterMk cId="1294257025" sldId="2147484178"/>
            <pc:sldLayoutMk cId="1992995208" sldId="2147484183"/>
          </pc:sldLayoutMkLst>
        </pc:sldLayoutChg>
        <pc:sldLayoutChg chg="del">
          <pc:chgData name="Adwait Aralkar" userId="ae1719c1-ed02-42aa-a1d9-0d6e6247f692" providerId="ADAL" clId="{3F587D8B-EC67-422E-A694-1F3A026A2B27}" dt="2025-01-16T05:05:04.245" v="4785" actId="2696"/>
          <pc:sldLayoutMkLst>
            <pc:docMk/>
            <pc:sldMasterMk cId="1294257025" sldId="2147484178"/>
            <pc:sldLayoutMk cId="1017841307" sldId="2147484184"/>
          </pc:sldLayoutMkLst>
        </pc:sldLayoutChg>
        <pc:sldLayoutChg chg="del">
          <pc:chgData name="Adwait Aralkar" userId="ae1719c1-ed02-42aa-a1d9-0d6e6247f692" providerId="ADAL" clId="{3F587D8B-EC67-422E-A694-1F3A026A2B27}" dt="2025-01-16T05:05:04.245" v="4785" actId="2696"/>
          <pc:sldLayoutMkLst>
            <pc:docMk/>
            <pc:sldMasterMk cId="1294257025" sldId="2147484178"/>
            <pc:sldLayoutMk cId="2172777520" sldId="2147484185"/>
          </pc:sldLayoutMkLst>
        </pc:sldLayoutChg>
        <pc:sldLayoutChg chg="del">
          <pc:chgData name="Adwait Aralkar" userId="ae1719c1-ed02-42aa-a1d9-0d6e6247f692" providerId="ADAL" clId="{3F587D8B-EC67-422E-A694-1F3A026A2B27}" dt="2025-01-16T05:05:04.245" v="4785" actId="2696"/>
          <pc:sldLayoutMkLst>
            <pc:docMk/>
            <pc:sldMasterMk cId="1294257025" sldId="2147484178"/>
            <pc:sldLayoutMk cId="2536587028" sldId="2147484186"/>
          </pc:sldLayoutMkLst>
        </pc:sldLayoutChg>
        <pc:sldLayoutChg chg="del">
          <pc:chgData name="Adwait Aralkar" userId="ae1719c1-ed02-42aa-a1d9-0d6e6247f692" providerId="ADAL" clId="{3F587D8B-EC67-422E-A694-1F3A026A2B27}" dt="2025-01-16T05:05:04.245" v="4785" actId="2696"/>
          <pc:sldLayoutMkLst>
            <pc:docMk/>
            <pc:sldMasterMk cId="1294257025" sldId="2147484178"/>
            <pc:sldLayoutMk cId="1816238296" sldId="2147484187"/>
          </pc:sldLayoutMkLst>
        </pc:sldLayoutChg>
        <pc:sldLayoutChg chg="del">
          <pc:chgData name="Adwait Aralkar" userId="ae1719c1-ed02-42aa-a1d9-0d6e6247f692" providerId="ADAL" clId="{3F587D8B-EC67-422E-A694-1F3A026A2B27}" dt="2025-01-16T05:05:04.245" v="4785" actId="2696"/>
          <pc:sldLayoutMkLst>
            <pc:docMk/>
            <pc:sldMasterMk cId="1294257025" sldId="2147484178"/>
            <pc:sldLayoutMk cId="374682062" sldId="2147484188"/>
          </pc:sldLayoutMkLst>
        </pc:sldLayoutChg>
        <pc:sldLayoutChg chg="del">
          <pc:chgData name="Adwait Aralkar" userId="ae1719c1-ed02-42aa-a1d9-0d6e6247f692" providerId="ADAL" clId="{3F587D8B-EC67-422E-A694-1F3A026A2B27}" dt="2025-01-16T05:05:04.245" v="4785" actId="2696"/>
          <pc:sldLayoutMkLst>
            <pc:docMk/>
            <pc:sldMasterMk cId="1294257025" sldId="2147484178"/>
            <pc:sldLayoutMk cId="372638644" sldId="2147484189"/>
          </pc:sldLayoutMkLst>
        </pc:sldLayoutChg>
        <pc:sldLayoutChg chg="del">
          <pc:chgData name="Adwait Aralkar" userId="ae1719c1-ed02-42aa-a1d9-0d6e6247f692" providerId="ADAL" clId="{3F587D8B-EC67-422E-A694-1F3A026A2B27}" dt="2025-01-16T05:05:04.245" v="4785" actId="2696"/>
          <pc:sldLayoutMkLst>
            <pc:docMk/>
            <pc:sldMasterMk cId="1294257025" sldId="2147484178"/>
            <pc:sldLayoutMk cId="2293278162" sldId="2147484190"/>
          </pc:sldLayoutMkLst>
        </pc:sldLayoutChg>
        <pc:sldLayoutChg chg="del">
          <pc:chgData name="Adwait Aralkar" userId="ae1719c1-ed02-42aa-a1d9-0d6e6247f692" providerId="ADAL" clId="{3F587D8B-EC67-422E-A694-1F3A026A2B27}" dt="2025-01-16T05:05:04.245" v="4785" actId="2696"/>
          <pc:sldLayoutMkLst>
            <pc:docMk/>
            <pc:sldMasterMk cId="1294257025" sldId="2147484178"/>
            <pc:sldLayoutMk cId="2778311688" sldId="2147484191"/>
          </pc:sldLayoutMkLst>
        </pc:sldLayoutChg>
        <pc:sldLayoutChg chg="del">
          <pc:chgData name="Adwait Aralkar" userId="ae1719c1-ed02-42aa-a1d9-0d6e6247f692" providerId="ADAL" clId="{3F587D8B-EC67-422E-A694-1F3A026A2B27}" dt="2025-01-16T05:05:04.245" v="4785" actId="2696"/>
          <pc:sldLayoutMkLst>
            <pc:docMk/>
            <pc:sldMasterMk cId="1294257025" sldId="2147484178"/>
            <pc:sldLayoutMk cId="1634903545" sldId="2147484192"/>
          </pc:sldLayoutMkLst>
        </pc:sldLayoutChg>
        <pc:sldLayoutChg chg="del">
          <pc:chgData name="Adwait Aralkar" userId="ae1719c1-ed02-42aa-a1d9-0d6e6247f692" providerId="ADAL" clId="{3F587D8B-EC67-422E-A694-1F3A026A2B27}" dt="2025-01-16T05:05:04.245" v="4785" actId="2696"/>
          <pc:sldLayoutMkLst>
            <pc:docMk/>
            <pc:sldMasterMk cId="1294257025" sldId="2147484178"/>
            <pc:sldLayoutMk cId="401040431" sldId="2147484193"/>
          </pc:sldLayoutMkLst>
        </pc:sldLayoutChg>
        <pc:sldLayoutChg chg="del">
          <pc:chgData name="Adwait Aralkar" userId="ae1719c1-ed02-42aa-a1d9-0d6e6247f692" providerId="ADAL" clId="{3F587D8B-EC67-422E-A694-1F3A026A2B27}" dt="2025-01-16T05:05:04.245" v="4785" actId="2696"/>
          <pc:sldLayoutMkLst>
            <pc:docMk/>
            <pc:sldMasterMk cId="1294257025" sldId="2147484178"/>
            <pc:sldLayoutMk cId="3287290114" sldId="2147484194"/>
          </pc:sldLayoutMkLst>
        </pc:sldLayoutChg>
        <pc:sldLayoutChg chg="del">
          <pc:chgData name="Adwait Aralkar" userId="ae1719c1-ed02-42aa-a1d9-0d6e6247f692" providerId="ADAL" clId="{3F587D8B-EC67-422E-A694-1F3A026A2B27}" dt="2025-01-16T05:05:04.245" v="4785" actId="2696"/>
          <pc:sldLayoutMkLst>
            <pc:docMk/>
            <pc:sldMasterMk cId="1294257025" sldId="2147484178"/>
            <pc:sldLayoutMk cId="3576368869" sldId="2147484195"/>
          </pc:sldLayoutMkLst>
        </pc:sldLayoutChg>
        <pc:sldLayoutChg chg="del">
          <pc:chgData name="Adwait Aralkar" userId="ae1719c1-ed02-42aa-a1d9-0d6e6247f692" providerId="ADAL" clId="{3F587D8B-EC67-422E-A694-1F3A026A2B27}" dt="2025-01-16T05:05:04.245" v="4785" actId="2696"/>
          <pc:sldLayoutMkLst>
            <pc:docMk/>
            <pc:sldMasterMk cId="1294257025" sldId="2147484178"/>
            <pc:sldLayoutMk cId="3526541140" sldId="2147484196"/>
          </pc:sldLayoutMkLst>
        </pc:sldLayoutChg>
        <pc:sldLayoutChg chg="del">
          <pc:chgData name="Adwait Aralkar" userId="ae1719c1-ed02-42aa-a1d9-0d6e6247f692" providerId="ADAL" clId="{3F587D8B-EC67-422E-A694-1F3A026A2B27}" dt="2025-01-16T05:05:04.245" v="4785" actId="2696"/>
          <pc:sldLayoutMkLst>
            <pc:docMk/>
            <pc:sldMasterMk cId="1294257025" sldId="2147484178"/>
            <pc:sldLayoutMk cId="3658264752" sldId="2147484197"/>
          </pc:sldLayoutMkLst>
        </pc:sldLayoutChg>
        <pc:sldLayoutChg chg="del">
          <pc:chgData name="Adwait Aralkar" userId="ae1719c1-ed02-42aa-a1d9-0d6e6247f692" providerId="ADAL" clId="{3F587D8B-EC67-422E-A694-1F3A026A2B27}" dt="2025-01-16T05:05:04.245" v="4785" actId="2696"/>
          <pc:sldLayoutMkLst>
            <pc:docMk/>
            <pc:sldMasterMk cId="1294257025" sldId="2147484178"/>
            <pc:sldLayoutMk cId="107189706" sldId="2147484198"/>
          </pc:sldLayoutMkLst>
        </pc:sldLayoutChg>
        <pc:sldLayoutChg chg="del">
          <pc:chgData name="Adwait Aralkar" userId="ae1719c1-ed02-42aa-a1d9-0d6e6247f692" providerId="ADAL" clId="{3F587D8B-EC67-422E-A694-1F3A026A2B27}" dt="2025-01-16T05:05:04.245" v="4785" actId="2696"/>
          <pc:sldLayoutMkLst>
            <pc:docMk/>
            <pc:sldMasterMk cId="1294257025" sldId="2147484178"/>
            <pc:sldLayoutMk cId="2316501061" sldId="2147484199"/>
          </pc:sldLayoutMkLst>
        </pc:sldLayoutChg>
        <pc:sldLayoutChg chg="del">
          <pc:chgData name="Adwait Aralkar" userId="ae1719c1-ed02-42aa-a1d9-0d6e6247f692" providerId="ADAL" clId="{3F587D8B-EC67-422E-A694-1F3A026A2B27}" dt="2025-01-16T05:05:04.245" v="4785" actId="2696"/>
          <pc:sldLayoutMkLst>
            <pc:docMk/>
            <pc:sldMasterMk cId="1294257025" sldId="2147484178"/>
            <pc:sldLayoutMk cId="138745142" sldId="2147484200"/>
          </pc:sldLayoutMkLst>
        </pc:sldLayoutChg>
        <pc:sldLayoutChg chg="del">
          <pc:chgData name="Adwait Aralkar" userId="ae1719c1-ed02-42aa-a1d9-0d6e6247f692" providerId="ADAL" clId="{3F587D8B-EC67-422E-A694-1F3A026A2B27}" dt="2025-01-16T05:05:04.245" v="4785" actId="2696"/>
          <pc:sldLayoutMkLst>
            <pc:docMk/>
            <pc:sldMasterMk cId="1294257025" sldId="2147484178"/>
            <pc:sldLayoutMk cId="2724791343" sldId="2147484201"/>
          </pc:sldLayoutMkLst>
        </pc:sldLayoutChg>
        <pc:sldLayoutChg chg="del">
          <pc:chgData name="Adwait Aralkar" userId="ae1719c1-ed02-42aa-a1d9-0d6e6247f692" providerId="ADAL" clId="{3F587D8B-EC67-422E-A694-1F3A026A2B27}" dt="2025-01-16T05:05:04.245" v="4785" actId="2696"/>
          <pc:sldLayoutMkLst>
            <pc:docMk/>
            <pc:sldMasterMk cId="1294257025" sldId="2147484178"/>
            <pc:sldLayoutMk cId="2844084956" sldId="2147484202"/>
          </pc:sldLayoutMkLst>
        </pc:sldLayoutChg>
        <pc:sldLayoutChg chg="del">
          <pc:chgData name="Adwait Aralkar" userId="ae1719c1-ed02-42aa-a1d9-0d6e6247f692" providerId="ADAL" clId="{3F587D8B-EC67-422E-A694-1F3A026A2B27}" dt="2025-01-16T05:05:04.245" v="4785" actId="2696"/>
          <pc:sldLayoutMkLst>
            <pc:docMk/>
            <pc:sldMasterMk cId="1294257025" sldId="2147484178"/>
            <pc:sldLayoutMk cId="1777438924" sldId="2147484203"/>
          </pc:sldLayoutMkLst>
        </pc:sldLayoutChg>
        <pc:sldLayoutChg chg="del">
          <pc:chgData name="Adwait Aralkar" userId="ae1719c1-ed02-42aa-a1d9-0d6e6247f692" providerId="ADAL" clId="{3F587D8B-EC67-422E-A694-1F3A026A2B27}" dt="2025-01-16T05:05:04.245" v="4785" actId="2696"/>
          <pc:sldLayoutMkLst>
            <pc:docMk/>
            <pc:sldMasterMk cId="1294257025" sldId="2147484178"/>
            <pc:sldLayoutMk cId="2494519094" sldId="2147484204"/>
          </pc:sldLayoutMkLst>
        </pc:sldLayoutChg>
        <pc:sldLayoutChg chg="del">
          <pc:chgData name="Adwait Aralkar" userId="ae1719c1-ed02-42aa-a1d9-0d6e6247f692" providerId="ADAL" clId="{3F587D8B-EC67-422E-A694-1F3A026A2B27}" dt="2025-01-16T05:05:04.245" v="4785" actId="2696"/>
          <pc:sldLayoutMkLst>
            <pc:docMk/>
            <pc:sldMasterMk cId="1294257025" sldId="2147484178"/>
            <pc:sldLayoutMk cId="503307513" sldId="2147484205"/>
          </pc:sldLayoutMkLst>
        </pc:sldLayoutChg>
        <pc:sldLayoutChg chg="del">
          <pc:chgData name="Adwait Aralkar" userId="ae1719c1-ed02-42aa-a1d9-0d6e6247f692" providerId="ADAL" clId="{3F587D8B-EC67-422E-A694-1F3A026A2B27}" dt="2025-01-16T05:05:04.245" v="4785" actId="2696"/>
          <pc:sldLayoutMkLst>
            <pc:docMk/>
            <pc:sldMasterMk cId="1294257025" sldId="2147484178"/>
            <pc:sldLayoutMk cId="3380196528" sldId="2147484206"/>
          </pc:sldLayoutMkLst>
        </pc:sldLayoutChg>
        <pc:sldLayoutChg chg="del">
          <pc:chgData name="Adwait Aralkar" userId="ae1719c1-ed02-42aa-a1d9-0d6e6247f692" providerId="ADAL" clId="{3F587D8B-EC67-422E-A694-1F3A026A2B27}" dt="2025-01-16T05:05:04.245" v="4785" actId="2696"/>
          <pc:sldLayoutMkLst>
            <pc:docMk/>
            <pc:sldMasterMk cId="1294257025" sldId="2147484178"/>
            <pc:sldLayoutMk cId="2951552453" sldId="2147484207"/>
          </pc:sldLayoutMkLst>
        </pc:sldLayoutChg>
        <pc:sldLayoutChg chg="del">
          <pc:chgData name="Adwait Aralkar" userId="ae1719c1-ed02-42aa-a1d9-0d6e6247f692" providerId="ADAL" clId="{3F587D8B-EC67-422E-A694-1F3A026A2B27}" dt="2025-01-16T05:05:04.245" v="4785" actId="2696"/>
          <pc:sldLayoutMkLst>
            <pc:docMk/>
            <pc:sldMasterMk cId="1294257025" sldId="2147484178"/>
            <pc:sldLayoutMk cId="3597890062" sldId="2147484208"/>
          </pc:sldLayoutMkLst>
        </pc:sldLayoutChg>
        <pc:sldLayoutChg chg="del">
          <pc:chgData name="Adwait Aralkar" userId="ae1719c1-ed02-42aa-a1d9-0d6e6247f692" providerId="ADAL" clId="{3F587D8B-EC67-422E-A694-1F3A026A2B27}" dt="2025-01-16T05:05:04.245" v="4785" actId="2696"/>
          <pc:sldLayoutMkLst>
            <pc:docMk/>
            <pc:sldMasterMk cId="1294257025" sldId="2147484178"/>
            <pc:sldLayoutMk cId="20707234" sldId="2147484209"/>
          </pc:sldLayoutMkLst>
        </pc:sldLayoutChg>
        <pc:sldLayoutChg chg="del">
          <pc:chgData name="Adwait Aralkar" userId="ae1719c1-ed02-42aa-a1d9-0d6e6247f692" providerId="ADAL" clId="{3F587D8B-EC67-422E-A694-1F3A026A2B27}" dt="2025-01-16T05:05:04.245" v="4785" actId="2696"/>
          <pc:sldLayoutMkLst>
            <pc:docMk/>
            <pc:sldMasterMk cId="1294257025" sldId="2147484178"/>
            <pc:sldLayoutMk cId="3275141329" sldId="2147484210"/>
          </pc:sldLayoutMkLst>
        </pc:sldLayoutChg>
        <pc:sldLayoutChg chg="del">
          <pc:chgData name="Adwait Aralkar" userId="ae1719c1-ed02-42aa-a1d9-0d6e6247f692" providerId="ADAL" clId="{3F587D8B-EC67-422E-A694-1F3A026A2B27}" dt="2025-01-16T05:05:04.245" v="4785" actId="2696"/>
          <pc:sldLayoutMkLst>
            <pc:docMk/>
            <pc:sldMasterMk cId="1294257025" sldId="2147484178"/>
            <pc:sldLayoutMk cId="4101494068" sldId="2147484211"/>
          </pc:sldLayoutMkLst>
        </pc:sldLayoutChg>
        <pc:sldLayoutChg chg="del">
          <pc:chgData name="Adwait Aralkar" userId="ae1719c1-ed02-42aa-a1d9-0d6e6247f692" providerId="ADAL" clId="{3F587D8B-EC67-422E-A694-1F3A026A2B27}" dt="2025-01-16T05:05:04.245" v="4785" actId="2696"/>
          <pc:sldLayoutMkLst>
            <pc:docMk/>
            <pc:sldMasterMk cId="1294257025" sldId="2147484178"/>
            <pc:sldLayoutMk cId="647001301" sldId="2147484212"/>
          </pc:sldLayoutMkLst>
        </pc:sldLayoutChg>
        <pc:sldLayoutChg chg="del">
          <pc:chgData name="Adwait Aralkar" userId="ae1719c1-ed02-42aa-a1d9-0d6e6247f692" providerId="ADAL" clId="{3F587D8B-EC67-422E-A694-1F3A026A2B27}" dt="2025-01-16T05:05:04.245" v="4785" actId="2696"/>
          <pc:sldLayoutMkLst>
            <pc:docMk/>
            <pc:sldMasterMk cId="1294257025" sldId="2147484178"/>
            <pc:sldLayoutMk cId="723648788" sldId="2147484213"/>
          </pc:sldLayoutMkLst>
        </pc:sldLayoutChg>
        <pc:sldLayoutChg chg="del">
          <pc:chgData name="Adwait Aralkar" userId="ae1719c1-ed02-42aa-a1d9-0d6e6247f692" providerId="ADAL" clId="{3F587D8B-EC67-422E-A694-1F3A026A2B27}" dt="2025-01-16T05:05:04.245" v="4785" actId="2696"/>
          <pc:sldLayoutMkLst>
            <pc:docMk/>
            <pc:sldMasterMk cId="1294257025" sldId="2147484178"/>
            <pc:sldLayoutMk cId="2652992821" sldId="2147484214"/>
          </pc:sldLayoutMkLst>
        </pc:sldLayoutChg>
        <pc:sldLayoutChg chg="del">
          <pc:chgData name="Adwait Aralkar" userId="ae1719c1-ed02-42aa-a1d9-0d6e6247f692" providerId="ADAL" clId="{3F587D8B-EC67-422E-A694-1F3A026A2B27}" dt="2025-01-16T05:05:04.245" v="4785" actId="2696"/>
          <pc:sldLayoutMkLst>
            <pc:docMk/>
            <pc:sldMasterMk cId="1294257025" sldId="2147484178"/>
            <pc:sldLayoutMk cId="3747983030" sldId="2147484215"/>
          </pc:sldLayoutMkLst>
        </pc:sldLayoutChg>
        <pc:sldLayoutChg chg="del">
          <pc:chgData name="Adwait Aralkar" userId="ae1719c1-ed02-42aa-a1d9-0d6e6247f692" providerId="ADAL" clId="{3F587D8B-EC67-422E-A694-1F3A026A2B27}" dt="2025-01-16T05:05:04.245" v="4785" actId="2696"/>
          <pc:sldLayoutMkLst>
            <pc:docMk/>
            <pc:sldMasterMk cId="1294257025" sldId="2147484178"/>
            <pc:sldLayoutMk cId="864191446" sldId="2147484216"/>
          </pc:sldLayoutMkLst>
        </pc:sldLayoutChg>
        <pc:sldLayoutChg chg="del">
          <pc:chgData name="Adwait Aralkar" userId="ae1719c1-ed02-42aa-a1d9-0d6e6247f692" providerId="ADAL" clId="{3F587D8B-EC67-422E-A694-1F3A026A2B27}" dt="2025-01-16T05:05:04.245" v="4785" actId="2696"/>
          <pc:sldLayoutMkLst>
            <pc:docMk/>
            <pc:sldMasterMk cId="1294257025" sldId="2147484178"/>
            <pc:sldLayoutMk cId="179838501" sldId="2147484217"/>
          </pc:sldLayoutMkLst>
        </pc:sldLayoutChg>
        <pc:sldLayoutChg chg="del">
          <pc:chgData name="Adwait Aralkar" userId="ae1719c1-ed02-42aa-a1d9-0d6e6247f692" providerId="ADAL" clId="{3F587D8B-EC67-422E-A694-1F3A026A2B27}" dt="2025-01-16T05:05:04.245" v="4785" actId="2696"/>
          <pc:sldLayoutMkLst>
            <pc:docMk/>
            <pc:sldMasterMk cId="1294257025" sldId="2147484178"/>
            <pc:sldLayoutMk cId="1181834559" sldId="2147484218"/>
          </pc:sldLayoutMkLst>
        </pc:sldLayoutChg>
        <pc:sldLayoutChg chg="del">
          <pc:chgData name="Adwait Aralkar" userId="ae1719c1-ed02-42aa-a1d9-0d6e6247f692" providerId="ADAL" clId="{3F587D8B-EC67-422E-A694-1F3A026A2B27}" dt="2025-01-16T05:05:04.245" v="4785" actId="2696"/>
          <pc:sldLayoutMkLst>
            <pc:docMk/>
            <pc:sldMasterMk cId="1294257025" sldId="2147484178"/>
            <pc:sldLayoutMk cId="3304405652" sldId="2147484219"/>
          </pc:sldLayoutMkLst>
        </pc:sldLayoutChg>
        <pc:sldLayoutChg chg="del">
          <pc:chgData name="Adwait Aralkar" userId="ae1719c1-ed02-42aa-a1d9-0d6e6247f692" providerId="ADAL" clId="{3F587D8B-EC67-422E-A694-1F3A026A2B27}" dt="2025-01-16T05:05:04.245" v="4785" actId="2696"/>
          <pc:sldLayoutMkLst>
            <pc:docMk/>
            <pc:sldMasterMk cId="1294257025" sldId="2147484178"/>
            <pc:sldLayoutMk cId="575514429" sldId="2147484220"/>
          </pc:sldLayoutMkLst>
        </pc:sldLayoutChg>
        <pc:sldLayoutChg chg="del">
          <pc:chgData name="Adwait Aralkar" userId="ae1719c1-ed02-42aa-a1d9-0d6e6247f692" providerId="ADAL" clId="{3F587D8B-EC67-422E-A694-1F3A026A2B27}" dt="2025-01-16T05:05:04.245" v="4785" actId="2696"/>
          <pc:sldLayoutMkLst>
            <pc:docMk/>
            <pc:sldMasterMk cId="1294257025" sldId="2147484178"/>
            <pc:sldLayoutMk cId="2797518416" sldId="2147484221"/>
          </pc:sldLayoutMkLst>
        </pc:sldLayoutChg>
        <pc:sldLayoutChg chg="del">
          <pc:chgData name="Adwait Aralkar" userId="ae1719c1-ed02-42aa-a1d9-0d6e6247f692" providerId="ADAL" clId="{3F587D8B-EC67-422E-A694-1F3A026A2B27}" dt="2025-01-16T05:05:04.245" v="4785" actId="2696"/>
          <pc:sldLayoutMkLst>
            <pc:docMk/>
            <pc:sldMasterMk cId="1294257025" sldId="2147484178"/>
            <pc:sldLayoutMk cId="2662265835" sldId="2147484222"/>
          </pc:sldLayoutMkLst>
        </pc:sldLayoutChg>
        <pc:sldLayoutChg chg="del">
          <pc:chgData name="Adwait Aralkar" userId="ae1719c1-ed02-42aa-a1d9-0d6e6247f692" providerId="ADAL" clId="{3F587D8B-EC67-422E-A694-1F3A026A2B27}" dt="2025-01-16T05:05:04.245" v="4785" actId="2696"/>
          <pc:sldLayoutMkLst>
            <pc:docMk/>
            <pc:sldMasterMk cId="1294257025" sldId="2147484178"/>
            <pc:sldLayoutMk cId="1307559536" sldId="2147484223"/>
          </pc:sldLayoutMkLst>
        </pc:sldLayoutChg>
        <pc:sldLayoutChg chg="del">
          <pc:chgData name="Adwait Aralkar" userId="ae1719c1-ed02-42aa-a1d9-0d6e6247f692" providerId="ADAL" clId="{3F587D8B-EC67-422E-A694-1F3A026A2B27}" dt="2025-01-16T05:05:04.245" v="4785" actId="2696"/>
          <pc:sldLayoutMkLst>
            <pc:docMk/>
            <pc:sldMasterMk cId="1294257025" sldId="2147484178"/>
            <pc:sldLayoutMk cId="3648232069" sldId="2147484224"/>
          </pc:sldLayoutMkLst>
        </pc:sldLayoutChg>
        <pc:sldLayoutChg chg="del">
          <pc:chgData name="Adwait Aralkar" userId="ae1719c1-ed02-42aa-a1d9-0d6e6247f692" providerId="ADAL" clId="{3F587D8B-EC67-422E-A694-1F3A026A2B27}" dt="2025-01-16T05:05:04.245" v="4785" actId="2696"/>
          <pc:sldLayoutMkLst>
            <pc:docMk/>
            <pc:sldMasterMk cId="1294257025" sldId="2147484178"/>
            <pc:sldLayoutMk cId="2953233352" sldId="2147484225"/>
          </pc:sldLayoutMkLst>
        </pc:sldLayoutChg>
        <pc:sldLayoutChg chg="del">
          <pc:chgData name="Adwait Aralkar" userId="ae1719c1-ed02-42aa-a1d9-0d6e6247f692" providerId="ADAL" clId="{3F587D8B-EC67-422E-A694-1F3A026A2B27}" dt="2025-01-16T05:05:04.245" v="4785" actId="2696"/>
          <pc:sldLayoutMkLst>
            <pc:docMk/>
            <pc:sldMasterMk cId="1294257025" sldId="2147484178"/>
            <pc:sldLayoutMk cId="876927911" sldId="2147484226"/>
          </pc:sldLayoutMkLst>
        </pc:sldLayoutChg>
        <pc:sldLayoutChg chg="del">
          <pc:chgData name="Adwait Aralkar" userId="ae1719c1-ed02-42aa-a1d9-0d6e6247f692" providerId="ADAL" clId="{3F587D8B-EC67-422E-A694-1F3A026A2B27}" dt="2025-01-16T05:05:04.245" v="4785" actId="2696"/>
          <pc:sldLayoutMkLst>
            <pc:docMk/>
            <pc:sldMasterMk cId="1294257025" sldId="2147484178"/>
            <pc:sldLayoutMk cId="821269915" sldId="2147484227"/>
          </pc:sldLayoutMkLst>
        </pc:sldLayoutChg>
        <pc:sldLayoutChg chg="del">
          <pc:chgData name="Adwait Aralkar" userId="ae1719c1-ed02-42aa-a1d9-0d6e6247f692" providerId="ADAL" clId="{3F587D8B-EC67-422E-A694-1F3A026A2B27}" dt="2025-01-16T05:05:04.245" v="4785" actId="2696"/>
          <pc:sldLayoutMkLst>
            <pc:docMk/>
            <pc:sldMasterMk cId="1294257025" sldId="2147484178"/>
            <pc:sldLayoutMk cId="1617982046" sldId="2147484228"/>
          </pc:sldLayoutMkLst>
        </pc:sldLayoutChg>
        <pc:sldLayoutChg chg="del">
          <pc:chgData name="Adwait Aralkar" userId="ae1719c1-ed02-42aa-a1d9-0d6e6247f692" providerId="ADAL" clId="{3F587D8B-EC67-422E-A694-1F3A026A2B27}" dt="2025-01-16T05:05:04.245" v="4785" actId="2696"/>
          <pc:sldLayoutMkLst>
            <pc:docMk/>
            <pc:sldMasterMk cId="1294257025" sldId="2147484178"/>
            <pc:sldLayoutMk cId="1995279058" sldId="2147484229"/>
          </pc:sldLayoutMkLst>
        </pc:sldLayoutChg>
        <pc:sldLayoutChg chg="del">
          <pc:chgData name="Adwait Aralkar" userId="ae1719c1-ed02-42aa-a1d9-0d6e6247f692" providerId="ADAL" clId="{3F587D8B-EC67-422E-A694-1F3A026A2B27}" dt="2025-01-16T05:05:04.245" v="4785" actId="2696"/>
          <pc:sldLayoutMkLst>
            <pc:docMk/>
            <pc:sldMasterMk cId="1294257025" sldId="2147484178"/>
            <pc:sldLayoutMk cId="2400519225" sldId="2147484230"/>
          </pc:sldLayoutMkLst>
        </pc:sldLayoutChg>
        <pc:sldLayoutChg chg="del">
          <pc:chgData name="Adwait Aralkar" userId="ae1719c1-ed02-42aa-a1d9-0d6e6247f692" providerId="ADAL" clId="{3F587D8B-EC67-422E-A694-1F3A026A2B27}" dt="2025-01-16T05:05:04.245" v="4785" actId="2696"/>
          <pc:sldLayoutMkLst>
            <pc:docMk/>
            <pc:sldMasterMk cId="1294257025" sldId="2147484178"/>
            <pc:sldLayoutMk cId="3538537677" sldId="2147484231"/>
          </pc:sldLayoutMkLst>
        </pc:sldLayoutChg>
        <pc:sldLayoutChg chg="del">
          <pc:chgData name="Adwait Aralkar" userId="ae1719c1-ed02-42aa-a1d9-0d6e6247f692" providerId="ADAL" clId="{3F587D8B-EC67-422E-A694-1F3A026A2B27}" dt="2025-01-16T05:05:04.245" v="4785" actId="2696"/>
          <pc:sldLayoutMkLst>
            <pc:docMk/>
            <pc:sldMasterMk cId="1294257025" sldId="2147484178"/>
            <pc:sldLayoutMk cId="1900373921" sldId="2147484232"/>
          </pc:sldLayoutMkLst>
        </pc:sldLayoutChg>
      </pc:sldMasterChg>
    </pc:docChg>
  </pc:docChgLst>
  <pc:docChgLst>
    <pc:chgData name="Siddhi Paliwal" userId="3ef3921d-16b8-4854-8920-f0b2bd004b9f" providerId="ADAL" clId="{C1DCDE91-2A24-B94D-A20B-99BB0A794CB7}"/>
    <pc:docChg chg="undo custSel addSld delSld modSld delMainMaster">
      <pc:chgData name="Siddhi Paliwal" userId="3ef3921d-16b8-4854-8920-f0b2bd004b9f" providerId="ADAL" clId="{C1DCDE91-2A24-B94D-A20B-99BB0A794CB7}" dt="2025-01-20T11:03:47.953" v="846" actId="14100"/>
      <pc:docMkLst>
        <pc:docMk/>
      </pc:docMkLst>
      <pc:sldChg chg="addSp delSp modSp mod">
        <pc:chgData name="Siddhi Paliwal" userId="3ef3921d-16b8-4854-8920-f0b2bd004b9f" providerId="ADAL" clId="{C1DCDE91-2A24-B94D-A20B-99BB0A794CB7}" dt="2025-01-17T11:51:39.567" v="124" actId="207"/>
        <pc:sldMkLst>
          <pc:docMk/>
          <pc:sldMk cId="3021614010" sldId="256"/>
        </pc:sldMkLst>
        <pc:spChg chg="add mod">
          <ac:chgData name="Siddhi Paliwal" userId="3ef3921d-16b8-4854-8920-f0b2bd004b9f" providerId="ADAL" clId="{C1DCDE91-2A24-B94D-A20B-99BB0A794CB7}" dt="2025-01-17T11:51:39.567" v="124" actId="207"/>
          <ac:spMkLst>
            <pc:docMk/>
            <pc:sldMk cId="3021614010" sldId="256"/>
            <ac:spMk id="4" creationId="{A7423149-6F83-3A11-1592-EC6D5C3FF76A}"/>
          </ac:spMkLst>
        </pc:spChg>
        <pc:spChg chg="mod">
          <ac:chgData name="Siddhi Paliwal" userId="3ef3921d-16b8-4854-8920-f0b2bd004b9f" providerId="ADAL" clId="{C1DCDE91-2A24-B94D-A20B-99BB0A794CB7}" dt="2025-01-17T11:51:33.535" v="123" actId="207"/>
          <ac:spMkLst>
            <pc:docMk/>
            <pc:sldMk cId="3021614010" sldId="256"/>
            <ac:spMk id="8" creationId="{792033D6-2E16-FE85-5246-624460332C7D}"/>
          </ac:spMkLst>
        </pc:spChg>
        <pc:spChg chg="mod">
          <ac:chgData name="Siddhi Paliwal" userId="3ef3921d-16b8-4854-8920-f0b2bd004b9f" providerId="ADAL" clId="{C1DCDE91-2A24-B94D-A20B-99BB0A794CB7}" dt="2025-01-17T11:50:49.827" v="118" actId="1076"/>
          <ac:spMkLst>
            <pc:docMk/>
            <pc:sldMk cId="3021614010" sldId="256"/>
            <ac:spMk id="48" creationId="{3EE217FE-1D9B-F99C-016D-6D6EBB0065F5}"/>
          </ac:spMkLst>
        </pc:spChg>
        <pc:spChg chg="mod">
          <ac:chgData name="Siddhi Paliwal" userId="3ef3921d-16b8-4854-8920-f0b2bd004b9f" providerId="ADAL" clId="{C1DCDE91-2A24-B94D-A20B-99BB0A794CB7}" dt="2025-01-17T11:51:07.228" v="119" actId="1076"/>
          <ac:spMkLst>
            <pc:docMk/>
            <pc:sldMk cId="3021614010" sldId="256"/>
            <ac:spMk id="58" creationId="{37C98DBF-C617-0078-77EB-1012A096882F}"/>
          </ac:spMkLst>
        </pc:spChg>
        <pc:grpChg chg="mod">
          <ac:chgData name="Siddhi Paliwal" userId="3ef3921d-16b8-4854-8920-f0b2bd004b9f" providerId="ADAL" clId="{C1DCDE91-2A24-B94D-A20B-99BB0A794CB7}" dt="2025-01-17T11:46:05.354" v="22" actId="1037"/>
          <ac:grpSpMkLst>
            <pc:docMk/>
            <pc:sldMk cId="3021614010" sldId="256"/>
            <ac:grpSpMk id="3" creationId="{F383E18B-8FA1-35C6-97DF-98A19A60F343}"/>
          </ac:grpSpMkLst>
        </pc:grpChg>
        <pc:grpChg chg="mod">
          <ac:chgData name="Siddhi Paliwal" userId="3ef3921d-16b8-4854-8920-f0b2bd004b9f" providerId="ADAL" clId="{C1DCDE91-2A24-B94D-A20B-99BB0A794CB7}" dt="2025-01-17T11:46:05.354" v="22" actId="1037"/>
          <ac:grpSpMkLst>
            <pc:docMk/>
            <pc:sldMk cId="3021614010" sldId="256"/>
            <ac:grpSpMk id="13" creationId="{B8491E6E-E272-094F-7533-7D780764834F}"/>
          </ac:grpSpMkLst>
        </pc:grpChg>
        <pc:grpChg chg="mod">
          <ac:chgData name="Siddhi Paliwal" userId="3ef3921d-16b8-4854-8920-f0b2bd004b9f" providerId="ADAL" clId="{C1DCDE91-2A24-B94D-A20B-99BB0A794CB7}" dt="2025-01-17T11:46:05.354" v="22" actId="1037"/>
          <ac:grpSpMkLst>
            <pc:docMk/>
            <pc:sldMk cId="3021614010" sldId="256"/>
            <ac:grpSpMk id="39" creationId="{D7571B28-F4EF-36B2-D70C-4740D40B19DC}"/>
          </ac:grpSpMkLst>
        </pc:grpChg>
        <pc:grpChg chg="mod">
          <ac:chgData name="Siddhi Paliwal" userId="3ef3921d-16b8-4854-8920-f0b2bd004b9f" providerId="ADAL" clId="{C1DCDE91-2A24-B94D-A20B-99BB0A794CB7}" dt="2025-01-17T11:46:05.354" v="22" actId="1037"/>
          <ac:grpSpMkLst>
            <pc:docMk/>
            <pc:sldMk cId="3021614010" sldId="256"/>
            <ac:grpSpMk id="53" creationId="{D9B39BA7-31E9-F54C-959B-CA107FAA8E7D}"/>
          </ac:grpSpMkLst>
        </pc:grpChg>
        <pc:picChg chg="mod">
          <ac:chgData name="Siddhi Paliwal" userId="3ef3921d-16b8-4854-8920-f0b2bd004b9f" providerId="ADAL" clId="{C1DCDE91-2A24-B94D-A20B-99BB0A794CB7}" dt="2025-01-17T11:50:49.827" v="118" actId="1076"/>
          <ac:picMkLst>
            <pc:docMk/>
            <pc:sldMk cId="3021614010" sldId="256"/>
            <ac:picMk id="60" creationId="{EE32521E-9ADA-6128-43BC-B094DF9A9013}"/>
          </ac:picMkLst>
        </pc:picChg>
        <pc:picChg chg="mod">
          <ac:chgData name="Siddhi Paliwal" userId="3ef3921d-16b8-4854-8920-f0b2bd004b9f" providerId="ADAL" clId="{C1DCDE91-2A24-B94D-A20B-99BB0A794CB7}" dt="2025-01-17T11:51:20.865" v="122" actId="1035"/>
          <ac:picMkLst>
            <pc:docMk/>
            <pc:sldMk cId="3021614010" sldId="256"/>
            <ac:picMk id="61" creationId="{2DA50103-55A9-156E-5972-8C535B15DCB8}"/>
          </ac:picMkLst>
        </pc:picChg>
      </pc:sldChg>
      <pc:sldChg chg="modSp mod">
        <pc:chgData name="Siddhi Paliwal" userId="3ef3921d-16b8-4854-8920-f0b2bd004b9f" providerId="ADAL" clId="{C1DCDE91-2A24-B94D-A20B-99BB0A794CB7}" dt="2025-01-17T11:56:47.717" v="147" actId="1076"/>
        <pc:sldMkLst>
          <pc:docMk/>
          <pc:sldMk cId="508278704" sldId="257"/>
        </pc:sldMkLst>
        <pc:spChg chg="mod">
          <ac:chgData name="Siddhi Paliwal" userId="3ef3921d-16b8-4854-8920-f0b2bd004b9f" providerId="ADAL" clId="{C1DCDE91-2A24-B94D-A20B-99BB0A794CB7}" dt="2025-01-17T11:56:47.717" v="147" actId="1076"/>
          <ac:spMkLst>
            <pc:docMk/>
            <pc:sldMk cId="508278704" sldId="257"/>
            <ac:spMk id="3" creationId="{6FAF2BE4-9C90-C04B-5F78-BBBDE63578DE}"/>
          </ac:spMkLst>
        </pc:spChg>
      </pc:sldChg>
      <pc:sldChg chg="modSp mod">
        <pc:chgData name="Siddhi Paliwal" userId="3ef3921d-16b8-4854-8920-f0b2bd004b9f" providerId="ADAL" clId="{C1DCDE91-2A24-B94D-A20B-99BB0A794CB7}" dt="2025-01-17T11:56:54.147" v="150" actId="1035"/>
        <pc:sldMkLst>
          <pc:docMk/>
          <pc:sldMk cId="3112683689" sldId="262"/>
        </pc:sldMkLst>
        <pc:spChg chg="mod">
          <ac:chgData name="Siddhi Paliwal" userId="3ef3921d-16b8-4854-8920-f0b2bd004b9f" providerId="ADAL" clId="{C1DCDE91-2A24-B94D-A20B-99BB0A794CB7}" dt="2025-01-17T11:56:54.147" v="150" actId="1035"/>
          <ac:spMkLst>
            <pc:docMk/>
            <pc:sldMk cId="3112683689" sldId="262"/>
            <ac:spMk id="3" creationId="{6FAF2BE4-9C90-C04B-5F78-BBBDE63578DE}"/>
          </ac:spMkLst>
        </pc:spChg>
      </pc:sldChg>
      <pc:sldChg chg="addSp delSp modSp mod modClrScheme chgLayout">
        <pc:chgData name="Siddhi Paliwal" userId="3ef3921d-16b8-4854-8920-f0b2bd004b9f" providerId="ADAL" clId="{C1DCDE91-2A24-B94D-A20B-99BB0A794CB7}" dt="2025-01-20T10:47:14.459" v="696" actId="478"/>
        <pc:sldMkLst>
          <pc:docMk/>
          <pc:sldMk cId="3369272554" sldId="267"/>
        </pc:sldMkLst>
      </pc:sldChg>
      <pc:sldChg chg="delSp modSp mod modShow">
        <pc:chgData name="Siddhi Paliwal" userId="3ef3921d-16b8-4854-8920-f0b2bd004b9f" providerId="ADAL" clId="{C1DCDE91-2A24-B94D-A20B-99BB0A794CB7}" dt="2025-01-20T07:32:58.344" v="484" actId="729"/>
        <pc:sldMkLst>
          <pc:docMk/>
          <pc:sldMk cId="3384076873" sldId="267"/>
        </pc:sldMkLst>
      </pc:sldChg>
      <pc:sldChg chg="addSp delSp modSp add mod">
        <pc:chgData name="Siddhi Paliwal" userId="3ef3921d-16b8-4854-8920-f0b2bd004b9f" providerId="ADAL" clId="{C1DCDE91-2A24-B94D-A20B-99BB0A794CB7}" dt="2025-01-20T07:34:57.078" v="510" actId="1036"/>
        <pc:sldMkLst>
          <pc:docMk/>
          <pc:sldMk cId="55496167" sldId="271"/>
        </pc:sldMkLst>
      </pc:sldChg>
      <pc:sldChg chg="modSp">
        <pc:chgData name="Siddhi Paliwal" userId="3ef3921d-16b8-4854-8920-f0b2bd004b9f" providerId="ADAL" clId="{C1DCDE91-2A24-B94D-A20B-99BB0A794CB7}" dt="2025-01-17T12:01:13.415" v="175" actId="14100"/>
        <pc:sldMkLst>
          <pc:docMk/>
          <pc:sldMk cId="1239918741" sldId="271"/>
        </pc:sldMkLst>
      </pc:sldChg>
      <pc:sldChg chg="modSp add del mod">
        <pc:chgData name="Siddhi Paliwal" userId="3ef3921d-16b8-4854-8920-f0b2bd004b9f" providerId="ADAL" clId="{C1DCDE91-2A24-B94D-A20B-99BB0A794CB7}" dt="2025-01-20T10:23:24.106" v="539" actId="2696"/>
        <pc:sldMkLst>
          <pc:docMk/>
          <pc:sldMk cId="3403473558" sldId="280"/>
        </pc:sldMkLst>
      </pc:sldChg>
      <pc:sldChg chg="modSp mod">
        <pc:chgData name="Siddhi Paliwal" userId="3ef3921d-16b8-4854-8920-f0b2bd004b9f" providerId="ADAL" clId="{C1DCDE91-2A24-B94D-A20B-99BB0A794CB7}" dt="2025-01-20T10:58:28.463" v="797" actId="1076"/>
        <pc:sldMkLst>
          <pc:docMk/>
          <pc:sldMk cId="4231622753" sldId="284"/>
        </pc:sldMkLst>
      </pc:sldChg>
      <pc:sldChg chg="addSp delSp modSp mod modClrScheme chgLayout">
        <pc:chgData name="Siddhi Paliwal" userId="3ef3921d-16b8-4854-8920-f0b2bd004b9f" providerId="ADAL" clId="{C1DCDE91-2A24-B94D-A20B-99BB0A794CB7}" dt="2025-01-20T11:03:47.953" v="846" actId="14100"/>
        <pc:sldMkLst>
          <pc:docMk/>
          <pc:sldMk cId="2136553998" sldId="287"/>
        </pc:sldMkLst>
      </pc:sldChg>
      <pc:sldChg chg="addSp delSp modSp mod">
        <pc:chgData name="Siddhi Paliwal" userId="3ef3921d-16b8-4854-8920-f0b2bd004b9f" providerId="ADAL" clId="{C1DCDE91-2A24-B94D-A20B-99BB0A794CB7}" dt="2025-01-17T11:59:32.443" v="169" actId="207"/>
        <pc:sldMkLst>
          <pc:docMk/>
          <pc:sldMk cId="1710977659" sldId="292"/>
        </pc:sldMkLst>
      </pc:sldChg>
      <pc:sldChg chg="modSp mod">
        <pc:chgData name="Siddhi Paliwal" userId="3ef3921d-16b8-4854-8920-f0b2bd004b9f" providerId="ADAL" clId="{C1DCDE91-2A24-B94D-A20B-99BB0A794CB7}" dt="2025-01-17T11:44:19.077" v="8" actId="1036"/>
        <pc:sldMkLst>
          <pc:docMk/>
          <pc:sldMk cId="1355119565" sldId="322"/>
        </pc:sldMkLst>
        <pc:spChg chg="mod">
          <ac:chgData name="Siddhi Paliwal" userId="3ef3921d-16b8-4854-8920-f0b2bd004b9f" providerId="ADAL" clId="{C1DCDE91-2A24-B94D-A20B-99BB0A794CB7}" dt="2025-01-17T11:44:19.077" v="8" actId="1036"/>
          <ac:spMkLst>
            <pc:docMk/>
            <pc:sldMk cId="1355119565" sldId="322"/>
            <ac:spMk id="31" creationId="{DCB8917B-8969-6A26-00E1-B655B2EBCBE9}"/>
          </ac:spMkLst>
        </pc:spChg>
      </pc:sldChg>
      <pc:sldChg chg="modSp mod">
        <pc:chgData name="Siddhi Paliwal" userId="3ef3921d-16b8-4854-8920-f0b2bd004b9f" providerId="ADAL" clId="{C1DCDE91-2A24-B94D-A20B-99BB0A794CB7}" dt="2025-01-17T12:03:37.672" v="199" actId="14100"/>
        <pc:sldMkLst>
          <pc:docMk/>
          <pc:sldMk cId="1171986220" sldId="2147483044"/>
        </pc:sldMkLst>
        <pc:spChg chg="mod">
          <ac:chgData name="Siddhi Paliwal" userId="3ef3921d-16b8-4854-8920-f0b2bd004b9f" providerId="ADAL" clId="{C1DCDE91-2A24-B94D-A20B-99BB0A794CB7}" dt="2025-01-17T12:03:28.224" v="198" actId="120"/>
          <ac:spMkLst>
            <pc:docMk/>
            <pc:sldMk cId="1171986220" sldId="2147483044"/>
            <ac:spMk id="4" creationId="{D58CCDAA-CE82-0DAD-03FB-AB1BA2469D6C}"/>
          </ac:spMkLst>
        </pc:spChg>
        <pc:spChg chg="mod">
          <ac:chgData name="Siddhi Paliwal" userId="3ef3921d-16b8-4854-8920-f0b2bd004b9f" providerId="ADAL" clId="{C1DCDE91-2A24-B94D-A20B-99BB0A794CB7}" dt="2025-01-17T12:02:24.074" v="177" actId="555"/>
          <ac:spMkLst>
            <pc:docMk/>
            <pc:sldMk cId="1171986220" sldId="2147483044"/>
            <ac:spMk id="5" creationId="{B4E1CD77-3795-DBBF-C2D4-7D27ED1C924F}"/>
          </ac:spMkLst>
        </pc:spChg>
        <pc:spChg chg="mod">
          <ac:chgData name="Siddhi Paliwal" userId="3ef3921d-16b8-4854-8920-f0b2bd004b9f" providerId="ADAL" clId="{C1DCDE91-2A24-B94D-A20B-99BB0A794CB7}" dt="2025-01-17T12:03:19.525" v="196" actId="1076"/>
          <ac:spMkLst>
            <pc:docMk/>
            <pc:sldMk cId="1171986220" sldId="2147483044"/>
            <ac:spMk id="6" creationId="{C5E0078A-AB47-84D7-4989-DF3A2DC7A051}"/>
          </ac:spMkLst>
        </pc:spChg>
        <pc:spChg chg="mod">
          <ac:chgData name="Siddhi Paliwal" userId="3ef3921d-16b8-4854-8920-f0b2bd004b9f" providerId="ADAL" clId="{C1DCDE91-2A24-B94D-A20B-99BB0A794CB7}" dt="2025-01-17T12:02:13.956" v="176" actId="1076"/>
          <ac:spMkLst>
            <pc:docMk/>
            <pc:sldMk cId="1171986220" sldId="2147483044"/>
            <ac:spMk id="34" creationId="{ED7BE3F9-56F8-6087-D50C-BF7A79E30F68}"/>
          </ac:spMkLst>
        </pc:spChg>
        <pc:spChg chg="mod">
          <ac:chgData name="Siddhi Paliwal" userId="3ef3921d-16b8-4854-8920-f0b2bd004b9f" providerId="ADAL" clId="{C1DCDE91-2A24-B94D-A20B-99BB0A794CB7}" dt="2025-01-17T12:02:13.956" v="176" actId="1076"/>
          <ac:spMkLst>
            <pc:docMk/>
            <pc:sldMk cId="1171986220" sldId="2147483044"/>
            <ac:spMk id="35" creationId="{0E8696A8-4926-65E2-F3C2-933C10846DA1}"/>
          </ac:spMkLst>
        </pc:spChg>
        <pc:spChg chg="mod">
          <ac:chgData name="Siddhi Paliwal" userId="3ef3921d-16b8-4854-8920-f0b2bd004b9f" providerId="ADAL" clId="{C1DCDE91-2A24-B94D-A20B-99BB0A794CB7}" dt="2025-01-17T12:02:13.956" v="176" actId="1076"/>
          <ac:spMkLst>
            <pc:docMk/>
            <pc:sldMk cId="1171986220" sldId="2147483044"/>
            <ac:spMk id="36" creationId="{A8E4AB95-BFB6-7C03-E888-C983CC9E1CC4}"/>
          </ac:spMkLst>
        </pc:spChg>
        <pc:spChg chg="mod">
          <ac:chgData name="Siddhi Paliwal" userId="3ef3921d-16b8-4854-8920-f0b2bd004b9f" providerId="ADAL" clId="{C1DCDE91-2A24-B94D-A20B-99BB0A794CB7}" dt="2025-01-17T12:03:04.928" v="192" actId="948"/>
          <ac:spMkLst>
            <pc:docMk/>
            <pc:sldMk cId="1171986220" sldId="2147483044"/>
            <ac:spMk id="38" creationId="{FBEB088F-710F-CB71-D42E-2FA686C7C5E0}"/>
          </ac:spMkLst>
        </pc:spChg>
        <pc:picChg chg="mod">
          <ac:chgData name="Siddhi Paliwal" userId="3ef3921d-16b8-4854-8920-f0b2bd004b9f" providerId="ADAL" clId="{C1DCDE91-2A24-B94D-A20B-99BB0A794CB7}" dt="2025-01-17T12:02:13.956" v="176" actId="1076"/>
          <ac:picMkLst>
            <pc:docMk/>
            <pc:sldMk cId="1171986220" sldId="2147483044"/>
            <ac:picMk id="30" creationId="{23460DDA-6E38-905B-4639-23B877983380}"/>
          </ac:picMkLst>
        </pc:picChg>
        <pc:picChg chg="mod">
          <ac:chgData name="Siddhi Paliwal" userId="3ef3921d-16b8-4854-8920-f0b2bd004b9f" providerId="ADAL" clId="{C1DCDE91-2A24-B94D-A20B-99BB0A794CB7}" dt="2025-01-17T12:02:13.956" v="176" actId="1076"/>
          <ac:picMkLst>
            <pc:docMk/>
            <pc:sldMk cId="1171986220" sldId="2147483044"/>
            <ac:picMk id="33" creationId="{ACBABCC1-7AF9-29BE-79BA-3E9071AD81D6}"/>
          </ac:picMkLst>
        </pc:picChg>
        <pc:picChg chg="mod">
          <ac:chgData name="Siddhi Paliwal" userId="3ef3921d-16b8-4854-8920-f0b2bd004b9f" providerId="ADAL" clId="{C1DCDE91-2A24-B94D-A20B-99BB0A794CB7}" dt="2025-01-17T12:03:37.672" v="199" actId="14100"/>
          <ac:picMkLst>
            <pc:docMk/>
            <pc:sldMk cId="1171986220" sldId="2147483044"/>
            <ac:picMk id="37" creationId="{72ED42BF-D974-F5A0-D7DC-E900C910DA1F}"/>
          </ac:picMkLst>
        </pc:picChg>
        <pc:picChg chg="mod">
          <ac:chgData name="Siddhi Paliwal" userId="3ef3921d-16b8-4854-8920-f0b2bd004b9f" providerId="ADAL" clId="{C1DCDE91-2A24-B94D-A20B-99BB0A794CB7}" dt="2025-01-17T12:02:29.649" v="182" actId="1036"/>
          <ac:picMkLst>
            <pc:docMk/>
            <pc:sldMk cId="1171986220" sldId="2147483044"/>
            <ac:picMk id="1026" creationId="{E25B0068-608B-4EEF-3AF6-C50A6D745DB6}"/>
          </ac:picMkLst>
        </pc:picChg>
        <pc:cxnChg chg="mod">
          <ac:chgData name="Siddhi Paliwal" userId="3ef3921d-16b8-4854-8920-f0b2bd004b9f" providerId="ADAL" clId="{C1DCDE91-2A24-B94D-A20B-99BB0A794CB7}" dt="2025-01-17T12:02:49.157" v="190" actId="1035"/>
          <ac:cxnSpMkLst>
            <pc:docMk/>
            <pc:sldMk cId="1171986220" sldId="2147483044"/>
            <ac:cxnSpMk id="9" creationId="{9ADB6D5C-6A3B-98FF-A085-DE17B1C0B648}"/>
          </ac:cxnSpMkLst>
        </pc:cxnChg>
      </pc:sldChg>
      <pc:sldChg chg="modSp mod">
        <pc:chgData name="Siddhi Paliwal" userId="3ef3921d-16b8-4854-8920-f0b2bd004b9f" providerId="ADAL" clId="{C1DCDE91-2A24-B94D-A20B-99BB0A794CB7}" dt="2025-01-17T11:57:48.805" v="154" actId="1038"/>
        <pc:sldMkLst>
          <pc:docMk/>
          <pc:sldMk cId="3348783017" sldId="2147483486"/>
        </pc:sldMkLst>
        <pc:spChg chg="mod">
          <ac:chgData name="Siddhi Paliwal" userId="3ef3921d-16b8-4854-8920-f0b2bd004b9f" providerId="ADAL" clId="{C1DCDE91-2A24-B94D-A20B-99BB0A794CB7}" dt="2025-01-17T11:57:48.805" v="154" actId="1038"/>
          <ac:spMkLst>
            <pc:docMk/>
            <pc:sldMk cId="3348783017" sldId="2147483486"/>
            <ac:spMk id="3" creationId="{5EC14CB5-71AB-2D7C-6C01-4340F569B856}"/>
          </ac:spMkLst>
        </pc:spChg>
        <pc:spChg chg="mod">
          <ac:chgData name="Siddhi Paliwal" userId="3ef3921d-16b8-4854-8920-f0b2bd004b9f" providerId="ADAL" clId="{C1DCDE91-2A24-B94D-A20B-99BB0A794CB7}" dt="2025-01-17T11:57:48.805" v="154" actId="1038"/>
          <ac:spMkLst>
            <pc:docMk/>
            <pc:sldMk cId="3348783017" sldId="2147483486"/>
            <ac:spMk id="12" creationId="{205CBC1A-C99B-560D-E077-1A9B8FB24CEC}"/>
          </ac:spMkLst>
        </pc:spChg>
      </pc:sldChg>
      <pc:sldMasterChg chg="del delSldLayout">
        <pc:chgData name="Siddhi Paliwal" userId="3ef3921d-16b8-4854-8920-f0b2bd004b9f" providerId="ADAL" clId="{C1DCDE91-2A24-B94D-A20B-99BB0A794CB7}" dt="2025-01-20T10:48:30.309" v="722" actId="700"/>
        <pc:sldMasterMkLst>
          <pc:docMk/>
          <pc:sldMasterMk cId="2126639191" sldId="2147484152"/>
        </pc:sldMasterMkLst>
        <pc:sldLayoutChg chg="del">
          <pc:chgData name="Siddhi Paliwal" userId="3ef3921d-16b8-4854-8920-f0b2bd004b9f" providerId="ADAL" clId="{C1DCDE91-2A24-B94D-A20B-99BB0A794CB7}" dt="2025-01-20T10:48:30.309" v="722" actId="700"/>
          <pc:sldLayoutMkLst>
            <pc:docMk/>
            <pc:sldMasterMk cId="2126639191" sldId="2147484152"/>
            <pc:sldLayoutMk cId="2494909371" sldId="2147484153"/>
          </pc:sldLayoutMkLst>
        </pc:sldLayoutChg>
        <pc:sldLayoutChg chg="del">
          <pc:chgData name="Siddhi Paliwal" userId="3ef3921d-16b8-4854-8920-f0b2bd004b9f" providerId="ADAL" clId="{C1DCDE91-2A24-B94D-A20B-99BB0A794CB7}" dt="2025-01-20T10:48:30.309" v="722" actId="700"/>
          <pc:sldLayoutMkLst>
            <pc:docMk/>
            <pc:sldMasterMk cId="2126639191" sldId="2147484152"/>
            <pc:sldLayoutMk cId="150012144" sldId="2147484154"/>
          </pc:sldLayoutMkLst>
        </pc:sldLayoutChg>
        <pc:sldLayoutChg chg="del">
          <pc:chgData name="Siddhi Paliwal" userId="3ef3921d-16b8-4854-8920-f0b2bd004b9f" providerId="ADAL" clId="{C1DCDE91-2A24-B94D-A20B-99BB0A794CB7}" dt="2025-01-20T10:48:30.309" v="722" actId="700"/>
          <pc:sldLayoutMkLst>
            <pc:docMk/>
            <pc:sldMasterMk cId="2126639191" sldId="2147484152"/>
            <pc:sldLayoutMk cId="3508108352" sldId="2147484155"/>
          </pc:sldLayoutMkLst>
        </pc:sldLayoutChg>
        <pc:sldLayoutChg chg="del">
          <pc:chgData name="Siddhi Paliwal" userId="3ef3921d-16b8-4854-8920-f0b2bd004b9f" providerId="ADAL" clId="{C1DCDE91-2A24-B94D-A20B-99BB0A794CB7}" dt="2025-01-20T10:48:30.309" v="722" actId="700"/>
          <pc:sldLayoutMkLst>
            <pc:docMk/>
            <pc:sldMasterMk cId="2126639191" sldId="2147484152"/>
            <pc:sldLayoutMk cId="483885177" sldId="2147484156"/>
          </pc:sldLayoutMkLst>
        </pc:sldLayoutChg>
        <pc:sldLayoutChg chg="del">
          <pc:chgData name="Siddhi Paliwal" userId="3ef3921d-16b8-4854-8920-f0b2bd004b9f" providerId="ADAL" clId="{C1DCDE91-2A24-B94D-A20B-99BB0A794CB7}" dt="2025-01-20T10:48:30.309" v="722" actId="700"/>
          <pc:sldLayoutMkLst>
            <pc:docMk/>
            <pc:sldMasterMk cId="2126639191" sldId="2147484152"/>
            <pc:sldLayoutMk cId="646983123" sldId="2147484157"/>
          </pc:sldLayoutMkLst>
        </pc:sldLayoutChg>
        <pc:sldLayoutChg chg="del">
          <pc:chgData name="Siddhi Paliwal" userId="3ef3921d-16b8-4854-8920-f0b2bd004b9f" providerId="ADAL" clId="{C1DCDE91-2A24-B94D-A20B-99BB0A794CB7}" dt="2025-01-20T10:48:30.309" v="722" actId="700"/>
          <pc:sldLayoutMkLst>
            <pc:docMk/>
            <pc:sldMasterMk cId="2126639191" sldId="2147484152"/>
            <pc:sldLayoutMk cId="3712062292" sldId="2147484158"/>
          </pc:sldLayoutMkLst>
        </pc:sldLayoutChg>
        <pc:sldLayoutChg chg="del">
          <pc:chgData name="Siddhi Paliwal" userId="3ef3921d-16b8-4854-8920-f0b2bd004b9f" providerId="ADAL" clId="{C1DCDE91-2A24-B94D-A20B-99BB0A794CB7}" dt="2025-01-20T10:48:30.309" v="722" actId="700"/>
          <pc:sldLayoutMkLst>
            <pc:docMk/>
            <pc:sldMasterMk cId="2126639191" sldId="2147484152"/>
            <pc:sldLayoutMk cId="3365059282" sldId="2147484159"/>
          </pc:sldLayoutMkLst>
        </pc:sldLayoutChg>
        <pc:sldLayoutChg chg="del">
          <pc:chgData name="Siddhi Paliwal" userId="3ef3921d-16b8-4854-8920-f0b2bd004b9f" providerId="ADAL" clId="{C1DCDE91-2A24-B94D-A20B-99BB0A794CB7}" dt="2025-01-20T10:48:30.309" v="722" actId="700"/>
          <pc:sldLayoutMkLst>
            <pc:docMk/>
            <pc:sldMasterMk cId="2126639191" sldId="2147484152"/>
            <pc:sldLayoutMk cId="2964792013" sldId="2147484160"/>
          </pc:sldLayoutMkLst>
        </pc:sldLayoutChg>
        <pc:sldLayoutChg chg="del">
          <pc:chgData name="Siddhi Paliwal" userId="3ef3921d-16b8-4854-8920-f0b2bd004b9f" providerId="ADAL" clId="{C1DCDE91-2A24-B94D-A20B-99BB0A794CB7}" dt="2025-01-20T10:48:30.309" v="722" actId="700"/>
          <pc:sldLayoutMkLst>
            <pc:docMk/>
            <pc:sldMasterMk cId="2126639191" sldId="2147484152"/>
            <pc:sldLayoutMk cId="3539755055" sldId="2147484161"/>
          </pc:sldLayoutMkLst>
        </pc:sldLayoutChg>
        <pc:sldLayoutChg chg="del">
          <pc:chgData name="Siddhi Paliwal" userId="3ef3921d-16b8-4854-8920-f0b2bd004b9f" providerId="ADAL" clId="{C1DCDE91-2A24-B94D-A20B-99BB0A794CB7}" dt="2025-01-20T10:48:30.309" v="722" actId="700"/>
          <pc:sldLayoutMkLst>
            <pc:docMk/>
            <pc:sldMasterMk cId="2126639191" sldId="2147484152"/>
            <pc:sldLayoutMk cId="389124480" sldId="2147484162"/>
          </pc:sldLayoutMkLst>
        </pc:sldLayoutChg>
        <pc:sldLayoutChg chg="del">
          <pc:chgData name="Siddhi Paliwal" userId="3ef3921d-16b8-4854-8920-f0b2bd004b9f" providerId="ADAL" clId="{C1DCDE91-2A24-B94D-A20B-99BB0A794CB7}" dt="2025-01-20T10:48:30.309" v="722" actId="700"/>
          <pc:sldLayoutMkLst>
            <pc:docMk/>
            <pc:sldMasterMk cId="2126639191" sldId="2147484152"/>
            <pc:sldLayoutMk cId="25253474" sldId="2147484163"/>
          </pc:sldLayoutMkLst>
        </pc:sldLayoutChg>
      </pc:sldMasterChg>
    </pc:docChg>
  </pc:docChgLst>
  <pc:docChgLst>
    <pc:chgData name="Aswani Chittilla" userId="S::aswani.chittilla@brillio.com::e4377af8-5c25-4d6d-97ff-a0a1ea235d6c" providerId="AD" clId="Web-{6B7C5FB7-B30A-5398-8BE3-4AE4F3D24140}"/>
    <pc:docChg chg="modSld">
      <pc:chgData name="Aswani Chittilla" userId="S::aswani.chittilla@brillio.com::e4377af8-5c25-4d6d-97ff-a0a1ea235d6c" providerId="AD" clId="Web-{6B7C5FB7-B30A-5398-8BE3-4AE4F3D24140}" dt="2025-01-13T14:12:51.137" v="8"/>
      <pc:docMkLst>
        <pc:docMk/>
      </pc:docMkLst>
      <pc:sldChg chg="modSp">
        <pc:chgData name="Aswani Chittilla" userId="S::aswani.chittilla@brillio.com::e4377af8-5c25-4d6d-97ff-a0a1ea235d6c" providerId="AD" clId="Web-{6B7C5FB7-B30A-5398-8BE3-4AE4F3D24140}" dt="2025-01-13T14:09:39.585" v="3" actId="20577"/>
        <pc:sldMkLst>
          <pc:docMk/>
          <pc:sldMk cId="2324598690" sldId="259"/>
        </pc:sldMkLst>
      </pc:sldChg>
      <pc:sldChg chg="delSp">
        <pc:chgData name="Aswani Chittilla" userId="S::aswani.chittilla@brillio.com::e4377af8-5c25-4d6d-97ff-a0a1ea235d6c" providerId="AD" clId="Web-{6B7C5FB7-B30A-5398-8BE3-4AE4F3D24140}" dt="2025-01-13T14:12:51.137" v="8"/>
        <pc:sldMkLst>
          <pc:docMk/>
          <pc:sldMk cId="617956213" sldId="2147482401"/>
        </pc:sldMkLst>
      </pc:sldChg>
      <pc:sldChg chg="delSp modSp">
        <pc:chgData name="Aswani Chittilla" userId="S::aswani.chittilla@brillio.com::e4377af8-5c25-4d6d-97ff-a0a1ea235d6c" providerId="AD" clId="Web-{6B7C5FB7-B30A-5398-8BE3-4AE4F3D24140}" dt="2025-01-13T14:12:47.590" v="7"/>
        <pc:sldMkLst>
          <pc:docMk/>
          <pc:sldMk cId="3073165865" sldId="2147482814"/>
        </pc:sldMkLst>
      </pc:sldChg>
    </pc:docChg>
  </pc:docChgLst>
  <pc:docChgLst>
    <pc:chgData name="Kishor Toshniwal" userId="d5a1b4b4-1fcb-4368-b56a-3e4a217d7762" providerId="ADAL" clId="{B807AAD7-B2DE-430B-A04A-AEBBAED7FA27}"/>
    <pc:docChg chg="undo custSel modSld">
      <pc:chgData name="Kishor Toshniwal" userId="d5a1b4b4-1fcb-4368-b56a-3e4a217d7762" providerId="ADAL" clId="{B807AAD7-B2DE-430B-A04A-AEBBAED7FA27}" dt="2025-02-05T05:47:59.204" v="1059" actId="113"/>
      <pc:docMkLst>
        <pc:docMk/>
      </pc:docMkLst>
      <pc:sldChg chg="modSp mod">
        <pc:chgData name="Kishor Toshniwal" userId="d5a1b4b4-1fcb-4368-b56a-3e4a217d7762" providerId="ADAL" clId="{B807AAD7-B2DE-430B-A04A-AEBBAED7FA27}" dt="2025-02-05T05:11:14.626" v="758" actId="13926"/>
        <pc:sldMkLst>
          <pc:docMk/>
          <pc:sldMk cId="508278704" sldId="257"/>
        </pc:sldMkLst>
        <pc:spChg chg="mod">
          <ac:chgData name="Kishor Toshniwal" userId="d5a1b4b4-1fcb-4368-b56a-3e4a217d7762" providerId="ADAL" clId="{B807AAD7-B2DE-430B-A04A-AEBBAED7FA27}" dt="2025-02-05T05:11:14.626" v="758" actId="13926"/>
          <ac:spMkLst>
            <pc:docMk/>
            <pc:sldMk cId="508278704" sldId="257"/>
            <ac:spMk id="3" creationId="{6FAF2BE4-9C90-C04B-5F78-BBBDE63578DE}"/>
          </ac:spMkLst>
        </pc:spChg>
      </pc:sldChg>
      <pc:sldChg chg="modSp mod">
        <pc:chgData name="Kishor Toshniwal" userId="d5a1b4b4-1fcb-4368-b56a-3e4a217d7762" providerId="ADAL" clId="{B807AAD7-B2DE-430B-A04A-AEBBAED7FA27}" dt="2025-02-05T05:06:09.541" v="747" actId="20577"/>
        <pc:sldMkLst>
          <pc:docMk/>
          <pc:sldMk cId="2161039759" sldId="286"/>
        </pc:sldMkLst>
        <pc:spChg chg="mod">
          <ac:chgData name="Kishor Toshniwal" userId="d5a1b4b4-1fcb-4368-b56a-3e4a217d7762" providerId="ADAL" clId="{B807AAD7-B2DE-430B-A04A-AEBBAED7FA27}" dt="2025-02-05T05:06:09.541" v="747" actId="20577"/>
          <ac:spMkLst>
            <pc:docMk/>
            <pc:sldMk cId="2161039759" sldId="286"/>
            <ac:spMk id="31" creationId="{70778A77-7064-D3FB-6395-7DFFDD769D72}"/>
          </ac:spMkLst>
        </pc:spChg>
      </pc:sldChg>
      <pc:sldChg chg="modSp mod">
        <pc:chgData name="Kishor Toshniwal" userId="d5a1b4b4-1fcb-4368-b56a-3e4a217d7762" providerId="ADAL" clId="{B807AAD7-B2DE-430B-A04A-AEBBAED7FA27}" dt="2025-02-05T05:07:17.048" v="752" actId="13926"/>
        <pc:sldMkLst>
          <pc:docMk/>
          <pc:sldMk cId="870452227" sldId="288"/>
        </pc:sldMkLst>
        <pc:spChg chg="mod">
          <ac:chgData name="Kishor Toshniwal" userId="d5a1b4b4-1fcb-4368-b56a-3e4a217d7762" providerId="ADAL" clId="{B807AAD7-B2DE-430B-A04A-AEBBAED7FA27}" dt="2025-02-05T05:07:17.048" v="752" actId="13926"/>
          <ac:spMkLst>
            <pc:docMk/>
            <pc:sldMk cId="870452227" sldId="288"/>
            <ac:spMk id="31" creationId="{669D48A5-3399-AAD3-F642-D158792B39DD}"/>
          </ac:spMkLst>
        </pc:spChg>
      </pc:sldChg>
      <pc:sldChg chg="addSp delSp modSp mod">
        <pc:chgData name="Kishor Toshniwal" userId="d5a1b4b4-1fcb-4368-b56a-3e4a217d7762" providerId="ADAL" clId="{B807AAD7-B2DE-430B-A04A-AEBBAED7FA27}" dt="2025-02-05T05:33:31.863" v="852" actId="1037"/>
        <pc:sldMkLst>
          <pc:docMk/>
          <pc:sldMk cId="3865543623" sldId="297"/>
        </pc:sldMkLst>
        <pc:spChg chg="add mod">
          <ac:chgData name="Kishor Toshniwal" userId="d5a1b4b4-1fcb-4368-b56a-3e4a217d7762" providerId="ADAL" clId="{B807AAD7-B2DE-430B-A04A-AEBBAED7FA27}" dt="2025-02-05T05:33:31.863" v="852" actId="1037"/>
          <ac:spMkLst>
            <pc:docMk/>
            <pc:sldMk cId="3865543623" sldId="297"/>
            <ac:spMk id="3" creationId="{6090A78A-F2F7-2BDF-5FE7-56FDA678B1AF}"/>
          </ac:spMkLst>
        </pc:spChg>
        <pc:spChg chg="add mod">
          <ac:chgData name="Kishor Toshniwal" userId="d5a1b4b4-1fcb-4368-b56a-3e4a217d7762" providerId="ADAL" clId="{B807AAD7-B2DE-430B-A04A-AEBBAED7FA27}" dt="2025-02-05T05:33:31.863" v="852" actId="1037"/>
          <ac:spMkLst>
            <pc:docMk/>
            <pc:sldMk cId="3865543623" sldId="297"/>
            <ac:spMk id="7" creationId="{CC0DBF53-878B-77BA-CFA9-5DB39D02BB80}"/>
          </ac:spMkLst>
        </pc:spChg>
        <pc:spChg chg="mod">
          <ac:chgData name="Kishor Toshniwal" userId="d5a1b4b4-1fcb-4368-b56a-3e4a217d7762" providerId="ADAL" clId="{B807AAD7-B2DE-430B-A04A-AEBBAED7FA27}" dt="2025-02-05T05:32:04.687" v="766" actId="13926"/>
          <ac:spMkLst>
            <pc:docMk/>
            <pc:sldMk cId="3865543623" sldId="297"/>
            <ac:spMk id="10" creationId="{8B8291BB-8955-9497-A0FD-49AD63502B0E}"/>
          </ac:spMkLst>
        </pc:spChg>
        <pc:spChg chg="mod">
          <ac:chgData name="Kishor Toshniwal" userId="d5a1b4b4-1fcb-4368-b56a-3e4a217d7762" providerId="ADAL" clId="{B807AAD7-B2DE-430B-A04A-AEBBAED7FA27}" dt="2025-02-05T05:32:55.453" v="789" actId="20577"/>
          <ac:spMkLst>
            <pc:docMk/>
            <pc:sldMk cId="3865543623" sldId="297"/>
            <ac:spMk id="12" creationId="{AE67A667-A5A7-7947-9FB4-457CBC6B2B9C}"/>
          </ac:spMkLst>
        </pc:spChg>
        <pc:spChg chg="add mod">
          <ac:chgData name="Kishor Toshniwal" userId="d5a1b4b4-1fcb-4368-b56a-3e4a217d7762" providerId="ADAL" clId="{B807AAD7-B2DE-430B-A04A-AEBBAED7FA27}" dt="2025-02-05T05:33:31.863" v="852" actId="1037"/>
          <ac:spMkLst>
            <pc:docMk/>
            <pc:sldMk cId="3865543623" sldId="297"/>
            <ac:spMk id="52" creationId="{6F121BCD-84C3-736B-7F98-D97334AF7110}"/>
          </ac:spMkLst>
        </pc:spChg>
        <pc:spChg chg="add mod">
          <ac:chgData name="Kishor Toshniwal" userId="d5a1b4b4-1fcb-4368-b56a-3e4a217d7762" providerId="ADAL" clId="{B807AAD7-B2DE-430B-A04A-AEBBAED7FA27}" dt="2025-02-05T05:33:31.863" v="852" actId="1037"/>
          <ac:spMkLst>
            <pc:docMk/>
            <pc:sldMk cId="3865543623" sldId="297"/>
            <ac:spMk id="53" creationId="{ACC86075-5444-3C44-A521-E6D82B0E6FF2}"/>
          </ac:spMkLst>
        </pc:spChg>
      </pc:sldChg>
      <pc:sldChg chg="modSp mod">
        <pc:chgData name="Kishor Toshniwal" userId="d5a1b4b4-1fcb-4368-b56a-3e4a217d7762" providerId="ADAL" clId="{B807AAD7-B2DE-430B-A04A-AEBBAED7FA27}" dt="2025-02-05T05:47:59.204" v="1059" actId="113"/>
        <pc:sldMkLst>
          <pc:docMk/>
          <pc:sldMk cId="4208253848" sldId="299"/>
        </pc:sldMkLst>
        <pc:spChg chg="mod">
          <ac:chgData name="Kishor Toshniwal" userId="d5a1b4b4-1fcb-4368-b56a-3e4a217d7762" providerId="ADAL" clId="{B807AAD7-B2DE-430B-A04A-AEBBAED7FA27}" dt="2025-02-05T05:47:17.132" v="1048" actId="14100"/>
          <ac:spMkLst>
            <pc:docMk/>
            <pc:sldMk cId="4208253848" sldId="299"/>
            <ac:spMk id="3" creationId="{B13B789C-8045-08D9-74C2-D019632E015B}"/>
          </ac:spMkLst>
        </pc:spChg>
        <pc:spChg chg="mod">
          <ac:chgData name="Kishor Toshniwal" userId="d5a1b4b4-1fcb-4368-b56a-3e4a217d7762" providerId="ADAL" clId="{B807AAD7-B2DE-430B-A04A-AEBBAED7FA27}" dt="2025-02-05T05:47:29.438" v="1056" actId="1035"/>
          <ac:spMkLst>
            <pc:docMk/>
            <pc:sldMk cId="4208253848" sldId="299"/>
            <ac:spMk id="14" creationId="{5D65455C-043C-5FB4-D1E8-C9E3EA042202}"/>
          </ac:spMkLst>
        </pc:spChg>
        <pc:spChg chg="mod">
          <ac:chgData name="Kishor Toshniwal" userId="d5a1b4b4-1fcb-4368-b56a-3e4a217d7762" providerId="ADAL" clId="{B807AAD7-B2DE-430B-A04A-AEBBAED7FA27}" dt="2025-02-05T05:47:41.955" v="1057" actId="14100"/>
          <ac:spMkLst>
            <pc:docMk/>
            <pc:sldMk cId="4208253848" sldId="299"/>
            <ac:spMk id="19" creationId="{976C133D-D5DC-1644-480F-85D3C805FFE3}"/>
          </ac:spMkLst>
        </pc:spChg>
        <pc:spChg chg="mod">
          <ac:chgData name="Kishor Toshniwal" userId="d5a1b4b4-1fcb-4368-b56a-3e4a217d7762" providerId="ADAL" clId="{B807AAD7-B2DE-430B-A04A-AEBBAED7FA27}" dt="2025-02-05T05:47:29.438" v="1056" actId="1035"/>
          <ac:spMkLst>
            <pc:docMk/>
            <pc:sldMk cId="4208253848" sldId="299"/>
            <ac:spMk id="86" creationId="{257E6517-73AB-4009-8795-E97DE5796FA4}"/>
          </ac:spMkLst>
        </pc:spChg>
        <pc:spChg chg="mod">
          <ac:chgData name="Kishor Toshniwal" userId="d5a1b4b4-1fcb-4368-b56a-3e4a217d7762" providerId="ADAL" clId="{B807AAD7-B2DE-430B-A04A-AEBBAED7FA27}" dt="2025-02-05T05:47:59.204" v="1059" actId="113"/>
          <ac:spMkLst>
            <pc:docMk/>
            <pc:sldMk cId="4208253848" sldId="299"/>
            <ac:spMk id="89" creationId="{48A23675-22D0-54D5-8DB2-DB09733D3621}"/>
          </ac:spMkLst>
        </pc:spChg>
      </pc:sldChg>
      <pc:sldChg chg="addSp delSp modSp mod modAnim">
        <pc:chgData name="Kishor Toshniwal" userId="d5a1b4b4-1fcb-4368-b56a-3e4a217d7762" providerId="ADAL" clId="{B807AAD7-B2DE-430B-A04A-AEBBAED7FA27}" dt="2025-02-04T14:32:27.276" v="741" actId="1076"/>
        <pc:sldMkLst>
          <pc:docMk/>
          <pc:sldMk cId="2940475054" sldId="300"/>
        </pc:sldMkLst>
        <pc:spChg chg="add mod">
          <ac:chgData name="Kishor Toshniwal" userId="d5a1b4b4-1fcb-4368-b56a-3e4a217d7762" providerId="ADAL" clId="{B807AAD7-B2DE-430B-A04A-AEBBAED7FA27}" dt="2025-02-04T12:33:00.269" v="247" actId="1076"/>
          <ac:spMkLst>
            <pc:docMk/>
            <pc:sldMk cId="2940475054" sldId="300"/>
            <ac:spMk id="7" creationId="{637C98A9-21B9-C99B-066A-7216154C7689}"/>
          </ac:spMkLst>
        </pc:spChg>
        <pc:picChg chg="add mod">
          <ac:chgData name="Kishor Toshniwal" userId="d5a1b4b4-1fcb-4368-b56a-3e4a217d7762" providerId="ADAL" clId="{B807AAD7-B2DE-430B-A04A-AEBBAED7FA27}" dt="2025-02-04T14:32:27.276" v="741" actId="1076"/>
          <ac:picMkLst>
            <pc:docMk/>
            <pc:sldMk cId="2940475054" sldId="300"/>
            <ac:picMk id="6" creationId="{FFF2D48D-D632-13FB-7FB4-2C8E35A48448}"/>
          </ac:picMkLst>
        </pc:picChg>
      </pc:sldChg>
    </pc:docChg>
  </pc:docChgLst>
  <pc:docChgLst>
    <pc:chgData name="Amith Ranganath" userId="99a93d6b-75b9-445c-b5ec-a62114133651" providerId="ADAL" clId="{24946622-F1A9-48C7-8A35-718BFDDFD7D2}"/>
    <pc:docChg chg="undo custSel modSld">
      <pc:chgData name="Amith Ranganath" userId="99a93d6b-75b9-445c-b5ec-a62114133651" providerId="ADAL" clId="{24946622-F1A9-48C7-8A35-718BFDDFD7D2}" dt="2025-01-15T15:02:36.734" v="83" actId="20577"/>
      <pc:docMkLst>
        <pc:docMk/>
      </pc:docMkLst>
      <pc:sldChg chg="delSp modSp mod">
        <pc:chgData name="Amith Ranganath" userId="99a93d6b-75b9-445c-b5ec-a62114133651" providerId="ADAL" clId="{24946622-F1A9-48C7-8A35-718BFDDFD7D2}" dt="2025-01-15T14:36:03.825" v="34" actId="1036"/>
        <pc:sldMkLst>
          <pc:docMk/>
          <pc:sldMk cId="1780373343" sldId="263"/>
        </pc:sldMkLst>
      </pc:sldChg>
      <pc:sldChg chg="modSp mod">
        <pc:chgData name="Amith Ranganath" userId="99a93d6b-75b9-445c-b5ec-a62114133651" providerId="ADAL" clId="{24946622-F1A9-48C7-8A35-718BFDDFD7D2}" dt="2025-01-15T14:44:37.720" v="46" actId="14100"/>
        <pc:sldMkLst>
          <pc:docMk/>
          <pc:sldMk cId="3071321685" sldId="288"/>
        </pc:sldMkLst>
      </pc:sldChg>
      <pc:sldChg chg="modSp mod">
        <pc:chgData name="Amith Ranganath" userId="99a93d6b-75b9-445c-b5ec-a62114133651" providerId="ADAL" clId="{24946622-F1A9-48C7-8A35-718BFDDFD7D2}" dt="2025-01-15T15:02:36.734" v="83" actId="20577"/>
        <pc:sldMkLst>
          <pc:docMk/>
          <pc:sldMk cId="3973081514" sldId="290"/>
        </pc:sldMkLst>
        <pc:spChg chg="mod">
          <ac:chgData name="Amith Ranganath" userId="99a93d6b-75b9-445c-b5ec-a62114133651" providerId="ADAL" clId="{24946622-F1A9-48C7-8A35-718BFDDFD7D2}" dt="2025-01-15T15:02:36.734" v="83" actId="20577"/>
          <ac:spMkLst>
            <pc:docMk/>
            <pc:sldMk cId="3973081514" sldId="290"/>
            <ac:spMk id="11" creationId="{16E5DF13-DF94-A939-1806-70A0EE24A871}"/>
          </ac:spMkLst>
        </pc:spChg>
        <pc:spChg chg="mod">
          <ac:chgData name="Amith Ranganath" userId="99a93d6b-75b9-445c-b5ec-a62114133651" providerId="ADAL" clId="{24946622-F1A9-48C7-8A35-718BFDDFD7D2}" dt="2025-01-15T15:02:17.850" v="78" actId="20577"/>
          <ac:spMkLst>
            <pc:docMk/>
            <pc:sldMk cId="3973081514" sldId="290"/>
            <ac:spMk id="12" creationId="{D144BFCB-E674-7992-80DE-E1E5B5C91514}"/>
          </ac:spMkLst>
        </pc:spChg>
      </pc:sldChg>
    </pc:docChg>
  </pc:docChgLst>
  <pc:docChgLst>
    <pc:chgData name="Pallavi Sridhar" userId="4ed18fab-7c6c-4cb6-8aab-f1897096fbe9" providerId="ADAL" clId="{33652D2C-18B6-E346-B92F-590597C912F5}"/>
    <pc:docChg chg="undo custSel addSld delSld modSld">
      <pc:chgData name="Pallavi Sridhar" userId="4ed18fab-7c6c-4cb6-8aab-f1897096fbe9" providerId="ADAL" clId="{33652D2C-18B6-E346-B92F-590597C912F5}" dt="2025-02-07T08:32:02.547" v="148" actId="948"/>
      <pc:docMkLst>
        <pc:docMk/>
      </pc:docMkLst>
      <pc:sldChg chg="modSp">
        <pc:chgData name="Pallavi Sridhar" userId="4ed18fab-7c6c-4cb6-8aab-f1897096fbe9" providerId="ADAL" clId="{33652D2C-18B6-E346-B92F-590597C912F5}" dt="2025-02-05T09:40:53.007" v="35" actId="11530"/>
        <pc:sldMkLst>
          <pc:docMk/>
          <pc:sldMk cId="3405252415" sldId="265"/>
        </pc:sldMkLst>
        <pc:spChg chg="mod">
          <ac:chgData name="Pallavi Sridhar" userId="4ed18fab-7c6c-4cb6-8aab-f1897096fbe9" providerId="ADAL" clId="{33652D2C-18B6-E346-B92F-590597C912F5}" dt="2025-02-05T09:40:53.007" v="35" actId="11530"/>
          <ac:spMkLst>
            <pc:docMk/>
            <pc:sldMk cId="3405252415" sldId="265"/>
            <ac:spMk id="6" creationId="{44DA5164-CAFD-5BC1-2D86-BECBDCE5F437}"/>
          </ac:spMkLst>
        </pc:spChg>
      </pc:sldChg>
      <pc:sldChg chg="addSp delSp modSp add del mod">
        <pc:chgData name="Pallavi Sridhar" userId="4ed18fab-7c6c-4cb6-8aab-f1897096fbe9" providerId="ADAL" clId="{33652D2C-18B6-E346-B92F-590597C912F5}" dt="2025-02-06T13:09:28.171" v="75" actId="2696"/>
        <pc:sldMkLst>
          <pc:docMk/>
          <pc:sldMk cId="572710000" sldId="273"/>
        </pc:sldMkLst>
        <pc:spChg chg="del">
          <ac:chgData name="Pallavi Sridhar" userId="4ed18fab-7c6c-4cb6-8aab-f1897096fbe9" providerId="ADAL" clId="{33652D2C-18B6-E346-B92F-590597C912F5}" dt="2025-02-06T13:08:43.573" v="67" actId="478"/>
          <ac:spMkLst>
            <pc:docMk/>
            <pc:sldMk cId="572710000" sldId="273"/>
            <ac:spMk id="7" creationId="{C913563F-C0B3-9EF9-4B6C-38D6E1B5E992}"/>
          </ac:spMkLst>
        </pc:spChg>
        <pc:picChg chg="add mod">
          <ac:chgData name="Pallavi Sridhar" userId="4ed18fab-7c6c-4cb6-8aab-f1897096fbe9" providerId="ADAL" clId="{33652D2C-18B6-E346-B92F-590597C912F5}" dt="2025-02-06T13:08:57.810" v="73" actId="108"/>
          <ac:picMkLst>
            <pc:docMk/>
            <pc:sldMk cId="572710000" sldId="273"/>
            <ac:picMk id="3" creationId="{198E47E1-4E45-AB20-5541-B081434206C2}"/>
          </ac:picMkLst>
        </pc:picChg>
        <pc:picChg chg="del">
          <ac:chgData name="Pallavi Sridhar" userId="4ed18fab-7c6c-4cb6-8aab-f1897096fbe9" providerId="ADAL" clId="{33652D2C-18B6-E346-B92F-590597C912F5}" dt="2025-02-06T13:08:45.139" v="68" actId="478"/>
          <ac:picMkLst>
            <pc:docMk/>
            <pc:sldMk cId="572710000" sldId="273"/>
            <ac:picMk id="6" creationId="{498A9BEA-4AC7-63EB-1173-F3CA64EFB9EF}"/>
          </ac:picMkLst>
        </pc:picChg>
      </pc:sldChg>
      <pc:sldChg chg="addSp delSp modSp add mod">
        <pc:chgData name="Pallavi Sridhar" userId="4ed18fab-7c6c-4cb6-8aab-f1897096fbe9" providerId="ADAL" clId="{33652D2C-18B6-E346-B92F-590597C912F5}" dt="2025-02-06T13:11:27.441" v="96"/>
        <pc:sldMkLst>
          <pc:docMk/>
          <pc:sldMk cId="2802471153" sldId="273"/>
        </pc:sldMkLst>
        <pc:picChg chg="add mod">
          <ac:chgData name="Pallavi Sridhar" userId="4ed18fab-7c6c-4cb6-8aab-f1897096fbe9" providerId="ADAL" clId="{33652D2C-18B6-E346-B92F-590597C912F5}" dt="2025-02-06T13:11:27.441" v="96"/>
          <ac:picMkLst>
            <pc:docMk/>
            <pc:sldMk cId="2802471153" sldId="273"/>
            <ac:picMk id="2" creationId="{5E2961E9-44D6-D5ED-68CC-2B28422C82EB}"/>
          </ac:picMkLst>
        </pc:picChg>
        <pc:picChg chg="del">
          <ac:chgData name="Pallavi Sridhar" userId="4ed18fab-7c6c-4cb6-8aab-f1897096fbe9" providerId="ADAL" clId="{33652D2C-18B6-E346-B92F-590597C912F5}" dt="2025-02-06T13:11:15.804" v="90" actId="21"/>
          <ac:picMkLst>
            <pc:docMk/>
            <pc:sldMk cId="2802471153" sldId="273"/>
            <ac:picMk id="3" creationId="{DAD3FD87-B63A-1C98-2FA4-4B9B908847B8}"/>
          </ac:picMkLst>
        </pc:picChg>
      </pc:sldChg>
      <pc:sldChg chg="addSp delSp modSp add mod">
        <pc:chgData name="Pallavi Sridhar" userId="4ed18fab-7c6c-4cb6-8aab-f1897096fbe9" providerId="ADAL" clId="{33652D2C-18B6-E346-B92F-590597C912F5}" dt="2025-02-06T13:11:26.337" v="95" actId="21"/>
        <pc:sldMkLst>
          <pc:docMk/>
          <pc:sldMk cId="1677712169" sldId="276"/>
        </pc:sldMkLst>
        <pc:picChg chg="del">
          <ac:chgData name="Pallavi Sridhar" userId="4ed18fab-7c6c-4cb6-8aab-f1897096fbe9" providerId="ADAL" clId="{33652D2C-18B6-E346-B92F-590597C912F5}" dt="2025-02-06T13:10:33.316" v="77" actId="478"/>
          <ac:picMkLst>
            <pc:docMk/>
            <pc:sldMk cId="1677712169" sldId="276"/>
            <ac:picMk id="3" creationId="{82300B47-A1C7-1B07-1841-55CC202B6B53}"/>
          </ac:picMkLst>
        </pc:picChg>
        <pc:picChg chg="add del mod">
          <ac:chgData name="Pallavi Sridhar" userId="4ed18fab-7c6c-4cb6-8aab-f1897096fbe9" providerId="ADAL" clId="{33652D2C-18B6-E346-B92F-590597C912F5}" dt="2025-02-06T13:10:57.924" v="83" actId="21"/>
          <ac:picMkLst>
            <pc:docMk/>
            <pc:sldMk cId="1677712169" sldId="276"/>
            <ac:picMk id="4" creationId="{17442E84-65E4-DB3F-D033-B591318B8FD1}"/>
          </ac:picMkLst>
        </pc:picChg>
        <pc:picChg chg="add mod">
          <ac:chgData name="Pallavi Sridhar" userId="4ed18fab-7c6c-4cb6-8aab-f1897096fbe9" providerId="ADAL" clId="{33652D2C-18B6-E346-B92F-590597C912F5}" dt="2025-02-06T13:11:24.447" v="94" actId="554"/>
          <ac:picMkLst>
            <pc:docMk/>
            <pc:sldMk cId="1677712169" sldId="276"/>
            <ac:picMk id="5" creationId="{29A6DBD6-E103-3BED-84C8-AAEE90FF2BC5}"/>
          </ac:picMkLst>
        </pc:picChg>
        <pc:picChg chg="add del mod">
          <ac:chgData name="Pallavi Sridhar" userId="4ed18fab-7c6c-4cb6-8aab-f1897096fbe9" providerId="ADAL" clId="{33652D2C-18B6-E346-B92F-590597C912F5}" dt="2025-02-06T13:11:26.337" v="95" actId="21"/>
          <ac:picMkLst>
            <pc:docMk/>
            <pc:sldMk cId="1677712169" sldId="276"/>
            <ac:picMk id="6" creationId="{125438F1-C777-F114-35C2-0FF38820B291}"/>
          </ac:picMkLst>
        </pc:picChg>
      </pc:sldChg>
      <pc:sldChg chg="addSp delSp modSp mod">
        <pc:chgData name="Pallavi Sridhar" userId="4ed18fab-7c6c-4cb6-8aab-f1897096fbe9" providerId="ADAL" clId="{33652D2C-18B6-E346-B92F-590597C912F5}" dt="2025-02-07T08:32:02.547" v="148" actId="948"/>
        <pc:sldMkLst>
          <pc:docMk/>
          <pc:sldMk cId="2233467875" sldId="285"/>
        </pc:sldMkLst>
        <pc:spChg chg="add mod">
          <ac:chgData name="Pallavi Sridhar" userId="4ed18fab-7c6c-4cb6-8aab-f1897096fbe9" providerId="ADAL" clId="{33652D2C-18B6-E346-B92F-590597C912F5}" dt="2025-02-07T08:32:02.547" v="148" actId="948"/>
          <ac:spMkLst>
            <pc:docMk/>
            <pc:sldMk cId="2233467875" sldId="285"/>
            <ac:spMk id="2" creationId="{900B4610-C444-5034-2B8C-06F23D53D77F}"/>
          </ac:spMkLst>
        </pc:spChg>
        <pc:spChg chg="add mod">
          <ac:chgData name="Pallavi Sridhar" userId="4ed18fab-7c6c-4cb6-8aab-f1897096fbe9" providerId="ADAL" clId="{33652D2C-18B6-E346-B92F-590597C912F5}" dt="2025-02-06T13:26:04.100" v="107" actId="207"/>
          <ac:spMkLst>
            <pc:docMk/>
            <pc:sldMk cId="2233467875" sldId="285"/>
            <ac:spMk id="4" creationId="{3B854501-0010-1223-6CA0-8EEA81C577E0}"/>
          </ac:spMkLst>
        </pc:spChg>
        <pc:spChg chg="add mod">
          <ac:chgData name="Pallavi Sridhar" userId="4ed18fab-7c6c-4cb6-8aab-f1897096fbe9" providerId="ADAL" clId="{33652D2C-18B6-E346-B92F-590597C912F5}" dt="2025-02-05T11:04:32.352" v="38"/>
          <ac:spMkLst>
            <pc:docMk/>
            <pc:sldMk cId="2233467875" sldId="285"/>
            <ac:spMk id="7" creationId="{476ACA18-93D1-A617-C650-2ABBBB9C4CA7}"/>
          </ac:spMkLst>
        </pc:spChg>
        <pc:picChg chg="add del mod">
          <ac:chgData name="Pallavi Sridhar" userId="4ed18fab-7c6c-4cb6-8aab-f1897096fbe9" providerId="ADAL" clId="{33652D2C-18B6-E346-B92F-590597C912F5}" dt="2025-02-06T13:11:12.404" v="88" actId="21"/>
          <ac:picMkLst>
            <pc:docMk/>
            <pc:sldMk cId="2233467875" sldId="285"/>
            <ac:picMk id="3" creationId="{F0CED7D0-3997-8D57-93DE-D5CA841C9BA3}"/>
          </ac:picMkLst>
        </pc:picChg>
        <pc:picChg chg="add mod">
          <ac:chgData name="Pallavi Sridhar" userId="4ed18fab-7c6c-4cb6-8aab-f1897096fbe9" providerId="ADAL" clId="{33652D2C-18B6-E346-B92F-590597C912F5}" dt="2025-02-06T13:11:10.104" v="87" actId="554"/>
          <ac:picMkLst>
            <pc:docMk/>
            <pc:sldMk cId="2233467875" sldId="285"/>
            <ac:picMk id="6" creationId="{F477A75E-E87B-C1F1-EAAF-1BB7C3336E16}"/>
          </ac:picMkLst>
        </pc:picChg>
      </pc:sldChg>
      <pc:sldChg chg="modSp">
        <pc:chgData name="Pallavi Sridhar" userId="4ed18fab-7c6c-4cb6-8aab-f1897096fbe9" providerId="ADAL" clId="{33652D2C-18B6-E346-B92F-590597C912F5}" dt="2025-02-05T09:41:01.243" v="36" actId="11530"/>
        <pc:sldMkLst>
          <pc:docMk/>
          <pc:sldMk cId="2185007164" sldId="2147483647"/>
        </pc:sldMkLst>
        <pc:spChg chg="mod">
          <ac:chgData name="Pallavi Sridhar" userId="4ed18fab-7c6c-4cb6-8aab-f1897096fbe9" providerId="ADAL" clId="{33652D2C-18B6-E346-B92F-590597C912F5}" dt="2025-02-05T09:41:01.243" v="36" actId="11530"/>
          <ac:spMkLst>
            <pc:docMk/>
            <pc:sldMk cId="2185007164" sldId="2147483647"/>
            <ac:spMk id="20" creationId="{48AEAA38-4E44-91D9-62E8-FB324992A3E2}"/>
          </ac:spMkLst>
        </pc:spChg>
      </pc:sldChg>
    </pc:docChg>
  </pc:docChgLst>
  <pc:docChgLst>
    <pc:chgData name="Anchal Pyasi" userId="a92c463e-259f-4540-80dd-10cfca234da2" providerId="ADAL" clId="{B1746AB3-A3FF-4840-B118-8F4061AC8376}"/>
    <pc:docChg chg="undo custSel addSld delSld modSld sldOrd delMainMaster">
      <pc:chgData name="Anchal Pyasi" userId="a92c463e-259f-4540-80dd-10cfca234da2" providerId="ADAL" clId="{B1746AB3-A3FF-4840-B118-8F4061AC8376}" dt="2025-01-21T09:49:02.616" v="16820" actId="1036"/>
      <pc:docMkLst>
        <pc:docMk/>
      </pc:docMkLst>
      <pc:sldChg chg="mod modShow">
        <pc:chgData name="Anchal Pyasi" userId="a92c463e-259f-4540-80dd-10cfca234da2" providerId="ADAL" clId="{B1746AB3-A3FF-4840-B118-8F4061AC8376}" dt="2025-01-10T07:41:55.763" v="4307" actId="729"/>
        <pc:sldMkLst>
          <pc:docMk/>
          <pc:sldMk cId="236287519" sldId="256"/>
        </pc:sldMkLst>
      </pc:sldChg>
      <pc:sldChg chg="modSp mod ord">
        <pc:chgData name="Anchal Pyasi" userId="a92c463e-259f-4540-80dd-10cfca234da2" providerId="ADAL" clId="{B1746AB3-A3FF-4840-B118-8F4061AC8376}" dt="2025-01-10T13:03:52.176" v="7808" actId="20577"/>
        <pc:sldMkLst>
          <pc:docMk/>
          <pc:sldMk cId="2831883595" sldId="256"/>
        </pc:sldMkLst>
      </pc:sldChg>
      <pc:sldChg chg="addSp modSp mod">
        <pc:chgData name="Anchal Pyasi" userId="a92c463e-259f-4540-80dd-10cfca234da2" providerId="ADAL" clId="{B1746AB3-A3FF-4840-B118-8F4061AC8376}" dt="2025-01-20T04:35:19.947" v="16629" actId="20577"/>
        <pc:sldMkLst>
          <pc:docMk/>
          <pc:sldMk cId="3021614010" sldId="256"/>
        </pc:sldMkLst>
        <pc:spChg chg="mod">
          <ac:chgData name="Anchal Pyasi" userId="a92c463e-259f-4540-80dd-10cfca234da2" providerId="ADAL" clId="{B1746AB3-A3FF-4840-B118-8F4061AC8376}" dt="2025-01-20T04:34:58.768" v="16604" actId="1035"/>
          <ac:spMkLst>
            <pc:docMk/>
            <pc:sldMk cId="3021614010" sldId="256"/>
            <ac:spMk id="4" creationId="{A7423149-6F83-3A11-1592-EC6D5C3FF76A}"/>
          </ac:spMkLst>
        </pc:spChg>
        <pc:spChg chg="add mod">
          <ac:chgData name="Anchal Pyasi" userId="a92c463e-259f-4540-80dd-10cfca234da2" providerId="ADAL" clId="{B1746AB3-A3FF-4840-B118-8F4061AC8376}" dt="2025-01-17T03:47:59.920" v="13516" actId="692"/>
          <ac:spMkLst>
            <pc:docMk/>
            <pc:sldMk cId="3021614010" sldId="256"/>
            <ac:spMk id="8" creationId="{792033D6-2E16-FE85-5246-624460332C7D}"/>
          </ac:spMkLst>
        </pc:spChg>
        <pc:spChg chg="add mod">
          <ac:chgData name="Anchal Pyasi" userId="a92c463e-259f-4540-80dd-10cfca234da2" providerId="ADAL" clId="{B1746AB3-A3FF-4840-B118-8F4061AC8376}" dt="2025-01-20T04:34:58.768" v="16604" actId="1035"/>
          <ac:spMkLst>
            <pc:docMk/>
            <pc:sldMk cId="3021614010" sldId="256"/>
            <ac:spMk id="10" creationId="{FA2B1CF6-6F62-707A-CFFD-FD7B8DCCC0DD}"/>
          </ac:spMkLst>
        </pc:spChg>
        <pc:spChg chg="add mod">
          <ac:chgData name="Anchal Pyasi" userId="a92c463e-259f-4540-80dd-10cfca234da2" providerId="ADAL" clId="{B1746AB3-A3FF-4840-B118-8F4061AC8376}" dt="2025-01-20T04:35:19.947" v="16629" actId="20577"/>
          <ac:spMkLst>
            <pc:docMk/>
            <pc:sldMk cId="3021614010" sldId="256"/>
            <ac:spMk id="11" creationId="{B9C2C0E7-0C29-86FC-BF54-588FBFECEA1E}"/>
          </ac:spMkLst>
        </pc:spChg>
        <pc:spChg chg="mod">
          <ac:chgData name="Anchal Pyasi" userId="a92c463e-259f-4540-80dd-10cfca234da2" providerId="ADAL" clId="{B1746AB3-A3FF-4840-B118-8F4061AC8376}" dt="2025-01-16T14:24:15.473" v="13509" actId="947"/>
          <ac:spMkLst>
            <pc:docMk/>
            <pc:sldMk cId="3021614010" sldId="256"/>
            <ac:spMk id="54" creationId="{5E150658-E749-F6AC-8C3E-BC29A5DC50EA}"/>
          </ac:spMkLst>
        </pc:spChg>
        <pc:spChg chg="mod">
          <ac:chgData name="Anchal Pyasi" userId="a92c463e-259f-4540-80dd-10cfca234da2" providerId="ADAL" clId="{B1746AB3-A3FF-4840-B118-8F4061AC8376}" dt="2025-01-16T14:24:15.473" v="13509" actId="947"/>
          <ac:spMkLst>
            <pc:docMk/>
            <pc:sldMk cId="3021614010" sldId="256"/>
            <ac:spMk id="55" creationId="{DC68061B-270F-FA2B-338B-B62C62C6ECC1}"/>
          </ac:spMkLst>
        </pc:spChg>
        <pc:spChg chg="mod">
          <ac:chgData name="Anchal Pyasi" userId="a92c463e-259f-4540-80dd-10cfca234da2" providerId="ADAL" clId="{B1746AB3-A3FF-4840-B118-8F4061AC8376}" dt="2025-01-16T14:24:15.473" v="13509" actId="947"/>
          <ac:spMkLst>
            <pc:docMk/>
            <pc:sldMk cId="3021614010" sldId="256"/>
            <ac:spMk id="56" creationId="{A0AD8046-BF2B-C047-21F7-EAD9111C04B5}"/>
          </ac:spMkLst>
        </pc:spChg>
        <pc:spChg chg="mod">
          <ac:chgData name="Anchal Pyasi" userId="a92c463e-259f-4540-80dd-10cfca234da2" providerId="ADAL" clId="{B1746AB3-A3FF-4840-B118-8F4061AC8376}" dt="2025-01-16T14:24:15.473" v="13509" actId="947"/>
          <ac:spMkLst>
            <pc:docMk/>
            <pc:sldMk cId="3021614010" sldId="256"/>
            <ac:spMk id="58" creationId="{37C98DBF-C617-0078-77EB-1012A096882F}"/>
          </ac:spMkLst>
        </pc:spChg>
      </pc:sldChg>
      <pc:sldChg chg="add del">
        <pc:chgData name="Anchal Pyasi" userId="a92c463e-259f-4540-80dd-10cfca234da2" providerId="ADAL" clId="{B1746AB3-A3FF-4840-B118-8F4061AC8376}" dt="2025-01-10T11:57:37.437" v="7736" actId="47"/>
        <pc:sldMkLst>
          <pc:docMk/>
          <pc:sldMk cId="426826671" sldId="257"/>
        </pc:sldMkLst>
      </pc:sldChg>
      <pc:sldChg chg="delSp modSp mod modCm">
        <pc:chgData name="Anchal Pyasi" userId="a92c463e-259f-4540-80dd-10cfca234da2" providerId="ADAL" clId="{B1746AB3-A3FF-4840-B118-8F4061AC8376}" dt="2025-01-21T09:49:02.616" v="16820" actId="1036"/>
        <pc:sldMkLst>
          <pc:docMk/>
          <pc:sldMk cId="508278704" sldId="257"/>
        </pc:sldMkLst>
        <pc:spChg chg="mod">
          <ac:chgData name="Anchal Pyasi" userId="a92c463e-259f-4540-80dd-10cfca234da2" providerId="ADAL" clId="{B1746AB3-A3FF-4840-B118-8F4061AC8376}" dt="2025-01-21T09:49:02.616" v="16820" actId="1036"/>
          <ac:spMkLst>
            <pc:docMk/>
            <pc:sldMk cId="508278704" sldId="257"/>
            <ac:spMk id="3" creationId="{6FAF2BE4-9C90-C04B-5F78-BBBDE63578DE}"/>
          </ac:spMkLst>
        </pc:spChg>
        <pc:extLst>
          <p:ext xmlns:p="http://schemas.openxmlformats.org/presentationml/2006/main" uri="{D6D511B9-2390-475A-947B-AFAB55BFBCF1}">
            <pc226:cmChg xmlns:pc226="http://schemas.microsoft.com/office/powerpoint/2022/06/main/command" chg="mod">
              <pc226:chgData name="Anchal Pyasi" userId="a92c463e-259f-4540-80dd-10cfca234da2" providerId="ADAL" clId="{B1746AB3-A3FF-4840-B118-8F4061AC8376}" dt="2025-01-20T13:25:50.340" v="16803" actId="20577"/>
              <pc2:cmMkLst xmlns:pc2="http://schemas.microsoft.com/office/powerpoint/2019/9/main/command">
                <pc:docMk/>
                <pc:sldMk cId="508278704" sldId="257"/>
                <pc2:cmMk id="{50925E1B-EF80-412D-A977-7057DE4AC093}"/>
              </pc2:cmMkLst>
            </pc226:cmChg>
          </p:ext>
        </pc:extLst>
      </pc:sldChg>
      <pc:sldChg chg="del">
        <pc:chgData name="Anchal Pyasi" userId="a92c463e-259f-4540-80dd-10cfca234da2" providerId="ADAL" clId="{B1746AB3-A3FF-4840-B118-8F4061AC8376}" dt="2025-01-10T11:41:43.458" v="7494" actId="47"/>
        <pc:sldMkLst>
          <pc:docMk/>
          <pc:sldMk cId="546235532" sldId="257"/>
        </pc:sldMkLst>
      </pc:sldChg>
      <pc:sldChg chg="delSp modSp mod">
        <pc:chgData name="Anchal Pyasi" userId="a92c463e-259f-4540-80dd-10cfca234da2" providerId="ADAL" clId="{B1746AB3-A3FF-4840-B118-8F4061AC8376}" dt="2025-01-10T16:47:22.182" v="10650" actId="478"/>
        <pc:sldMkLst>
          <pc:docMk/>
          <pc:sldMk cId="2378481855" sldId="257"/>
        </pc:sldMkLst>
      </pc:sldChg>
      <pc:sldChg chg="addSp delSp modSp mod modNotesTx">
        <pc:chgData name="Anchal Pyasi" userId="a92c463e-259f-4540-80dd-10cfca234da2" providerId="ADAL" clId="{B1746AB3-A3FF-4840-B118-8F4061AC8376}" dt="2025-01-17T11:14:02.398" v="15573" actId="1076"/>
        <pc:sldMkLst>
          <pc:docMk/>
          <pc:sldMk cId="205159607" sldId="258"/>
        </pc:sldMkLst>
      </pc:sldChg>
      <pc:sldChg chg="addSp delSp modSp mod ord modNotesTx">
        <pc:chgData name="Anchal Pyasi" userId="a92c463e-259f-4540-80dd-10cfca234da2" providerId="ADAL" clId="{B1746AB3-A3FF-4840-B118-8F4061AC8376}" dt="2025-01-10T09:10:55.731" v="5298" actId="20577"/>
        <pc:sldMkLst>
          <pc:docMk/>
          <pc:sldMk cId="992006725" sldId="258"/>
        </pc:sldMkLst>
      </pc:sldChg>
      <pc:sldChg chg="addSp delSp modSp mod modShow">
        <pc:chgData name="Anchal Pyasi" userId="a92c463e-259f-4540-80dd-10cfca234da2" providerId="ADAL" clId="{B1746AB3-A3FF-4840-B118-8F4061AC8376}" dt="2025-01-17T08:53:41.488" v="15065" actId="20577"/>
        <pc:sldMkLst>
          <pc:docMk/>
          <pc:sldMk cId="2375302700" sldId="259"/>
        </pc:sldMkLst>
        <pc:spChg chg="mod">
          <ac:chgData name="Anchal Pyasi" userId="a92c463e-259f-4540-80dd-10cfca234da2" providerId="ADAL" clId="{B1746AB3-A3FF-4840-B118-8F4061AC8376}" dt="2025-01-17T05:21:00.191" v="14574" actId="1035"/>
          <ac:spMkLst>
            <pc:docMk/>
            <pc:sldMk cId="2375302700" sldId="259"/>
            <ac:spMk id="6" creationId="{7D55E0F0-B6C4-CDB7-77DF-6FD7EEC47C22}"/>
          </ac:spMkLst>
        </pc:spChg>
        <pc:spChg chg="mod">
          <ac:chgData name="Anchal Pyasi" userId="a92c463e-259f-4540-80dd-10cfca234da2" providerId="ADAL" clId="{B1746AB3-A3FF-4840-B118-8F4061AC8376}" dt="2025-01-17T08:53:41.488" v="15065" actId="20577"/>
          <ac:spMkLst>
            <pc:docMk/>
            <pc:sldMk cId="2375302700" sldId="259"/>
            <ac:spMk id="8" creationId="{56801F86-F246-6464-ECCB-7B174B20600D}"/>
          </ac:spMkLst>
        </pc:spChg>
        <pc:spChg chg="mod">
          <ac:chgData name="Anchal Pyasi" userId="a92c463e-259f-4540-80dd-10cfca234da2" providerId="ADAL" clId="{B1746AB3-A3FF-4840-B118-8F4061AC8376}" dt="2025-01-16T06:54:15.441" v="11883" actId="20577"/>
          <ac:spMkLst>
            <pc:docMk/>
            <pc:sldMk cId="2375302700" sldId="259"/>
            <ac:spMk id="10" creationId="{B2B0F910-D70E-EECE-D18F-ABB9588D096E}"/>
          </ac:spMkLst>
        </pc:spChg>
        <pc:spChg chg="mod">
          <ac:chgData name="Anchal Pyasi" userId="a92c463e-259f-4540-80dd-10cfca234da2" providerId="ADAL" clId="{B1746AB3-A3FF-4840-B118-8F4061AC8376}" dt="2025-01-16T06:53:26.665" v="11846" actId="20577"/>
          <ac:spMkLst>
            <pc:docMk/>
            <pc:sldMk cId="2375302700" sldId="259"/>
            <ac:spMk id="12" creationId="{45CAD14A-A6CD-909A-D390-EFFECAA978CC}"/>
          </ac:spMkLst>
        </pc:spChg>
        <pc:spChg chg="mod">
          <ac:chgData name="Anchal Pyasi" userId="a92c463e-259f-4540-80dd-10cfca234da2" providerId="ADAL" clId="{B1746AB3-A3FF-4840-B118-8F4061AC8376}" dt="2025-01-17T07:19:27.812" v="14645" actId="14100"/>
          <ac:spMkLst>
            <pc:docMk/>
            <pc:sldMk cId="2375302700" sldId="259"/>
            <ac:spMk id="19" creationId="{A492C625-08A4-3C09-13FE-A2A5D3110863}"/>
          </ac:spMkLst>
        </pc:spChg>
        <pc:spChg chg="mod">
          <ac:chgData name="Anchal Pyasi" userId="a92c463e-259f-4540-80dd-10cfca234da2" providerId="ADAL" clId="{B1746AB3-A3FF-4840-B118-8F4061AC8376}" dt="2025-01-17T07:19:40.142" v="14648" actId="14100"/>
          <ac:spMkLst>
            <pc:docMk/>
            <pc:sldMk cId="2375302700" sldId="259"/>
            <ac:spMk id="20" creationId="{C0F465DB-166D-3AEB-86C8-8D5CFBD4A3C1}"/>
          </ac:spMkLst>
        </pc:spChg>
        <pc:spChg chg="mod">
          <ac:chgData name="Anchal Pyasi" userId="a92c463e-259f-4540-80dd-10cfca234da2" providerId="ADAL" clId="{B1746AB3-A3FF-4840-B118-8F4061AC8376}" dt="2025-01-17T05:21:00.191" v="14574" actId="1035"/>
          <ac:spMkLst>
            <pc:docMk/>
            <pc:sldMk cId="2375302700" sldId="259"/>
            <ac:spMk id="22" creationId="{3EC2AE66-21EE-8489-2876-2518F0FE4B27}"/>
          </ac:spMkLst>
        </pc:spChg>
        <pc:spChg chg="mod">
          <ac:chgData name="Anchal Pyasi" userId="a92c463e-259f-4540-80dd-10cfca234da2" providerId="ADAL" clId="{B1746AB3-A3FF-4840-B118-8F4061AC8376}" dt="2025-01-17T05:21:00.191" v="14574" actId="1035"/>
          <ac:spMkLst>
            <pc:docMk/>
            <pc:sldMk cId="2375302700" sldId="259"/>
            <ac:spMk id="23" creationId="{F48F1BE6-A83B-FFF5-423E-64432D43ABCA}"/>
          </ac:spMkLst>
        </pc:spChg>
        <pc:spChg chg="mod">
          <ac:chgData name="Anchal Pyasi" userId="a92c463e-259f-4540-80dd-10cfca234da2" providerId="ADAL" clId="{B1746AB3-A3FF-4840-B118-8F4061AC8376}" dt="2025-01-17T05:21:00.191" v="14574" actId="1035"/>
          <ac:spMkLst>
            <pc:docMk/>
            <pc:sldMk cId="2375302700" sldId="259"/>
            <ac:spMk id="24" creationId="{DEA336F5-CF53-784B-66EA-A4E7978DD9F6}"/>
          </ac:spMkLst>
        </pc:spChg>
        <pc:spChg chg="mod">
          <ac:chgData name="Anchal Pyasi" userId="a92c463e-259f-4540-80dd-10cfca234da2" providerId="ADAL" clId="{B1746AB3-A3FF-4840-B118-8F4061AC8376}" dt="2025-01-17T05:21:00.191" v="14574" actId="1035"/>
          <ac:spMkLst>
            <pc:docMk/>
            <pc:sldMk cId="2375302700" sldId="259"/>
            <ac:spMk id="25" creationId="{198F248A-3246-9928-B07B-3D390C9F8D54}"/>
          </ac:spMkLst>
        </pc:spChg>
        <pc:spChg chg="mod">
          <ac:chgData name="Anchal Pyasi" userId="a92c463e-259f-4540-80dd-10cfca234da2" providerId="ADAL" clId="{B1746AB3-A3FF-4840-B118-8F4061AC8376}" dt="2025-01-17T07:21:00.623" v="14715" actId="14100"/>
          <ac:spMkLst>
            <pc:docMk/>
            <pc:sldMk cId="2375302700" sldId="259"/>
            <ac:spMk id="26" creationId="{54657FD8-49E8-AFA8-85FE-F2D628571D01}"/>
          </ac:spMkLst>
        </pc:spChg>
        <pc:spChg chg="mod">
          <ac:chgData name="Anchal Pyasi" userId="a92c463e-259f-4540-80dd-10cfca234da2" providerId="ADAL" clId="{B1746AB3-A3FF-4840-B118-8F4061AC8376}" dt="2025-01-17T05:21:00.191" v="14574" actId="1035"/>
          <ac:spMkLst>
            <pc:docMk/>
            <pc:sldMk cId="2375302700" sldId="259"/>
            <ac:spMk id="31" creationId="{735B171E-538B-EE89-CCB4-223A384A7352}"/>
          </ac:spMkLst>
        </pc:spChg>
        <pc:spChg chg="mod">
          <ac:chgData name="Anchal Pyasi" userId="a92c463e-259f-4540-80dd-10cfca234da2" providerId="ADAL" clId="{B1746AB3-A3FF-4840-B118-8F4061AC8376}" dt="2025-01-17T07:19:55.199" v="14651" actId="1076"/>
          <ac:spMkLst>
            <pc:docMk/>
            <pc:sldMk cId="2375302700" sldId="259"/>
            <ac:spMk id="33" creationId="{3E88F295-E45B-E956-913A-CFF52EFD580F}"/>
          </ac:spMkLst>
        </pc:spChg>
        <pc:spChg chg="mod">
          <ac:chgData name="Anchal Pyasi" userId="a92c463e-259f-4540-80dd-10cfca234da2" providerId="ADAL" clId="{B1746AB3-A3FF-4840-B118-8F4061AC8376}" dt="2025-01-17T05:21:00.191" v="14574" actId="1035"/>
          <ac:spMkLst>
            <pc:docMk/>
            <pc:sldMk cId="2375302700" sldId="259"/>
            <ac:spMk id="34" creationId="{E361EAB2-1E20-5E9E-3D28-86DB9E62AD1C}"/>
          </ac:spMkLst>
        </pc:spChg>
        <pc:spChg chg="mod">
          <ac:chgData name="Anchal Pyasi" userId="a92c463e-259f-4540-80dd-10cfca234da2" providerId="ADAL" clId="{B1746AB3-A3FF-4840-B118-8F4061AC8376}" dt="2025-01-17T05:21:00.191" v="14574" actId="1035"/>
          <ac:spMkLst>
            <pc:docMk/>
            <pc:sldMk cId="2375302700" sldId="259"/>
            <ac:spMk id="36" creationId="{2A5AA18E-BAB1-C1C8-9E40-82CE97830AFA}"/>
          </ac:spMkLst>
        </pc:spChg>
        <pc:spChg chg="mod">
          <ac:chgData name="Anchal Pyasi" userId="a92c463e-259f-4540-80dd-10cfca234da2" providerId="ADAL" clId="{B1746AB3-A3FF-4840-B118-8F4061AC8376}" dt="2025-01-17T05:21:00.191" v="14574" actId="1035"/>
          <ac:spMkLst>
            <pc:docMk/>
            <pc:sldMk cId="2375302700" sldId="259"/>
            <ac:spMk id="39" creationId="{DC52DF2E-0718-B62A-F8E3-737E56AF034A}"/>
          </ac:spMkLst>
        </pc:spChg>
        <pc:picChg chg="mod">
          <ac:chgData name="Anchal Pyasi" userId="a92c463e-259f-4540-80dd-10cfca234da2" providerId="ADAL" clId="{B1746AB3-A3FF-4840-B118-8F4061AC8376}" dt="2025-01-17T05:21:00.191" v="14574" actId="1035"/>
          <ac:picMkLst>
            <pc:docMk/>
            <pc:sldMk cId="2375302700" sldId="259"/>
            <ac:picMk id="9" creationId="{9C0C3934-2AFF-E1BF-9B03-443F22085B4F}"/>
          </ac:picMkLst>
        </pc:picChg>
        <pc:picChg chg="mod">
          <ac:chgData name="Anchal Pyasi" userId="a92c463e-259f-4540-80dd-10cfca234da2" providerId="ADAL" clId="{B1746AB3-A3FF-4840-B118-8F4061AC8376}" dt="2025-01-17T05:21:00.191" v="14574" actId="1035"/>
          <ac:picMkLst>
            <pc:docMk/>
            <pc:sldMk cId="2375302700" sldId="259"/>
            <ac:picMk id="13" creationId="{50FD7300-B9B6-E677-B243-274B18894B81}"/>
          </ac:picMkLst>
        </pc:picChg>
        <pc:picChg chg="mod">
          <ac:chgData name="Anchal Pyasi" userId="a92c463e-259f-4540-80dd-10cfca234da2" providerId="ADAL" clId="{B1746AB3-A3FF-4840-B118-8F4061AC8376}" dt="2025-01-17T05:21:00.191" v="14574" actId="1035"/>
          <ac:picMkLst>
            <pc:docMk/>
            <pc:sldMk cId="2375302700" sldId="259"/>
            <ac:picMk id="14" creationId="{F47EBD54-4DE4-D240-98C8-D8BBC8F54B59}"/>
          </ac:picMkLst>
        </pc:picChg>
        <pc:picChg chg="mod">
          <ac:chgData name="Anchal Pyasi" userId="a92c463e-259f-4540-80dd-10cfca234da2" providerId="ADAL" clId="{B1746AB3-A3FF-4840-B118-8F4061AC8376}" dt="2025-01-17T05:21:00.191" v="14574" actId="1035"/>
          <ac:picMkLst>
            <pc:docMk/>
            <pc:sldMk cId="2375302700" sldId="259"/>
            <ac:picMk id="15" creationId="{11661A69-0FFA-2574-F54E-623E7EA812AF}"/>
          </ac:picMkLst>
        </pc:picChg>
        <pc:picChg chg="mod">
          <ac:chgData name="Anchal Pyasi" userId="a92c463e-259f-4540-80dd-10cfca234da2" providerId="ADAL" clId="{B1746AB3-A3FF-4840-B118-8F4061AC8376}" dt="2025-01-17T05:21:00.191" v="14574" actId="1035"/>
          <ac:picMkLst>
            <pc:docMk/>
            <pc:sldMk cId="2375302700" sldId="259"/>
            <ac:picMk id="37" creationId="{3B9E8576-4F72-1584-FA72-B5C10872687E}"/>
          </ac:picMkLst>
        </pc:picChg>
        <pc:picChg chg="mod">
          <ac:chgData name="Anchal Pyasi" userId="a92c463e-259f-4540-80dd-10cfca234da2" providerId="ADAL" clId="{B1746AB3-A3FF-4840-B118-8F4061AC8376}" dt="2025-01-17T05:21:00.191" v="14574" actId="1035"/>
          <ac:picMkLst>
            <pc:docMk/>
            <pc:sldMk cId="2375302700" sldId="259"/>
            <ac:picMk id="38" creationId="{F32FBBB2-9B7E-716B-71C8-734D2C9615D9}"/>
          </ac:picMkLst>
        </pc:picChg>
        <pc:cxnChg chg="mod">
          <ac:chgData name="Anchal Pyasi" userId="a92c463e-259f-4540-80dd-10cfca234da2" providerId="ADAL" clId="{B1746AB3-A3FF-4840-B118-8F4061AC8376}" dt="2025-01-17T05:21:00.191" v="14574" actId="1035"/>
          <ac:cxnSpMkLst>
            <pc:docMk/>
            <pc:sldMk cId="2375302700" sldId="259"/>
            <ac:cxnSpMk id="16" creationId="{B6D542CA-256A-521B-6EDE-36DCBAD5C17B}"/>
          </ac:cxnSpMkLst>
        </pc:cxnChg>
        <pc:cxnChg chg="mod">
          <ac:chgData name="Anchal Pyasi" userId="a92c463e-259f-4540-80dd-10cfca234da2" providerId="ADAL" clId="{B1746AB3-A3FF-4840-B118-8F4061AC8376}" dt="2025-01-17T05:21:00.191" v="14574" actId="1035"/>
          <ac:cxnSpMkLst>
            <pc:docMk/>
            <pc:sldMk cId="2375302700" sldId="259"/>
            <ac:cxnSpMk id="17" creationId="{B8F7EABC-FAD8-AF4C-35D1-7F946AC5EAD3}"/>
          </ac:cxnSpMkLst>
        </pc:cxnChg>
      </pc:sldChg>
      <pc:sldChg chg="addSp delSp modSp add mod">
        <pc:chgData name="Anchal Pyasi" userId="a92c463e-259f-4540-80dd-10cfca234da2" providerId="ADAL" clId="{B1746AB3-A3FF-4840-B118-8F4061AC8376}" dt="2025-01-10T11:51:39.371" v="7683" actId="20577"/>
        <pc:sldMkLst>
          <pc:docMk/>
          <pc:sldMk cId="2688495003" sldId="260"/>
        </pc:sldMkLst>
      </pc:sldChg>
      <pc:sldChg chg="addSp delSp modSp add del mod ord modClrScheme chgLayout">
        <pc:chgData name="Anchal Pyasi" userId="a92c463e-259f-4540-80dd-10cfca234da2" providerId="ADAL" clId="{B1746AB3-A3FF-4840-B118-8F4061AC8376}" dt="2025-01-10T09:17:15.600" v="5453" actId="2696"/>
        <pc:sldMkLst>
          <pc:docMk/>
          <pc:sldMk cId="3130216898" sldId="260"/>
        </pc:sldMkLst>
      </pc:sldChg>
      <pc:sldChg chg="del">
        <pc:chgData name="Anchal Pyasi" userId="a92c463e-259f-4540-80dd-10cfca234da2" providerId="ADAL" clId="{B1746AB3-A3FF-4840-B118-8F4061AC8376}" dt="2025-01-10T11:32:50.252" v="7395" actId="47"/>
        <pc:sldMkLst>
          <pc:docMk/>
          <pc:sldMk cId="1704071842" sldId="261"/>
        </pc:sldMkLst>
      </pc:sldChg>
      <pc:sldChg chg="modSp mod">
        <pc:chgData name="Anchal Pyasi" userId="a92c463e-259f-4540-80dd-10cfca234da2" providerId="ADAL" clId="{B1746AB3-A3FF-4840-B118-8F4061AC8376}" dt="2025-01-20T13:08:13.186" v="16775" actId="20577"/>
        <pc:sldMkLst>
          <pc:docMk/>
          <pc:sldMk cId="3112683689" sldId="262"/>
        </pc:sldMkLst>
        <pc:spChg chg="mod">
          <ac:chgData name="Anchal Pyasi" userId="a92c463e-259f-4540-80dd-10cfca234da2" providerId="ADAL" clId="{B1746AB3-A3FF-4840-B118-8F4061AC8376}" dt="2025-01-20T13:08:13.186" v="16775" actId="20577"/>
          <ac:spMkLst>
            <pc:docMk/>
            <pc:sldMk cId="3112683689" sldId="262"/>
            <ac:spMk id="3" creationId="{6FAF2BE4-9C90-C04B-5F78-BBBDE63578DE}"/>
          </ac:spMkLst>
        </pc:spChg>
      </pc:sldChg>
      <pc:sldChg chg="addSp delSp modSp mod ord modNotesTx">
        <pc:chgData name="Anchal Pyasi" userId="a92c463e-259f-4540-80dd-10cfca234da2" providerId="ADAL" clId="{B1746AB3-A3FF-4840-B118-8F4061AC8376}" dt="2025-01-10T09:12:23.830" v="5314" actId="1076"/>
        <pc:sldMkLst>
          <pc:docMk/>
          <pc:sldMk cId="1573368600" sldId="263"/>
        </pc:sldMkLst>
      </pc:sldChg>
      <pc:sldChg chg="addSp delSp modSp mod">
        <pc:chgData name="Anchal Pyasi" userId="a92c463e-259f-4540-80dd-10cfca234da2" providerId="ADAL" clId="{B1746AB3-A3FF-4840-B118-8F4061AC8376}" dt="2025-01-17T12:11:55.995" v="16361" actId="408"/>
        <pc:sldMkLst>
          <pc:docMk/>
          <pc:sldMk cId="1780373343" sldId="263"/>
        </pc:sldMkLst>
      </pc:sldChg>
      <pc:sldChg chg="addSp delSp modSp del mod">
        <pc:chgData name="Anchal Pyasi" userId="a92c463e-259f-4540-80dd-10cfca234da2" providerId="ADAL" clId="{B1746AB3-A3FF-4840-B118-8F4061AC8376}" dt="2025-01-10T11:32:58.301" v="7396" actId="47"/>
        <pc:sldMkLst>
          <pc:docMk/>
          <pc:sldMk cId="3882660682" sldId="266"/>
        </pc:sldMkLst>
      </pc:sldChg>
      <pc:sldChg chg="modSp del mod">
        <pc:chgData name="Anchal Pyasi" userId="a92c463e-259f-4540-80dd-10cfca234da2" providerId="ADAL" clId="{B1746AB3-A3FF-4840-B118-8F4061AC8376}" dt="2025-01-20T13:27:34.779" v="16804" actId="2696"/>
        <pc:sldMkLst>
          <pc:docMk/>
          <pc:sldMk cId="3369272554" sldId="267"/>
        </pc:sldMkLst>
      </pc:sldChg>
      <pc:sldChg chg="addSp delSp modSp new mod chgLayout modNotesTx">
        <pc:chgData name="Anchal Pyasi" userId="a92c463e-259f-4540-80dd-10cfca234da2" providerId="ADAL" clId="{B1746AB3-A3FF-4840-B118-8F4061AC8376}" dt="2025-01-17T11:01:33.790" v="15294" actId="13926"/>
        <pc:sldMkLst>
          <pc:docMk/>
          <pc:sldMk cId="3384076873" sldId="267"/>
        </pc:sldMkLst>
      </pc:sldChg>
      <pc:sldChg chg="add">
        <pc:chgData name="Anchal Pyasi" userId="a92c463e-259f-4540-80dd-10cfca234da2" providerId="ADAL" clId="{B1746AB3-A3FF-4840-B118-8F4061AC8376}" dt="2025-01-20T13:27:51.303" v="16805"/>
        <pc:sldMkLst>
          <pc:docMk/>
          <pc:sldMk cId="3873773764" sldId="267"/>
        </pc:sldMkLst>
      </pc:sldChg>
      <pc:sldChg chg="addSp modSp new mod modNotesTx">
        <pc:chgData name="Anchal Pyasi" userId="a92c463e-259f-4540-80dd-10cfca234da2" providerId="ADAL" clId="{B1746AB3-A3FF-4840-B118-8F4061AC8376}" dt="2025-01-10T05:15:12.344" v="2441" actId="20577"/>
        <pc:sldMkLst>
          <pc:docMk/>
          <pc:sldMk cId="1138799537" sldId="268"/>
        </pc:sldMkLst>
        <pc:spChg chg="mod">
          <ac:chgData name="Anchal Pyasi" userId="a92c463e-259f-4540-80dd-10cfca234da2" providerId="ADAL" clId="{B1746AB3-A3FF-4840-B118-8F4061AC8376}" dt="2025-01-10T05:14:28.863" v="2416" actId="20577"/>
          <ac:spMkLst>
            <pc:docMk/>
            <pc:sldMk cId="1138799537" sldId="268"/>
            <ac:spMk id="4" creationId="{425D13EB-AF29-995E-291F-764659BFDAED}"/>
          </ac:spMkLst>
        </pc:spChg>
      </pc:sldChg>
      <pc:sldChg chg="add del ord">
        <pc:chgData name="Anchal Pyasi" userId="a92c463e-259f-4540-80dd-10cfca234da2" providerId="ADAL" clId="{B1746AB3-A3FF-4840-B118-8F4061AC8376}" dt="2025-01-10T11:41:39.257" v="7493" actId="47"/>
        <pc:sldMkLst>
          <pc:docMk/>
          <pc:sldMk cId="3927755661" sldId="269"/>
        </pc:sldMkLst>
      </pc:sldChg>
      <pc:sldChg chg="addSp delSp modSp add del mod">
        <pc:chgData name="Anchal Pyasi" userId="a92c463e-259f-4540-80dd-10cfca234da2" providerId="ADAL" clId="{B1746AB3-A3FF-4840-B118-8F4061AC8376}" dt="2025-01-17T05:20:15.897" v="14508" actId="47"/>
        <pc:sldMkLst>
          <pc:docMk/>
          <pc:sldMk cId="3679476837" sldId="270"/>
        </pc:sldMkLst>
      </pc:sldChg>
      <pc:sldChg chg="modSp mod modCm">
        <pc:chgData name="Anchal Pyasi" userId="a92c463e-259f-4540-80dd-10cfca234da2" providerId="ADAL" clId="{B1746AB3-A3FF-4840-B118-8F4061AC8376}" dt="2025-01-20T13:53:32.727" v="16818" actId="20577"/>
        <pc:sldMkLst>
          <pc:docMk/>
          <pc:sldMk cId="55496167" sldId="271"/>
        </pc:sldMkLst>
        <pc:extLst>
          <p:ext xmlns:p="http://schemas.openxmlformats.org/presentationml/2006/main" uri="{D6D511B9-2390-475A-947B-AFAB55BFBCF1}">
            <pc226:cmChg xmlns:pc226="http://schemas.microsoft.com/office/powerpoint/2022/06/main/command" chg="mod">
              <pc226:chgData name="Anchal Pyasi" userId="a92c463e-259f-4540-80dd-10cfca234da2" providerId="ADAL" clId="{B1746AB3-A3FF-4840-B118-8F4061AC8376}" dt="2025-01-20T13:53:32.727" v="16818" actId="20577"/>
              <pc2:cmMkLst xmlns:pc2="http://schemas.microsoft.com/office/powerpoint/2019/9/main/command">
                <pc:docMk/>
                <pc:sldMk cId="55496167" sldId="271"/>
                <pc2:cmMk id="{4A3DA28A-7B0F-41F3-9E34-B4BB28502C07}"/>
              </pc2:cmMkLst>
            </pc226:cmChg>
          </p:ext>
        </pc:extLst>
      </pc:sldChg>
      <pc:sldChg chg="addSp delSp modSp add del mod">
        <pc:chgData name="Anchal Pyasi" userId="a92c463e-259f-4540-80dd-10cfca234da2" providerId="ADAL" clId="{B1746AB3-A3FF-4840-B118-8F4061AC8376}" dt="2025-01-17T12:06:32.775" v="16167" actId="47"/>
        <pc:sldMkLst>
          <pc:docMk/>
          <pc:sldMk cId="1239918741" sldId="271"/>
        </pc:sldMkLst>
      </pc:sldChg>
      <pc:sldChg chg="new del">
        <pc:chgData name="Anchal Pyasi" userId="a92c463e-259f-4540-80dd-10cfca234da2" providerId="ADAL" clId="{B1746AB3-A3FF-4840-B118-8F4061AC8376}" dt="2025-01-17T11:01:44.880" v="15296" actId="47"/>
        <pc:sldMkLst>
          <pc:docMk/>
          <pc:sldMk cId="1671026727" sldId="271"/>
        </pc:sldMkLst>
      </pc:sldChg>
      <pc:sldChg chg="addSp delSp modSp add del mod">
        <pc:chgData name="Anchal Pyasi" userId="a92c463e-259f-4540-80dd-10cfca234da2" providerId="ADAL" clId="{B1746AB3-A3FF-4840-B118-8F4061AC8376}" dt="2025-01-10T08:53:17.186" v="4818" actId="47"/>
        <pc:sldMkLst>
          <pc:docMk/>
          <pc:sldMk cId="3119206819" sldId="271"/>
        </pc:sldMkLst>
      </pc:sldChg>
      <pc:sldChg chg="new del">
        <pc:chgData name="Anchal Pyasi" userId="a92c463e-259f-4540-80dd-10cfca234da2" providerId="ADAL" clId="{B1746AB3-A3FF-4840-B118-8F4061AC8376}" dt="2025-01-10T08:52:52.039" v="4814" actId="47"/>
        <pc:sldMkLst>
          <pc:docMk/>
          <pc:sldMk cId="2291566276" sldId="272"/>
        </pc:sldMkLst>
      </pc:sldChg>
      <pc:sldChg chg="addSp delSp modSp add mod">
        <pc:chgData name="Anchal Pyasi" userId="a92c463e-259f-4540-80dd-10cfca234da2" providerId="ADAL" clId="{B1746AB3-A3FF-4840-B118-8F4061AC8376}" dt="2025-01-20T13:05:46.561" v="16755" actId="14100"/>
        <pc:sldMkLst>
          <pc:docMk/>
          <pc:sldMk cId="509631690" sldId="276"/>
        </pc:sldMkLst>
      </pc:sldChg>
      <pc:sldChg chg="add del">
        <pc:chgData name="Anchal Pyasi" userId="a92c463e-259f-4540-80dd-10cfca234da2" providerId="ADAL" clId="{B1746AB3-A3FF-4840-B118-8F4061AC8376}" dt="2025-01-20T13:29:04.967" v="16808" actId="2696"/>
        <pc:sldMkLst>
          <pc:docMk/>
          <pc:sldMk cId="1833598048" sldId="277"/>
        </pc:sldMkLst>
      </pc:sldChg>
      <pc:sldChg chg="add">
        <pc:chgData name="Anchal Pyasi" userId="a92c463e-259f-4540-80dd-10cfca234da2" providerId="ADAL" clId="{B1746AB3-A3FF-4840-B118-8F4061AC8376}" dt="2025-01-20T13:29:10.364" v="16809"/>
        <pc:sldMkLst>
          <pc:docMk/>
          <pc:sldMk cId="2277052345" sldId="277"/>
        </pc:sldMkLst>
      </pc:sldChg>
      <pc:sldChg chg="modSp del mod">
        <pc:chgData name="Anchal Pyasi" userId="a92c463e-259f-4540-80dd-10cfca234da2" providerId="ADAL" clId="{B1746AB3-A3FF-4840-B118-8F4061AC8376}" dt="2025-01-20T13:28:28.717" v="16806" actId="2696"/>
        <pc:sldMkLst>
          <pc:docMk/>
          <pc:sldMk cId="4245125396" sldId="277"/>
        </pc:sldMkLst>
      </pc:sldChg>
      <pc:sldChg chg="modSp del mod">
        <pc:chgData name="Anchal Pyasi" userId="a92c463e-259f-4540-80dd-10cfca234da2" providerId="ADAL" clId="{B1746AB3-A3FF-4840-B118-8F4061AC8376}" dt="2025-01-20T09:23:54.572" v="16716" actId="47"/>
        <pc:sldMkLst>
          <pc:docMk/>
          <pc:sldMk cId="641021063" sldId="280"/>
        </pc:sldMkLst>
      </pc:sldChg>
      <pc:sldChg chg="del">
        <pc:chgData name="Anchal Pyasi" userId="a92c463e-259f-4540-80dd-10cfca234da2" providerId="ADAL" clId="{B1746AB3-A3FF-4840-B118-8F4061AC8376}" dt="2025-01-15T11:24:56.316" v="11095" actId="47"/>
        <pc:sldMkLst>
          <pc:docMk/>
          <pc:sldMk cId="2266765414" sldId="281"/>
        </pc:sldMkLst>
      </pc:sldChg>
      <pc:sldChg chg="modSp mod">
        <pc:chgData name="Anchal Pyasi" userId="a92c463e-259f-4540-80dd-10cfca234da2" providerId="ADAL" clId="{B1746AB3-A3FF-4840-B118-8F4061AC8376}" dt="2025-01-15T09:40:05.968" v="11088" actId="5793"/>
        <pc:sldMkLst>
          <pc:docMk/>
          <pc:sldMk cId="595150051" sldId="284"/>
        </pc:sldMkLst>
      </pc:sldChg>
      <pc:sldChg chg="add">
        <pc:chgData name="Anchal Pyasi" userId="a92c463e-259f-4540-80dd-10cfca234da2" providerId="ADAL" clId="{B1746AB3-A3FF-4840-B118-8F4061AC8376}" dt="2025-01-20T13:27:51.303" v="16805"/>
        <pc:sldMkLst>
          <pc:docMk/>
          <pc:sldMk cId="3314466455" sldId="284"/>
        </pc:sldMkLst>
      </pc:sldChg>
      <pc:sldChg chg="del">
        <pc:chgData name="Anchal Pyasi" userId="a92c463e-259f-4540-80dd-10cfca234da2" providerId="ADAL" clId="{B1746AB3-A3FF-4840-B118-8F4061AC8376}" dt="2025-01-20T13:27:34.779" v="16804" actId="2696"/>
        <pc:sldMkLst>
          <pc:docMk/>
          <pc:sldMk cId="4231622753" sldId="284"/>
        </pc:sldMkLst>
      </pc:sldChg>
      <pc:sldChg chg="modSp mod">
        <pc:chgData name="Anchal Pyasi" userId="a92c463e-259f-4540-80dd-10cfca234da2" providerId="ADAL" clId="{B1746AB3-A3FF-4840-B118-8F4061AC8376}" dt="2025-01-15T09:41:25.128" v="11094" actId="1076"/>
        <pc:sldMkLst>
          <pc:docMk/>
          <pc:sldMk cId="162438159" sldId="287"/>
        </pc:sldMkLst>
      </pc:sldChg>
      <pc:sldChg chg="add">
        <pc:chgData name="Anchal Pyasi" userId="a92c463e-259f-4540-80dd-10cfca234da2" providerId="ADAL" clId="{B1746AB3-A3FF-4840-B118-8F4061AC8376}" dt="2025-01-20T13:27:51.303" v="16805"/>
        <pc:sldMkLst>
          <pc:docMk/>
          <pc:sldMk cId="1655463585" sldId="287"/>
        </pc:sldMkLst>
      </pc:sldChg>
      <pc:sldChg chg="del ord">
        <pc:chgData name="Anchal Pyasi" userId="a92c463e-259f-4540-80dd-10cfca234da2" providerId="ADAL" clId="{B1746AB3-A3FF-4840-B118-8F4061AC8376}" dt="2025-01-20T13:27:34.779" v="16804" actId="2696"/>
        <pc:sldMkLst>
          <pc:docMk/>
          <pc:sldMk cId="2136553998" sldId="287"/>
        </pc:sldMkLst>
      </pc:sldChg>
      <pc:sldChg chg="modSp mod">
        <pc:chgData name="Anchal Pyasi" userId="a92c463e-259f-4540-80dd-10cfca234da2" providerId="ADAL" clId="{B1746AB3-A3FF-4840-B118-8F4061AC8376}" dt="2025-01-16T10:51:38.044" v="13420" actId="20577"/>
        <pc:sldMkLst>
          <pc:docMk/>
          <pc:sldMk cId="3973081514" sldId="290"/>
        </pc:sldMkLst>
      </pc:sldChg>
      <pc:sldChg chg="add del">
        <pc:chgData name="Anchal Pyasi" userId="a92c463e-259f-4540-80dd-10cfca234da2" providerId="ADAL" clId="{B1746AB3-A3FF-4840-B118-8F4061AC8376}" dt="2025-01-20T13:29:04.967" v="16808" actId="2696"/>
        <pc:sldMkLst>
          <pc:docMk/>
          <pc:sldMk cId="525233684" sldId="291"/>
        </pc:sldMkLst>
      </pc:sldChg>
      <pc:sldChg chg="add">
        <pc:chgData name="Anchal Pyasi" userId="a92c463e-259f-4540-80dd-10cfca234da2" providerId="ADAL" clId="{B1746AB3-A3FF-4840-B118-8F4061AC8376}" dt="2025-01-20T13:29:10.364" v="16809"/>
        <pc:sldMkLst>
          <pc:docMk/>
          <pc:sldMk cId="1218115158" sldId="291"/>
        </pc:sldMkLst>
      </pc:sldChg>
      <pc:sldChg chg="del ord">
        <pc:chgData name="Anchal Pyasi" userId="a92c463e-259f-4540-80dd-10cfca234da2" providerId="ADAL" clId="{B1746AB3-A3FF-4840-B118-8F4061AC8376}" dt="2025-01-20T13:28:28.717" v="16806" actId="2696"/>
        <pc:sldMkLst>
          <pc:docMk/>
          <pc:sldMk cId="1672098358" sldId="291"/>
        </pc:sldMkLst>
      </pc:sldChg>
      <pc:sldChg chg="add del">
        <pc:chgData name="Anchal Pyasi" userId="a92c463e-259f-4540-80dd-10cfca234da2" providerId="ADAL" clId="{B1746AB3-A3FF-4840-B118-8F4061AC8376}" dt="2025-01-20T13:29:04.967" v="16808" actId="2696"/>
        <pc:sldMkLst>
          <pc:docMk/>
          <pc:sldMk cId="686740300" sldId="292"/>
        </pc:sldMkLst>
      </pc:sldChg>
      <pc:sldChg chg="modSp del mod">
        <pc:chgData name="Anchal Pyasi" userId="a92c463e-259f-4540-80dd-10cfca234da2" providerId="ADAL" clId="{B1746AB3-A3FF-4840-B118-8F4061AC8376}" dt="2025-01-20T13:28:28.717" v="16806" actId="2696"/>
        <pc:sldMkLst>
          <pc:docMk/>
          <pc:sldMk cId="1710977659" sldId="292"/>
        </pc:sldMkLst>
      </pc:sldChg>
      <pc:sldChg chg="add">
        <pc:chgData name="Anchal Pyasi" userId="a92c463e-259f-4540-80dd-10cfca234da2" providerId="ADAL" clId="{B1746AB3-A3FF-4840-B118-8F4061AC8376}" dt="2025-01-20T13:29:10.364" v="16809"/>
        <pc:sldMkLst>
          <pc:docMk/>
          <pc:sldMk cId="2127066885" sldId="292"/>
        </pc:sldMkLst>
      </pc:sldChg>
      <pc:sldChg chg="add">
        <pc:chgData name="Anchal Pyasi" userId="a92c463e-259f-4540-80dd-10cfca234da2" providerId="ADAL" clId="{B1746AB3-A3FF-4840-B118-8F4061AC8376}" dt="2025-01-20T13:29:10.364" v="16809"/>
        <pc:sldMkLst>
          <pc:docMk/>
          <pc:sldMk cId="2603095592" sldId="293"/>
        </pc:sldMkLst>
      </pc:sldChg>
      <pc:sldChg chg="add del">
        <pc:chgData name="Anchal Pyasi" userId="a92c463e-259f-4540-80dd-10cfca234da2" providerId="ADAL" clId="{B1746AB3-A3FF-4840-B118-8F4061AC8376}" dt="2025-01-20T13:29:04.967" v="16808" actId="2696"/>
        <pc:sldMkLst>
          <pc:docMk/>
          <pc:sldMk cId="3193157201" sldId="293"/>
        </pc:sldMkLst>
      </pc:sldChg>
      <pc:sldChg chg="del">
        <pc:chgData name="Anchal Pyasi" userId="a92c463e-259f-4540-80dd-10cfca234da2" providerId="ADAL" clId="{B1746AB3-A3FF-4840-B118-8F4061AC8376}" dt="2025-01-20T13:28:28.717" v="16806" actId="2696"/>
        <pc:sldMkLst>
          <pc:docMk/>
          <pc:sldMk cId="3320606156" sldId="293"/>
        </pc:sldMkLst>
      </pc:sldChg>
      <pc:sldChg chg="modSp mod">
        <pc:chgData name="Anchal Pyasi" userId="a92c463e-259f-4540-80dd-10cfca234da2" providerId="ADAL" clId="{B1746AB3-A3FF-4840-B118-8F4061AC8376}" dt="2025-01-16T10:50:02.775" v="13418" actId="1035"/>
        <pc:sldMkLst>
          <pc:docMk/>
          <pc:sldMk cId="1072605819" sldId="296"/>
        </pc:sldMkLst>
      </pc:sldChg>
      <pc:sldChg chg="del">
        <pc:chgData name="Anchal Pyasi" userId="a92c463e-259f-4540-80dd-10cfca234da2" providerId="ADAL" clId="{B1746AB3-A3FF-4840-B118-8F4061AC8376}" dt="2025-01-10T11:39:12.470" v="7415" actId="47"/>
        <pc:sldMkLst>
          <pc:docMk/>
          <pc:sldMk cId="1072385754" sldId="304"/>
        </pc:sldMkLst>
      </pc:sldChg>
      <pc:sldChg chg="add">
        <pc:chgData name="Anchal Pyasi" userId="a92c463e-259f-4540-80dd-10cfca234da2" providerId="ADAL" clId="{B1746AB3-A3FF-4840-B118-8F4061AC8376}" dt="2025-01-10T07:22:28.758" v="3659"/>
        <pc:sldMkLst>
          <pc:docMk/>
          <pc:sldMk cId="3020431215" sldId="320"/>
        </pc:sldMkLst>
      </pc:sldChg>
      <pc:sldChg chg="addSp delSp modSp del mod modClrScheme chgLayout">
        <pc:chgData name="Anchal Pyasi" userId="a92c463e-259f-4540-80dd-10cfca234da2" providerId="ADAL" clId="{B1746AB3-A3FF-4840-B118-8F4061AC8376}" dt="2025-01-10T15:38:09.772" v="8465" actId="47"/>
        <pc:sldMkLst>
          <pc:docMk/>
          <pc:sldMk cId="918775834" sldId="328"/>
        </pc:sldMkLst>
      </pc:sldChg>
      <pc:sldChg chg="add del">
        <pc:chgData name="Anchal Pyasi" userId="a92c463e-259f-4540-80dd-10cfca234da2" providerId="ADAL" clId="{B1746AB3-A3FF-4840-B118-8F4061AC8376}" dt="2025-01-09T11:54:29.011" v="985" actId="47"/>
        <pc:sldMkLst>
          <pc:docMk/>
          <pc:sldMk cId="3976863299" sldId="3600"/>
        </pc:sldMkLst>
      </pc:sldChg>
      <pc:sldChg chg="modSp add mod">
        <pc:chgData name="Anchal Pyasi" userId="a92c463e-259f-4540-80dd-10cfca234da2" providerId="ADAL" clId="{B1746AB3-A3FF-4840-B118-8F4061AC8376}" dt="2025-01-10T17:00:01.662" v="10949" actId="1076"/>
        <pc:sldMkLst>
          <pc:docMk/>
          <pc:sldMk cId="3294424843" sldId="2145706196"/>
        </pc:sldMkLst>
      </pc:sldChg>
      <pc:sldChg chg="addSp modSp add mod">
        <pc:chgData name="Anchal Pyasi" userId="a92c463e-259f-4540-80dd-10cfca234da2" providerId="ADAL" clId="{B1746AB3-A3FF-4840-B118-8F4061AC8376}" dt="2025-01-10T17:00:08.303" v="10951" actId="1076"/>
        <pc:sldMkLst>
          <pc:docMk/>
          <pc:sldMk cId="834971940" sldId="2145706205"/>
        </pc:sldMkLst>
      </pc:sldChg>
      <pc:sldChg chg="addSp delSp modSp mod ord chgLayout">
        <pc:chgData name="Anchal Pyasi" userId="a92c463e-259f-4540-80dd-10cfca234da2" providerId="ADAL" clId="{B1746AB3-A3FF-4840-B118-8F4061AC8376}" dt="2025-01-10T10:45:26.661" v="5933" actId="1076"/>
        <pc:sldMkLst>
          <pc:docMk/>
          <pc:sldMk cId="861753099" sldId="2147470479"/>
        </pc:sldMkLst>
      </pc:sldChg>
      <pc:sldChg chg="addSp delSp modSp add mod modClrScheme chgLayout">
        <pc:chgData name="Anchal Pyasi" userId="a92c463e-259f-4540-80dd-10cfca234da2" providerId="ADAL" clId="{B1746AB3-A3FF-4840-B118-8F4061AC8376}" dt="2025-01-10T17:01:01.645" v="10978" actId="1076"/>
        <pc:sldMkLst>
          <pc:docMk/>
          <pc:sldMk cId="366933066" sldId="2147470511"/>
        </pc:sldMkLst>
        <pc:picChg chg="add mod">
          <ac:chgData name="Anchal Pyasi" userId="a92c463e-259f-4540-80dd-10cfca234da2" providerId="ADAL" clId="{B1746AB3-A3FF-4840-B118-8F4061AC8376}" dt="2025-01-10T17:01:01.645" v="10978" actId="1076"/>
          <ac:picMkLst>
            <pc:docMk/>
            <pc:sldMk cId="366933066" sldId="2147470511"/>
            <ac:picMk id="3" creationId="{A8C9D101-E25C-3F67-573B-0AD496197596}"/>
          </ac:picMkLst>
        </pc:picChg>
      </pc:sldChg>
      <pc:sldChg chg="add del">
        <pc:chgData name="Anchal Pyasi" userId="a92c463e-259f-4540-80dd-10cfca234da2" providerId="ADAL" clId="{B1746AB3-A3FF-4840-B118-8F4061AC8376}" dt="2025-01-10T11:23:08.833" v="6931" actId="47"/>
        <pc:sldMkLst>
          <pc:docMk/>
          <pc:sldMk cId="1797865432" sldId="2147470835"/>
        </pc:sldMkLst>
      </pc:sldChg>
      <pc:sldChg chg="add del">
        <pc:chgData name="Anchal Pyasi" userId="a92c463e-259f-4540-80dd-10cfca234da2" providerId="ADAL" clId="{B1746AB3-A3FF-4840-B118-8F4061AC8376}" dt="2025-01-10T16:13:50.573" v="8502" actId="47"/>
        <pc:sldMkLst>
          <pc:docMk/>
          <pc:sldMk cId="3007188189" sldId="2147470835"/>
        </pc:sldMkLst>
      </pc:sldChg>
      <pc:sldChg chg="addSp delSp modSp add mod modClrScheme chgLayout">
        <pc:chgData name="Anchal Pyasi" userId="a92c463e-259f-4540-80dd-10cfca234da2" providerId="ADAL" clId="{B1746AB3-A3FF-4840-B118-8F4061AC8376}" dt="2025-01-10T17:00:52.015" v="10977" actId="1035"/>
        <pc:sldMkLst>
          <pc:docMk/>
          <pc:sldMk cId="3640596221" sldId="2147472867"/>
        </pc:sldMkLst>
        <pc:spChg chg="mod ord">
          <ac:chgData name="Anchal Pyasi" userId="a92c463e-259f-4540-80dd-10cfca234da2" providerId="ADAL" clId="{B1746AB3-A3FF-4840-B118-8F4061AC8376}" dt="2025-01-10T17:00:32.381" v="10959"/>
          <ac:spMkLst>
            <pc:docMk/>
            <pc:sldMk cId="3640596221" sldId="2147472867"/>
            <ac:spMk id="2" creationId="{B213A683-6B39-F331-6E91-08E45F04ED2D}"/>
          </ac:spMkLst>
        </pc:spChg>
        <pc:picChg chg="mod ord">
          <ac:chgData name="Anchal Pyasi" userId="a92c463e-259f-4540-80dd-10cfca234da2" providerId="ADAL" clId="{B1746AB3-A3FF-4840-B118-8F4061AC8376}" dt="2025-01-10T17:00:52.015" v="10977" actId="1035"/>
          <ac:picMkLst>
            <pc:docMk/>
            <pc:sldMk cId="3640596221" sldId="2147472867"/>
            <ac:picMk id="4" creationId="{6E96A4D5-8F6A-9EAE-3F01-FBDAF901209E}"/>
          </ac:picMkLst>
        </pc:picChg>
        <pc:picChg chg="add mod">
          <ac:chgData name="Anchal Pyasi" userId="a92c463e-259f-4540-80dd-10cfca234da2" providerId="ADAL" clId="{B1746AB3-A3FF-4840-B118-8F4061AC8376}" dt="2025-01-10T17:00:32.381" v="10959"/>
          <ac:picMkLst>
            <pc:docMk/>
            <pc:sldMk cId="3640596221" sldId="2147472867"/>
            <ac:picMk id="5" creationId="{095B5DAE-949A-3E7D-2C0A-3DDA49FD62D4}"/>
          </ac:picMkLst>
        </pc:picChg>
      </pc:sldChg>
      <pc:sldChg chg="add del">
        <pc:chgData name="Anchal Pyasi" userId="a92c463e-259f-4540-80dd-10cfca234da2" providerId="ADAL" clId="{B1746AB3-A3FF-4840-B118-8F4061AC8376}" dt="2025-01-10T05:11:49.153" v="2400" actId="47"/>
        <pc:sldMkLst>
          <pc:docMk/>
          <pc:sldMk cId="3728225475" sldId="2147472881"/>
        </pc:sldMkLst>
      </pc:sldChg>
      <pc:sldChg chg="add del">
        <pc:chgData name="Anchal Pyasi" userId="a92c463e-259f-4540-80dd-10cfca234da2" providerId="ADAL" clId="{B1746AB3-A3FF-4840-B118-8F4061AC8376}" dt="2025-01-10T05:11:51.639" v="2401" actId="47"/>
        <pc:sldMkLst>
          <pc:docMk/>
          <pc:sldMk cId="1052735229" sldId="2147480845"/>
        </pc:sldMkLst>
      </pc:sldChg>
      <pc:sldChg chg="modSp add del mod">
        <pc:chgData name="Anchal Pyasi" userId="a92c463e-259f-4540-80dd-10cfca234da2" providerId="ADAL" clId="{B1746AB3-A3FF-4840-B118-8F4061AC8376}" dt="2025-01-10T11:41:51.979" v="7495" actId="47"/>
        <pc:sldMkLst>
          <pc:docMk/>
          <pc:sldMk cId="816372903" sldId="2147480869"/>
        </pc:sldMkLst>
      </pc:sldChg>
      <pc:sldChg chg="modSp add del mod">
        <pc:chgData name="Anchal Pyasi" userId="a92c463e-259f-4540-80dd-10cfca234da2" providerId="ADAL" clId="{B1746AB3-A3FF-4840-B118-8F4061AC8376}" dt="2025-01-10T09:17:15.600" v="5453" actId="2696"/>
        <pc:sldMkLst>
          <pc:docMk/>
          <pc:sldMk cId="1358952509" sldId="2147480923"/>
        </pc:sldMkLst>
      </pc:sldChg>
      <pc:sldChg chg="add del ord">
        <pc:chgData name="Anchal Pyasi" userId="a92c463e-259f-4540-80dd-10cfca234da2" providerId="ADAL" clId="{B1746AB3-A3FF-4840-B118-8F4061AC8376}" dt="2025-01-10T11:32:50.252" v="7395" actId="47"/>
        <pc:sldMkLst>
          <pc:docMk/>
          <pc:sldMk cId="2580343788" sldId="2147480923"/>
        </pc:sldMkLst>
      </pc:sldChg>
      <pc:sldChg chg="del">
        <pc:chgData name="Anchal Pyasi" userId="a92c463e-259f-4540-80dd-10cfca234da2" providerId="ADAL" clId="{B1746AB3-A3FF-4840-B118-8F4061AC8376}" dt="2025-01-10T11:41:52.961" v="7496" actId="47"/>
        <pc:sldMkLst>
          <pc:docMk/>
          <pc:sldMk cId="1036954675" sldId="2147482391"/>
        </pc:sldMkLst>
      </pc:sldChg>
      <pc:sldChg chg="addSp delSp modSp add mod chgLayout">
        <pc:chgData name="Anchal Pyasi" userId="a92c463e-259f-4540-80dd-10cfca234da2" providerId="ADAL" clId="{B1746AB3-A3FF-4840-B118-8F4061AC8376}" dt="2025-01-15T09:39:03.245" v="11085" actId="1076"/>
        <pc:sldMkLst>
          <pc:docMk/>
          <pc:sldMk cId="617956213" sldId="2147482401"/>
        </pc:sldMkLst>
      </pc:sldChg>
      <pc:sldChg chg="addSp modSp add mod chgLayout">
        <pc:chgData name="Anchal Pyasi" userId="a92c463e-259f-4540-80dd-10cfca234da2" providerId="ADAL" clId="{B1746AB3-A3FF-4840-B118-8F4061AC8376}" dt="2025-01-16T06:52:25.477" v="11792" actId="14100"/>
        <pc:sldMkLst>
          <pc:docMk/>
          <pc:sldMk cId="3073165865" sldId="2147482814"/>
        </pc:sldMkLst>
        <pc:spChg chg="mod ord">
          <ac:chgData name="Anchal Pyasi" userId="a92c463e-259f-4540-80dd-10cfca234da2" providerId="ADAL" clId="{B1746AB3-A3FF-4840-B118-8F4061AC8376}" dt="2025-01-10T06:38:16.619" v="3054" actId="20577"/>
          <ac:spMkLst>
            <pc:docMk/>
            <pc:sldMk cId="3073165865" sldId="2147482814"/>
            <ac:spMk id="2" creationId="{556023A7-827C-C567-8C23-75CD31D30050}"/>
          </ac:spMkLst>
        </pc:spChg>
      </pc:sldChg>
      <pc:sldChg chg="add">
        <pc:chgData name="Anchal Pyasi" userId="a92c463e-259f-4540-80dd-10cfca234da2" providerId="ADAL" clId="{B1746AB3-A3FF-4840-B118-8F4061AC8376}" dt="2025-01-10T11:57:34.599" v="7735"/>
        <pc:sldMkLst>
          <pc:docMk/>
          <pc:sldMk cId="2317324752" sldId="2147482956"/>
        </pc:sldMkLst>
      </pc:sldChg>
      <pc:sldChg chg="delSp modSp add del">
        <pc:chgData name="Anchal Pyasi" userId="a92c463e-259f-4540-80dd-10cfca234da2" providerId="ADAL" clId="{B1746AB3-A3FF-4840-B118-8F4061AC8376}" dt="2025-01-10T11:23:05.460" v="6930" actId="47"/>
        <pc:sldMkLst>
          <pc:docMk/>
          <pc:sldMk cId="677197624" sldId="2147482977"/>
        </pc:sldMkLst>
      </pc:sldChg>
      <pc:sldChg chg="add del">
        <pc:chgData name="Anchal Pyasi" userId="a92c463e-259f-4540-80dd-10cfca234da2" providerId="ADAL" clId="{B1746AB3-A3FF-4840-B118-8F4061AC8376}" dt="2025-01-10T11:23:05.460" v="6930" actId="47"/>
        <pc:sldMkLst>
          <pc:docMk/>
          <pc:sldMk cId="4038358740" sldId="2147483015"/>
        </pc:sldMkLst>
      </pc:sldChg>
      <pc:sldChg chg="add del">
        <pc:chgData name="Anchal Pyasi" userId="a92c463e-259f-4540-80dd-10cfca234da2" providerId="ADAL" clId="{B1746AB3-A3FF-4840-B118-8F4061AC8376}" dt="2025-01-10T11:23:05.460" v="6930" actId="47"/>
        <pc:sldMkLst>
          <pc:docMk/>
          <pc:sldMk cId="4135718723" sldId="2147483016"/>
        </pc:sldMkLst>
      </pc:sldChg>
      <pc:sldChg chg="addSp modSp add del mod">
        <pc:chgData name="Anchal Pyasi" userId="a92c463e-259f-4540-80dd-10cfca234da2" providerId="ADAL" clId="{B1746AB3-A3FF-4840-B118-8F4061AC8376}" dt="2025-01-10T09:39:59.723" v="5673" actId="47"/>
        <pc:sldMkLst>
          <pc:docMk/>
          <pc:sldMk cId="1142178253" sldId="2147483028"/>
        </pc:sldMkLst>
      </pc:sldChg>
      <pc:sldChg chg="addSp delSp modSp add mod chgLayout">
        <pc:chgData name="Anchal Pyasi" userId="a92c463e-259f-4540-80dd-10cfca234da2" providerId="ADAL" clId="{B1746AB3-A3FF-4840-B118-8F4061AC8376}" dt="2025-01-17T05:07:41.685" v="14134" actId="20577"/>
        <pc:sldMkLst>
          <pc:docMk/>
          <pc:sldMk cId="1171986220" sldId="2147483044"/>
        </pc:sldMkLst>
        <pc:spChg chg="mod ord">
          <ac:chgData name="Anchal Pyasi" userId="a92c463e-259f-4540-80dd-10cfca234da2" providerId="ADAL" clId="{B1746AB3-A3FF-4840-B118-8F4061AC8376}" dt="2025-01-10T07:36:45.331" v="4306" actId="20577"/>
          <ac:spMkLst>
            <pc:docMk/>
            <pc:sldMk cId="1171986220" sldId="2147483044"/>
            <ac:spMk id="2" creationId="{DA07B7E6-3D1C-849C-87E0-AACDBB3AFDC1}"/>
          </ac:spMkLst>
        </pc:spChg>
        <pc:spChg chg="mod">
          <ac:chgData name="Anchal Pyasi" userId="a92c463e-259f-4540-80dd-10cfca234da2" providerId="ADAL" clId="{B1746AB3-A3FF-4840-B118-8F4061AC8376}" dt="2025-01-17T05:07:31.624" v="14117" actId="1076"/>
          <ac:spMkLst>
            <pc:docMk/>
            <pc:sldMk cId="1171986220" sldId="2147483044"/>
            <ac:spMk id="4" creationId="{D58CCDAA-CE82-0DAD-03FB-AB1BA2469D6C}"/>
          </ac:spMkLst>
        </pc:spChg>
        <pc:spChg chg="add mod">
          <ac:chgData name="Anchal Pyasi" userId="a92c463e-259f-4540-80dd-10cfca234da2" providerId="ADAL" clId="{B1746AB3-A3FF-4840-B118-8F4061AC8376}" dt="2025-01-09T11:43:38.393" v="919" actId="2711"/>
          <ac:spMkLst>
            <pc:docMk/>
            <pc:sldMk cId="1171986220" sldId="2147483044"/>
            <ac:spMk id="5" creationId="{B4E1CD77-3795-DBBF-C2D4-7D27ED1C924F}"/>
          </ac:spMkLst>
        </pc:spChg>
        <pc:spChg chg="add mod">
          <ac:chgData name="Anchal Pyasi" userId="a92c463e-259f-4540-80dd-10cfca234da2" providerId="ADAL" clId="{B1746AB3-A3FF-4840-B118-8F4061AC8376}" dt="2025-01-17T05:07:41.685" v="14134" actId="20577"/>
          <ac:spMkLst>
            <pc:docMk/>
            <pc:sldMk cId="1171986220" sldId="2147483044"/>
            <ac:spMk id="6" creationId="{C5E0078A-AB47-84D7-4989-DF3A2DC7A051}"/>
          </ac:spMkLst>
        </pc:spChg>
        <pc:spChg chg="mod">
          <ac:chgData name="Anchal Pyasi" userId="a92c463e-259f-4540-80dd-10cfca234da2" providerId="ADAL" clId="{B1746AB3-A3FF-4840-B118-8F4061AC8376}" dt="2025-01-09T11:43:38.393" v="919" actId="2711"/>
          <ac:spMkLst>
            <pc:docMk/>
            <pc:sldMk cId="1171986220" sldId="2147483044"/>
            <ac:spMk id="34" creationId="{ED7BE3F9-56F8-6087-D50C-BF7A79E30F68}"/>
          </ac:spMkLst>
        </pc:spChg>
        <pc:spChg chg="mod">
          <ac:chgData name="Anchal Pyasi" userId="a92c463e-259f-4540-80dd-10cfca234da2" providerId="ADAL" clId="{B1746AB3-A3FF-4840-B118-8F4061AC8376}" dt="2025-01-09T11:43:38.393" v="919" actId="2711"/>
          <ac:spMkLst>
            <pc:docMk/>
            <pc:sldMk cId="1171986220" sldId="2147483044"/>
            <ac:spMk id="35" creationId="{0E8696A8-4926-65E2-F3C2-933C10846DA1}"/>
          </ac:spMkLst>
        </pc:spChg>
        <pc:spChg chg="mod">
          <ac:chgData name="Anchal Pyasi" userId="a92c463e-259f-4540-80dd-10cfca234da2" providerId="ADAL" clId="{B1746AB3-A3FF-4840-B118-8F4061AC8376}" dt="2025-01-09T11:43:38.393" v="919" actId="2711"/>
          <ac:spMkLst>
            <pc:docMk/>
            <pc:sldMk cId="1171986220" sldId="2147483044"/>
            <ac:spMk id="36" creationId="{A8E4AB95-BFB6-7C03-E888-C983CC9E1CC4}"/>
          </ac:spMkLst>
        </pc:spChg>
        <pc:spChg chg="mod">
          <ac:chgData name="Anchal Pyasi" userId="a92c463e-259f-4540-80dd-10cfca234da2" providerId="ADAL" clId="{B1746AB3-A3FF-4840-B118-8F4061AC8376}" dt="2025-01-09T11:43:38.393" v="919" actId="2711"/>
          <ac:spMkLst>
            <pc:docMk/>
            <pc:sldMk cId="1171986220" sldId="2147483044"/>
            <ac:spMk id="38" creationId="{FBEB088F-710F-CB71-D42E-2FA686C7C5E0}"/>
          </ac:spMkLst>
        </pc:spChg>
        <pc:picChg chg="mod">
          <ac:chgData name="Anchal Pyasi" userId="a92c463e-259f-4540-80dd-10cfca234da2" providerId="ADAL" clId="{B1746AB3-A3FF-4840-B118-8F4061AC8376}" dt="2025-01-09T11:43:38.393" v="919" actId="2711"/>
          <ac:picMkLst>
            <pc:docMk/>
            <pc:sldMk cId="1171986220" sldId="2147483044"/>
            <ac:picMk id="30" creationId="{23460DDA-6E38-905B-4639-23B877983380}"/>
          </ac:picMkLst>
        </pc:picChg>
        <pc:picChg chg="mod">
          <ac:chgData name="Anchal Pyasi" userId="a92c463e-259f-4540-80dd-10cfca234da2" providerId="ADAL" clId="{B1746AB3-A3FF-4840-B118-8F4061AC8376}" dt="2025-01-09T11:43:38.393" v="919" actId="2711"/>
          <ac:picMkLst>
            <pc:docMk/>
            <pc:sldMk cId="1171986220" sldId="2147483044"/>
            <ac:picMk id="32" creationId="{A336EC7D-F246-3C2D-4DF6-FDF3868E4C03}"/>
          </ac:picMkLst>
        </pc:picChg>
        <pc:picChg chg="mod">
          <ac:chgData name="Anchal Pyasi" userId="a92c463e-259f-4540-80dd-10cfca234da2" providerId="ADAL" clId="{B1746AB3-A3FF-4840-B118-8F4061AC8376}" dt="2025-01-09T11:43:38.393" v="919" actId="2711"/>
          <ac:picMkLst>
            <pc:docMk/>
            <pc:sldMk cId="1171986220" sldId="2147483044"/>
            <ac:picMk id="33" creationId="{ACBABCC1-7AF9-29BE-79BA-3E9071AD81D6}"/>
          </ac:picMkLst>
        </pc:picChg>
        <pc:picChg chg="mod">
          <ac:chgData name="Anchal Pyasi" userId="a92c463e-259f-4540-80dd-10cfca234da2" providerId="ADAL" clId="{B1746AB3-A3FF-4840-B118-8F4061AC8376}" dt="2025-01-09T11:43:38.393" v="919" actId="2711"/>
          <ac:picMkLst>
            <pc:docMk/>
            <pc:sldMk cId="1171986220" sldId="2147483044"/>
            <ac:picMk id="37" creationId="{72ED42BF-D974-F5A0-D7DC-E900C910DA1F}"/>
          </ac:picMkLst>
        </pc:picChg>
        <pc:picChg chg="add mod">
          <ac:chgData name="Anchal Pyasi" userId="a92c463e-259f-4540-80dd-10cfca234da2" providerId="ADAL" clId="{B1746AB3-A3FF-4840-B118-8F4061AC8376}" dt="2025-01-09T11:43:38.393" v="919" actId="2711"/>
          <ac:picMkLst>
            <pc:docMk/>
            <pc:sldMk cId="1171986220" sldId="2147483044"/>
            <ac:picMk id="1026" creationId="{E25B0068-608B-4EEF-3AF6-C50A6D745DB6}"/>
          </ac:picMkLst>
        </pc:picChg>
      </pc:sldChg>
      <pc:sldChg chg="addSp delSp modSp del mod">
        <pc:chgData name="Anchal Pyasi" userId="a92c463e-259f-4540-80dd-10cfca234da2" providerId="ADAL" clId="{B1746AB3-A3FF-4840-B118-8F4061AC8376}" dt="2025-01-10T09:17:15.600" v="5453" actId="2696"/>
        <pc:sldMkLst>
          <pc:docMk/>
          <pc:sldMk cId="92324418" sldId="2147483141"/>
        </pc:sldMkLst>
      </pc:sldChg>
      <pc:sldChg chg="addSp delSp modSp add mod">
        <pc:chgData name="Anchal Pyasi" userId="a92c463e-259f-4540-80dd-10cfca234da2" providerId="ADAL" clId="{B1746AB3-A3FF-4840-B118-8F4061AC8376}" dt="2025-01-10T11:03:48.034" v="6663"/>
        <pc:sldMkLst>
          <pc:docMk/>
          <pc:sldMk cId="2230225174" sldId="2147483141"/>
        </pc:sldMkLst>
      </pc:sldChg>
      <pc:sldChg chg="add del">
        <pc:chgData name="Anchal Pyasi" userId="a92c463e-259f-4540-80dd-10cfca234da2" providerId="ADAL" clId="{B1746AB3-A3FF-4840-B118-8F4061AC8376}" dt="2025-01-09T18:01:21.476" v="1785" actId="47"/>
        <pc:sldMkLst>
          <pc:docMk/>
          <pc:sldMk cId="3770860565" sldId="2147483144"/>
        </pc:sldMkLst>
      </pc:sldChg>
      <pc:sldChg chg="add del">
        <pc:chgData name="Anchal Pyasi" userId="a92c463e-259f-4540-80dd-10cfca234da2" providerId="ADAL" clId="{B1746AB3-A3FF-4840-B118-8F4061AC8376}" dt="2025-01-10T11:23:08.833" v="6931" actId="47"/>
        <pc:sldMkLst>
          <pc:docMk/>
          <pc:sldMk cId="3088461929" sldId="2147483240"/>
        </pc:sldMkLst>
      </pc:sldChg>
      <pc:sldChg chg="modSp mod">
        <pc:chgData name="Anchal Pyasi" userId="a92c463e-259f-4540-80dd-10cfca234da2" providerId="ADAL" clId="{B1746AB3-A3FF-4840-B118-8F4061AC8376}" dt="2025-01-10T09:22:34.273" v="5637" actId="20577"/>
        <pc:sldMkLst>
          <pc:docMk/>
          <pc:sldMk cId="1757600844" sldId="2147483336"/>
        </pc:sldMkLst>
      </pc:sldChg>
      <pc:sldChg chg="modSp add mod ord">
        <pc:chgData name="Anchal Pyasi" userId="a92c463e-259f-4540-80dd-10cfca234da2" providerId="ADAL" clId="{B1746AB3-A3FF-4840-B118-8F4061AC8376}" dt="2025-01-10T11:40:49.196" v="7481" actId="20577"/>
        <pc:sldMkLst>
          <pc:docMk/>
          <pc:sldMk cId="3348783017" sldId="2147483486"/>
        </pc:sldMkLst>
      </pc:sldChg>
      <pc:sldChg chg="addSp modSp add mod">
        <pc:chgData name="Anchal Pyasi" userId="a92c463e-259f-4540-80dd-10cfca234da2" providerId="ADAL" clId="{B1746AB3-A3FF-4840-B118-8F4061AC8376}" dt="2025-01-10T16:59:46.178" v="10947"/>
        <pc:sldMkLst>
          <pc:docMk/>
          <pc:sldMk cId="1947751114" sldId="2147483496"/>
        </pc:sldMkLst>
        <pc:spChg chg="mod">
          <ac:chgData name="Anchal Pyasi" userId="a92c463e-259f-4540-80dd-10cfca234da2" providerId="ADAL" clId="{B1746AB3-A3FF-4840-B118-8F4061AC8376}" dt="2025-01-10T11:40:37.846" v="7460" actId="20577"/>
          <ac:spMkLst>
            <pc:docMk/>
            <pc:sldMk cId="1947751114" sldId="2147483496"/>
            <ac:spMk id="2" creationId="{60ACEA90-DF74-A85E-0F8E-B3A974FC1C69}"/>
          </ac:spMkLst>
        </pc:spChg>
      </pc:sldChg>
      <pc:sldChg chg="del">
        <pc:chgData name="Anchal Pyasi" userId="a92c463e-259f-4540-80dd-10cfca234da2" providerId="ADAL" clId="{B1746AB3-A3FF-4840-B118-8F4061AC8376}" dt="2025-01-10T11:39:01.558" v="7414" actId="47"/>
        <pc:sldMkLst>
          <pc:docMk/>
          <pc:sldMk cId="354325354" sldId="2147483505"/>
        </pc:sldMkLst>
      </pc:sldChg>
      <pc:sldChg chg="addSp delSp modSp add mod">
        <pc:chgData name="Anchal Pyasi" userId="a92c463e-259f-4540-80dd-10cfca234da2" providerId="ADAL" clId="{B1746AB3-A3FF-4840-B118-8F4061AC8376}" dt="2025-01-10T12:00:11.945" v="7744" actId="14100"/>
        <pc:sldMkLst>
          <pc:docMk/>
          <pc:sldMk cId="275797870" sldId="2147483524"/>
        </pc:sldMkLst>
      </pc:sldChg>
      <pc:sldChg chg="addSp delSp modSp mod">
        <pc:chgData name="Anchal Pyasi" userId="a92c463e-259f-4540-80dd-10cfca234da2" providerId="ADAL" clId="{B1746AB3-A3FF-4840-B118-8F4061AC8376}" dt="2025-01-10T16:58:17.181" v="10946" actId="1038"/>
        <pc:sldMkLst>
          <pc:docMk/>
          <pc:sldMk cId="653559489" sldId="2147483568"/>
        </pc:sldMkLst>
      </pc:sldChg>
      <pc:sldChg chg="delSp modSp mod">
        <pc:chgData name="Anchal Pyasi" userId="a92c463e-259f-4540-80dd-10cfca234da2" providerId="ADAL" clId="{B1746AB3-A3FF-4840-B118-8F4061AC8376}" dt="2025-01-10T16:49:40.711" v="10908" actId="20577"/>
        <pc:sldMkLst>
          <pc:docMk/>
          <pc:sldMk cId="333910394" sldId="2147483582"/>
        </pc:sldMkLst>
      </pc:sldChg>
      <pc:sldChg chg="modSp mod">
        <pc:chgData name="Anchal Pyasi" userId="a92c463e-259f-4540-80dd-10cfca234da2" providerId="ADAL" clId="{B1746AB3-A3FF-4840-B118-8F4061AC8376}" dt="2025-01-10T10:40:01.317" v="5840" actId="20577"/>
        <pc:sldMkLst>
          <pc:docMk/>
          <pc:sldMk cId="822782236" sldId="2147483621"/>
        </pc:sldMkLst>
      </pc:sldChg>
      <pc:sldChg chg="addSp modSp mod">
        <pc:chgData name="Anchal Pyasi" userId="a92c463e-259f-4540-80dd-10cfca234da2" providerId="ADAL" clId="{B1746AB3-A3FF-4840-B118-8F4061AC8376}" dt="2025-01-10T12:30:26.943" v="7754" actId="20577"/>
        <pc:sldMkLst>
          <pc:docMk/>
          <pc:sldMk cId="2804170345" sldId="2147483621"/>
        </pc:sldMkLst>
      </pc:sldChg>
      <pc:sldChg chg="del">
        <pc:chgData name="Anchal Pyasi" userId="a92c463e-259f-4540-80dd-10cfca234da2" providerId="ADAL" clId="{B1746AB3-A3FF-4840-B118-8F4061AC8376}" dt="2025-01-09T11:53:15.558" v="983" actId="47"/>
        <pc:sldMkLst>
          <pc:docMk/>
          <pc:sldMk cId="1804190377" sldId="2147483636"/>
        </pc:sldMkLst>
      </pc:sldChg>
      <pc:sldChg chg="modSp mod">
        <pc:chgData name="Anchal Pyasi" userId="a92c463e-259f-4540-80dd-10cfca234da2" providerId="ADAL" clId="{B1746AB3-A3FF-4840-B118-8F4061AC8376}" dt="2025-01-10T09:16:51.824" v="5452" actId="20577"/>
        <pc:sldMkLst>
          <pc:docMk/>
          <pc:sldMk cId="2413575490" sldId="2147483638"/>
        </pc:sldMkLst>
      </pc:sldChg>
      <pc:sldChg chg="modNotesTx">
        <pc:chgData name="Anchal Pyasi" userId="a92c463e-259f-4540-80dd-10cfca234da2" providerId="ADAL" clId="{B1746AB3-A3FF-4840-B118-8F4061AC8376}" dt="2025-01-10T05:33:56.652" v="2820" actId="20577"/>
        <pc:sldMkLst>
          <pc:docMk/>
          <pc:sldMk cId="3023667837" sldId="2147483644"/>
        </pc:sldMkLst>
      </pc:sldChg>
      <pc:sldChg chg="mod modShow">
        <pc:chgData name="Anchal Pyasi" userId="a92c463e-259f-4540-80dd-10cfca234da2" providerId="ADAL" clId="{B1746AB3-A3FF-4840-B118-8F4061AC8376}" dt="2025-01-10T07:41:55.763" v="4307" actId="729"/>
        <pc:sldMkLst>
          <pc:docMk/>
          <pc:sldMk cId="3041903221" sldId="2147483645"/>
        </pc:sldMkLst>
      </pc:sldChg>
      <pc:sldChg chg="delSp modSp new del mod modClrScheme chgLayout">
        <pc:chgData name="Anchal Pyasi" userId="a92c463e-259f-4540-80dd-10cfca234da2" providerId="ADAL" clId="{B1746AB3-A3FF-4840-B118-8F4061AC8376}" dt="2025-01-10T13:19:24.589" v="7836" actId="47"/>
        <pc:sldMkLst>
          <pc:docMk/>
          <pc:sldMk cId="485947182" sldId="2147483646"/>
        </pc:sldMkLst>
      </pc:sldChg>
      <pc:sldChg chg="addSp delSp modSp add mod modClrScheme chgLayout">
        <pc:chgData name="Anchal Pyasi" userId="a92c463e-259f-4540-80dd-10cfca234da2" providerId="ADAL" clId="{B1746AB3-A3FF-4840-B118-8F4061AC8376}" dt="2025-01-10T16:18:53.133" v="8650" actId="20577"/>
        <pc:sldMkLst>
          <pc:docMk/>
          <pc:sldMk cId="488370155" sldId="2147483646"/>
        </pc:sldMkLst>
      </pc:sldChg>
      <pc:sldChg chg="mod modShow">
        <pc:chgData name="Anchal Pyasi" userId="a92c463e-259f-4540-80dd-10cfca234da2" providerId="ADAL" clId="{B1746AB3-A3FF-4840-B118-8F4061AC8376}" dt="2025-01-10T07:41:55.763" v="4307" actId="729"/>
        <pc:sldMkLst>
          <pc:docMk/>
          <pc:sldMk cId="725899358" sldId="2147483646"/>
        </pc:sldMkLst>
      </pc:sldChg>
      <pc:sldChg chg="ord">
        <pc:chgData name="Anchal Pyasi" userId="a92c463e-259f-4540-80dd-10cfca234da2" providerId="ADAL" clId="{B1746AB3-A3FF-4840-B118-8F4061AC8376}" dt="2025-01-10T11:42:05.835" v="7498"/>
        <pc:sldMkLst>
          <pc:docMk/>
          <pc:sldMk cId="2458789922" sldId="2147483647"/>
        </pc:sldMkLst>
      </pc:sldChg>
      <pc:sldMasterChg chg="delSldLayout">
        <pc:chgData name="Anchal Pyasi" userId="a92c463e-259f-4540-80dd-10cfca234da2" providerId="ADAL" clId="{B1746AB3-A3FF-4840-B118-8F4061AC8376}" dt="2025-01-09T11:54:29.011" v="985" actId="47"/>
        <pc:sldMasterMkLst>
          <pc:docMk/>
          <pc:sldMasterMk cId="3612118310" sldId="2147483726"/>
        </pc:sldMasterMkLst>
        <pc:sldLayoutChg chg="del">
          <pc:chgData name="Anchal Pyasi" userId="a92c463e-259f-4540-80dd-10cfca234da2" providerId="ADAL" clId="{B1746AB3-A3FF-4840-B118-8F4061AC8376}" dt="2025-01-09T11:54:29.011" v="985" actId="47"/>
          <pc:sldLayoutMkLst>
            <pc:docMk/>
            <pc:sldMasterMk cId="3612118310" sldId="2147483726"/>
            <pc:sldLayoutMk cId="4132067924" sldId="2147483951"/>
          </pc:sldLayoutMkLst>
        </pc:sldLayoutChg>
      </pc:sldMasterChg>
      <pc:sldMasterChg chg="delSldLayout">
        <pc:chgData name="Anchal Pyasi" userId="a92c463e-259f-4540-80dd-10cfca234da2" providerId="ADAL" clId="{B1746AB3-A3FF-4840-B118-8F4061AC8376}" dt="2025-01-10T11:57:37.437" v="7736" actId="47"/>
        <pc:sldMasterMkLst>
          <pc:docMk/>
          <pc:sldMasterMk cId="3099542824" sldId="2147483851"/>
        </pc:sldMasterMkLst>
        <pc:sldLayoutChg chg="del">
          <pc:chgData name="Anchal Pyasi" userId="a92c463e-259f-4540-80dd-10cfca234da2" providerId="ADAL" clId="{B1746AB3-A3FF-4840-B118-8F4061AC8376}" dt="2025-01-10T11:39:12.470" v="7415" actId="47"/>
          <pc:sldLayoutMkLst>
            <pc:docMk/>
            <pc:sldMasterMk cId="3099542824" sldId="2147483851"/>
            <pc:sldLayoutMk cId="2873071753" sldId="2147483882"/>
          </pc:sldLayoutMkLst>
        </pc:sldLayoutChg>
        <pc:sldLayoutChg chg="del">
          <pc:chgData name="Anchal Pyasi" userId="a92c463e-259f-4540-80dd-10cfca234da2" providerId="ADAL" clId="{B1746AB3-A3FF-4840-B118-8F4061AC8376}" dt="2025-01-10T11:57:37.437" v="7736" actId="47"/>
          <pc:sldLayoutMkLst>
            <pc:docMk/>
            <pc:sldMasterMk cId="3099542824" sldId="2147483851"/>
            <pc:sldLayoutMk cId="1214683815" sldId="2147484042"/>
          </pc:sldLayoutMkLst>
        </pc:sldLayoutChg>
      </pc:sldMasterChg>
      <pc:sldMasterChg chg="delSldLayout">
        <pc:chgData name="Anchal Pyasi" userId="a92c463e-259f-4540-80dd-10cfca234da2" providerId="ADAL" clId="{B1746AB3-A3FF-4840-B118-8F4061AC8376}" dt="2025-01-10T11:39:01.558" v="7414" actId="47"/>
        <pc:sldMasterMkLst>
          <pc:docMk/>
          <pc:sldMasterMk cId="2981283859" sldId="2147483883"/>
        </pc:sldMasterMkLst>
        <pc:sldLayoutChg chg="del">
          <pc:chgData name="Anchal Pyasi" userId="a92c463e-259f-4540-80dd-10cfca234da2" providerId="ADAL" clId="{B1746AB3-A3FF-4840-B118-8F4061AC8376}" dt="2025-01-10T11:39:01.558" v="7414" actId="47"/>
          <pc:sldLayoutMkLst>
            <pc:docMk/>
            <pc:sldMasterMk cId="2981283859" sldId="2147483883"/>
            <pc:sldLayoutMk cId="393191316" sldId="2147483894"/>
          </pc:sldLayoutMkLst>
        </pc:sldLayoutChg>
      </pc:sldMasterChg>
      <pc:sldMasterChg chg="del delSldLayout">
        <pc:chgData name="Anchal Pyasi" userId="a92c463e-259f-4540-80dd-10cfca234da2" providerId="ADAL" clId="{B1746AB3-A3FF-4840-B118-8F4061AC8376}" dt="2025-01-10T11:41:43.458" v="7494" actId="47"/>
        <pc:sldMasterMkLst>
          <pc:docMk/>
          <pc:sldMasterMk cId="1424960473" sldId="2147483895"/>
        </pc:sldMasterMkLst>
        <pc:sldLayoutChg chg="del">
          <pc:chgData name="Anchal Pyasi" userId="a92c463e-259f-4540-80dd-10cfca234da2" providerId="ADAL" clId="{B1746AB3-A3FF-4840-B118-8F4061AC8376}" dt="2025-01-10T11:41:43.458" v="7494" actId="47"/>
          <pc:sldLayoutMkLst>
            <pc:docMk/>
            <pc:sldMasterMk cId="1424960473" sldId="2147483895"/>
            <pc:sldLayoutMk cId="2636660000" sldId="2147483896"/>
          </pc:sldLayoutMkLst>
        </pc:sldLayoutChg>
        <pc:sldLayoutChg chg="del">
          <pc:chgData name="Anchal Pyasi" userId="a92c463e-259f-4540-80dd-10cfca234da2" providerId="ADAL" clId="{B1746AB3-A3FF-4840-B118-8F4061AC8376}" dt="2025-01-10T11:41:43.458" v="7494" actId="47"/>
          <pc:sldLayoutMkLst>
            <pc:docMk/>
            <pc:sldMasterMk cId="1424960473" sldId="2147483895"/>
            <pc:sldLayoutMk cId="59993686" sldId="2147483897"/>
          </pc:sldLayoutMkLst>
        </pc:sldLayoutChg>
        <pc:sldLayoutChg chg="del">
          <pc:chgData name="Anchal Pyasi" userId="a92c463e-259f-4540-80dd-10cfca234da2" providerId="ADAL" clId="{B1746AB3-A3FF-4840-B118-8F4061AC8376}" dt="2025-01-10T11:41:43.458" v="7494" actId="47"/>
          <pc:sldLayoutMkLst>
            <pc:docMk/>
            <pc:sldMasterMk cId="1424960473" sldId="2147483895"/>
            <pc:sldLayoutMk cId="3800198083" sldId="2147483898"/>
          </pc:sldLayoutMkLst>
        </pc:sldLayoutChg>
        <pc:sldLayoutChg chg="del">
          <pc:chgData name="Anchal Pyasi" userId="a92c463e-259f-4540-80dd-10cfca234da2" providerId="ADAL" clId="{B1746AB3-A3FF-4840-B118-8F4061AC8376}" dt="2025-01-10T11:41:43.458" v="7494" actId="47"/>
          <pc:sldLayoutMkLst>
            <pc:docMk/>
            <pc:sldMasterMk cId="1424960473" sldId="2147483895"/>
            <pc:sldLayoutMk cId="2045854697" sldId="2147483899"/>
          </pc:sldLayoutMkLst>
        </pc:sldLayoutChg>
        <pc:sldLayoutChg chg="del">
          <pc:chgData name="Anchal Pyasi" userId="a92c463e-259f-4540-80dd-10cfca234da2" providerId="ADAL" clId="{B1746AB3-A3FF-4840-B118-8F4061AC8376}" dt="2025-01-10T11:41:43.458" v="7494" actId="47"/>
          <pc:sldLayoutMkLst>
            <pc:docMk/>
            <pc:sldMasterMk cId="1424960473" sldId="2147483895"/>
            <pc:sldLayoutMk cId="751938813" sldId="2147483900"/>
          </pc:sldLayoutMkLst>
        </pc:sldLayoutChg>
        <pc:sldLayoutChg chg="del">
          <pc:chgData name="Anchal Pyasi" userId="a92c463e-259f-4540-80dd-10cfca234da2" providerId="ADAL" clId="{B1746AB3-A3FF-4840-B118-8F4061AC8376}" dt="2025-01-10T11:41:43.458" v="7494" actId="47"/>
          <pc:sldLayoutMkLst>
            <pc:docMk/>
            <pc:sldMasterMk cId="1424960473" sldId="2147483895"/>
            <pc:sldLayoutMk cId="2452168386" sldId="2147483901"/>
          </pc:sldLayoutMkLst>
        </pc:sldLayoutChg>
        <pc:sldLayoutChg chg="del">
          <pc:chgData name="Anchal Pyasi" userId="a92c463e-259f-4540-80dd-10cfca234da2" providerId="ADAL" clId="{B1746AB3-A3FF-4840-B118-8F4061AC8376}" dt="2025-01-10T11:41:43.458" v="7494" actId="47"/>
          <pc:sldLayoutMkLst>
            <pc:docMk/>
            <pc:sldMasterMk cId="1424960473" sldId="2147483895"/>
            <pc:sldLayoutMk cId="83358684" sldId="2147483902"/>
          </pc:sldLayoutMkLst>
        </pc:sldLayoutChg>
        <pc:sldLayoutChg chg="del">
          <pc:chgData name="Anchal Pyasi" userId="a92c463e-259f-4540-80dd-10cfca234da2" providerId="ADAL" clId="{B1746AB3-A3FF-4840-B118-8F4061AC8376}" dt="2025-01-10T11:41:43.458" v="7494" actId="47"/>
          <pc:sldLayoutMkLst>
            <pc:docMk/>
            <pc:sldMasterMk cId="1424960473" sldId="2147483895"/>
            <pc:sldLayoutMk cId="2939820552" sldId="2147483903"/>
          </pc:sldLayoutMkLst>
        </pc:sldLayoutChg>
        <pc:sldLayoutChg chg="del">
          <pc:chgData name="Anchal Pyasi" userId="a92c463e-259f-4540-80dd-10cfca234da2" providerId="ADAL" clId="{B1746AB3-A3FF-4840-B118-8F4061AC8376}" dt="2025-01-10T11:41:43.458" v="7494" actId="47"/>
          <pc:sldLayoutMkLst>
            <pc:docMk/>
            <pc:sldMasterMk cId="1424960473" sldId="2147483895"/>
            <pc:sldLayoutMk cId="340380324" sldId="2147483904"/>
          </pc:sldLayoutMkLst>
        </pc:sldLayoutChg>
        <pc:sldLayoutChg chg="del">
          <pc:chgData name="Anchal Pyasi" userId="a92c463e-259f-4540-80dd-10cfca234da2" providerId="ADAL" clId="{B1746AB3-A3FF-4840-B118-8F4061AC8376}" dt="2025-01-10T11:41:43.458" v="7494" actId="47"/>
          <pc:sldLayoutMkLst>
            <pc:docMk/>
            <pc:sldMasterMk cId="1424960473" sldId="2147483895"/>
            <pc:sldLayoutMk cId="989247900" sldId="2147483905"/>
          </pc:sldLayoutMkLst>
        </pc:sldLayoutChg>
        <pc:sldLayoutChg chg="del">
          <pc:chgData name="Anchal Pyasi" userId="a92c463e-259f-4540-80dd-10cfca234da2" providerId="ADAL" clId="{B1746AB3-A3FF-4840-B118-8F4061AC8376}" dt="2025-01-10T11:41:43.458" v="7494" actId="47"/>
          <pc:sldLayoutMkLst>
            <pc:docMk/>
            <pc:sldMasterMk cId="1424960473" sldId="2147483895"/>
            <pc:sldLayoutMk cId="407048856" sldId="2147483906"/>
          </pc:sldLayoutMkLst>
        </pc:sldLayoutChg>
        <pc:sldLayoutChg chg="del">
          <pc:chgData name="Anchal Pyasi" userId="a92c463e-259f-4540-80dd-10cfca234da2" providerId="ADAL" clId="{B1746AB3-A3FF-4840-B118-8F4061AC8376}" dt="2025-01-10T11:41:43.458" v="7494" actId="47"/>
          <pc:sldLayoutMkLst>
            <pc:docMk/>
            <pc:sldMasterMk cId="1424960473" sldId="2147483895"/>
            <pc:sldLayoutMk cId="2102270079" sldId="2147483907"/>
          </pc:sldLayoutMkLst>
        </pc:sldLayoutChg>
        <pc:sldLayoutChg chg="del">
          <pc:chgData name="Anchal Pyasi" userId="a92c463e-259f-4540-80dd-10cfca234da2" providerId="ADAL" clId="{B1746AB3-A3FF-4840-B118-8F4061AC8376}" dt="2025-01-10T11:41:39.257" v="7493" actId="47"/>
          <pc:sldLayoutMkLst>
            <pc:docMk/>
            <pc:sldMasterMk cId="1424960473" sldId="2147483895"/>
            <pc:sldLayoutMk cId="1219530606" sldId="2147484019"/>
          </pc:sldLayoutMkLst>
        </pc:sldLayoutChg>
      </pc:sldMasterChg>
      <pc:sldMasterChg chg="del delSldLayout">
        <pc:chgData name="Anchal Pyasi" userId="a92c463e-259f-4540-80dd-10cfca234da2" providerId="ADAL" clId="{B1746AB3-A3FF-4840-B118-8F4061AC8376}" dt="2025-01-10T11:41:52.961" v="7496" actId="47"/>
        <pc:sldMasterMkLst>
          <pc:docMk/>
          <pc:sldMasterMk cId="787770273" sldId="2147483919"/>
        </pc:sldMasterMkLst>
        <pc:sldLayoutChg chg="del">
          <pc:chgData name="Anchal Pyasi" userId="a92c463e-259f-4540-80dd-10cfca234da2" providerId="ADAL" clId="{B1746AB3-A3FF-4840-B118-8F4061AC8376}" dt="2025-01-10T11:41:52.961" v="7496" actId="47"/>
          <pc:sldLayoutMkLst>
            <pc:docMk/>
            <pc:sldMasterMk cId="787770273" sldId="2147483919"/>
            <pc:sldLayoutMk cId="1356256125" sldId="2147483920"/>
          </pc:sldLayoutMkLst>
        </pc:sldLayoutChg>
        <pc:sldLayoutChg chg="del">
          <pc:chgData name="Anchal Pyasi" userId="a92c463e-259f-4540-80dd-10cfca234da2" providerId="ADAL" clId="{B1746AB3-A3FF-4840-B118-8F4061AC8376}" dt="2025-01-10T11:41:52.961" v="7496" actId="47"/>
          <pc:sldLayoutMkLst>
            <pc:docMk/>
            <pc:sldMasterMk cId="787770273" sldId="2147483919"/>
            <pc:sldLayoutMk cId="1868094232" sldId="2147483921"/>
          </pc:sldLayoutMkLst>
        </pc:sldLayoutChg>
        <pc:sldLayoutChg chg="del">
          <pc:chgData name="Anchal Pyasi" userId="a92c463e-259f-4540-80dd-10cfca234da2" providerId="ADAL" clId="{B1746AB3-A3FF-4840-B118-8F4061AC8376}" dt="2025-01-10T11:41:52.961" v="7496" actId="47"/>
          <pc:sldLayoutMkLst>
            <pc:docMk/>
            <pc:sldMasterMk cId="787770273" sldId="2147483919"/>
            <pc:sldLayoutMk cId="2874574515" sldId="2147483922"/>
          </pc:sldLayoutMkLst>
        </pc:sldLayoutChg>
        <pc:sldLayoutChg chg="del">
          <pc:chgData name="Anchal Pyasi" userId="a92c463e-259f-4540-80dd-10cfca234da2" providerId="ADAL" clId="{B1746AB3-A3FF-4840-B118-8F4061AC8376}" dt="2025-01-10T11:41:52.961" v="7496" actId="47"/>
          <pc:sldLayoutMkLst>
            <pc:docMk/>
            <pc:sldMasterMk cId="787770273" sldId="2147483919"/>
            <pc:sldLayoutMk cId="3434905783" sldId="2147483923"/>
          </pc:sldLayoutMkLst>
        </pc:sldLayoutChg>
        <pc:sldLayoutChg chg="del">
          <pc:chgData name="Anchal Pyasi" userId="a92c463e-259f-4540-80dd-10cfca234da2" providerId="ADAL" clId="{B1746AB3-A3FF-4840-B118-8F4061AC8376}" dt="2025-01-10T11:41:52.961" v="7496" actId="47"/>
          <pc:sldLayoutMkLst>
            <pc:docMk/>
            <pc:sldMasterMk cId="787770273" sldId="2147483919"/>
            <pc:sldLayoutMk cId="4267617719" sldId="2147483924"/>
          </pc:sldLayoutMkLst>
        </pc:sldLayoutChg>
        <pc:sldLayoutChg chg="del">
          <pc:chgData name="Anchal Pyasi" userId="a92c463e-259f-4540-80dd-10cfca234da2" providerId="ADAL" clId="{B1746AB3-A3FF-4840-B118-8F4061AC8376}" dt="2025-01-10T11:41:52.961" v="7496" actId="47"/>
          <pc:sldLayoutMkLst>
            <pc:docMk/>
            <pc:sldMasterMk cId="787770273" sldId="2147483919"/>
            <pc:sldLayoutMk cId="2543717692" sldId="2147483925"/>
          </pc:sldLayoutMkLst>
        </pc:sldLayoutChg>
        <pc:sldLayoutChg chg="del">
          <pc:chgData name="Anchal Pyasi" userId="a92c463e-259f-4540-80dd-10cfca234da2" providerId="ADAL" clId="{B1746AB3-A3FF-4840-B118-8F4061AC8376}" dt="2025-01-10T11:41:52.961" v="7496" actId="47"/>
          <pc:sldLayoutMkLst>
            <pc:docMk/>
            <pc:sldMasterMk cId="787770273" sldId="2147483919"/>
            <pc:sldLayoutMk cId="1261930545" sldId="2147483926"/>
          </pc:sldLayoutMkLst>
        </pc:sldLayoutChg>
        <pc:sldLayoutChg chg="del">
          <pc:chgData name="Anchal Pyasi" userId="a92c463e-259f-4540-80dd-10cfca234da2" providerId="ADAL" clId="{B1746AB3-A3FF-4840-B118-8F4061AC8376}" dt="2025-01-10T11:41:52.961" v="7496" actId="47"/>
          <pc:sldLayoutMkLst>
            <pc:docMk/>
            <pc:sldMasterMk cId="787770273" sldId="2147483919"/>
            <pc:sldLayoutMk cId="2205257855" sldId="2147483927"/>
          </pc:sldLayoutMkLst>
        </pc:sldLayoutChg>
        <pc:sldLayoutChg chg="del">
          <pc:chgData name="Anchal Pyasi" userId="a92c463e-259f-4540-80dd-10cfca234da2" providerId="ADAL" clId="{B1746AB3-A3FF-4840-B118-8F4061AC8376}" dt="2025-01-10T11:41:52.961" v="7496" actId="47"/>
          <pc:sldLayoutMkLst>
            <pc:docMk/>
            <pc:sldMasterMk cId="787770273" sldId="2147483919"/>
            <pc:sldLayoutMk cId="3797432087" sldId="2147483928"/>
          </pc:sldLayoutMkLst>
        </pc:sldLayoutChg>
        <pc:sldLayoutChg chg="del">
          <pc:chgData name="Anchal Pyasi" userId="a92c463e-259f-4540-80dd-10cfca234da2" providerId="ADAL" clId="{B1746AB3-A3FF-4840-B118-8F4061AC8376}" dt="2025-01-10T11:41:52.961" v="7496" actId="47"/>
          <pc:sldLayoutMkLst>
            <pc:docMk/>
            <pc:sldMasterMk cId="787770273" sldId="2147483919"/>
            <pc:sldLayoutMk cId="3330284364" sldId="2147483929"/>
          </pc:sldLayoutMkLst>
        </pc:sldLayoutChg>
        <pc:sldLayoutChg chg="del">
          <pc:chgData name="Anchal Pyasi" userId="a92c463e-259f-4540-80dd-10cfca234da2" providerId="ADAL" clId="{B1746AB3-A3FF-4840-B118-8F4061AC8376}" dt="2025-01-10T11:41:52.961" v="7496" actId="47"/>
          <pc:sldLayoutMkLst>
            <pc:docMk/>
            <pc:sldMasterMk cId="787770273" sldId="2147483919"/>
            <pc:sldLayoutMk cId="1795032797" sldId="2147483930"/>
          </pc:sldLayoutMkLst>
        </pc:sldLayoutChg>
        <pc:sldLayoutChg chg="del">
          <pc:chgData name="Anchal Pyasi" userId="a92c463e-259f-4540-80dd-10cfca234da2" providerId="ADAL" clId="{B1746AB3-A3FF-4840-B118-8F4061AC8376}" dt="2025-01-10T11:41:52.961" v="7496" actId="47"/>
          <pc:sldLayoutMkLst>
            <pc:docMk/>
            <pc:sldMasterMk cId="787770273" sldId="2147483919"/>
            <pc:sldLayoutMk cId="1521616594" sldId="2147483931"/>
          </pc:sldLayoutMkLst>
        </pc:sldLayoutChg>
        <pc:sldLayoutChg chg="del">
          <pc:chgData name="Anchal Pyasi" userId="a92c463e-259f-4540-80dd-10cfca234da2" providerId="ADAL" clId="{B1746AB3-A3FF-4840-B118-8F4061AC8376}" dt="2025-01-10T11:41:52.961" v="7496" actId="47"/>
          <pc:sldLayoutMkLst>
            <pc:docMk/>
            <pc:sldMasterMk cId="787770273" sldId="2147483919"/>
            <pc:sldLayoutMk cId="3392494052" sldId="2147483932"/>
          </pc:sldLayoutMkLst>
        </pc:sldLayoutChg>
        <pc:sldLayoutChg chg="del">
          <pc:chgData name="Anchal Pyasi" userId="a92c463e-259f-4540-80dd-10cfca234da2" providerId="ADAL" clId="{B1746AB3-A3FF-4840-B118-8F4061AC8376}" dt="2025-01-10T11:41:52.961" v="7496" actId="47"/>
          <pc:sldLayoutMkLst>
            <pc:docMk/>
            <pc:sldMasterMk cId="787770273" sldId="2147483919"/>
            <pc:sldLayoutMk cId="2176433353" sldId="2147483933"/>
          </pc:sldLayoutMkLst>
        </pc:sldLayoutChg>
        <pc:sldLayoutChg chg="del">
          <pc:chgData name="Anchal Pyasi" userId="a92c463e-259f-4540-80dd-10cfca234da2" providerId="ADAL" clId="{B1746AB3-A3FF-4840-B118-8F4061AC8376}" dt="2025-01-10T11:41:52.961" v="7496" actId="47"/>
          <pc:sldLayoutMkLst>
            <pc:docMk/>
            <pc:sldMasterMk cId="787770273" sldId="2147483919"/>
            <pc:sldLayoutMk cId="1596040929" sldId="2147483934"/>
          </pc:sldLayoutMkLst>
        </pc:sldLayoutChg>
        <pc:sldLayoutChg chg="del">
          <pc:chgData name="Anchal Pyasi" userId="a92c463e-259f-4540-80dd-10cfca234da2" providerId="ADAL" clId="{B1746AB3-A3FF-4840-B118-8F4061AC8376}" dt="2025-01-10T11:41:52.961" v="7496" actId="47"/>
          <pc:sldLayoutMkLst>
            <pc:docMk/>
            <pc:sldMasterMk cId="787770273" sldId="2147483919"/>
            <pc:sldLayoutMk cId="1922615917" sldId="2147483935"/>
          </pc:sldLayoutMkLst>
        </pc:sldLayoutChg>
        <pc:sldLayoutChg chg="del">
          <pc:chgData name="Anchal Pyasi" userId="a92c463e-259f-4540-80dd-10cfca234da2" providerId="ADAL" clId="{B1746AB3-A3FF-4840-B118-8F4061AC8376}" dt="2025-01-10T11:41:52.961" v="7496" actId="47"/>
          <pc:sldLayoutMkLst>
            <pc:docMk/>
            <pc:sldMasterMk cId="787770273" sldId="2147483919"/>
            <pc:sldLayoutMk cId="22600575" sldId="2147483936"/>
          </pc:sldLayoutMkLst>
        </pc:sldLayoutChg>
        <pc:sldLayoutChg chg="del">
          <pc:chgData name="Anchal Pyasi" userId="a92c463e-259f-4540-80dd-10cfca234da2" providerId="ADAL" clId="{B1746AB3-A3FF-4840-B118-8F4061AC8376}" dt="2025-01-10T11:41:52.961" v="7496" actId="47"/>
          <pc:sldLayoutMkLst>
            <pc:docMk/>
            <pc:sldMasterMk cId="787770273" sldId="2147483919"/>
            <pc:sldLayoutMk cId="2040690464" sldId="2147483937"/>
          </pc:sldLayoutMkLst>
        </pc:sldLayoutChg>
        <pc:sldLayoutChg chg="del">
          <pc:chgData name="Anchal Pyasi" userId="a92c463e-259f-4540-80dd-10cfca234da2" providerId="ADAL" clId="{B1746AB3-A3FF-4840-B118-8F4061AC8376}" dt="2025-01-10T11:41:52.961" v="7496" actId="47"/>
          <pc:sldLayoutMkLst>
            <pc:docMk/>
            <pc:sldMasterMk cId="787770273" sldId="2147483919"/>
            <pc:sldLayoutMk cId="192289140" sldId="2147483938"/>
          </pc:sldLayoutMkLst>
        </pc:sldLayoutChg>
        <pc:sldLayoutChg chg="del">
          <pc:chgData name="Anchal Pyasi" userId="a92c463e-259f-4540-80dd-10cfca234da2" providerId="ADAL" clId="{B1746AB3-A3FF-4840-B118-8F4061AC8376}" dt="2025-01-10T11:41:52.961" v="7496" actId="47"/>
          <pc:sldLayoutMkLst>
            <pc:docMk/>
            <pc:sldMasterMk cId="787770273" sldId="2147483919"/>
            <pc:sldLayoutMk cId="1010437036" sldId="2147483939"/>
          </pc:sldLayoutMkLst>
        </pc:sldLayoutChg>
        <pc:sldLayoutChg chg="del">
          <pc:chgData name="Anchal Pyasi" userId="a92c463e-259f-4540-80dd-10cfca234da2" providerId="ADAL" clId="{B1746AB3-A3FF-4840-B118-8F4061AC8376}" dt="2025-01-10T11:41:52.961" v="7496" actId="47"/>
          <pc:sldLayoutMkLst>
            <pc:docMk/>
            <pc:sldMasterMk cId="787770273" sldId="2147483919"/>
            <pc:sldLayoutMk cId="1957112907" sldId="2147483940"/>
          </pc:sldLayoutMkLst>
        </pc:sldLayoutChg>
        <pc:sldLayoutChg chg="del">
          <pc:chgData name="Anchal Pyasi" userId="a92c463e-259f-4540-80dd-10cfca234da2" providerId="ADAL" clId="{B1746AB3-A3FF-4840-B118-8F4061AC8376}" dt="2025-01-10T11:41:52.961" v="7496" actId="47"/>
          <pc:sldLayoutMkLst>
            <pc:docMk/>
            <pc:sldMasterMk cId="787770273" sldId="2147483919"/>
            <pc:sldLayoutMk cId="1880470435" sldId="2147483941"/>
          </pc:sldLayoutMkLst>
        </pc:sldLayoutChg>
        <pc:sldLayoutChg chg="del">
          <pc:chgData name="Anchal Pyasi" userId="a92c463e-259f-4540-80dd-10cfca234da2" providerId="ADAL" clId="{B1746AB3-A3FF-4840-B118-8F4061AC8376}" dt="2025-01-10T11:41:52.961" v="7496" actId="47"/>
          <pc:sldLayoutMkLst>
            <pc:docMk/>
            <pc:sldMasterMk cId="787770273" sldId="2147483919"/>
            <pc:sldLayoutMk cId="4094248745" sldId="2147483942"/>
          </pc:sldLayoutMkLst>
        </pc:sldLayoutChg>
        <pc:sldLayoutChg chg="del">
          <pc:chgData name="Anchal Pyasi" userId="a92c463e-259f-4540-80dd-10cfca234da2" providerId="ADAL" clId="{B1746AB3-A3FF-4840-B118-8F4061AC8376}" dt="2025-01-10T11:41:52.961" v="7496" actId="47"/>
          <pc:sldLayoutMkLst>
            <pc:docMk/>
            <pc:sldMasterMk cId="787770273" sldId="2147483919"/>
            <pc:sldLayoutMk cId="4148840576" sldId="2147483943"/>
          </pc:sldLayoutMkLst>
        </pc:sldLayoutChg>
        <pc:sldLayoutChg chg="del">
          <pc:chgData name="Anchal Pyasi" userId="a92c463e-259f-4540-80dd-10cfca234da2" providerId="ADAL" clId="{B1746AB3-A3FF-4840-B118-8F4061AC8376}" dt="2025-01-10T11:41:52.961" v="7496" actId="47"/>
          <pc:sldLayoutMkLst>
            <pc:docMk/>
            <pc:sldMasterMk cId="787770273" sldId="2147483919"/>
            <pc:sldLayoutMk cId="3863431950" sldId="2147483944"/>
          </pc:sldLayoutMkLst>
        </pc:sldLayoutChg>
        <pc:sldLayoutChg chg="del">
          <pc:chgData name="Anchal Pyasi" userId="a92c463e-259f-4540-80dd-10cfca234da2" providerId="ADAL" clId="{B1746AB3-A3FF-4840-B118-8F4061AC8376}" dt="2025-01-10T11:41:52.961" v="7496" actId="47"/>
          <pc:sldLayoutMkLst>
            <pc:docMk/>
            <pc:sldMasterMk cId="787770273" sldId="2147483919"/>
            <pc:sldLayoutMk cId="1469026113" sldId="2147483945"/>
          </pc:sldLayoutMkLst>
        </pc:sldLayoutChg>
        <pc:sldLayoutChg chg="del">
          <pc:chgData name="Anchal Pyasi" userId="a92c463e-259f-4540-80dd-10cfca234da2" providerId="ADAL" clId="{B1746AB3-A3FF-4840-B118-8F4061AC8376}" dt="2025-01-10T11:41:52.961" v="7496" actId="47"/>
          <pc:sldLayoutMkLst>
            <pc:docMk/>
            <pc:sldMasterMk cId="787770273" sldId="2147483919"/>
            <pc:sldLayoutMk cId="3796255776" sldId="2147483946"/>
          </pc:sldLayoutMkLst>
        </pc:sldLayoutChg>
        <pc:sldLayoutChg chg="del">
          <pc:chgData name="Anchal Pyasi" userId="a92c463e-259f-4540-80dd-10cfca234da2" providerId="ADAL" clId="{B1746AB3-A3FF-4840-B118-8F4061AC8376}" dt="2025-01-10T11:41:52.961" v="7496" actId="47"/>
          <pc:sldLayoutMkLst>
            <pc:docMk/>
            <pc:sldMasterMk cId="787770273" sldId="2147483919"/>
            <pc:sldLayoutMk cId="1618275784" sldId="2147483947"/>
          </pc:sldLayoutMkLst>
        </pc:sldLayoutChg>
        <pc:sldLayoutChg chg="del">
          <pc:chgData name="Anchal Pyasi" userId="a92c463e-259f-4540-80dd-10cfca234da2" providerId="ADAL" clId="{B1746AB3-A3FF-4840-B118-8F4061AC8376}" dt="2025-01-10T11:41:52.961" v="7496" actId="47"/>
          <pc:sldLayoutMkLst>
            <pc:docMk/>
            <pc:sldMasterMk cId="787770273" sldId="2147483919"/>
            <pc:sldLayoutMk cId="3111450572" sldId="2147483948"/>
          </pc:sldLayoutMkLst>
        </pc:sldLayoutChg>
        <pc:sldLayoutChg chg="del">
          <pc:chgData name="Anchal Pyasi" userId="a92c463e-259f-4540-80dd-10cfca234da2" providerId="ADAL" clId="{B1746AB3-A3FF-4840-B118-8F4061AC8376}" dt="2025-01-10T11:41:52.961" v="7496" actId="47"/>
          <pc:sldLayoutMkLst>
            <pc:docMk/>
            <pc:sldMasterMk cId="787770273" sldId="2147483919"/>
            <pc:sldLayoutMk cId="1894372462" sldId="2147483949"/>
          </pc:sldLayoutMkLst>
        </pc:sldLayoutChg>
        <pc:sldLayoutChg chg="del">
          <pc:chgData name="Anchal Pyasi" userId="a92c463e-259f-4540-80dd-10cfca234da2" providerId="ADAL" clId="{B1746AB3-A3FF-4840-B118-8F4061AC8376}" dt="2025-01-10T11:41:52.961" v="7496" actId="47"/>
          <pc:sldLayoutMkLst>
            <pc:docMk/>
            <pc:sldMasterMk cId="787770273" sldId="2147483919"/>
            <pc:sldLayoutMk cId="2342597743" sldId="2147483950"/>
          </pc:sldLayoutMkLst>
        </pc:sldLayoutChg>
        <pc:sldLayoutChg chg="del">
          <pc:chgData name="Anchal Pyasi" userId="a92c463e-259f-4540-80dd-10cfca234da2" providerId="ADAL" clId="{B1746AB3-A3FF-4840-B118-8F4061AC8376}" dt="2025-01-10T11:41:52.961" v="7496" actId="47"/>
          <pc:sldLayoutMkLst>
            <pc:docMk/>
            <pc:sldMasterMk cId="787770273" sldId="2147483919"/>
            <pc:sldLayoutMk cId="2075790645" sldId="2147483951"/>
          </pc:sldLayoutMkLst>
        </pc:sldLayoutChg>
        <pc:sldLayoutChg chg="del">
          <pc:chgData name="Anchal Pyasi" userId="a92c463e-259f-4540-80dd-10cfca234da2" providerId="ADAL" clId="{B1746AB3-A3FF-4840-B118-8F4061AC8376}" dt="2025-01-10T11:41:52.961" v="7496" actId="47"/>
          <pc:sldLayoutMkLst>
            <pc:docMk/>
            <pc:sldMasterMk cId="787770273" sldId="2147483919"/>
            <pc:sldLayoutMk cId="2290411321" sldId="2147483952"/>
          </pc:sldLayoutMkLst>
        </pc:sldLayoutChg>
        <pc:sldLayoutChg chg="del">
          <pc:chgData name="Anchal Pyasi" userId="a92c463e-259f-4540-80dd-10cfca234da2" providerId="ADAL" clId="{B1746AB3-A3FF-4840-B118-8F4061AC8376}" dt="2025-01-10T11:41:52.961" v="7496" actId="47"/>
          <pc:sldLayoutMkLst>
            <pc:docMk/>
            <pc:sldMasterMk cId="787770273" sldId="2147483919"/>
            <pc:sldLayoutMk cId="2651001689" sldId="2147483953"/>
          </pc:sldLayoutMkLst>
        </pc:sldLayoutChg>
        <pc:sldLayoutChg chg="del">
          <pc:chgData name="Anchal Pyasi" userId="a92c463e-259f-4540-80dd-10cfca234da2" providerId="ADAL" clId="{B1746AB3-A3FF-4840-B118-8F4061AC8376}" dt="2025-01-10T11:41:52.961" v="7496" actId="47"/>
          <pc:sldLayoutMkLst>
            <pc:docMk/>
            <pc:sldMasterMk cId="787770273" sldId="2147483919"/>
            <pc:sldLayoutMk cId="3680107425" sldId="2147483954"/>
          </pc:sldLayoutMkLst>
        </pc:sldLayoutChg>
        <pc:sldLayoutChg chg="del">
          <pc:chgData name="Anchal Pyasi" userId="a92c463e-259f-4540-80dd-10cfca234da2" providerId="ADAL" clId="{B1746AB3-A3FF-4840-B118-8F4061AC8376}" dt="2025-01-10T11:41:52.961" v="7496" actId="47"/>
          <pc:sldLayoutMkLst>
            <pc:docMk/>
            <pc:sldMasterMk cId="787770273" sldId="2147483919"/>
            <pc:sldLayoutMk cId="3062631989" sldId="2147483955"/>
          </pc:sldLayoutMkLst>
        </pc:sldLayoutChg>
        <pc:sldLayoutChg chg="del">
          <pc:chgData name="Anchal Pyasi" userId="a92c463e-259f-4540-80dd-10cfca234da2" providerId="ADAL" clId="{B1746AB3-A3FF-4840-B118-8F4061AC8376}" dt="2025-01-10T11:41:52.961" v="7496" actId="47"/>
          <pc:sldLayoutMkLst>
            <pc:docMk/>
            <pc:sldMasterMk cId="787770273" sldId="2147483919"/>
            <pc:sldLayoutMk cId="1809739137" sldId="2147483956"/>
          </pc:sldLayoutMkLst>
        </pc:sldLayoutChg>
        <pc:sldLayoutChg chg="del">
          <pc:chgData name="Anchal Pyasi" userId="a92c463e-259f-4540-80dd-10cfca234da2" providerId="ADAL" clId="{B1746AB3-A3FF-4840-B118-8F4061AC8376}" dt="2025-01-10T11:41:52.961" v="7496" actId="47"/>
          <pc:sldLayoutMkLst>
            <pc:docMk/>
            <pc:sldMasterMk cId="787770273" sldId="2147483919"/>
            <pc:sldLayoutMk cId="2425478120" sldId="2147483957"/>
          </pc:sldLayoutMkLst>
        </pc:sldLayoutChg>
        <pc:sldLayoutChg chg="del">
          <pc:chgData name="Anchal Pyasi" userId="a92c463e-259f-4540-80dd-10cfca234da2" providerId="ADAL" clId="{B1746AB3-A3FF-4840-B118-8F4061AC8376}" dt="2025-01-10T11:41:52.961" v="7496" actId="47"/>
          <pc:sldLayoutMkLst>
            <pc:docMk/>
            <pc:sldMasterMk cId="787770273" sldId="2147483919"/>
            <pc:sldLayoutMk cId="3765004438" sldId="2147483958"/>
          </pc:sldLayoutMkLst>
        </pc:sldLayoutChg>
        <pc:sldLayoutChg chg="del">
          <pc:chgData name="Anchal Pyasi" userId="a92c463e-259f-4540-80dd-10cfca234da2" providerId="ADAL" clId="{B1746AB3-A3FF-4840-B118-8F4061AC8376}" dt="2025-01-10T11:41:52.961" v="7496" actId="47"/>
          <pc:sldLayoutMkLst>
            <pc:docMk/>
            <pc:sldMasterMk cId="787770273" sldId="2147483919"/>
            <pc:sldLayoutMk cId="3187818126" sldId="2147483959"/>
          </pc:sldLayoutMkLst>
        </pc:sldLayoutChg>
        <pc:sldLayoutChg chg="del">
          <pc:chgData name="Anchal Pyasi" userId="a92c463e-259f-4540-80dd-10cfca234da2" providerId="ADAL" clId="{B1746AB3-A3FF-4840-B118-8F4061AC8376}" dt="2025-01-10T11:41:52.961" v="7496" actId="47"/>
          <pc:sldLayoutMkLst>
            <pc:docMk/>
            <pc:sldMasterMk cId="787770273" sldId="2147483919"/>
            <pc:sldLayoutMk cId="547798476" sldId="2147483960"/>
          </pc:sldLayoutMkLst>
        </pc:sldLayoutChg>
        <pc:sldLayoutChg chg="del">
          <pc:chgData name="Anchal Pyasi" userId="a92c463e-259f-4540-80dd-10cfca234da2" providerId="ADAL" clId="{B1746AB3-A3FF-4840-B118-8F4061AC8376}" dt="2025-01-10T11:41:52.961" v="7496" actId="47"/>
          <pc:sldLayoutMkLst>
            <pc:docMk/>
            <pc:sldMasterMk cId="787770273" sldId="2147483919"/>
            <pc:sldLayoutMk cId="4236645916" sldId="2147483961"/>
          </pc:sldLayoutMkLst>
        </pc:sldLayoutChg>
        <pc:sldLayoutChg chg="del">
          <pc:chgData name="Anchal Pyasi" userId="a92c463e-259f-4540-80dd-10cfca234da2" providerId="ADAL" clId="{B1746AB3-A3FF-4840-B118-8F4061AC8376}" dt="2025-01-10T11:41:52.961" v="7496" actId="47"/>
          <pc:sldLayoutMkLst>
            <pc:docMk/>
            <pc:sldMasterMk cId="787770273" sldId="2147483919"/>
            <pc:sldLayoutMk cId="1992833334" sldId="2147483962"/>
          </pc:sldLayoutMkLst>
        </pc:sldLayoutChg>
        <pc:sldLayoutChg chg="del">
          <pc:chgData name="Anchal Pyasi" userId="a92c463e-259f-4540-80dd-10cfca234da2" providerId="ADAL" clId="{B1746AB3-A3FF-4840-B118-8F4061AC8376}" dt="2025-01-10T11:41:52.961" v="7496" actId="47"/>
          <pc:sldLayoutMkLst>
            <pc:docMk/>
            <pc:sldMasterMk cId="787770273" sldId="2147483919"/>
            <pc:sldLayoutMk cId="2284253800" sldId="2147483963"/>
          </pc:sldLayoutMkLst>
        </pc:sldLayoutChg>
      </pc:sldMasterChg>
      <pc:sldMasterChg chg="del delSldLayout">
        <pc:chgData name="Anchal Pyasi" userId="a92c463e-259f-4540-80dd-10cfca234da2" providerId="ADAL" clId="{B1746AB3-A3FF-4840-B118-8F4061AC8376}" dt="2025-01-10T11:41:51.979" v="7495" actId="47"/>
        <pc:sldMasterMkLst>
          <pc:docMk/>
          <pc:sldMasterMk cId="3358528565" sldId="2147483964"/>
        </pc:sldMasterMkLst>
        <pc:sldLayoutChg chg="del">
          <pc:chgData name="Anchal Pyasi" userId="a92c463e-259f-4540-80dd-10cfca234da2" providerId="ADAL" clId="{B1746AB3-A3FF-4840-B118-8F4061AC8376}" dt="2025-01-10T11:41:51.979" v="7495" actId="47"/>
          <pc:sldLayoutMkLst>
            <pc:docMk/>
            <pc:sldMasterMk cId="3358528565" sldId="2147483964"/>
            <pc:sldLayoutMk cId="177374900" sldId="2147483965"/>
          </pc:sldLayoutMkLst>
        </pc:sldLayoutChg>
        <pc:sldLayoutChg chg="del">
          <pc:chgData name="Anchal Pyasi" userId="a92c463e-259f-4540-80dd-10cfca234da2" providerId="ADAL" clId="{B1746AB3-A3FF-4840-B118-8F4061AC8376}" dt="2025-01-10T11:41:51.979" v="7495" actId="47"/>
          <pc:sldLayoutMkLst>
            <pc:docMk/>
            <pc:sldMasterMk cId="3358528565" sldId="2147483964"/>
            <pc:sldLayoutMk cId="3082441613" sldId="2147483966"/>
          </pc:sldLayoutMkLst>
        </pc:sldLayoutChg>
        <pc:sldLayoutChg chg="del">
          <pc:chgData name="Anchal Pyasi" userId="a92c463e-259f-4540-80dd-10cfca234da2" providerId="ADAL" clId="{B1746AB3-A3FF-4840-B118-8F4061AC8376}" dt="2025-01-10T11:41:51.979" v="7495" actId="47"/>
          <pc:sldLayoutMkLst>
            <pc:docMk/>
            <pc:sldMasterMk cId="3358528565" sldId="2147483964"/>
            <pc:sldLayoutMk cId="2136136964" sldId="2147483967"/>
          </pc:sldLayoutMkLst>
        </pc:sldLayoutChg>
        <pc:sldLayoutChg chg="del">
          <pc:chgData name="Anchal Pyasi" userId="a92c463e-259f-4540-80dd-10cfca234da2" providerId="ADAL" clId="{B1746AB3-A3FF-4840-B118-8F4061AC8376}" dt="2025-01-10T11:41:51.979" v="7495" actId="47"/>
          <pc:sldLayoutMkLst>
            <pc:docMk/>
            <pc:sldMasterMk cId="3358528565" sldId="2147483964"/>
            <pc:sldLayoutMk cId="2111334682" sldId="2147483968"/>
          </pc:sldLayoutMkLst>
        </pc:sldLayoutChg>
        <pc:sldLayoutChg chg="del">
          <pc:chgData name="Anchal Pyasi" userId="a92c463e-259f-4540-80dd-10cfca234da2" providerId="ADAL" clId="{B1746AB3-A3FF-4840-B118-8F4061AC8376}" dt="2025-01-10T11:41:51.979" v="7495" actId="47"/>
          <pc:sldLayoutMkLst>
            <pc:docMk/>
            <pc:sldMasterMk cId="3358528565" sldId="2147483964"/>
            <pc:sldLayoutMk cId="2304633498" sldId="2147483969"/>
          </pc:sldLayoutMkLst>
        </pc:sldLayoutChg>
        <pc:sldLayoutChg chg="del">
          <pc:chgData name="Anchal Pyasi" userId="a92c463e-259f-4540-80dd-10cfca234da2" providerId="ADAL" clId="{B1746AB3-A3FF-4840-B118-8F4061AC8376}" dt="2025-01-10T11:41:51.979" v="7495" actId="47"/>
          <pc:sldLayoutMkLst>
            <pc:docMk/>
            <pc:sldMasterMk cId="3358528565" sldId="2147483964"/>
            <pc:sldLayoutMk cId="9712368" sldId="2147483970"/>
          </pc:sldLayoutMkLst>
        </pc:sldLayoutChg>
        <pc:sldLayoutChg chg="del">
          <pc:chgData name="Anchal Pyasi" userId="a92c463e-259f-4540-80dd-10cfca234da2" providerId="ADAL" clId="{B1746AB3-A3FF-4840-B118-8F4061AC8376}" dt="2025-01-10T11:41:51.979" v="7495" actId="47"/>
          <pc:sldLayoutMkLst>
            <pc:docMk/>
            <pc:sldMasterMk cId="3358528565" sldId="2147483964"/>
            <pc:sldLayoutMk cId="4120351031" sldId="2147483971"/>
          </pc:sldLayoutMkLst>
        </pc:sldLayoutChg>
        <pc:sldLayoutChg chg="del">
          <pc:chgData name="Anchal Pyasi" userId="a92c463e-259f-4540-80dd-10cfca234da2" providerId="ADAL" clId="{B1746AB3-A3FF-4840-B118-8F4061AC8376}" dt="2025-01-10T11:41:51.979" v="7495" actId="47"/>
          <pc:sldLayoutMkLst>
            <pc:docMk/>
            <pc:sldMasterMk cId="3358528565" sldId="2147483964"/>
            <pc:sldLayoutMk cId="3946633202" sldId="2147483972"/>
          </pc:sldLayoutMkLst>
        </pc:sldLayoutChg>
        <pc:sldLayoutChg chg="del">
          <pc:chgData name="Anchal Pyasi" userId="a92c463e-259f-4540-80dd-10cfca234da2" providerId="ADAL" clId="{B1746AB3-A3FF-4840-B118-8F4061AC8376}" dt="2025-01-10T11:41:51.979" v="7495" actId="47"/>
          <pc:sldLayoutMkLst>
            <pc:docMk/>
            <pc:sldMasterMk cId="3358528565" sldId="2147483964"/>
            <pc:sldLayoutMk cId="132056370" sldId="2147483973"/>
          </pc:sldLayoutMkLst>
        </pc:sldLayoutChg>
        <pc:sldLayoutChg chg="del">
          <pc:chgData name="Anchal Pyasi" userId="a92c463e-259f-4540-80dd-10cfca234da2" providerId="ADAL" clId="{B1746AB3-A3FF-4840-B118-8F4061AC8376}" dt="2025-01-10T11:41:51.979" v="7495" actId="47"/>
          <pc:sldLayoutMkLst>
            <pc:docMk/>
            <pc:sldMasterMk cId="3358528565" sldId="2147483964"/>
            <pc:sldLayoutMk cId="1391526933" sldId="2147483974"/>
          </pc:sldLayoutMkLst>
        </pc:sldLayoutChg>
        <pc:sldLayoutChg chg="del">
          <pc:chgData name="Anchal Pyasi" userId="a92c463e-259f-4540-80dd-10cfca234da2" providerId="ADAL" clId="{B1746AB3-A3FF-4840-B118-8F4061AC8376}" dt="2025-01-10T11:41:51.979" v="7495" actId="47"/>
          <pc:sldLayoutMkLst>
            <pc:docMk/>
            <pc:sldMasterMk cId="3358528565" sldId="2147483964"/>
            <pc:sldLayoutMk cId="1342963825" sldId="2147483975"/>
          </pc:sldLayoutMkLst>
        </pc:sldLayoutChg>
        <pc:sldLayoutChg chg="del">
          <pc:chgData name="Anchal Pyasi" userId="a92c463e-259f-4540-80dd-10cfca234da2" providerId="ADAL" clId="{B1746AB3-A3FF-4840-B118-8F4061AC8376}" dt="2025-01-10T11:41:51.979" v="7495" actId="47"/>
          <pc:sldLayoutMkLst>
            <pc:docMk/>
            <pc:sldMasterMk cId="3358528565" sldId="2147483964"/>
            <pc:sldLayoutMk cId="3516763920" sldId="2147483976"/>
          </pc:sldLayoutMkLst>
        </pc:sldLayoutChg>
        <pc:sldLayoutChg chg="del">
          <pc:chgData name="Anchal Pyasi" userId="a92c463e-259f-4540-80dd-10cfca234da2" providerId="ADAL" clId="{B1746AB3-A3FF-4840-B118-8F4061AC8376}" dt="2025-01-10T11:41:51.979" v="7495" actId="47"/>
          <pc:sldLayoutMkLst>
            <pc:docMk/>
            <pc:sldMasterMk cId="3358528565" sldId="2147483964"/>
            <pc:sldLayoutMk cId="4172324383" sldId="2147483977"/>
          </pc:sldLayoutMkLst>
        </pc:sldLayoutChg>
        <pc:sldLayoutChg chg="del">
          <pc:chgData name="Anchal Pyasi" userId="a92c463e-259f-4540-80dd-10cfca234da2" providerId="ADAL" clId="{B1746AB3-A3FF-4840-B118-8F4061AC8376}" dt="2025-01-10T11:41:51.979" v="7495" actId="47"/>
          <pc:sldLayoutMkLst>
            <pc:docMk/>
            <pc:sldMasterMk cId="3358528565" sldId="2147483964"/>
            <pc:sldLayoutMk cId="3530249108" sldId="2147483978"/>
          </pc:sldLayoutMkLst>
        </pc:sldLayoutChg>
        <pc:sldLayoutChg chg="del">
          <pc:chgData name="Anchal Pyasi" userId="a92c463e-259f-4540-80dd-10cfca234da2" providerId="ADAL" clId="{B1746AB3-A3FF-4840-B118-8F4061AC8376}" dt="2025-01-10T11:41:51.979" v="7495" actId="47"/>
          <pc:sldLayoutMkLst>
            <pc:docMk/>
            <pc:sldMasterMk cId="3358528565" sldId="2147483964"/>
            <pc:sldLayoutMk cId="2916653301" sldId="2147483979"/>
          </pc:sldLayoutMkLst>
        </pc:sldLayoutChg>
        <pc:sldLayoutChg chg="del">
          <pc:chgData name="Anchal Pyasi" userId="a92c463e-259f-4540-80dd-10cfca234da2" providerId="ADAL" clId="{B1746AB3-A3FF-4840-B118-8F4061AC8376}" dt="2025-01-10T11:41:51.979" v="7495" actId="47"/>
          <pc:sldLayoutMkLst>
            <pc:docMk/>
            <pc:sldMasterMk cId="3358528565" sldId="2147483964"/>
            <pc:sldLayoutMk cId="4252635452" sldId="2147483980"/>
          </pc:sldLayoutMkLst>
        </pc:sldLayoutChg>
        <pc:sldLayoutChg chg="del">
          <pc:chgData name="Anchal Pyasi" userId="a92c463e-259f-4540-80dd-10cfca234da2" providerId="ADAL" clId="{B1746AB3-A3FF-4840-B118-8F4061AC8376}" dt="2025-01-10T11:41:51.979" v="7495" actId="47"/>
          <pc:sldLayoutMkLst>
            <pc:docMk/>
            <pc:sldMasterMk cId="3358528565" sldId="2147483964"/>
            <pc:sldLayoutMk cId="2827172975" sldId="2147483981"/>
          </pc:sldLayoutMkLst>
        </pc:sldLayoutChg>
        <pc:sldLayoutChg chg="del">
          <pc:chgData name="Anchal Pyasi" userId="a92c463e-259f-4540-80dd-10cfca234da2" providerId="ADAL" clId="{B1746AB3-A3FF-4840-B118-8F4061AC8376}" dt="2025-01-10T11:41:51.979" v="7495" actId="47"/>
          <pc:sldLayoutMkLst>
            <pc:docMk/>
            <pc:sldMasterMk cId="3358528565" sldId="2147483964"/>
            <pc:sldLayoutMk cId="2044377446" sldId="2147483982"/>
          </pc:sldLayoutMkLst>
        </pc:sldLayoutChg>
        <pc:sldLayoutChg chg="del">
          <pc:chgData name="Anchal Pyasi" userId="a92c463e-259f-4540-80dd-10cfca234da2" providerId="ADAL" clId="{B1746AB3-A3FF-4840-B118-8F4061AC8376}" dt="2025-01-10T11:41:51.979" v="7495" actId="47"/>
          <pc:sldLayoutMkLst>
            <pc:docMk/>
            <pc:sldMasterMk cId="3358528565" sldId="2147483964"/>
            <pc:sldLayoutMk cId="1120025850" sldId="2147483983"/>
          </pc:sldLayoutMkLst>
        </pc:sldLayoutChg>
        <pc:sldLayoutChg chg="del">
          <pc:chgData name="Anchal Pyasi" userId="a92c463e-259f-4540-80dd-10cfca234da2" providerId="ADAL" clId="{B1746AB3-A3FF-4840-B118-8F4061AC8376}" dt="2025-01-10T11:41:51.979" v="7495" actId="47"/>
          <pc:sldLayoutMkLst>
            <pc:docMk/>
            <pc:sldMasterMk cId="3358528565" sldId="2147483964"/>
            <pc:sldLayoutMk cId="2371658827" sldId="2147483984"/>
          </pc:sldLayoutMkLst>
        </pc:sldLayoutChg>
        <pc:sldLayoutChg chg="del">
          <pc:chgData name="Anchal Pyasi" userId="a92c463e-259f-4540-80dd-10cfca234da2" providerId="ADAL" clId="{B1746AB3-A3FF-4840-B118-8F4061AC8376}" dt="2025-01-10T11:41:51.979" v="7495" actId="47"/>
          <pc:sldLayoutMkLst>
            <pc:docMk/>
            <pc:sldMasterMk cId="3358528565" sldId="2147483964"/>
            <pc:sldLayoutMk cId="2828792314" sldId="2147483985"/>
          </pc:sldLayoutMkLst>
        </pc:sldLayoutChg>
        <pc:sldLayoutChg chg="del">
          <pc:chgData name="Anchal Pyasi" userId="a92c463e-259f-4540-80dd-10cfca234da2" providerId="ADAL" clId="{B1746AB3-A3FF-4840-B118-8F4061AC8376}" dt="2025-01-10T11:41:51.979" v="7495" actId="47"/>
          <pc:sldLayoutMkLst>
            <pc:docMk/>
            <pc:sldMasterMk cId="3358528565" sldId="2147483964"/>
            <pc:sldLayoutMk cId="1423919816" sldId="2147483986"/>
          </pc:sldLayoutMkLst>
        </pc:sldLayoutChg>
        <pc:sldLayoutChg chg="del">
          <pc:chgData name="Anchal Pyasi" userId="a92c463e-259f-4540-80dd-10cfca234da2" providerId="ADAL" clId="{B1746AB3-A3FF-4840-B118-8F4061AC8376}" dt="2025-01-10T11:41:51.979" v="7495" actId="47"/>
          <pc:sldLayoutMkLst>
            <pc:docMk/>
            <pc:sldMasterMk cId="3358528565" sldId="2147483964"/>
            <pc:sldLayoutMk cId="3108448343" sldId="2147483987"/>
          </pc:sldLayoutMkLst>
        </pc:sldLayoutChg>
        <pc:sldLayoutChg chg="del">
          <pc:chgData name="Anchal Pyasi" userId="a92c463e-259f-4540-80dd-10cfca234da2" providerId="ADAL" clId="{B1746AB3-A3FF-4840-B118-8F4061AC8376}" dt="2025-01-10T11:41:51.979" v="7495" actId="47"/>
          <pc:sldLayoutMkLst>
            <pc:docMk/>
            <pc:sldMasterMk cId="3358528565" sldId="2147483964"/>
            <pc:sldLayoutMk cId="1502134955" sldId="2147483988"/>
          </pc:sldLayoutMkLst>
        </pc:sldLayoutChg>
        <pc:sldLayoutChg chg="del">
          <pc:chgData name="Anchal Pyasi" userId="a92c463e-259f-4540-80dd-10cfca234da2" providerId="ADAL" clId="{B1746AB3-A3FF-4840-B118-8F4061AC8376}" dt="2025-01-10T11:41:51.979" v="7495" actId="47"/>
          <pc:sldLayoutMkLst>
            <pc:docMk/>
            <pc:sldMasterMk cId="3358528565" sldId="2147483964"/>
            <pc:sldLayoutMk cId="2362913975" sldId="2147483989"/>
          </pc:sldLayoutMkLst>
        </pc:sldLayoutChg>
        <pc:sldLayoutChg chg="del">
          <pc:chgData name="Anchal Pyasi" userId="a92c463e-259f-4540-80dd-10cfca234da2" providerId="ADAL" clId="{B1746AB3-A3FF-4840-B118-8F4061AC8376}" dt="2025-01-10T11:41:51.979" v="7495" actId="47"/>
          <pc:sldLayoutMkLst>
            <pc:docMk/>
            <pc:sldMasterMk cId="3358528565" sldId="2147483964"/>
            <pc:sldLayoutMk cId="991465992" sldId="2147483990"/>
          </pc:sldLayoutMkLst>
        </pc:sldLayoutChg>
        <pc:sldLayoutChg chg="del">
          <pc:chgData name="Anchal Pyasi" userId="a92c463e-259f-4540-80dd-10cfca234da2" providerId="ADAL" clId="{B1746AB3-A3FF-4840-B118-8F4061AC8376}" dt="2025-01-10T11:41:51.979" v="7495" actId="47"/>
          <pc:sldLayoutMkLst>
            <pc:docMk/>
            <pc:sldMasterMk cId="3358528565" sldId="2147483964"/>
            <pc:sldLayoutMk cId="4205793752" sldId="2147483991"/>
          </pc:sldLayoutMkLst>
        </pc:sldLayoutChg>
        <pc:sldLayoutChg chg="del">
          <pc:chgData name="Anchal Pyasi" userId="a92c463e-259f-4540-80dd-10cfca234da2" providerId="ADAL" clId="{B1746AB3-A3FF-4840-B118-8F4061AC8376}" dt="2025-01-10T11:41:51.979" v="7495" actId="47"/>
          <pc:sldLayoutMkLst>
            <pc:docMk/>
            <pc:sldMasterMk cId="3358528565" sldId="2147483964"/>
            <pc:sldLayoutMk cId="3358457868" sldId="2147483992"/>
          </pc:sldLayoutMkLst>
        </pc:sldLayoutChg>
        <pc:sldLayoutChg chg="del">
          <pc:chgData name="Anchal Pyasi" userId="a92c463e-259f-4540-80dd-10cfca234da2" providerId="ADAL" clId="{B1746AB3-A3FF-4840-B118-8F4061AC8376}" dt="2025-01-10T11:41:51.979" v="7495" actId="47"/>
          <pc:sldLayoutMkLst>
            <pc:docMk/>
            <pc:sldMasterMk cId="3358528565" sldId="2147483964"/>
            <pc:sldLayoutMk cId="2207670837" sldId="2147483993"/>
          </pc:sldLayoutMkLst>
        </pc:sldLayoutChg>
        <pc:sldLayoutChg chg="del">
          <pc:chgData name="Anchal Pyasi" userId="a92c463e-259f-4540-80dd-10cfca234da2" providerId="ADAL" clId="{B1746AB3-A3FF-4840-B118-8F4061AC8376}" dt="2025-01-10T11:41:51.979" v="7495" actId="47"/>
          <pc:sldLayoutMkLst>
            <pc:docMk/>
            <pc:sldMasterMk cId="3358528565" sldId="2147483964"/>
            <pc:sldLayoutMk cId="450536817" sldId="2147483994"/>
          </pc:sldLayoutMkLst>
        </pc:sldLayoutChg>
        <pc:sldLayoutChg chg="del">
          <pc:chgData name="Anchal Pyasi" userId="a92c463e-259f-4540-80dd-10cfca234da2" providerId="ADAL" clId="{B1746AB3-A3FF-4840-B118-8F4061AC8376}" dt="2025-01-10T11:41:51.979" v="7495" actId="47"/>
          <pc:sldLayoutMkLst>
            <pc:docMk/>
            <pc:sldMasterMk cId="3358528565" sldId="2147483964"/>
            <pc:sldLayoutMk cId="3964111183" sldId="2147483995"/>
          </pc:sldLayoutMkLst>
        </pc:sldLayoutChg>
        <pc:sldLayoutChg chg="del">
          <pc:chgData name="Anchal Pyasi" userId="a92c463e-259f-4540-80dd-10cfca234da2" providerId="ADAL" clId="{B1746AB3-A3FF-4840-B118-8F4061AC8376}" dt="2025-01-10T11:41:51.979" v="7495" actId="47"/>
          <pc:sldLayoutMkLst>
            <pc:docMk/>
            <pc:sldMasterMk cId="3358528565" sldId="2147483964"/>
            <pc:sldLayoutMk cId="178612113" sldId="2147483996"/>
          </pc:sldLayoutMkLst>
        </pc:sldLayoutChg>
        <pc:sldLayoutChg chg="del">
          <pc:chgData name="Anchal Pyasi" userId="a92c463e-259f-4540-80dd-10cfca234da2" providerId="ADAL" clId="{B1746AB3-A3FF-4840-B118-8F4061AC8376}" dt="2025-01-10T11:41:51.979" v="7495" actId="47"/>
          <pc:sldLayoutMkLst>
            <pc:docMk/>
            <pc:sldMasterMk cId="3358528565" sldId="2147483964"/>
            <pc:sldLayoutMk cId="242675688" sldId="2147483997"/>
          </pc:sldLayoutMkLst>
        </pc:sldLayoutChg>
        <pc:sldLayoutChg chg="del">
          <pc:chgData name="Anchal Pyasi" userId="a92c463e-259f-4540-80dd-10cfca234da2" providerId="ADAL" clId="{B1746AB3-A3FF-4840-B118-8F4061AC8376}" dt="2025-01-10T11:41:51.979" v="7495" actId="47"/>
          <pc:sldLayoutMkLst>
            <pc:docMk/>
            <pc:sldMasterMk cId="3358528565" sldId="2147483964"/>
            <pc:sldLayoutMk cId="538188563" sldId="2147483998"/>
          </pc:sldLayoutMkLst>
        </pc:sldLayoutChg>
        <pc:sldLayoutChg chg="del">
          <pc:chgData name="Anchal Pyasi" userId="a92c463e-259f-4540-80dd-10cfca234da2" providerId="ADAL" clId="{B1746AB3-A3FF-4840-B118-8F4061AC8376}" dt="2025-01-10T11:41:51.979" v="7495" actId="47"/>
          <pc:sldLayoutMkLst>
            <pc:docMk/>
            <pc:sldMasterMk cId="3358528565" sldId="2147483964"/>
            <pc:sldLayoutMk cId="3529016093" sldId="2147483999"/>
          </pc:sldLayoutMkLst>
        </pc:sldLayoutChg>
        <pc:sldLayoutChg chg="del">
          <pc:chgData name="Anchal Pyasi" userId="a92c463e-259f-4540-80dd-10cfca234da2" providerId="ADAL" clId="{B1746AB3-A3FF-4840-B118-8F4061AC8376}" dt="2025-01-10T11:41:51.979" v="7495" actId="47"/>
          <pc:sldLayoutMkLst>
            <pc:docMk/>
            <pc:sldMasterMk cId="3358528565" sldId="2147483964"/>
            <pc:sldLayoutMk cId="507552417" sldId="2147484000"/>
          </pc:sldLayoutMkLst>
        </pc:sldLayoutChg>
        <pc:sldLayoutChg chg="del">
          <pc:chgData name="Anchal Pyasi" userId="a92c463e-259f-4540-80dd-10cfca234da2" providerId="ADAL" clId="{B1746AB3-A3FF-4840-B118-8F4061AC8376}" dt="2025-01-10T11:41:51.979" v="7495" actId="47"/>
          <pc:sldLayoutMkLst>
            <pc:docMk/>
            <pc:sldMasterMk cId="3358528565" sldId="2147483964"/>
            <pc:sldLayoutMk cId="2082645293" sldId="2147484001"/>
          </pc:sldLayoutMkLst>
        </pc:sldLayoutChg>
        <pc:sldLayoutChg chg="del">
          <pc:chgData name="Anchal Pyasi" userId="a92c463e-259f-4540-80dd-10cfca234da2" providerId="ADAL" clId="{B1746AB3-A3FF-4840-B118-8F4061AC8376}" dt="2025-01-10T11:41:51.979" v="7495" actId="47"/>
          <pc:sldLayoutMkLst>
            <pc:docMk/>
            <pc:sldMasterMk cId="3358528565" sldId="2147483964"/>
            <pc:sldLayoutMk cId="3483493226" sldId="2147484002"/>
          </pc:sldLayoutMkLst>
        </pc:sldLayoutChg>
        <pc:sldLayoutChg chg="del">
          <pc:chgData name="Anchal Pyasi" userId="a92c463e-259f-4540-80dd-10cfca234da2" providerId="ADAL" clId="{B1746AB3-A3FF-4840-B118-8F4061AC8376}" dt="2025-01-10T11:41:51.979" v="7495" actId="47"/>
          <pc:sldLayoutMkLst>
            <pc:docMk/>
            <pc:sldMasterMk cId="3358528565" sldId="2147483964"/>
            <pc:sldLayoutMk cId="2141158906" sldId="2147484003"/>
          </pc:sldLayoutMkLst>
        </pc:sldLayoutChg>
        <pc:sldLayoutChg chg="del">
          <pc:chgData name="Anchal Pyasi" userId="a92c463e-259f-4540-80dd-10cfca234da2" providerId="ADAL" clId="{B1746AB3-A3FF-4840-B118-8F4061AC8376}" dt="2025-01-10T11:41:51.979" v="7495" actId="47"/>
          <pc:sldLayoutMkLst>
            <pc:docMk/>
            <pc:sldMasterMk cId="3358528565" sldId="2147483964"/>
            <pc:sldLayoutMk cId="1788567852" sldId="2147484004"/>
          </pc:sldLayoutMkLst>
        </pc:sldLayoutChg>
        <pc:sldLayoutChg chg="del">
          <pc:chgData name="Anchal Pyasi" userId="a92c463e-259f-4540-80dd-10cfca234da2" providerId="ADAL" clId="{B1746AB3-A3FF-4840-B118-8F4061AC8376}" dt="2025-01-10T11:41:51.979" v="7495" actId="47"/>
          <pc:sldLayoutMkLst>
            <pc:docMk/>
            <pc:sldMasterMk cId="3358528565" sldId="2147483964"/>
            <pc:sldLayoutMk cId="3704954840" sldId="2147484005"/>
          </pc:sldLayoutMkLst>
        </pc:sldLayoutChg>
        <pc:sldLayoutChg chg="del">
          <pc:chgData name="Anchal Pyasi" userId="a92c463e-259f-4540-80dd-10cfca234da2" providerId="ADAL" clId="{B1746AB3-A3FF-4840-B118-8F4061AC8376}" dt="2025-01-10T11:41:51.979" v="7495" actId="47"/>
          <pc:sldLayoutMkLst>
            <pc:docMk/>
            <pc:sldMasterMk cId="3358528565" sldId="2147483964"/>
            <pc:sldLayoutMk cId="1732359253" sldId="2147484006"/>
          </pc:sldLayoutMkLst>
        </pc:sldLayoutChg>
        <pc:sldLayoutChg chg="del">
          <pc:chgData name="Anchal Pyasi" userId="a92c463e-259f-4540-80dd-10cfca234da2" providerId="ADAL" clId="{B1746AB3-A3FF-4840-B118-8F4061AC8376}" dt="2025-01-10T11:41:51.979" v="7495" actId="47"/>
          <pc:sldLayoutMkLst>
            <pc:docMk/>
            <pc:sldMasterMk cId="3358528565" sldId="2147483964"/>
            <pc:sldLayoutMk cId="2897111020" sldId="2147484007"/>
          </pc:sldLayoutMkLst>
        </pc:sldLayoutChg>
        <pc:sldLayoutChg chg="del">
          <pc:chgData name="Anchal Pyasi" userId="a92c463e-259f-4540-80dd-10cfca234da2" providerId="ADAL" clId="{B1746AB3-A3FF-4840-B118-8F4061AC8376}" dt="2025-01-10T11:41:51.979" v="7495" actId="47"/>
          <pc:sldLayoutMkLst>
            <pc:docMk/>
            <pc:sldMasterMk cId="3358528565" sldId="2147483964"/>
            <pc:sldLayoutMk cId="1667982083" sldId="2147484008"/>
          </pc:sldLayoutMkLst>
        </pc:sldLayoutChg>
        <pc:sldLayoutChg chg="del">
          <pc:chgData name="Anchal Pyasi" userId="a92c463e-259f-4540-80dd-10cfca234da2" providerId="ADAL" clId="{B1746AB3-A3FF-4840-B118-8F4061AC8376}" dt="2025-01-10T11:41:51.979" v="7495" actId="47"/>
          <pc:sldLayoutMkLst>
            <pc:docMk/>
            <pc:sldMasterMk cId="3358528565" sldId="2147483964"/>
            <pc:sldLayoutMk cId="1062055267" sldId="2147484009"/>
          </pc:sldLayoutMkLst>
        </pc:sldLayoutChg>
        <pc:sldLayoutChg chg="del">
          <pc:chgData name="Anchal Pyasi" userId="a92c463e-259f-4540-80dd-10cfca234da2" providerId="ADAL" clId="{B1746AB3-A3FF-4840-B118-8F4061AC8376}" dt="2025-01-10T11:41:51.979" v="7495" actId="47"/>
          <pc:sldLayoutMkLst>
            <pc:docMk/>
            <pc:sldMasterMk cId="3358528565" sldId="2147483964"/>
            <pc:sldLayoutMk cId="2690812658" sldId="2147484010"/>
          </pc:sldLayoutMkLst>
        </pc:sldLayoutChg>
        <pc:sldLayoutChg chg="del">
          <pc:chgData name="Anchal Pyasi" userId="a92c463e-259f-4540-80dd-10cfca234da2" providerId="ADAL" clId="{B1746AB3-A3FF-4840-B118-8F4061AC8376}" dt="2025-01-10T11:41:51.979" v="7495" actId="47"/>
          <pc:sldLayoutMkLst>
            <pc:docMk/>
            <pc:sldMasterMk cId="3358528565" sldId="2147483964"/>
            <pc:sldLayoutMk cId="1330661722" sldId="2147484011"/>
          </pc:sldLayoutMkLst>
        </pc:sldLayoutChg>
        <pc:sldLayoutChg chg="del">
          <pc:chgData name="Anchal Pyasi" userId="a92c463e-259f-4540-80dd-10cfca234da2" providerId="ADAL" clId="{B1746AB3-A3FF-4840-B118-8F4061AC8376}" dt="2025-01-10T11:41:51.979" v="7495" actId="47"/>
          <pc:sldLayoutMkLst>
            <pc:docMk/>
            <pc:sldMasterMk cId="3358528565" sldId="2147483964"/>
            <pc:sldLayoutMk cId="961485206" sldId="2147484012"/>
          </pc:sldLayoutMkLst>
        </pc:sldLayoutChg>
        <pc:sldLayoutChg chg="del">
          <pc:chgData name="Anchal Pyasi" userId="a92c463e-259f-4540-80dd-10cfca234da2" providerId="ADAL" clId="{B1746AB3-A3FF-4840-B118-8F4061AC8376}" dt="2025-01-10T11:41:51.979" v="7495" actId="47"/>
          <pc:sldLayoutMkLst>
            <pc:docMk/>
            <pc:sldMasterMk cId="3358528565" sldId="2147483964"/>
            <pc:sldLayoutMk cId="4061271158" sldId="2147484013"/>
          </pc:sldLayoutMkLst>
        </pc:sldLayoutChg>
        <pc:sldLayoutChg chg="del">
          <pc:chgData name="Anchal Pyasi" userId="a92c463e-259f-4540-80dd-10cfca234da2" providerId="ADAL" clId="{B1746AB3-A3FF-4840-B118-8F4061AC8376}" dt="2025-01-10T11:41:51.979" v="7495" actId="47"/>
          <pc:sldLayoutMkLst>
            <pc:docMk/>
            <pc:sldMasterMk cId="3358528565" sldId="2147483964"/>
            <pc:sldLayoutMk cId="1727415287" sldId="2147484014"/>
          </pc:sldLayoutMkLst>
        </pc:sldLayoutChg>
        <pc:sldLayoutChg chg="del">
          <pc:chgData name="Anchal Pyasi" userId="a92c463e-259f-4540-80dd-10cfca234da2" providerId="ADAL" clId="{B1746AB3-A3FF-4840-B118-8F4061AC8376}" dt="2025-01-10T11:41:51.979" v="7495" actId="47"/>
          <pc:sldLayoutMkLst>
            <pc:docMk/>
            <pc:sldMasterMk cId="3358528565" sldId="2147483964"/>
            <pc:sldLayoutMk cId="583396619" sldId="2147484015"/>
          </pc:sldLayoutMkLst>
        </pc:sldLayoutChg>
        <pc:sldLayoutChg chg="del">
          <pc:chgData name="Anchal Pyasi" userId="a92c463e-259f-4540-80dd-10cfca234da2" providerId="ADAL" clId="{B1746AB3-A3FF-4840-B118-8F4061AC8376}" dt="2025-01-10T11:41:51.979" v="7495" actId="47"/>
          <pc:sldLayoutMkLst>
            <pc:docMk/>
            <pc:sldMasterMk cId="3358528565" sldId="2147483964"/>
            <pc:sldLayoutMk cId="2839761950" sldId="2147484016"/>
          </pc:sldLayoutMkLst>
        </pc:sldLayoutChg>
        <pc:sldLayoutChg chg="del">
          <pc:chgData name="Anchal Pyasi" userId="a92c463e-259f-4540-80dd-10cfca234da2" providerId="ADAL" clId="{B1746AB3-A3FF-4840-B118-8F4061AC8376}" dt="2025-01-10T11:41:51.979" v="7495" actId="47"/>
          <pc:sldLayoutMkLst>
            <pc:docMk/>
            <pc:sldMasterMk cId="3358528565" sldId="2147483964"/>
            <pc:sldLayoutMk cId="3857568333" sldId="2147484017"/>
          </pc:sldLayoutMkLst>
        </pc:sldLayoutChg>
        <pc:sldLayoutChg chg="del">
          <pc:chgData name="Anchal Pyasi" userId="a92c463e-259f-4540-80dd-10cfca234da2" providerId="ADAL" clId="{B1746AB3-A3FF-4840-B118-8F4061AC8376}" dt="2025-01-10T11:41:51.979" v="7495" actId="47"/>
          <pc:sldLayoutMkLst>
            <pc:docMk/>
            <pc:sldMasterMk cId="3358528565" sldId="2147483964"/>
            <pc:sldLayoutMk cId="2629532298" sldId="2147484018"/>
          </pc:sldLayoutMkLst>
        </pc:sldLayoutChg>
        <pc:sldLayoutChg chg="del">
          <pc:chgData name="Anchal Pyasi" userId="a92c463e-259f-4540-80dd-10cfca234da2" providerId="ADAL" clId="{B1746AB3-A3FF-4840-B118-8F4061AC8376}" dt="2025-01-10T11:41:51.979" v="7495" actId="47"/>
          <pc:sldLayoutMkLst>
            <pc:docMk/>
            <pc:sldMasterMk cId="3358528565" sldId="2147483964"/>
            <pc:sldLayoutMk cId="3742119607" sldId="2147484020"/>
          </pc:sldLayoutMkLst>
        </pc:sldLayoutChg>
      </pc:sldMasterChg>
      <pc:sldMasterChg chg="delSldLayout">
        <pc:chgData name="Anchal Pyasi" userId="a92c463e-259f-4540-80dd-10cfca234da2" providerId="ADAL" clId="{B1746AB3-A3FF-4840-B118-8F4061AC8376}" dt="2025-01-20T13:27:34.779" v="16804" actId="2696"/>
        <pc:sldMasterMkLst>
          <pc:docMk/>
          <pc:sldMasterMk cId="1488275023" sldId="2147484176"/>
        </pc:sldMasterMkLst>
        <pc:sldLayoutChg chg="del">
          <pc:chgData name="Anchal Pyasi" userId="a92c463e-259f-4540-80dd-10cfca234da2" providerId="ADAL" clId="{B1746AB3-A3FF-4840-B118-8F4061AC8376}" dt="2025-01-20T13:27:34.779" v="16804" actId="2696"/>
          <pc:sldLayoutMkLst>
            <pc:docMk/>
            <pc:sldMasterMk cId="1488275023" sldId="2147484176"/>
            <pc:sldLayoutMk cId="2335820175" sldId="2147484151"/>
          </pc:sldLayoutMkLst>
        </pc:sldLayoutChg>
      </pc:sldMasterChg>
    </pc:docChg>
  </pc:docChgLst>
  <pc:docChgLst>
    <pc:chgData name="Adwait Aralkar" userId="ae1719c1-ed02-42aa-a1d9-0d6e6247f692" providerId="ADAL" clId="{26E4894F-2814-4950-8F09-4348A84C933F}"/>
    <pc:docChg chg="undo custSel addSld delSld modSld sldOrd delMainMaster">
      <pc:chgData name="Adwait Aralkar" userId="ae1719c1-ed02-42aa-a1d9-0d6e6247f692" providerId="ADAL" clId="{26E4894F-2814-4950-8F09-4348A84C933F}" dt="2024-12-18T08:14:45.319" v="724"/>
      <pc:docMkLst>
        <pc:docMk/>
      </pc:docMkLst>
      <pc:sldChg chg="del">
        <pc:chgData name="Adwait Aralkar" userId="ae1719c1-ed02-42aa-a1d9-0d6e6247f692" providerId="ADAL" clId="{26E4894F-2814-4950-8F09-4348A84C933F}" dt="2024-12-10T05:26:54.492" v="8" actId="47"/>
        <pc:sldMkLst>
          <pc:docMk/>
          <pc:sldMk cId="109857222" sldId="256"/>
        </pc:sldMkLst>
      </pc:sldChg>
      <pc:sldChg chg="addSp delSp modSp new mod modClrScheme chgLayout">
        <pc:chgData name="Adwait Aralkar" userId="ae1719c1-ed02-42aa-a1d9-0d6e6247f692" providerId="ADAL" clId="{26E4894F-2814-4950-8F09-4348A84C933F}" dt="2024-12-10T06:38:49.575" v="288" actId="1076"/>
        <pc:sldMkLst>
          <pc:docMk/>
          <pc:sldMk cId="236287519" sldId="256"/>
        </pc:sldMkLst>
      </pc:sldChg>
      <pc:sldChg chg="delSp modSp add mod ord">
        <pc:chgData name="Adwait Aralkar" userId="ae1719c1-ed02-42aa-a1d9-0d6e6247f692" providerId="ADAL" clId="{26E4894F-2814-4950-8F09-4348A84C933F}" dt="2024-12-11T12:23:45.608" v="665" actId="207"/>
        <pc:sldMkLst>
          <pc:docMk/>
          <pc:sldMk cId="2042906756" sldId="257"/>
        </pc:sldMkLst>
      </pc:sldChg>
      <pc:sldChg chg="delSp add del mod">
        <pc:chgData name="Adwait Aralkar" userId="ae1719c1-ed02-42aa-a1d9-0d6e6247f692" providerId="ADAL" clId="{26E4894F-2814-4950-8F09-4348A84C933F}" dt="2024-12-10T08:09:02.040" v="429" actId="478"/>
        <pc:sldMkLst>
          <pc:docMk/>
          <pc:sldMk cId="992006725" sldId="258"/>
        </pc:sldMkLst>
      </pc:sldChg>
      <pc:sldChg chg="add del">
        <pc:chgData name="Adwait Aralkar" userId="ae1719c1-ed02-42aa-a1d9-0d6e6247f692" providerId="ADAL" clId="{26E4894F-2814-4950-8F09-4348A84C933F}" dt="2024-12-10T10:54:24.384" v="560" actId="47"/>
        <pc:sldMkLst>
          <pc:docMk/>
          <pc:sldMk cId="1267593083" sldId="259"/>
        </pc:sldMkLst>
      </pc:sldChg>
      <pc:sldChg chg="addSp modSp new mod">
        <pc:chgData name="Adwait Aralkar" userId="ae1719c1-ed02-42aa-a1d9-0d6e6247f692" providerId="ADAL" clId="{26E4894F-2814-4950-8F09-4348A84C933F}" dt="2024-12-17T14:04:27.533" v="715" actId="13926"/>
        <pc:sldMkLst>
          <pc:docMk/>
          <pc:sldMk cId="3534333545" sldId="259"/>
        </pc:sldMkLst>
      </pc:sldChg>
      <pc:sldChg chg="add del">
        <pc:chgData name="Adwait Aralkar" userId="ae1719c1-ed02-42aa-a1d9-0d6e6247f692" providerId="ADAL" clId="{26E4894F-2814-4950-8F09-4348A84C933F}" dt="2024-12-18T08:14:45.319" v="724"/>
        <pc:sldMkLst>
          <pc:docMk/>
          <pc:sldMk cId="2248175452" sldId="260"/>
        </pc:sldMkLst>
      </pc:sldChg>
      <pc:sldChg chg="modSp add mod">
        <pc:chgData name="Adwait Aralkar" userId="ae1719c1-ed02-42aa-a1d9-0d6e6247f692" providerId="ADAL" clId="{26E4894F-2814-4950-8F09-4348A84C933F}" dt="2024-12-10T11:02:04.899" v="664" actId="20577"/>
        <pc:sldMkLst>
          <pc:docMk/>
          <pc:sldMk cId="1704071842" sldId="261"/>
        </pc:sldMkLst>
      </pc:sldChg>
      <pc:sldChg chg="delSp modSp add del mod">
        <pc:chgData name="Adwait Aralkar" userId="ae1719c1-ed02-42aa-a1d9-0d6e6247f692" providerId="ADAL" clId="{26E4894F-2814-4950-8F09-4348A84C933F}" dt="2024-12-10T10:32:43.777" v="524" actId="207"/>
        <pc:sldMkLst>
          <pc:docMk/>
          <pc:sldMk cId="2412845601" sldId="288"/>
        </pc:sldMkLst>
      </pc:sldChg>
      <pc:sldChg chg="delSp add del mod">
        <pc:chgData name="Adwait Aralkar" userId="ae1719c1-ed02-42aa-a1d9-0d6e6247f692" providerId="ADAL" clId="{26E4894F-2814-4950-8F09-4348A84C933F}" dt="2024-12-10T10:34:59.145" v="528" actId="478"/>
        <pc:sldMkLst>
          <pc:docMk/>
          <pc:sldMk cId="1072385754" sldId="304"/>
        </pc:sldMkLst>
      </pc:sldChg>
      <pc:sldChg chg="addSp modSp add del mod">
        <pc:chgData name="Adwait Aralkar" userId="ae1719c1-ed02-42aa-a1d9-0d6e6247f692" providerId="ADAL" clId="{26E4894F-2814-4950-8F09-4348A84C933F}" dt="2024-12-11T12:24:14.058" v="673" actId="20577"/>
        <pc:sldMkLst>
          <pc:docMk/>
          <pc:sldMk cId="918775834" sldId="328"/>
        </pc:sldMkLst>
      </pc:sldChg>
      <pc:sldChg chg="addSp delSp modSp add del mod">
        <pc:chgData name="Adwait Aralkar" userId="ae1719c1-ed02-42aa-a1d9-0d6e6247f692" providerId="ADAL" clId="{26E4894F-2814-4950-8F09-4348A84C933F}" dt="2024-12-10T10:56:41.690" v="585" actId="47"/>
        <pc:sldMkLst>
          <pc:docMk/>
          <pc:sldMk cId="3377527805" sldId="791"/>
        </pc:sldMkLst>
      </pc:sldChg>
      <pc:sldChg chg="modSp add del mod">
        <pc:chgData name="Adwait Aralkar" userId="ae1719c1-ed02-42aa-a1d9-0d6e6247f692" providerId="ADAL" clId="{26E4894F-2814-4950-8F09-4348A84C933F}" dt="2024-12-18T08:14:45.319" v="724"/>
        <pc:sldMkLst>
          <pc:docMk/>
          <pc:sldMk cId="3924513501" sldId="1977"/>
        </pc:sldMkLst>
      </pc:sldChg>
      <pc:sldChg chg="modSp add del mod">
        <pc:chgData name="Adwait Aralkar" userId="ae1719c1-ed02-42aa-a1d9-0d6e6247f692" providerId="ADAL" clId="{26E4894F-2814-4950-8F09-4348A84C933F}" dt="2024-12-10T06:28:18.886" v="105" actId="47"/>
        <pc:sldMkLst>
          <pc:docMk/>
          <pc:sldMk cId="3410212765" sldId="2076137555"/>
        </pc:sldMkLst>
      </pc:sldChg>
      <pc:sldChg chg="modSp add del mod">
        <pc:chgData name="Adwait Aralkar" userId="ae1719c1-ed02-42aa-a1d9-0d6e6247f692" providerId="ADAL" clId="{26E4894F-2814-4950-8F09-4348A84C933F}" dt="2024-12-10T06:29:35.935" v="118" actId="47"/>
        <pc:sldMkLst>
          <pc:docMk/>
          <pc:sldMk cId="1173022493" sldId="2076138218"/>
        </pc:sldMkLst>
      </pc:sldChg>
      <pc:sldChg chg="delSp modSp add del mod">
        <pc:chgData name="Adwait Aralkar" userId="ae1719c1-ed02-42aa-a1d9-0d6e6247f692" providerId="ADAL" clId="{26E4894F-2814-4950-8F09-4348A84C933F}" dt="2024-12-10T10:57:38.690" v="586" actId="478"/>
        <pc:sldMkLst>
          <pc:docMk/>
          <pc:sldMk cId="861753099" sldId="2147470479"/>
        </pc:sldMkLst>
      </pc:sldChg>
      <pc:sldChg chg="add del">
        <pc:chgData name="Adwait Aralkar" userId="ae1719c1-ed02-42aa-a1d9-0d6e6247f692" providerId="ADAL" clId="{26E4894F-2814-4950-8F09-4348A84C933F}" dt="2024-12-10T10:54:21.898" v="559" actId="47"/>
        <pc:sldMkLst>
          <pc:docMk/>
          <pc:sldMk cId="3549144088" sldId="2147470730"/>
        </pc:sldMkLst>
      </pc:sldChg>
      <pc:sldChg chg="add del">
        <pc:chgData name="Adwait Aralkar" userId="ae1719c1-ed02-42aa-a1d9-0d6e6247f692" providerId="ADAL" clId="{26E4894F-2814-4950-8F09-4348A84C933F}" dt="2024-12-10T05:26:46.698" v="7"/>
        <pc:sldMkLst>
          <pc:docMk/>
          <pc:sldMk cId="2638213116" sldId="2147474819"/>
        </pc:sldMkLst>
      </pc:sldChg>
      <pc:sldChg chg="modSp add del mod">
        <pc:chgData name="Adwait Aralkar" userId="ae1719c1-ed02-42aa-a1d9-0d6e6247f692" providerId="ADAL" clId="{26E4894F-2814-4950-8F09-4348A84C933F}" dt="2024-12-10T05:33:34.959" v="33" actId="20577"/>
        <pc:sldMkLst>
          <pc:docMk/>
          <pc:sldMk cId="3897421000" sldId="2147479353"/>
        </pc:sldMkLst>
      </pc:sldChg>
      <pc:sldChg chg="addSp modSp add del">
        <pc:chgData name="Adwait Aralkar" userId="ae1719c1-ed02-42aa-a1d9-0d6e6247f692" providerId="ADAL" clId="{26E4894F-2814-4950-8F09-4348A84C933F}" dt="2024-12-10T10:56:40.051" v="584"/>
        <pc:sldMkLst>
          <pc:docMk/>
          <pc:sldMk cId="92324418" sldId="2147483141"/>
        </pc:sldMkLst>
      </pc:sldChg>
      <pc:sldChg chg="modSp add del mod">
        <pc:chgData name="Adwait Aralkar" userId="ae1719c1-ed02-42aa-a1d9-0d6e6247f692" providerId="ADAL" clId="{26E4894F-2814-4950-8F09-4348A84C933F}" dt="2024-12-10T05:33:41.288" v="35" actId="20577"/>
        <pc:sldMkLst>
          <pc:docMk/>
          <pc:sldMk cId="1757600844" sldId="2147483336"/>
        </pc:sldMkLst>
      </pc:sldChg>
      <pc:sldChg chg="modSp add mod modShow">
        <pc:chgData name="Adwait Aralkar" userId="ae1719c1-ed02-42aa-a1d9-0d6e6247f692" providerId="ADAL" clId="{26E4894F-2814-4950-8F09-4348A84C933F}" dt="2024-12-17T14:03:58.683" v="674" actId="729"/>
        <pc:sldMkLst>
          <pc:docMk/>
          <pc:sldMk cId="354325354" sldId="2147483505"/>
        </pc:sldMkLst>
      </pc:sldChg>
      <pc:sldChg chg="modSp add del mod">
        <pc:chgData name="Adwait Aralkar" userId="ae1719c1-ed02-42aa-a1d9-0d6e6247f692" providerId="ADAL" clId="{26E4894F-2814-4950-8F09-4348A84C933F}" dt="2024-12-10T08:09:16.567" v="432" actId="20577"/>
        <pc:sldMkLst>
          <pc:docMk/>
          <pc:sldMk cId="1668061172" sldId="2147483553"/>
        </pc:sldMkLst>
      </pc:sldChg>
      <pc:sldChg chg="add del">
        <pc:chgData name="Adwait Aralkar" userId="ae1719c1-ed02-42aa-a1d9-0d6e6247f692" providerId="ADAL" clId="{26E4894F-2814-4950-8F09-4348A84C933F}" dt="2024-12-10T05:26:46.698" v="7"/>
        <pc:sldMkLst>
          <pc:docMk/>
          <pc:sldMk cId="2500538524" sldId="2147483564"/>
        </pc:sldMkLst>
      </pc:sldChg>
      <pc:sldChg chg="add del">
        <pc:chgData name="Adwait Aralkar" userId="ae1719c1-ed02-42aa-a1d9-0d6e6247f692" providerId="ADAL" clId="{26E4894F-2814-4950-8F09-4348A84C933F}" dt="2024-12-10T08:08:42.589" v="407" actId="47"/>
        <pc:sldMkLst>
          <pc:docMk/>
          <pc:sldMk cId="1287695333" sldId="2147483566"/>
        </pc:sldMkLst>
      </pc:sldChg>
      <pc:sldChg chg="add del">
        <pc:chgData name="Adwait Aralkar" userId="ae1719c1-ed02-42aa-a1d9-0d6e6247f692" providerId="ADAL" clId="{26E4894F-2814-4950-8F09-4348A84C933F}" dt="2024-12-18T08:14:45.319" v="724"/>
        <pc:sldMkLst>
          <pc:docMk/>
          <pc:sldMk cId="3012746559" sldId="2147483566"/>
        </pc:sldMkLst>
      </pc:sldChg>
      <pc:sldChg chg="add del">
        <pc:chgData name="Adwait Aralkar" userId="ae1719c1-ed02-42aa-a1d9-0d6e6247f692" providerId="ADAL" clId="{26E4894F-2814-4950-8F09-4348A84C933F}" dt="2024-12-18T08:14:45.319" v="724"/>
        <pc:sldMkLst>
          <pc:docMk/>
          <pc:sldMk cId="706737378" sldId="2147483567"/>
        </pc:sldMkLst>
      </pc:sldChg>
      <pc:sldChg chg="addSp modSp add del mod">
        <pc:chgData name="Adwait Aralkar" userId="ae1719c1-ed02-42aa-a1d9-0d6e6247f692" providerId="ADAL" clId="{26E4894F-2814-4950-8F09-4348A84C933F}" dt="2024-12-10T10:38:27.735" v="553" actId="20577"/>
        <pc:sldMkLst>
          <pc:docMk/>
          <pc:sldMk cId="653559489" sldId="2147483568"/>
        </pc:sldMkLst>
      </pc:sldChg>
      <pc:sldChg chg="add del">
        <pc:chgData name="Adwait Aralkar" userId="ae1719c1-ed02-42aa-a1d9-0d6e6247f692" providerId="ADAL" clId="{26E4894F-2814-4950-8F09-4348A84C933F}" dt="2024-12-18T08:14:45.319" v="724"/>
        <pc:sldMkLst>
          <pc:docMk/>
          <pc:sldMk cId="1781944489" sldId="2147483572"/>
        </pc:sldMkLst>
      </pc:sldChg>
      <pc:sldChg chg="add del">
        <pc:chgData name="Adwait Aralkar" userId="ae1719c1-ed02-42aa-a1d9-0d6e6247f692" providerId="ADAL" clId="{26E4894F-2814-4950-8F09-4348A84C933F}" dt="2024-12-18T08:14:45.319" v="724"/>
        <pc:sldMkLst>
          <pc:docMk/>
          <pc:sldMk cId="2967717952" sldId="2147483573"/>
        </pc:sldMkLst>
      </pc:sldChg>
      <pc:sldChg chg="add del">
        <pc:chgData name="Adwait Aralkar" userId="ae1719c1-ed02-42aa-a1d9-0d6e6247f692" providerId="ADAL" clId="{26E4894F-2814-4950-8F09-4348A84C933F}" dt="2024-12-10T05:33:48.538" v="36" actId="47"/>
        <pc:sldMkLst>
          <pc:docMk/>
          <pc:sldMk cId="1500596230" sldId="2147483577"/>
        </pc:sldMkLst>
      </pc:sldChg>
      <pc:sldChg chg="add del">
        <pc:chgData name="Adwait Aralkar" userId="ae1719c1-ed02-42aa-a1d9-0d6e6247f692" providerId="ADAL" clId="{26E4894F-2814-4950-8F09-4348A84C933F}" dt="2024-12-18T08:14:45.319" v="724"/>
        <pc:sldMkLst>
          <pc:docMk/>
          <pc:sldMk cId="3390062601" sldId="2147483580"/>
        </pc:sldMkLst>
      </pc:sldChg>
      <pc:sldChg chg="modSp add del mod">
        <pc:chgData name="Adwait Aralkar" userId="ae1719c1-ed02-42aa-a1d9-0d6e6247f692" providerId="ADAL" clId="{26E4894F-2814-4950-8F09-4348A84C933F}" dt="2024-12-18T08:14:45.319" v="724"/>
        <pc:sldMkLst>
          <pc:docMk/>
          <pc:sldMk cId="4073170910" sldId="2147483581"/>
        </pc:sldMkLst>
      </pc:sldChg>
      <pc:sldChg chg="modSp add del mod">
        <pc:chgData name="Adwait Aralkar" userId="ae1719c1-ed02-42aa-a1d9-0d6e6247f692" providerId="ADAL" clId="{26E4894F-2814-4950-8F09-4348A84C933F}" dt="2024-12-10T05:34:53.999" v="65" actId="20577"/>
        <pc:sldMkLst>
          <pc:docMk/>
          <pc:sldMk cId="2431735813" sldId="2147483582"/>
        </pc:sldMkLst>
      </pc:sldChg>
      <pc:sldChg chg="add del">
        <pc:chgData name="Adwait Aralkar" userId="ae1719c1-ed02-42aa-a1d9-0d6e6247f692" providerId="ADAL" clId="{26E4894F-2814-4950-8F09-4348A84C933F}" dt="2024-12-18T08:14:45.319" v="724"/>
        <pc:sldMkLst>
          <pc:docMk/>
          <pc:sldMk cId="1788181987" sldId="2147483583"/>
        </pc:sldMkLst>
      </pc:sldChg>
      <pc:sldChg chg="modSp add del mod">
        <pc:chgData name="Adwait Aralkar" userId="ae1719c1-ed02-42aa-a1d9-0d6e6247f692" providerId="ADAL" clId="{26E4894F-2814-4950-8F09-4348A84C933F}" dt="2024-12-18T08:14:45.319" v="724"/>
        <pc:sldMkLst>
          <pc:docMk/>
          <pc:sldMk cId="277753886" sldId="2147483584"/>
        </pc:sldMkLst>
      </pc:sldChg>
      <pc:sldChg chg="add del">
        <pc:chgData name="Adwait Aralkar" userId="ae1719c1-ed02-42aa-a1d9-0d6e6247f692" providerId="ADAL" clId="{26E4894F-2814-4950-8F09-4348A84C933F}" dt="2024-12-18T08:14:45.319" v="724"/>
        <pc:sldMkLst>
          <pc:docMk/>
          <pc:sldMk cId="2928242548" sldId="2147483585"/>
        </pc:sldMkLst>
      </pc:sldChg>
      <pc:sldChg chg="modSp add del mod">
        <pc:chgData name="Adwait Aralkar" userId="ae1719c1-ed02-42aa-a1d9-0d6e6247f692" providerId="ADAL" clId="{26E4894F-2814-4950-8F09-4348A84C933F}" dt="2024-12-18T08:14:45.319" v="724"/>
        <pc:sldMkLst>
          <pc:docMk/>
          <pc:sldMk cId="3781283299" sldId="2147483587"/>
        </pc:sldMkLst>
      </pc:sldChg>
      <pc:sldChg chg="modSp add del mod">
        <pc:chgData name="Adwait Aralkar" userId="ae1719c1-ed02-42aa-a1d9-0d6e6247f692" providerId="ADAL" clId="{26E4894F-2814-4950-8F09-4348A84C933F}" dt="2024-12-18T08:14:45.319" v="724"/>
        <pc:sldMkLst>
          <pc:docMk/>
          <pc:sldMk cId="2408801718" sldId="2147483588"/>
        </pc:sldMkLst>
      </pc:sldChg>
      <pc:sldChg chg="modSp add del mod">
        <pc:chgData name="Adwait Aralkar" userId="ae1719c1-ed02-42aa-a1d9-0d6e6247f692" providerId="ADAL" clId="{26E4894F-2814-4950-8F09-4348A84C933F}" dt="2024-12-10T05:34:14.652" v="44" actId="20577"/>
        <pc:sldMkLst>
          <pc:docMk/>
          <pc:sldMk cId="2105530410" sldId="2147483619"/>
        </pc:sldMkLst>
      </pc:sldChg>
      <pc:sldChg chg="add del">
        <pc:chgData name="Adwait Aralkar" userId="ae1719c1-ed02-42aa-a1d9-0d6e6247f692" providerId="ADAL" clId="{26E4894F-2814-4950-8F09-4348A84C933F}" dt="2024-12-10T05:33:48.947" v="37" actId="47"/>
        <pc:sldMkLst>
          <pc:docMk/>
          <pc:sldMk cId="175431677" sldId="2147483623"/>
        </pc:sldMkLst>
      </pc:sldChg>
      <pc:sldChg chg="add del">
        <pc:chgData name="Adwait Aralkar" userId="ae1719c1-ed02-42aa-a1d9-0d6e6247f692" providerId="ADAL" clId="{26E4894F-2814-4950-8F09-4348A84C933F}" dt="2024-12-10T10:28:27.620" v="443" actId="47"/>
        <pc:sldMkLst>
          <pc:docMk/>
          <pc:sldMk cId="4086455710" sldId="2147483626"/>
        </pc:sldMkLst>
      </pc:sldChg>
      <pc:sldChg chg="add del">
        <pc:chgData name="Adwait Aralkar" userId="ae1719c1-ed02-42aa-a1d9-0d6e6247f692" providerId="ADAL" clId="{26E4894F-2814-4950-8F09-4348A84C933F}" dt="2024-12-10T10:28:27.872" v="444" actId="47"/>
        <pc:sldMkLst>
          <pc:docMk/>
          <pc:sldMk cId="3167100496" sldId="2147483627"/>
        </pc:sldMkLst>
      </pc:sldChg>
      <pc:sldChg chg="add del">
        <pc:chgData name="Adwait Aralkar" userId="ae1719c1-ed02-42aa-a1d9-0d6e6247f692" providerId="ADAL" clId="{26E4894F-2814-4950-8F09-4348A84C933F}" dt="2024-12-10T10:28:28.343" v="445" actId="47"/>
        <pc:sldMkLst>
          <pc:docMk/>
          <pc:sldMk cId="488956479" sldId="2147483628"/>
        </pc:sldMkLst>
      </pc:sldChg>
      <pc:sldChg chg="add del">
        <pc:chgData name="Adwait Aralkar" userId="ae1719c1-ed02-42aa-a1d9-0d6e6247f692" providerId="ADAL" clId="{26E4894F-2814-4950-8F09-4348A84C933F}" dt="2024-12-10T10:28:28.661" v="446" actId="47"/>
        <pc:sldMkLst>
          <pc:docMk/>
          <pc:sldMk cId="3084490516" sldId="2147483629"/>
        </pc:sldMkLst>
      </pc:sldChg>
      <pc:sldChg chg="add del">
        <pc:chgData name="Adwait Aralkar" userId="ae1719c1-ed02-42aa-a1d9-0d6e6247f692" providerId="ADAL" clId="{26E4894F-2814-4950-8F09-4348A84C933F}" dt="2024-12-10T10:28:28.972" v="447" actId="47"/>
        <pc:sldMkLst>
          <pc:docMk/>
          <pc:sldMk cId="434188599" sldId="2147483630"/>
        </pc:sldMkLst>
      </pc:sldChg>
      <pc:sldChg chg="add del">
        <pc:chgData name="Adwait Aralkar" userId="ae1719c1-ed02-42aa-a1d9-0d6e6247f692" providerId="ADAL" clId="{26E4894F-2814-4950-8F09-4348A84C933F}" dt="2024-12-10T10:28:29.365" v="448" actId="47"/>
        <pc:sldMkLst>
          <pc:docMk/>
          <pc:sldMk cId="3009293048" sldId="2147483631"/>
        </pc:sldMkLst>
      </pc:sldChg>
      <pc:sldChg chg="add del">
        <pc:chgData name="Adwait Aralkar" userId="ae1719c1-ed02-42aa-a1d9-0d6e6247f692" providerId="ADAL" clId="{26E4894F-2814-4950-8F09-4348A84C933F}" dt="2024-12-10T10:28:29.962" v="449" actId="47"/>
        <pc:sldMkLst>
          <pc:docMk/>
          <pc:sldMk cId="649061530" sldId="2147483632"/>
        </pc:sldMkLst>
      </pc:sldChg>
      <pc:sldChg chg="add del">
        <pc:chgData name="Adwait Aralkar" userId="ae1719c1-ed02-42aa-a1d9-0d6e6247f692" providerId="ADAL" clId="{26E4894F-2814-4950-8F09-4348A84C933F}" dt="2024-12-10T10:28:30.244" v="450" actId="47"/>
        <pc:sldMkLst>
          <pc:docMk/>
          <pc:sldMk cId="1923875995" sldId="2147483633"/>
        </pc:sldMkLst>
      </pc:sldChg>
      <pc:sldChg chg="add del">
        <pc:chgData name="Adwait Aralkar" userId="ae1719c1-ed02-42aa-a1d9-0d6e6247f692" providerId="ADAL" clId="{26E4894F-2814-4950-8F09-4348A84C933F}" dt="2024-12-10T10:28:30.983" v="451" actId="47"/>
        <pc:sldMkLst>
          <pc:docMk/>
          <pc:sldMk cId="2716898841" sldId="2147483634"/>
        </pc:sldMkLst>
      </pc:sldChg>
      <pc:sldChg chg="delSp add del mod">
        <pc:chgData name="Adwait Aralkar" userId="ae1719c1-ed02-42aa-a1d9-0d6e6247f692" providerId="ADAL" clId="{26E4894F-2814-4950-8F09-4348A84C933F}" dt="2024-12-10T08:08:47.105" v="408" actId="478"/>
        <pc:sldMkLst>
          <pc:docMk/>
          <pc:sldMk cId="1804190377" sldId="2147483636"/>
        </pc:sldMkLst>
      </pc:sldChg>
      <pc:sldChg chg="add del">
        <pc:chgData name="Adwait Aralkar" userId="ae1719c1-ed02-42aa-a1d9-0d6e6247f692" providerId="ADAL" clId="{26E4894F-2814-4950-8F09-4348A84C933F}" dt="2024-12-10T05:26:46.698" v="7"/>
        <pc:sldMkLst>
          <pc:docMk/>
          <pc:sldMk cId="2298966973" sldId="2147483637"/>
        </pc:sldMkLst>
      </pc:sldChg>
      <pc:sldChg chg="modSp add del mod">
        <pc:chgData name="Adwait Aralkar" userId="ae1719c1-ed02-42aa-a1d9-0d6e6247f692" providerId="ADAL" clId="{26E4894F-2814-4950-8F09-4348A84C933F}" dt="2024-12-10T05:34:46.452" v="61" actId="20577"/>
        <pc:sldMkLst>
          <pc:docMk/>
          <pc:sldMk cId="2413575490" sldId="2147483638"/>
        </pc:sldMkLst>
      </pc:sldChg>
      <pc:sldChg chg="add del">
        <pc:chgData name="Adwait Aralkar" userId="ae1719c1-ed02-42aa-a1d9-0d6e6247f692" providerId="ADAL" clId="{26E4894F-2814-4950-8F09-4348A84C933F}" dt="2024-12-10T05:26:46.698" v="7"/>
        <pc:sldMkLst>
          <pc:docMk/>
          <pc:sldMk cId="2124524843" sldId="2147483639"/>
        </pc:sldMkLst>
      </pc:sldChg>
      <pc:sldChg chg="modSp add del mod">
        <pc:chgData name="Adwait Aralkar" userId="ae1719c1-ed02-42aa-a1d9-0d6e6247f692" providerId="ADAL" clId="{26E4894F-2814-4950-8F09-4348A84C933F}" dt="2024-12-10T10:55:23.532" v="580" actId="20577"/>
        <pc:sldMkLst>
          <pc:docMk/>
          <pc:sldMk cId="2558245899" sldId="2147483640"/>
        </pc:sldMkLst>
      </pc:sldChg>
      <pc:sldChg chg="modSp add del mod">
        <pc:chgData name="Adwait Aralkar" userId="ae1719c1-ed02-42aa-a1d9-0d6e6247f692" providerId="ADAL" clId="{26E4894F-2814-4950-8F09-4348A84C933F}" dt="2024-12-10T05:34:05.852" v="38"/>
        <pc:sldMkLst>
          <pc:docMk/>
          <pc:sldMk cId="4007769048" sldId="2147483641"/>
        </pc:sldMkLst>
      </pc:sldChg>
      <pc:sldChg chg="delSp modSp add del mod">
        <pc:chgData name="Adwait Aralkar" userId="ae1719c1-ed02-42aa-a1d9-0d6e6247f692" providerId="ADAL" clId="{26E4894F-2814-4950-8F09-4348A84C933F}" dt="2024-12-10T09:57:54.077" v="439" actId="478"/>
        <pc:sldMkLst>
          <pc:docMk/>
          <pc:sldMk cId="177666625" sldId="2147483642"/>
        </pc:sldMkLst>
      </pc:sldChg>
      <pc:sldChg chg="add">
        <pc:chgData name="Adwait Aralkar" userId="ae1719c1-ed02-42aa-a1d9-0d6e6247f692" providerId="ADAL" clId="{26E4894F-2814-4950-8F09-4348A84C933F}" dt="2024-12-10T05:34:38.682" v="45" actId="2890"/>
        <pc:sldMkLst>
          <pc:docMk/>
          <pc:sldMk cId="3438533366" sldId="2147483643"/>
        </pc:sldMkLst>
      </pc:sldChg>
      <pc:sldChg chg="addSp delSp modSp new mod ord">
        <pc:chgData name="Adwait Aralkar" userId="ae1719c1-ed02-42aa-a1d9-0d6e6247f692" providerId="ADAL" clId="{26E4894F-2814-4950-8F09-4348A84C933F}" dt="2024-12-10T06:51:25.899" v="296" actId="1076"/>
        <pc:sldMkLst>
          <pc:docMk/>
          <pc:sldMk cId="3023667837" sldId="2147483644"/>
        </pc:sldMkLst>
      </pc:sldChg>
      <pc:sldChg chg="addSp delSp modSp new mod ord modAnim">
        <pc:chgData name="Adwait Aralkar" userId="ae1719c1-ed02-42aa-a1d9-0d6e6247f692" providerId="ADAL" clId="{26E4894F-2814-4950-8F09-4348A84C933F}" dt="2024-12-10T06:29:39.049" v="120"/>
        <pc:sldMkLst>
          <pc:docMk/>
          <pc:sldMk cId="3041903221" sldId="2147483645"/>
        </pc:sldMkLst>
      </pc:sldChg>
      <pc:sldChg chg="addSp delSp modSp new mod ord">
        <pc:chgData name="Adwait Aralkar" userId="ae1719c1-ed02-42aa-a1d9-0d6e6247f692" providerId="ADAL" clId="{26E4894F-2814-4950-8F09-4348A84C933F}" dt="2024-12-10T08:05:41.661" v="321" actId="403"/>
        <pc:sldMkLst>
          <pc:docMk/>
          <pc:sldMk cId="725899358" sldId="2147483646"/>
        </pc:sldMkLst>
      </pc:sldChg>
      <pc:sldChg chg="addSp modSp add mod">
        <pc:chgData name="Adwait Aralkar" userId="ae1719c1-ed02-42aa-a1d9-0d6e6247f692" providerId="ADAL" clId="{26E4894F-2814-4950-8F09-4348A84C933F}" dt="2024-12-11T12:23:52.198" v="666" actId="207"/>
        <pc:sldMkLst>
          <pc:docMk/>
          <pc:sldMk cId="4070920180" sldId="2147483647"/>
        </pc:sldMkLst>
      </pc:sldChg>
      <pc:sldMasterChg chg="del delSldLayout">
        <pc:chgData name="Adwait Aralkar" userId="ae1719c1-ed02-42aa-a1d9-0d6e6247f692" providerId="ADAL" clId="{26E4894F-2814-4950-8F09-4348A84C933F}" dt="2024-12-10T05:26:54.492" v="8" actId="47"/>
        <pc:sldMasterMkLst>
          <pc:docMk/>
          <pc:sldMasterMk cId="2460954070" sldId="2147483660"/>
        </pc:sldMasterMkLst>
        <pc:sldLayoutChg chg="del">
          <pc:chgData name="Adwait Aralkar" userId="ae1719c1-ed02-42aa-a1d9-0d6e6247f692" providerId="ADAL" clId="{26E4894F-2814-4950-8F09-4348A84C933F}" dt="2024-12-10T05:26:54.492" v="8" actId="47"/>
          <pc:sldLayoutMkLst>
            <pc:docMk/>
            <pc:sldMasterMk cId="2460954070" sldId="2147483660"/>
            <pc:sldLayoutMk cId="2385387890" sldId="2147483661"/>
          </pc:sldLayoutMkLst>
        </pc:sldLayoutChg>
        <pc:sldLayoutChg chg="del">
          <pc:chgData name="Adwait Aralkar" userId="ae1719c1-ed02-42aa-a1d9-0d6e6247f692" providerId="ADAL" clId="{26E4894F-2814-4950-8F09-4348A84C933F}" dt="2024-12-10T05:26:54.492" v="8" actId="47"/>
          <pc:sldLayoutMkLst>
            <pc:docMk/>
            <pc:sldMasterMk cId="2460954070" sldId="2147483660"/>
            <pc:sldLayoutMk cId="949138452" sldId="2147483662"/>
          </pc:sldLayoutMkLst>
        </pc:sldLayoutChg>
        <pc:sldLayoutChg chg="del">
          <pc:chgData name="Adwait Aralkar" userId="ae1719c1-ed02-42aa-a1d9-0d6e6247f692" providerId="ADAL" clId="{26E4894F-2814-4950-8F09-4348A84C933F}" dt="2024-12-10T05:26:54.492" v="8" actId="47"/>
          <pc:sldLayoutMkLst>
            <pc:docMk/>
            <pc:sldMasterMk cId="2460954070" sldId="2147483660"/>
            <pc:sldLayoutMk cId="2591524520" sldId="2147483663"/>
          </pc:sldLayoutMkLst>
        </pc:sldLayoutChg>
        <pc:sldLayoutChg chg="del">
          <pc:chgData name="Adwait Aralkar" userId="ae1719c1-ed02-42aa-a1d9-0d6e6247f692" providerId="ADAL" clId="{26E4894F-2814-4950-8F09-4348A84C933F}" dt="2024-12-10T05:26:54.492" v="8" actId="47"/>
          <pc:sldLayoutMkLst>
            <pc:docMk/>
            <pc:sldMasterMk cId="2460954070" sldId="2147483660"/>
            <pc:sldLayoutMk cId="1203092039" sldId="2147483664"/>
          </pc:sldLayoutMkLst>
        </pc:sldLayoutChg>
        <pc:sldLayoutChg chg="del">
          <pc:chgData name="Adwait Aralkar" userId="ae1719c1-ed02-42aa-a1d9-0d6e6247f692" providerId="ADAL" clId="{26E4894F-2814-4950-8F09-4348A84C933F}" dt="2024-12-10T05:26:54.492" v="8" actId="47"/>
          <pc:sldLayoutMkLst>
            <pc:docMk/>
            <pc:sldMasterMk cId="2460954070" sldId="2147483660"/>
            <pc:sldLayoutMk cId="3733172339" sldId="2147483665"/>
          </pc:sldLayoutMkLst>
        </pc:sldLayoutChg>
        <pc:sldLayoutChg chg="del">
          <pc:chgData name="Adwait Aralkar" userId="ae1719c1-ed02-42aa-a1d9-0d6e6247f692" providerId="ADAL" clId="{26E4894F-2814-4950-8F09-4348A84C933F}" dt="2024-12-10T05:26:54.492" v="8" actId="47"/>
          <pc:sldLayoutMkLst>
            <pc:docMk/>
            <pc:sldMasterMk cId="2460954070" sldId="2147483660"/>
            <pc:sldLayoutMk cId="3210312558" sldId="2147483666"/>
          </pc:sldLayoutMkLst>
        </pc:sldLayoutChg>
        <pc:sldLayoutChg chg="del">
          <pc:chgData name="Adwait Aralkar" userId="ae1719c1-ed02-42aa-a1d9-0d6e6247f692" providerId="ADAL" clId="{26E4894F-2814-4950-8F09-4348A84C933F}" dt="2024-12-10T05:26:54.492" v="8" actId="47"/>
          <pc:sldLayoutMkLst>
            <pc:docMk/>
            <pc:sldMasterMk cId="2460954070" sldId="2147483660"/>
            <pc:sldLayoutMk cId="3146388984" sldId="2147483667"/>
          </pc:sldLayoutMkLst>
        </pc:sldLayoutChg>
        <pc:sldLayoutChg chg="del">
          <pc:chgData name="Adwait Aralkar" userId="ae1719c1-ed02-42aa-a1d9-0d6e6247f692" providerId="ADAL" clId="{26E4894F-2814-4950-8F09-4348A84C933F}" dt="2024-12-10T05:26:54.492" v="8" actId="47"/>
          <pc:sldLayoutMkLst>
            <pc:docMk/>
            <pc:sldMasterMk cId="2460954070" sldId="2147483660"/>
            <pc:sldLayoutMk cId="3171841454" sldId="2147483668"/>
          </pc:sldLayoutMkLst>
        </pc:sldLayoutChg>
        <pc:sldLayoutChg chg="del">
          <pc:chgData name="Adwait Aralkar" userId="ae1719c1-ed02-42aa-a1d9-0d6e6247f692" providerId="ADAL" clId="{26E4894F-2814-4950-8F09-4348A84C933F}" dt="2024-12-10T05:26:54.492" v="8" actId="47"/>
          <pc:sldLayoutMkLst>
            <pc:docMk/>
            <pc:sldMasterMk cId="2460954070" sldId="2147483660"/>
            <pc:sldLayoutMk cId="1718958274" sldId="2147483669"/>
          </pc:sldLayoutMkLst>
        </pc:sldLayoutChg>
        <pc:sldLayoutChg chg="del">
          <pc:chgData name="Adwait Aralkar" userId="ae1719c1-ed02-42aa-a1d9-0d6e6247f692" providerId="ADAL" clId="{26E4894F-2814-4950-8F09-4348A84C933F}" dt="2024-12-10T05:26:54.492" v="8" actId="47"/>
          <pc:sldLayoutMkLst>
            <pc:docMk/>
            <pc:sldMasterMk cId="2460954070" sldId="2147483660"/>
            <pc:sldLayoutMk cId="2202905451" sldId="2147483670"/>
          </pc:sldLayoutMkLst>
        </pc:sldLayoutChg>
        <pc:sldLayoutChg chg="del">
          <pc:chgData name="Adwait Aralkar" userId="ae1719c1-ed02-42aa-a1d9-0d6e6247f692" providerId="ADAL" clId="{26E4894F-2814-4950-8F09-4348A84C933F}" dt="2024-12-10T05:26:54.492" v="8" actId="47"/>
          <pc:sldLayoutMkLst>
            <pc:docMk/>
            <pc:sldMasterMk cId="2460954070" sldId="2147483660"/>
            <pc:sldLayoutMk cId="3479445657" sldId="2147483671"/>
          </pc:sldLayoutMkLst>
        </pc:sldLayoutChg>
      </pc:sldMasterChg>
      <pc:sldMasterChg chg="delSldLayout">
        <pc:chgData name="Adwait Aralkar" userId="ae1719c1-ed02-42aa-a1d9-0d6e6247f692" providerId="ADAL" clId="{26E4894F-2814-4950-8F09-4348A84C933F}" dt="2024-12-10T06:29:35.935" v="118" actId="47"/>
        <pc:sldMasterMkLst>
          <pc:docMk/>
          <pc:sldMasterMk cId="3612118310" sldId="2147483726"/>
        </pc:sldMasterMkLst>
        <pc:sldLayoutChg chg="del">
          <pc:chgData name="Adwait Aralkar" userId="ae1719c1-ed02-42aa-a1d9-0d6e6247f692" providerId="ADAL" clId="{26E4894F-2814-4950-8F09-4348A84C933F}" dt="2024-12-10T06:29:35.935" v="118" actId="47"/>
          <pc:sldLayoutMkLst>
            <pc:docMk/>
            <pc:sldMasterMk cId="3612118310" sldId="2147483726"/>
            <pc:sldLayoutMk cId="3709557446" sldId="2147483773"/>
          </pc:sldLayoutMkLst>
        </pc:sldLayoutChg>
        <pc:sldLayoutChg chg="del">
          <pc:chgData name="Adwait Aralkar" userId="ae1719c1-ed02-42aa-a1d9-0d6e6247f692" providerId="ADAL" clId="{26E4894F-2814-4950-8F09-4348A84C933F}" dt="2024-12-10T06:28:18.886" v="105" actId="47"/>
          <pc:sldLayoutMkLst>
            <pc:docMk/>
            <pc:sldMasterMk cId="3612118310" sldId="2147483726"/>
            <pc:sldLayoutMk cId="3734041369" sldId="2147483773"/>
          </pc:sldLayoutMkLst>
        </pc:sldLayoutChg>
      </pc:sldMasterChg>
      <pc:sldMasterChg chg="delSldLayout">
        <pc:chgData name="Adwait Aralkar" userId="ae1719c1-ed02-42aa-a1d9-0d6e6247f692" providerId="ADAL" clId="{26E4894F-2814-4950-8F09-4348A84C933F}" dt="2024-12-10T10:54:21.898" v="559" actId="47"/>
        <pc:sldMasterMkLst>
          <pc:docMk/>
          <pc:sldMasterMk cId="2981283859" sldId="2147483883"/>
        </pc:sldMasterMkLst>
        <pc:sldLayoutChg chg="del">
          <pc:chgData name="Adwait Aralkar" userId="ae1719c1-ed02-42aa-a1d9-0d6e6247f692" providerId="ADAL" clId="{26E4894F-2814-4950-8F09-4348A84C933F}" dt="2024-12-10T10:54:21.898" v="559" actId="47"/>
          <pc:sldLayoutMkLst>
            <pc:docMk/>
            <pc:sldMasterMk cId="2981283859" sldId="2147483883"/>
            <pc:sldLayoutMk cId="2142095094" sldId="2147483893"/>
          </pc:sldLayoutMkLst>
        </pc:sldLayoutChg>
      </pc:sldMasterChg>
    </pc:docChg>
  </pc:docChgLst>
  <pc:docChgLst>
    <pc:chgData name="Ananth Balasubramanian" userId="03643304-6614-402d-bd42-252d530970f8" providerId="ADAL" clId="{A6ED6E91-8F7E-4EBD-A3D9-A07F54733744}"/>
    <pc:docChg chg="undo custSel addSld delSld modSld sldOrd">
      <pc:chgData name="Ananth Balasubramanian" userId="03643304-6614-402d-bd42-252d530970f8" providerId="ADAL" clId="{A6ED6E91-8F7E-4EBD-A3D9-A07F54733744}" dt="2025-02-05T07:26:49.512" v="135" actId="113"/>
      <pc:docMkLst>
        <pc:docMk/>
      </pc:docMkLst>
      <pc:sldChg chg="addSp delSp modSp mod">
        <pc:chgData name="Ananth Balasubramanian" userId="03643304-6614-402d-bd42-252d530970f8" providerId="ADAL" clId="{A6ED6E91-8F7E-4EBD-A3D9-A07F54733744}" dt="2025-02-05T07:08:53.221" v="110" actId="13822"/>
        <pc:sldMkLst>
          <pc:docMk/>
          <pc:sldMk cId="1780373343" sldId="263"/>
        </pc:sldMkLst>
        <pc:spChg chg="add del mod ord">
          <ac:chgData name="Ananth Balasubramanian" userId="03643304-6614-402d-bd42-252d530970f8" providerId="ADAL" clId="{A6ED6E91-8F7E-4EBD-A3D9-A07F54733744}" dt="2025-02-05T07:08:22.653" v="107" actId="478"/>
          <ac:spMkLst>
            <pc:docMk/>
            <pc:sldMk cId="1780373343" sldId="263"/>
            <ac:spMk id="34" creationId="{5DC45C6C-A7D8-492A-BA33-A7716B523901}"/>
          </ac:spMkLst>
        </pc:spChg>
        <pc:spChg chg="mod">
          <ac:chgData name="Ananth Balasubramanian" userId="03643304-6614-402d-bd42-252d530970f8" providerId="ADAL" clId="{A6ED6E91-8F7E-4EBD-A3D9-A07F54733744}" dt="2025-02-05T07:08:53.221" v="110" actId="13822"/>
          <ac:spMkLst>
            <pc:docMk/>
            <pc:sldMk cId="1780373343" sldId="263"/>
            <ac:spMk id="36" creationId="{73976095-2244-A60E-9489-D0A7DC14C13C}"/>
          </ac:spMkLst>
        </pc:spChg>
        <pc:spChg chg="mod">
          <ac:chgData name="Ananth Balasubramanian" userId="03643304-6614-402d-bd42-252d530970f8" providerId="ADAL" clId="{A6ED6E91-8F7E-4EBD-A3D9-A07F54733744}" dt="2025-02-05T07:08:53.221" v="110" actId="13822"/>
          <ac:spMkLst>
            <pc:docMk/>
            <pc:sldMk cId="1780373343" sldId="263"/>
            <ac:spMk id="37" creationId="{2E11AA63-24D0-AD7C-A87D-7466065EF9FB}"/>
          </ac:spMkLst>
        </pc:spChg>
        <pc:spChg chg="add mod">
          <ac:chgData name="Ananth Balasubramanian" userId="03643304-6614-402d-bd42-252d530970f8" providerId="ADAL" clId="{A6ED6E91-8F7E-4EBD-A3D9-A07F54733744}" dt="2025-02-05T07:08:36.647" v="108" actId="767"/>
          <ac:spMkLst>
            <pc:docMk/>
            <pc:sldMk cId="1780373343" sldId="263"/>
            <ac:spMk id="40" creationId="{1771C7BD-36BF-BE49-AE7F-E2BB1FFFF7A7}"/>
          </ac:spMkLst>
        </pc:spChg>
      </pc:sldChg>
      <pc:sldChg chg="addSp modSp mod">
        <pc:chgData name="Ananth Balasubramanian" userId="03643304-6614-402d-bd42-252d530970f8" providerId="ADAL" clId="{A6ED6E91-8F7E-4EBD-A3D9-A07F54733744}" dt="2025-02-05T07:26:49.512" v="135" actId="113"/>
        <pc:sldMkLst>
          <pc:docMk/>
          <pc:sldMk cId="509631690" sldId="276"/>
        </pc:sldMkLst>
        <pc:spChg chg="add mod ord">
          <ac:chgData name="Ananth Balasubramanian" userId="03643304-6614-402d-bd42-252d530970f8" providerId="ADAL" clId="{A6ED6E91-8F7E-4EBD-A3D9-A07F54733744}" dt="2025-02-05T07:25:05.921" v="124" actId="1582"/>
          <ac:spMkLst>
            <pc:docMk/>
            <pc:sldMk cId="509631690" sldId="276"/>
            <ac:spMk id="3" creationId="{8AD7294E-2C5E-46B3-B377-47FA12C2B521}"/>
          </ac:spMkLst>
        </pc:spChg>
        <pc:spChg chg="add mod">
          <ac:chgData name="Ananth Balasubramanian" userId="03643304-6614-402d-bd42-252d530970f8" providerId="ADAL" clId="{A6ED6E91-8F7E-4EBD-A3D9-A07F54733744}" dt="2025-02-05T07:26:49.512" v="135" actId="113"/>
          <ac:spMkLst>
            <pc:docMk/>
            <pc:sldMk cId="509631690" sldId="276"/>
            <ac:spMk id="4" creationId="{CA47EB22-40A2-59EE-8A59-1137715835BB}"/>
          </ac:spMkLst>
        </pc:spChg>
      </pc:sldChg>
      <pc:sldChg chg="addSp modSp mod">
        <pc:chgData name="Ananth Balasubramanian" userId="03643304-6614-402d-bd42-252d530970f8" providerId="ADAL" clId="{A6ED6E91-8F7E-4EBD-A3D9-A07F54733744}" dt="2025-02-05T05:33:56.822" v="94" actId="20577"/>
        <pc:sldMkLst>
          <pc:docMk/>
          <pc:sldMk cId="4208253848" sldId="299"/>
        </pc:sldMkLst>
        <pc:spChg chg="mod">
          <ac:chgData name="Ananth Balasubramanian" userId="03643304-6614-402d-bd42-252d530970f8" providerId="ADAL" clId="{A6ED6E91-8F7E-4EBD-A3D9-A07F54733744}" dt="2025-02-05T05:18:49.149" v="62" actId="1076"/>
          <ac:spMkLst>
            <pc:docMk/>
            <pc:sldMk cId="4208253848" sldId="299"/>
            <ac:spMk id="2" creationId="{B93A2383-BABC-CC70-56DF-B83633E6FF4B}"/>
          </ac:spMkLst>
        </pc:spChg>
        <pc:spChg chg="add mod ord">
          <ac:chgData name="Ananth Balasubramanian" userId="03643304-6614-402d-bd42-252d530970f8" providerId="ADAL" clId="{A6ED6E91-8F7E-4EBD-A3D9-A07F54733744}" dt="2025-02-05T05:30:16.156" v="70" actId="14100"/>
          <ac:spMkLst>
            <pc:docMk/>
            <pc:sldMk cId="4208253848" sldId="299"/>
            <ac:spMk id="3" creationId="{B13B789C-8045-08D9-74C2-D019632E015B}"/>
          </ac:spMkLst>
        </pc:spChg>
        <pc:spChg chg="mod">
          <ac:chgData name="Ananth Balasubramanian" userId="03643304-6614-402d-bd42-252d530970f8" providerId="ADAL" clId="{A6ED6E91-8F7E-4EBD-A3D9-A07F54733744}" dt="2025-02-05T05:15:49.051" v="61" actId="1076"/>
          <ac:spMkLst>
            <pc:docMk/>
            <pc:sldMk cId="4208253848" sldId="299"/>
            <ac:spMk id="86" creationId="{257E6517-73AB-4009-8795-E97DE5796FA4}"/>
          </ac:spMkLst>
        </pc:spChg>
        <pc:spChg chg="mod">
          <ac:chgData name="Ananth Balasubramanian" userId="03643304-6614-402d-bd42-252d530970f8" providerId="ADAL" clId="{A6ED6E91-8F7E-4EBD-A3D9-A07F54733744}" dt="2025-02-05T05:33:56.822" v="94" actId="20577"/>
          <ac:spMkLst>
            <pc:docMk/>
            <pc:sldMk cId="4208253848" sldId="299"/>
            <ac:spMk id="89" creationId="{48A23675-22D0-54D5-8DB2-DB09733D3621}"/>
          </ac:spMkLst>
        </pc:spChg>
      </pc:sldChg>
      <pc:sldChg chg="modSp add mod ord">
        <pc:chgData name="Ananth Balasubramanian" userId="03643304-6614-402d-bd42-252d530970f8" providerId="ADAL" clId="{A6ED6E91-8F7E-4EBD-A3D9-A07F54733744}" dt="2025-02-05T03:06:21.717" v="5" actId="20577"/>
        <pc:sldMkLst>
          <pc:docMk/>
          <pc:sldMk cId="2640976559" sldId="301"/>
        </pc:sldMkLst>
        <pc:spChg chg="mod">
          <ac:chgData name="Ananth Balasubramanian" userId="03643304-6614-402d-bd42-252d530970f8" providerId="ADAL" clId="{A6ED6E91-8F7E-4EBD-A3D9-A07F54733744}" dt="2025-02-05T03:06:21.717" v="5" actId="20577"/>
          <ac:spMkLst>
            <pc:docMk/>
            <pc:sldMk cId="2640976559" sldId="301"/>
            <ac:spMk id="19" creationId="{D758764B-F356-8BBC-D471-4110644955C7}"/>
          </ac:spMkLst>
        </pc:spChg>
      </pc:sldChg>
      <pc:sldChg chg="addSp modSp mod">
        <pc:chgData name="Ananth Balasubramanian" userId="03643304-6614-402d-bd42-252d530970f8" providerId="ADAL" clId="{A6ED6E91-8F7E-4EBD-A3D9-A07F54733744}" dt="2025-02-05T07:09:46.747" v="120" actId="13822"/>
        <pc:sldMkLst>
          <pc:docMk/>
          <pc:sldMk cId="1078193935" sldId="302"/>
        </pc:sldMkLst>
        <pc:spChg chg="add mod">
          <ac:chgData name="Ananth Balasubramanian" userId="03643304-6614-402d-bd42-252d530970f8" providerId="ADAL" clId="{A6ED6E91-8F7E-4EBD-A3D9-A07F54733744}" dt="2025-02-05T07:09:46.747" v="120" actId="13822"/>
          <ac:spMkLst>
            <pc:docMk/>
            <pc:sldMk cId="1078193935" sldId="302"/>
            <ac:spMk id="25" creationId="{B3539653-7646-47E3-8813-83FA2CC22720}"/>
          </ac:spMkLst>
        </pc:spChg>
        <pc:spChg chg="mod">
          <ac:chgData name="Ananth Balasubramanian" userId="03643304-6614-402d-bd42-252d530970f8" providerId="ADAL" clId="{A6ED6E91-8F7E-4EBD-A3D9-A07F54733744}" dt="2025-02-05T07:09:16.206" v="112" actId="1076"/>
          <ac:spMkLst>
            <pc:docMk/>
            <pc:sldMk cId="1078193935" sldId="302"/>
            <ac:spMk id="55" creationId="{3F7C4A96-1AC7-1899-21AB-12C9D11429DE}"/>
          </ac:spMkLst>
        </pc:spChg>
        <pc:spChg chg="mod">
          <ac:chgData name="Ananth Balasubramanian" userId="03643304-6614-402d-bd42-252d530970f8" providerId="ADAL" clId="{A6ED6E91-8F7E-4EBD-A3D9-A07F54733744}" dt="2025-02-05T07:09:34.990" v="118" actId="20577"/>
          <ac:spMkLst>
            <pc:docMk/>
            <pc:sldMk cId="1078193935" sldId="302"/>
            <ac:spMk id="56" creationId="{40880C4E-9B57-0AF5-5F4C-51D318690EBA}"/>
          </ac:spMkLst>
        </pc:spChg>
      </pc:sldChg>
      <pc:sldChg chg="modSp mod">
        <pc:chgData name="Ananth Balasubramanian" userId="03643304-6614-402d-bd42-252d530970f8" providerId="ADAL" clId="{A6ED6E91-8F7E-4EBD-A3D9-A07F54733744}" dt="2025-02-05T03:11:07.921" v="57" actId="20577"/>
        <pc:sldMkLst>
          <pc:docMk/>
          <pc:sldMk cId="1679638984" sldId="2147471166"/>
        </pc:sldMkLst>
        <pc:spChg chg="mod">
          <ac:chgData name="Ananth Balasubramanian" userId="03643304-6614-402d-bd42-252d530970f8" providerId="ADAL" clId="{A6ED6E91-8F7E-4EBD-A3D9-A07F54733744}" dt="2025-02-05T03:11:07.921" v="57" actId="20577"/>
          <ac:spMkLst>
            <pc:docMk/>
            <pc:sldMk cId="1679638984" sldId="2147471166"/>
            <ac:spMk id="9" creationId="{1EAE89B7-BC38-1A0F-DA83-C7DB37FCB469}"/>
          </ac:spMkLst>
        </pc:spChg>
      </pc:sldChg>
      <pc:sldChg chg="modSp mod ord">
        <pc:chgData name="Ananth Balasubramanian" userId="03643304-6614-402d-bd42-252d530970f8" providerId="ADAL" clId="{A6ED6E91-8F7E-4EBD-A3D9-A07F54733744}" dt="2025-02-05T03:10:49.547" v="23" actId="207"/>
        <pc:sldMkLst>
          <pc:docMk/>
          <pc:sldMk cId="4042701003" sldId="2147482884"/>
        </pc:sldMkLst>
        <pc:spChg chg="mod">
          <ac:chgData name="Ananth Balasubramanian" userId="03643304-6614-402d-bd42-252d530970f8" providerId="ADAL" clId="{A6ED6E91-8F7E-4EBD-A3D9-A07F54733744}" dt="2025-02-05T03:10:35.127" v="20" actId="207"/>
          <ac:spMkLst>
            <pc:docMk/>
            <pc:sldMk cId="4042701003" sldId="2147482884"/>
            <ac:spMk id="88" creationId="{9DF638A6-7EFD-55CE-C1FB-69050D0C61AB}"/>
          </ac:spMkLst>
        </pc:spChg>
        <pc:spChg chg="mod">
          <ac:chgData name="Ananth Balasubramanian" userId="03643304-6614-402d-bd42-252d530970f8" providerId="ADAL" clId="{A6ED6E91-8F7E-4EBD-A3D9-A07F54733744}" dt="2025-02-05T03:10:40.215" v="21" actId="207"/>
          <ac:spMkLst>
            <pc:docMk/>
            <pc:sldMk cId="4042701003" sldId="2147482884"/>
            <ac:spMk id="101" creationId="{92EA0BEC-AA88-B620-E2CC-87FC279759F3}"/>
          </ac:spMkLst>
        </pc:spChg>
        <pc:spChg chg="mod">
          <ac:chgData name="Ananth Balasubramanian" userId="03643304-6614-402d-bd42-252d530970f8" providerId="ADAL" clId="{A6ED6E91-8F7E-4EBD-A3D9-A07F54733744}" dt="2025-02-05T03:10:45.243" v="22" actId="207"/>
          <ac:spMkLst>
            <pc:docMk/>
            <pc:sldMk cId="4042701003" sldId="2147482884"/>
            <ac:spMk id="110" creationId="{8979CA37-91E7-F779-9362-BCCE5409C0A2}"/>
          </ac:spMkLst>
        </pc:spChg>
        <pc:spChg chg="mod">
          <ac:chgData name="Ananth Balasubramanian" userId="03643304-6614-402d-bd42-252d530970f8" providerId="ADAL" clId="{A6ED6E91-8F7E-4EBD-A3D9-A07F54733744}" dt="2025-02-05T03:10:49.547" v="23" actId="207"/>
          <ac:spMkLst>
            <pc:docMk/>
            <pc:sldMk cId="4042701003" sldId="2147482884"/>
            <ac:spMk id="119" creationId="{FB57BC91-4611-E77D-DE5D-0F6250EF7603}"/>
          </ac:spMkLst>
        </pc:spChg>
      </pc:sldChg>
      <pc:sldChg chg="modSp mod">
        <pc:chgData name="Ananth Balasubramanian" userId="03643304-6614-402d-bd42-252d530970f8" providerId="ADAL" clId="{A6ED6E91-8F7E-4EBD-A3D9-A07F54733744}" dt="2025-02-05T03:12:01.560" v="60" actId="207"/>
        <pc:sldMkLst>
          <pc:docMk/>
          <pc:sldMk cId="3411714768" sldId="2147483204"/>
        </pc:sldMkLst>
        <pc:spChg chg="mod">
          <ac:chgData name="Ananth Balasubramanian" userId="03643304-6614-402d-bd42-252d530970f8" providerId="ADAL" clId="{A6ED6E91-8F7E-4EBD-A3D9-A07F54733744}" dt="2025-02-05T03:07:39.487" v="12" actId="207"/>
          <ac:spMkLst>
            <pc:docMk/>
            <pc:sldMk cId="3411714768" sldId="2147483204"/>
            <ac:spMk id="31" creationId="{FED5E1DB-356B-4563-BCBA-82882D19FDBF}"/>
          </ac:spMkLst>
        </pc:spChg>
        <pc:spChg chg="mod">
          <ac:chgData name="Ananth Balasubramanian" userId="03643304-6614-402d-bd42-252d530970f8" providerId="ADAL" clId="{A6ED6E91-8F7E-4EBD-A3D9-A07F54733744}" dt="2025-02-05T03:07:33.954" v="11" actId="207"/>
          <ac:spMkLst>
            <pc:docMk/>
            <pc:sldMk cId="3411714768" sldId="2147483204"/>
            <ac:spMk id="41" creationId="{4B1342AF-C226-3803-0ECB-7D6DEF0E987B}"/>
          </ac:spMkLst>
        </pc:spChg>
        <pc:spChg chg="mod">
          <ac:chgData name="Ananth Balasubramanian" userId="03643304-6614-402d-bd42-252d530970f8" providerId="ADAL" clId="{A6ED6E91-8F7E-4EBD-A3D9-A07F54733744}" dt="2025-02-05T03:07:14.911" v="10" actId="207"/>
          <ac:spMkLst>
            <pc:docMk/>
            <pc:sldMk cId="3411714768" sldId="2147483204"/>
            <ac:spMk id="49" creationId="{068CA0EE-147C-D0D7-F210-6020AD3EDE64}"/>
          </ac:spMkLst>
        </pc:spChg>
        <pc:spChg chg="mod">
          <ac:chgData name="Ananth Balasubramanian" userId="03643304-6614-402d-bd42-252d530970f8" providerId="ADAL" clId="{A6ED6E91-8F7E-4EBD-A3D9-A07F54733744}" dt="2025-02-05T03:07:50.110" v="13" actId="207"/>
          <ac:spMkLst>
            <pc:docMk/>
            <pc:sldMk cId="3411714768" sldId="2147483204"/>
            <ac:spMk id="111" creationId="{EAE8956C-485A-0947-2FFC-33494BF1CAB5}"/>
          </ac:spMkLst>
        </pc:spChg>
        <pc:spChg chg="mod">
          <ac:chgData name="Ananth Balasubramanian" userId="03643304-6614-402d-bd42-252d530970f8" providerId="ADAL" clId="{A6ED6E91-8F7E-4EBD-A3D9-A07F54733744}" dt="2025-02-05T03:12:01.560" v="60" actId="207"/>
          <ac:spMkLst>
            <pc:docMk/>
            <pc:sldMk cId="3411714768" sldId="2147483204"/>
            <ac:spMk id="128" creationId="{C0C30A16-1D11-2C21-54DC-6CDFD04C3FF5}"/>
          </ac:spMkLst>
        </pc:spChg>
        <pc:spChg chg="mod">
          <ac:chgData name="Ananth Balasubramanian" userId="03643304-6614-402d-bd42-252d530970f8" providerId="ADAL" clId="{A6ED6E91-8F7E-4EBD-A3D9-A07F54733744}" dt="2025-02-05T03:07:55.332" v="14" actId="207"/>
          <ac:spMkLst>
            <pc:docMk/>
            <pc:sldMk cId="3411714768" sldId="2147483204"/>
            <ac:spMk id="133" creationId="{73AD5EB0-461C-6319-9B02-C849E56B07C5}"/>
          </ac:spMkLst>
        </pc:spChg>
        <pc:spChg chg="mod">
          <ac:chgData name="Ananth Balasubramanian" userId="03643304-6614-402d-bd42-252d530970f8" providerId="ADAL" clId="{A6ED6E91-8F7E-4EBD-A3D9-A07F54733744}" dt="2025-02-05T03:08:00.607" v="15" actId="207"/>
          <ac:spMkLst>
            <pc:docMk/>
            <pc:sldMk cId="3411714768" sldId="2147483204"/>
            <ac:spMk id="144" creationId="{F5E5F4CC-C896-677F-B556-2C1D6F4CEFF4}"/>
          </ac:spMkLst>
        </pc:spChg>
        <pc:spChg chg="mod">
          <ac:chgData name="Ananth Balasubramanian" userId="03643304-6614-402d-bd42-252d530970f8" providerId="ADAL" clId="{A6ED6E91-8F7E-4EBD-A3D9-A07F54733744}" dt="2025-02-05T03:07:01.979" v="9" actId="207"/>
          <ac:spMkLst>
            <pc:docMk/>
            <pc:sldMk cId="3411714768" sldId="2147483204"/>
            <ac:spMk id="155" creationId="{6283D96E-5C44-8496-BB8D-E79F0BCF635C}"/>
          </ac:spMkLst>
        </pc:spChg>
        <pc:spChg chg="mod">
          <ac:chgData name="Ananth Balasubramanian" userId="03643304-6614-402d-bd42-252d530970f8" providerId="ADAL" clId="{A6ED6E91-8F7E-4EBD-A3D9-A07F54733744}" dt="2025-02-05T03:11:51.030" v="58" actId="207"/>
          <ac:spMkLst>
            <pc:docMk/>
            <pc:sldMk cId="3411714768" sldId="2147483204"/>
            <ac:spMk id="173" creationId="{822883E0-D036-1409-143B-F49990506465}"/>
          </ac:spMkLst>
        </pc:spChg>
        <pc:spChg chg="mod">
          <ac:chgData name="Ananth Balasubramanian" userId="03643304-6614-402d-bd42-252d530970f8" providerId="ADAL" clId="{A6ED6E91-8F7E-4EBD-A3D9-A07F54733744}" dt="2025-02-05T03:06:57.295" v="8" actId="207"/>
          <ac:spMkLst>
            <pc:docMk/>
            <pc:sldMk cId="3411714768" sldId="2147483204"/>
            <ac:spMk id="214" creationId="{57097F99-AE25-758A-31DC-36FB563E0EA4}"/>
          </ac:spMkLst>
        </pc:spChg>
      </pc:sldChg>
      <pc:sldChg chg="modSp del mod">
        <pc:chgData name="Ananth Balasubramanian" userId="03643304-6614-402d-bd42-252d530970f8" providerId="ADAL" clId="{A6ED6E91-8F7E-4EBD-A3D9-A07F54733744}" dt="2025-02-05T03:08:31.812" v="17" actId="2696"/>
        <pc:sldMkLst>
          <pc:docMk/>
          <pc:sldMk cId="2195356880" sldId="2147483292"/>
        </pc:sldMkLst>
        <pc:spChg chg="mod">
          <ac:chgData name="Ananth Balasubramanian" userId="03643304-6614-402d-bd42-252d530970f8" providerId="ADAL" clId="{A6ED6E91-8F7E-4EBD-A3D9-A07F54733744}" dt="2025-02-05T03:08:24.846" v="16" actId="207"/>
          <ac:spMkLst>
            <pc:docMk/>
            <pc:sldMk cId="2195356880" sldId="2147483292"/>
            <ac:spMk id="19" creationId="{E57AE79F-AC08-0E03-AE0E-D4E48C1115C5}"/>
          </ac:spMkLst>
        </pc:spChg>
      </pc:sldChg>
      <pc:sldChg chg="modSp mod">
        <pc:chgData name="Ananth Balasubramanian" userId="03643304-6614-402d-bd42-252d530970f8" providerId="ADAL" clId="{A6ED6E91-8F7E-4EBD-A3D9-A07F54733744}" dt="2025-02-05T03:06:48.893" v="7" actId="207"/>
        <pc:sldMkLst>
          <pc:docMk/>
          <pc:sldMk cId="3130312742" sldId="2147483370"/>
        </pc:sldMkLst>
        <pc:spChg chg="mod">
          <ac:chgData name="Ananth Balasubramanian" userId="03643304-6614-402d-bd42-252d530970f8" providerId="ADAL" clId="{A6ED6E91-8F7E-4EBD-A3D9-A07F54733744}" dt="2025-02-05T03:06:43.902" v="6" actId="207"/>
          <ac:spMkLst>
            <pc:docMk/>
            <pc:sldMk cId="3130312742" sldId="2147483370"/>
            <ac:spMk id="37" creationId="{1386A3B2-B14C-FDD9-79D3-3B3C3932D85C}"/>
          </ac:spMkLst>
        </pc:spChg>
        <pc:spChg chg="mod">
          <ac:chgData name="Ananth Balasubramanian" userId="03643304-6614-402d-bd42-252d530970f8" providerId="ADAL" clId="{A6ED6E91-8F7E-4EBD-A3D9-A07F54733744}" dt="2025-02-05T03:06:48.893" v="7" actId="207"/>
          <ac:spMkLst>
            <pc:docMk/>
            <pc:sldMk cId="3130312742" sldId="2147483370"/>
            <ac:spMk id="259" creationId="{95C87DD0-35F4-F439-9D0C-74C237439E77}"/>
          </ac:spMkLst>
        </pc:spChg>
      </pc:sldChg>
    </pc:docChg>
  </pc:docChgLst>
  <pc:docChgLst>
    <pc:chgData name="Aditi Roy" userId="S::aditi.roy@brillio.com::9b557acf-7f70-4e26-84cd-4d9f55f6478e" providerId="AD" clId="Web-{4E699727-C9C7-B6B6-6E5C-E893A6EDB17B}"/>
    <pc:docChg chg="addSld modSld">
      <pc:chgData name="Aditi Roy" userId="S::aditi.roy@brillio.com::9b557acf-7f70-4e26-84cd-4d9f55f6478e" providerId="AD" clId="Web-{4E699727-C9C7-B6B6-6E5C-E893A6EDB17B}" dt="2025-01-10T13:29:20.508" v="273" actId="1076"/>
      <pc:docMkLst>
        <pc:docMk/>
      </pc:docMkLst>
      <pc:sldChg chg="addSp delSp modSp">
        <pc:chgData name="Aditi Roy" userId="S::aditi.roy@brillio.com::9b557acf-7f70-4e26-84cd-4d9f55f6478e" providerId="AD" clId="Web-{4E699727-C9C7-B6B6-6E5C-E893A6EDB17B}" dt="2025-01-10T13:17:09.464" v="37" actId="20577"/>
        <pc:sldMkLst>
          <pc:docMk/>
          <pc:sldMk cId="2384182653" sldId="265"/>
        </pc:sldMkLst>
      </pc:sldChg>
      <pc:sldChg chg="addSp delSp modSp add replId">
        <pc:chgData name="Aditi Roy" userId="S::aditi.roy@brillio.com::9b557acf-7f70-4e26-84cd-4d9f55f6478e" providerId="AD" clId="Web-{4E699727-C9C7-B6B6-6E5C-E893A6EDB17B}" dt="2025-01-10T13:22:49.539" v="142" actId="1076"/>
        <pc:sldMkLst>
          <pc:docMk/>
          <pc:sldMk cId="3816778254" sldId="2147483645"/>
        </pc:sldMkLst>
      </pc:sldChg>
      <pc:sldChg chg="addSp delSp modSp add replId">
        <pc:chgData name="Aditi Roy" userId="S::aditi.roy@brillio.com::9b557acf-7f70-4e26-84cd-4d9f55f6478e" providerId="AD" clId="Web-{4E699727-C9C7-B6B6-6E5C-E893A6EDB17B}" dt="2025-01-10T13:29:20.508" v="273" actId="1076"/>
        <pc:sldMkLst>
          <pc:docMk/>
          <pc:sldMk cId="3043737274" sldId="2147483647"/>
        </pc:sldMkLst>
      </pc:sldChg>
    </pc:docChg>
  </pc:docChgLst>
  <pc:docChgLst>
    <pc:chgData name="Adwait Aralkar" userId="ae1719c1-ed02-42aa-a1d9-0d6e6247f692" providerId="ADAL" clId="{E83756EB-1544-42DC-BA2C-281AA4ABBF80}"/>
    <pc:docChg chg="undo custSel addSld delSld modSld">
      <pc:chgData name="Adwait Aralkar" userId="ae1719c1-ed02-42aa-a1d9-0d6e6247f692" providerId="ADAL" clId="{E83756EB-1544-42DC-BA2C-281AA4ABBF80}" dt="2025-02-06T17:01:42.600" v="2517" actId="2711"/>
      <pc:docMkLst>
        <pc:docMk/>
      </pc:docMkLst>
      <pc:sldChg chg="delSp modSp mod">
        <pc:chgData name="Adwait Aralkar" userId="ae1719c1-ed02-42aa-a1d9-0d6e6247f692" providerId="ADAL" clId="{E83756EB-1544-42DC-BA2C-281AA4ABBF80}" dt="2025-02-05T13:16:40.358" v="2159" actId="478"/>
        <pc:sldMkLst>
          <pc:docMk/>
          <pc:sldMk cId="508278704" sldId="257"/>
        </pc:sldMkLst>
        <pc:spChg chg="mod">
          <ac:chgData name="Adwait Aralkar" userId="ae1719c1-ed02-42aa-a1d9-0d6e6247f692" providerId="ADAL" clId="{E83756EB-1544-42DC-BA2C-281AA4ABBF80}" dt="2025-02-04T10:35:10.016" v="30" actId="13926"/>
          <ac:spMkLst>
            <pc:docMk/>
            <pc:sldMk cId="508278704" sldId="257"/>
            <ac:spMk id="3" creationId="{6FAF2BE4-9C90-C04B-5F78-BBBDE63578DE}"/>
          </ac:spMkLst>
        </pc:spChg>
        <pc:spChg chg="del">
          <ac:chgData name="Adwait Aralkar" userId="ae1719c1-ed02-42aa-a1d9-0d6e6247f692" providerId="ADAL" clId="{E83756EB-1544-42DC-BA2C-281AA4ABBF80}" dt="2025-02-05T13:16:40.358" v="2159" actId="478"/>
          <ac:spMkLst>
            <pc:docMk/>
            <pc:sldMk cId="508278704" sldId="257"/>
            <ac:spMk id="4" creationId="{B7EF5AFA-D632-A804-D39E-F556D2875E35}"/>
          </ac:spMkLst>
        </pc:spChg>
      </pc:sldChg>
      <pc:sldChg chg="addSp modSp del mod modShow modNotesTx">
        <pc:chgData name="Adwait Aralkar" userId="ae1719c1-ed02-42aa-a1d9-0d6e6247f692" providerId="ADAL" clId="{E83756EB-1544-42DC-BA2C-281AA4ABBF80}" dt="2025-02-05T06:02:12.042" v="1024" actId="2696"/>
        <pc:sldMkLst>
          <pc:docMk/>
          <pc:sldMk cId="205159607" sldId="258"/>
        </pc:sldMkLst>
      </pc:sldChg>
      <pc:sldChg chg="addSp delSp modSp mod">
        <pc:chgData name="Adwait Aralkar" userId="ae1719c1-ed02-42aa-a1d9-0d6e6247f692" providerId="ADAL" clId="{E83756EB-1544-42DC-BA2C-281AA4ABBF80}" dt="2025-02-05T11:00:43.574" v="1921" actId="1035"/>
        <pc:sldMkLst>
          <pc:docMk/>
          <pc:sldMk cId="2396673663" sldId="258"/>
        </pc:sldMkLst>
        <pc:spChg chg="mod">
          <ac:chgData name="Adwait Aralkar" userId="ae1719c1-ed02-42aa-a1d9-0d6e6247f692" providerId="ADAL" clId="{E83756EB-1544-42DC-BA2C-281AA4ABBF80}" dt="2025-02-05T09:51:26.783" v="1362" actId="1076"/>
          <ac:spMkLst>
            <pc:docMk/>
            <pc:sldMk cId="2396673663" sldId="258"/>
            <ac:spMk id="6" creationId="{E355E589-0CFD-0C24-916A-45F0F0313227}"/>
          </ac:spMkLst>
        </pc:spChg>
        <pc:spChg chg="mod">
          <ac:chgData name="Adwait Aralkar" userId="ae1719c1-ed02-42aa-a1d9-0d6e6247f692" providerId="ADAL" clId="{E83756EB-1544-42DC-BA2C-281AA4ABBF80}" dt="2025-02-05T09:51:26.783" v="1362" actId="1076"/>
          <ac:spMkLst>
            <pc:docMk/>
            <pc:sldMk cId="2396673663" sldId="258"/>
            <ac:spMk id="7" creationId="{69767CD9-585C-77D6-EBE7-4C88DBFD745C}"/>
          </ac:spMkLst>
        </pc:spChg>
        <pc:spChg chg="mod">
          <ac:chgData name="Adwait Aralkar" userId="ae1719c1-ed02-42aa-a1d9-0d6e6247f692" providerId="ADAL" clId="{E83756EB-1544-42DC-BA2C-281AA4ABBF80}" dt="2025-02-05T09:51:26.783" v="1362" actId="1076"/>
          <ac:spMkLst>
            <pc:docMk/>
            <pc:sldMk cId="2396673663" sldId="258"/>
            <ac:spMk id="8" creationId="{CBD3C7BB-4D4B-87FA-8921-575463566FA5}"/>
          </ac:spMkLst>
        </pc:spChg>
        <pc:spChg chg="mod">
          <ac:chgData name="Adwait Aralkar" userId="ae1719c1-ed02-42aa-a1d9-0d6e6247f692" providerId="ADAL" clId="{E83756EB-1544-42DC-BA2C-281AA4ABBF80}" dt="2025-02-05T09:51:26.783" v="1362" actId="1076"/>
          <ac:spMkLst>
            <pc:docMk/>
            <pc:sldMk cId="2396673663" sldId="258"/>
            <ac:spMk id="9" creationId="{B1C8AD74-8043-7211-134C-EA3EF303A4BE}"/>
          </ac:spMkLst>
        </pc:spChg>
        <pc:spChg chg="mod">
          <ac:chgData name="Adwait Aralkar" userId="ae1719c1-ed02-42aa-a1d9-0d6e6247f692" providerId="ADAL" clId="{E83756EB-1544-42DC-BA2C-281AA4ABBF80}" dt="2025-02-05T09:51:26.783" v="1362" actId="1076"/>
          <ac:spMkLst>
            <pc:docMk/>
            <pc:sldMk cId="2396673663" sldId="258"/>
            <ac:spMk id="10" creationId="{D1841D89-C00F-EA00-6D7D-038126AB9350}"/>
          </ac:spMkLst>
        </pc:spChg>
        <pc:spChg chg="mod">
          <ac:chgData name="Adwait Aralkar" userId="ae1719c1-ed02-42aa-a1d9-0d6e6247f692" providerId="ADAL" clId="{E83756EB-1544-42DC-BA2C-281AA4ABBF80}" dt="2025-02-05T10:25:16.431" v="1862" actId="14100"/>
          <ac:spMkLst>
            <pc:docMk/>
            <pc:sldMk cId="2396673663" sldId="258"/>
            <ac:spMk id="11" creationId="{146C378D-C13A-C06F-FFEF-81DC8FF6BDAE}"/>
          </ac:spMkLst>
        </pc:spChg>
        <pc:spChg chg="mod">
          <ac:chgData name="Adwait Aralkar" userId="ae1719c1-ed02-42aa-a1d9-0d6e6247f692" providerId="ADAL" clId="{E83756EB-1544-42DC-BA2C-281AA4ABBF80}" dt="2025-02-05T09:51:26.783" v="1362" actId="1076"/>
          <ac:spMkLst>
            <pc:docMk/>
            <pc:sldMk cId="2396673663" sldId="258"/>
            <ac:spMk id="12" creationId="{988AEE5F-7FAB-4E84-AC94-173887299C14}"/>
          </ac:spMkLst>
        </pc:spChg>
        <pc:spChg chg="mod">
          <ac:chgData name="Adwait Aralkar" userId="ae1719c1-ed02-42aa-a1d9-0d6e6247f692" providerId="ADAL" clId="{E83756EB-1544-42DC-BA2C-281AA4ABBF80}" dt="2025-02-05T09:51:26.783" v="1362" actId="1076"/>
          <ac:spMkLst>
            <pc:docMk/>
            <pc:sldMk cId="2396673663" sldId="258"/>
            <ac:spMk id="13" creationId="{465A0DC0-5EA0-8AED-2582-57F76F57ADDE}"/>
          </ac:spMkLst>
        </pc:spChg>
        <pc:spChg chg="mod">
          <ac:chgData name="Adwait Aralkar" userId="ae1719c1-ed02-42aa-a1d9-0d6e6247f692" providerId="ADAL" clId="{E83756EB-1544-42DC-BA2C-281AA4ABBF80}" dt="2025-02-05T09:51:26.783" v="1362" actId="1076"/>
          <ac:spMkLst>
            <pc:docMk/>
            <pc:sldMk cId="2396673663" sldId="258"/>
            <ac:spMk id="14" creationId="{7633B27D-670F-1B9C-7F69-F6BD3047B62B}"/>
          </ac:spMkLst>
        </pc:spChg>
        <pc:spChg chg="mod">
          <ac:chgData name="Adwait Aralkar" userId="ae1719c1-ed02-42aa-a1d9-0d6e6247f692" providerId="ADAL" clId="{E83756EB-1544-42DC-BA2C-281AA4ABBF80}" dt="2025-02-05T09:26:00.840" v="1102" actId="1076"/>
          <ac:spMkLst>
            <pc:docMk/>
            <pc:sldMk cId="2396673663" sldId="258"/>
            <ac:spMk id="15" creationId="{2833C2F5-EE08-9963-D0BF-DD4F5D1ACB7B}"/>
          </ac:spMkLst>
        </pc:spChg>
        <pc:spChg chg="mod">
          <ac:chgData name="Adwait Aralkar" userId="ae1719c1-ed02-42aa-a1d9-0d6e6247f692" providerId="ADAL" clId="{E83756EB-1544-42DC-BA2C-281AA4ABBF80}" dt="2025-02-05T09:50:41.456" v="1354" actId="1076"/>
          <ac:spMkLst>
            <pc:docMk/>
            <pc:sldMk cId="2396673663" sldId="258"/>
            <ac:spMk id="16" creationId="{674BA63F-7D39-4B4E-C82A-1462FB9558AD}"/>
          </ac:spMkLst>
        </pc:spChg>
        <pc:spChg chg="mod">
          <ac:chgData name="Adwait Aralkar" userId="ae1719c1-ed02-42aa-a1d9-0d6e6247f692" providerId="ADAL" clId="{E83756EB-1544-42DC-BA2C-281AA4ABBF80}" dt="2025-02-05T09:26:00.840" v="1102" actId="1076"/>
          <ac:spMkLst>
            <pc:docMk/>
            <pc:sldMk cId="2396673663" sldId="258"/>
            <ac:spMk id="17" creationId="{DFB6BDE6-4D5F-5079-7A14-123E8C35456E}"/>
          </ac:spMkLst>
        </pc:spChg>
        <pc:spChg chg="mod">
          <ac:chgData name="Adwait Aralkar" userId="ae1719c1-ed02-42aa-a1d9-0d6e6247f692" providerId="ADAL" clId="{E83756EB-1544-42DC-BA2C-281AA4ABBF80}" dt="2025-02-05T10:26:38.871" v="1871" actId="1076"/>
          <ac:spMkLst>
            <pc:docMk/>
            <pc:sldMk cId="2396673663" sldId="258"/>
            <ac:spMk id="29" creationId="{6C0C254F-86E7-9548-45F0-D74679584B8F}"/>
          </ac:spMkLst>
        </pc:spChg>
        <pc:spChg chg="mod">
          <ac:chgData name="Adwait Aralkar" userId="ae1719c1-ed02-42aa-a1d9-0d6e6247f692" providerId="ADAL" clId="{E83756EB-1544-42DC-BA2C-281AA4ABBF80}" dt="2025-02-05T09:26:00.840" v="1102" actId="1076"/>
          <ac:spMkLst>
            <pc:docMk/>
            <pc:sldMk cId="2396673663" sldId="258"/>
            <ac:spMk id="30" creationId="{398193B2-E853-DB63-3783-A2D77145C93B}"/>
          </ac:spMkLst>
        </pc:spChg>
        <pc:spChg chg="mod">
          <ac:chgData name="Adwait Aralkar" userId="ae1719c1-ed02-42aa-a1d9-0d6e6247f692" providerId="ADAL" clId="{E83756EB-1544-42DC-BA2C-281AA4ABBF80}" dt="2025-02-05T09:26:00.840" v="1102" actId="1076"/>
          <ac:spMkLst>
            <pc:docMk/>
            <pc:sldMk cId="2396673663" sldId="258"/>
            <ac:spMk id="31" creationId="{D580E771-D00F-B6ED-9D11-A5EFC15921E3}"/>
          </ac:spMkLst>
        </pc:spChg>
        <pc:spChg chg="mod">
          <ac:chgData name="Adwait Aralkar" userId="ae1719c1-ed02-42aa-a1d9-0d6e6247f692" providerId="ADAL" clId="{E83756EB-1544-42DC-BA2C-281AA4ABBF80}" dt="2025-02-05T09:26:00.840" v="1102" actId="1076"/>
          <ac:spMkLst>
            <pc:docMk/>
            <pc:sldMk cId="2396673663" sldId="258"/>
            <ac:spMk id="32" creationId="{E60ECA0E-C3D5-4259-093F-4465EB0FE87B}"/>
          </ac:spMkLst>
        </pc:spChg>
        <pc:spChg chg="mod">
          <ac:chgData name="Adwait Aralkar" userId="ae1719c1-ed02-42aa-a1d9-0d6e6247f692" providerId="ADAL" clId="{E83756EB-1544-42DC-BA2C-281AA4ABBF80}" dt="2025-02-05T09:26:00.840" v="1102" actId="1076"/>
          <ac:spMkLst>
            <pc:docMk/>
            <pc:sldMk cId="2396673663" sldId="258"/>
            <ac:spMk id="33" creationId="{782EBF6A-3422-B21F-791C-9182B7E24EBC}"/>
          </ac:spMkLst>
        </pc:spChg>
        <pc:spChg chg="mod">
          <ac:chgData name="Adwait Aralkar" userId="ae1719c1-ed02-42aa-a1d9-0d6e6247f692" providerId="ADAL" clId="{E83756EB-1544-42DC-BA2C-281AA4ABBF80}" dt="2025-02-05T09:26:00.840" v="1102" actId="1076"/>
          <ac:spMkLst>
            <pc:docMk/>
            <pc:sldMk cId="2396673663" sldId="258"/>
            <ac:spMk id="35" creationId="{C91E3352-243C-018A-F89C-2AC6E850D804}"/>
          </ac:spMkLst>
        </pc:spChg>
        <pc:spChg chg="add mod">
          <ac:chgData name="Adwait Aralkar" userId="ae1719c1-ed02-42aa-a1d9-0d6e6247f692" providerId="ADAL" clId="{E83756EB-1544-42DC-BA2C-281AA4ABBF80}" dt="2025-02-05T10:27:14.287" v="1881" actId="14100"/>
          <ac:spMkLst>
            <pc:docMk/>
            <pc:sldMk cId="2396673663" sldId="258"/>
            <ac:spMk id="36" creationId="{D74160C1-575B-2F00-AE95-C726AB3DA653}"/>
          </ac:spMkLst>
        </pc:spChg>
        <pc:spChg chg="add del mod">
          <ac:chgData name="Adwait Aralkar" userId="ae1719c1-ed02-42aa-a1d9-0d6e6247f692" providerId="ADAL" clId="{E83756EB-1544-42DC-BA2C-281AA4ABBF80}" dt="2025-02-05T10:25:52.960" v="1863" actId="478"/>
          <ac:spMkLst>
            <pc:docMk/>
            <pc:sldMk cId="2396673663" sldId="258"/>
            <ac:spMk id="37" creationId="{5B8E7E49-3BF5-78E2-7D07-22B09B9C9A8A}"/>
          </ac:spMkLst>
        </pc:spChg>
        <pc:spChg chg="mod">
          <ac:chgData name="Adwait Aralkar" userId="ae1719c1-ed02-42aa-a1d9-0d6e6247f692" providerId="ADAL" clId="{E83756EB-1544-42DC-BA2C-281AA4ABBF80}" dt="2025-02-05T10:02:25.018" v="1432" actId="12789"/>
          <ac:spMkLst>
            <pc:docMk/>
            <pc:sldMk cId="2396673663" sldId="258"/>
            <ac:spMk id="38" creationId="{F02D3C8C-B6E7-17B8-F970-03A866939942}"/>
          </ac:spMkLst>
        </pc:spChg>
        <pc:spChg chg="mod">
          <ac:chgData name="Adwait Aralkar" userId="ae1719c1-ed02-42aa-a1d9-0d6e6247f692" providerId="ADAL" clId="{E83756EB-1544-42DC-BA2C-281AA4ABBF80}" dt="2025-02-05T10:02:25.018" v="1432" actId="12789"/>
          <ac:spMkLst>
            <pc:docMk/>
            <pc:sldMk cId="2396673663" sldId="258"/>
            <ac:spMk id="39" creationId="{2A92E4EC-AA1A-FFCA-E2E1-A570C79A59C8}"/>
          </ac:spMkLst>
        </pc:spChg>
        <pc:spChg chg="mod">
          <ac:chgData name="Adwait Aralkar" userId="ae1719c1-ed02-42aa-a1d9-0d6e6247f692" providerId="ADAL" clId="{E83756EB-1544-42DC-BA2C-281AA4ABBF80}" dt="2025-02-05T09:26:00.840" v="1102" actId="1076"/>
          <ac:spMkLst>
            <pc:docMk/>
            <pc:sldMk cId="2396673663" sldId="258"/>
            <ac:spMk id="40" creationId="{954A66E9-8573-6ECB-9A67-FF2E593653F4}"/>
          </ac:spMkLst>
        </pc:spChg>
        <pc:spChg chg="add mod">
          <ac:chgData name="Adwait Aralkar" userId="ae1719c1-ed02-42aa-a1d9-0d6e6247f692" providerId="ADAL" clId="{E83756EB-1544-42DC-BA2C-281AA4ABBF80}" dt="2025-02-05T10:27:19.398" v="1882" actId="14100"/>
          <ac:spMkLst>
            <pc:docMk/>
            <pc:sldMk cId="2396673663" sldId="258"/>
            <ac:spMk id="41" creationId="{84AF4ECF-F14A-46F2-D2E3-EC26723EE0CA}"/>
          </ac:spMkLst>
        </pc:spChg>
        <pc:spChg chg="mod">
          <ac:chgData name="Adwait Aralkar" userId="ae1719c1-ed02-42aa-a1d9-0d6e6247f692" providerId="ADAL" clId="{E83756EB-1544-42DC-BA2C-281AA4ABBF80}" dt="2025-02-05T09:26:30.327" v="1108" actId="14100"/>
          <ac:spMkLst>
            <pc:docMk/>
            <pc:sldMk cId="2396673663" sldId="258"/>
            <ac:spMk id="42" creationId="{91AA8356-3817-1422-E5D9-862807C99EFC}"/>
          </ac:spMkLst>
        </pc:spChg>
        <pc:spChg chg="add mod">
          <ac:chgData name="Adwait Aralkar" userId="ae1719c1-ed02-42aa-a1d9-0d6e6247f692" providerId="ADAL" clId="{E83756EB-1544-42DC-BA2C-281AA4ABBF80}" dt="2025-02-05T10:26:06.110" v="1865" actId="1076"/>
          <ac:spMkLst>
            <pc:docMk/>
            <pc:sldMk cId="2396673663" sldId="258"/>
            <ac:spMk id="45" creationId="{AC85E602-A933-1EED-7B22-AEFCA5F56D5A}"/>
          </ac:spMkLst>
        </pc:spChg>
        <pc:spChg chg="mod">
          <ac:chgData name="Adwait Aralkar" userId="ae1719c1-ed02-42aa-a1d9-0d6e6247f692" providerId="ADAL" clId="{E83756EB-1544-42DC-BA2C-281AA4ABBF80}" dt="2025-02-05T11:00:43.574" v="1921" actId="1035"/>
          <ac:spMkLst>
            <pc:docMk/>
            <pc:sldMk cId="2396673663" sldId="258"/>
            <ac:spMk id="49" creationId="{9BA1F2F5-BC7B-5AA6-6879-C37DB2CB8B6B}"/>
          </ac:spMkLst>
        </pc:spChg>
        <pc:spChg chg="mod">
          <ac:chgData name="Adwait Aralkar" userId="ae1719c1-ed02-42aa-a1d9-0d6e6247f692" providerId="ADAL" clId="{E83756EB-1544-42DC-BA2C-281AA4ABBF80}" dt="2025-02-05T11:00:43.574" v="1921" actId="1035"/>
          <ac:spMkLst>
            <pc:docMk/>
            <pc:sldMk cId="2396673663" sldId="258"/>
            <ac:spMk id="50" creationId="{04998E51-7CF9-E27B-94CA-710E9028DC9D}"/>
          </ac:spMkLst>
        </pc:spChg>
        <pc:spChg chg="mod">
          <ac:chgData name="Adwait Aralkar" userId="ae1719c1-ed02-42aa-a1d9-0d6e6247f692" providerId="ADAL" clId="{E83756EB-1544-42DC-BA2C-281AA4ABBF80}" dt="2025-02-05T11:00:43.574" v="1921" actId="1035"/>
          <ac:spMkLst>
            <pc:docMk/>
            <pc:sldMk cId="2396673663" sldId="258"/>
            <ac:spMk id="52" creationId="{DC3E4892-D88D-684A-782D-E64FF9ECB15D}"/>
          </ac:spMkLst>
        </pc:spChg>
        <pc:spChg chg="mod">
          <ac:chgData name="Adwait Aralkar" userId="ae1719c1-ed02-42aa-a1d9-0d6e6247f692" providerId="ADAL" clId="{E83756EB-1544-42DC-BA2C-281AA4ABBF80}" dt="2025-02-05T11:00:43.574" v="1921" actId="1035"/>
          <ac:spMkLst>
            <pc:docMk/>
            <pc:sldMk cId="2396673663" sldId="258"/>
            <ac:spMk id="53" creationId="{5EDA3D22-265E-F24E-308A-2576E4339DDD}"/>
          </ac:spMkLst>
        </pc:spChg>
        <pc:spChg chg="mod">
          <ac:chgData name="Adwait Aralkar" userId="ae1719c1-ed02-42aa-a1d9-0d6e6247f692" providerId="ADAL" clId="{E83756EB-1544-42DC-BA2C-281AA4ABBF80}" dt="2025-02-05T11:00:43.574" v="1921" actId="1035"/>
          <ac:spMkLst>
            <pc:docMk/>
            <pc:sldMk cId="2396673663" sldId="258"/>
            <ac:spMk id="56" creationId="{CA5B8A77-FDC0-94BC-98D0-BB254E1F54FB}"/>
          </ac:spMkLst>
        </pc:spChg>
        <pc:spChg chg="mod">
          <ac:chgData name="Adwait Aralkar" userId="ae1719c1-ed02-42aa-a1d9-0d6e6247f692" providerId="ADAL" clId="{E83756EB-1544-42DC-BA2C-281AA4ABBF80}" dt="2025-02-05T11:00:43.574" v="1921" actId="1035"/>
          <ac:spMkLst>
            <pc:docMk/>
            <pc:sldMk cId="2396673663" sldId="258"/>
            <ac:spMk id="57" creationId="{F5880F4D-0042-411B-2DE3-F64C5CEE0819}"/>
          </ac:spMkLst>
        </pc:spChg>
        <pc:spChg chg="add mod">
          <ac:chgData name="Adwait Aralkar" userId="ae1719c1-ed02-42aa-a1d9-0d6e6247f692" providerId="ADAL" clId="{E83756EB-1544-42DC-BA2C-281AA4ABBF80}" dt="2025-02-05T10:26:06.110" v="1865" actId="1076"/>
          <ac:spMkLst>
            <pc:docMk/>
            <pc:sldMk cId="2396673663" sldId="258"/>
            <ac:spMk id="58" creationId="{E120FA51-70C7-FC13-3E8B-DDBB10A58F4F}"/>
          </ac:spMkLst>
        </pc:spChg>
        <pc:spChg chg="add mod">
          <ac:chgData name="Adwait Aralkar" userId="ae1719c1-ed02-42aa-a1d9-0d6e6247f692" providerId="ADAL" clId="{E83756EB-1544-42DC-BA2C-281AA4ABBF80}" dt="2025-02-05T10:26:06.110" v="1865" actId="1076"/>
          <ac:spMkLst>
            <pc:docMk/>
            <pc:sldMk cId="2396673663" sldId="258"/>
            <ac:spMk id="59" creationId="{E2F78D91-5311-95B2-2EB3-20DE1B461EBC}"/>
          </ac:spMkLst>
        </pc:spChg>
        <pc:spChg chg="add mod">
          <ac:chgData name="Adwait Aralkar" userId="ae1719c1-ed02-42aa-a1d9-0d6e6247f692" providerId="ADAL" clId="{E83756EB-1544-42DC-BA2C-281AA4ABBF80}" dt="2025-02-05T11:00:43.574" v="1921" actId="1035"/>
          <ac:spMkLst>
            <pc:docMk/>
            <pc:sldMk cId="2396673663" sldId="258"/>
            <ac:spMk id="60" creationId="{A168D262-1435-D0E8-2956-A6522B251F24}"/>
          </ac:spMkLst>
        </pc:spChg>
        <pc:spChg chg="add mod">
          <ac:chgData name="Adwait Aralkar" userId="ae1719c1-ed02-42aa-a1d9-0d6e6247f692" providerId="ADAL" clId="{E83756EB-1544-42DC-BA2C-281AA4ABBF80}" dt="2025-02-05T11:00:43.574" v="1921" actId="1035"/>
          <ac:spMkLst>
            <pc:docMk/>
            <pc:sldMk cId="2396673663" sldId="258"/>
            <ac:spMk id="61" creationId="{E72CE81A-3141-6397-8B12-913722FA46B1}"/>
          </ac:spMkLst>
        </pc:spChg>
        <pc:grpChg chg="add mod">
          <ac:chgData name="Adwait Aralkar" userId="ae1719c1-ed02-42aa-a1d9-0d6e6247f692" providerId="ADAL" clId="{E83756EB-1544-42DC-BA2C-281AA4ABBF80}" dt="2025-02-05T09:51:26.783" v="1362" actId="1076"/>
          <ac:grpSpMkLst>
            <pc:docMk/>
            <pc:sldMk cId="2396673663" sldId="258"/>
            <ac:grpSpMk id="2" creationId="{CB7D9DD8-2E60-82F6-5F33-105532E805A3}"/>
          </ac:grpSpMkLst>
        </pc:grpChg>
        <pc:grpChg chg="mod">
          <ac:chgData name="Adwait Aralkar" userId="ae1719c1-ed02-42aa-a1d9-0d6e6247f692" providerId="ADAL" clId="{E83756EB-1544-42DC-BA2C-281AA4ABBF80}" dt="2025-02-05T09:26:12.872" v="1104" actId="1076"/>
          <ac:grpSpMkLst>
            <pc:docMk/>
            <pc:sldMk cId="2396673663" sldId="258"/>
            <ac:grpSpMk id="3" creationId="{1AAF65C6-DCA8-A904-A827-F8548982D9AC}"/>
          </ac:grpSpMkLst>
        </pc:grpChg>
        <pc:grpChg chg="mod">
          <ac:chgData name="Adwait Aralkar" userId="ae1719c1-ed02-42aa-a1d9-0d6e6247f692" providerId="ADAL" clId="{E83756EB-1544-42DC-BA2C-281AA4ABBF80}" dt="2025-02-05T09:26:12.872" v="1104" actId="1076"/>
          <ac:grpSpMkLst>
            <pc:docMk/>
            <pc:sldMk cId="2396673663" sldId="258"/>
            <ac:grpSpMk id="4" creationId="{708FC260-C70E-8D92-9681-7C549AC85709}"/>
          </ac:grpSpMkLst>
        </pc:grpChg>
        <pc:grpChg chg="mod">
          <ac:chgData name="Adwait Aralkar" userId="ae1719c1-ed02-42aa-a1d9-0d6e6247f692" providerId="ADAL" clId="{E83756EB-1544-42DC-BA2C-281AA4ABBF80}" dt="2025-02-05T09:51:26.783" v="1362" actId="1076"/>
          <ac:grpSpMkLst>
            <pc:docMk/>
            <pc:sldMk cId="2396673663" sldId="258"/>
            <ac:grpSpMk id="21" creationId="{03F1CB85-46C2-D7A5-EBE9-55A5E867D2CD}"/>
          </ac:grpSpMkLst>
        </pc:grpChg>
        <pc:grpChg chg="mod">
          <ac:chgData name="Adwait Aralkar" userId="ae1719c1-ed02-42aa-a1d9-0d6e6247f692" providerId="ADAL" clId="{E83756EB-1544-42DC-BA2C-281AA4ABBF80}" dt="2025-02-05T09:51:26.783" v="1362" actId="1076"/>
          <ac:grpSpMkLst>
            <pc:docMk/>
            <pc:sldMk cId="2396673663" sldId="258"/>
            <ac:grpSpMk id="23" creationId="{FD55463B-74EB-5F69-B955-EC7A6DD613B7}"/>
          </ac:grpSpMkLst>
        </pc:grpChg>
        <pc:grpChg chg="mod">
          <ac:chgData name="Adwait Aralkar" userId="ae1719c1-ed02-42aa-a1d9-0d6e6247f692" providerId="ADAL" clId="{E83756EB-1544-42DC-BA2C-281AA4ABBF80}" dt="2025-02-05T09:51:26.783" v="1362" actId="1076"/>
          <ac:grpSpMkLst>
            <pc:docMk/>
            <pc:sldMk cId="2396673663" sldId="258"/>
            <ac:grpSpMk id="24" creationId="{10C7DCE5-6853-D214-A5E9-C50B3215CE67}"/>
          </ac:grpSpMkLst>
        </pc:grpChg>
        <pc:grpChg chg="add mod">
          <ac:chgData name="Adwait Aralkar" userId="ae1719c1-ed02-42aa-a1d9-0d6e6247f692" providerId="ADAL" clId="{E83756EB-1544-42DC-BA2C-281AA4ABBF80}" dt="2025-02-05T09:51:26.783" v="1362" actId="1076"/>
          <ac:grpSpMkLst>
            <pc:docMk/>
            <pc:sldMk cId="2396673663" sldId="258"/>
            <ac:grpSpMk id="34" creationId="{FD1590FC-767C-7457-12EC-C2524D8705DF}"/>
          </ac:grpSpMkLst>
        </pc:grpChg>
        <pc:grpChg chg="add mod">
          <ac:chgData name="Adwait Aralkar" userId="ae1719c1-ed02-42aa-a1d9-0d6e6247f692" providerId="ADAL" clId="{E83756EB-1544-42DC-BA2C-281AA4ABBF80}" dt="2025-02-05T10:26:06.110" v="1865" actId="1076"/>
          <ac:grpSpMkLst>
            <pc:docMk/>
            <pc:sldMk cId="2396673663" sldId="258"/>
            <ac:grpSpMk id="48" creationId="{617CCEAD-6E6D-450A-5956-BF6E991C7AC9}"/>
          </ac:grpSpMkLst>
        </pc:grpChg>
        <pc:grpChg chg="add mod">
          <ac:chgData name="Adwait Aralkar" userId="ae1719c1-ed02-42aa-a1d9-0d6e6247f692" providerId="ADAL" clId="{E83756EB-1544-42DC-BA2C-281AA4ABBF80}" dt="2025-02-05T10:26:06.110" v="1865" actId="1076"/>
          <ac:grpSpMkLst>
            <pc:docMk/>
            <pc:sldMk cId="2396673663" sldId="258"/>
            <ac:grpSpMk id="51" creationId="{54F23A41-61F8-3879-F456-3CD129CE7016}"/>
          </ac:grpSpMkLst>
        </pc:grpChg>
        <pc:grpChg chg="add mod">
          <ac:chgData name="Adwait Aralkar" userId="ae1719c1-ed02-42aa-a1d9-0d6e6247f692" providerId="ADAL" clId="{E83756EB-1544-42DC-BA2C-281AA4ABBF80}" dt="2025-02-05T10:26:06.110" v="1865" actId="1076"/>
          <ac:grpSpMkLst>
            <pc:docMk/>
            <pc:sldMk cId="2396673663" sldId="258"/>
            <ac:grpSpMk id="55" creationId="{F978A6C5-D175-8687-26EB-313F3BF55610}"/>
          </ac:grpSpMkLst>
        </pc:grpChg>
        <pc:grpChg chg="add mod">
          <ac:chgData name="Adwait Aralkar" userId="ae1719c1-ed02-42aa-a1d9-0d6e6247f692" providerId="ADAL" clId="{E83756EB-1544-42DC-BA2C-281AA4ABBF80}" dt="2025-02-05T10:26:06.110" v="1865" actId="1076"/>
          <ac:grpSpMkLst>
            <pc:docMk/>
            <pc:sldMk cId="2396673663" sldId="258"/>
            <ac:grpSpMk id="62" creationId="{BF2EB819-51C3-3F9D-7334-D9D0F7CD8171}"/>
          </ac:grpSpMkLst>
        </pc:grpChg>
        <pc:grpChg chg="add del mod">
          <ac:chgData name="Adwait Aralkar" userId="ae1719c1-ed02-42aa-a1d9-0d6e6247f692" providerId="ADAL" clId="{E83756EB-1544-42DC-BA2C-281AA4ABBF80}" dt="2025-02-05T09:51:05.001" v="1358" actId="478"/>
          <ac:grpSpMkLst>
            <pc:docMk/>
            <pc:sldMk cId="2396673663" sldId="258"/>
            <ac:grpSpMk id="63" creationId="{032D34FE-86F3-00ED-C413-D564E811BE1E}"/>
          </ac:grpSpMkLst>
        </pc:grpChg>
        <pc:grpChg chg="add mod">
          <ac:chgData name="Adwait Aralkar" userId="ae1719c1-ed02-42aa-a1d9-0d6e6247f692" providerId="ADAL" clId="{E83756EB-1544-42DC-BA2C-281AA4ABBF80}" dt="2025-02-05T09:51:26.783" v="1362" actId="1076"/>
          <ac:grpSpMkLst>
            <pc:docMk/>
            <pc:sldMk cId="2396673663" sldId="258"/>
            <ac:grpSpMk id="3088" creationId="{990CCCD9-8BD2-A3D1-F24E-E9BB1129C5D9}"/>
          </ac:grpSpMkLst>
        </pc:grpChg>
        <pc:picChg chg="mod">
          <ac:chgData name="Adwait Aralkar" userId="ae1719c1-ed02-42aa-a1d9-0d6e6247f692" providerId="ADAL" clId="{E83756EB-1544-42DC-BA2C-281AA4ABBF80}" dt="2025-02-05T09:26:00.840" v="1102" actId="1076"/>
          <ac:picMkLst>
            <pc:docMk/>
            <pc:sldMk cId="2396673663" sldId="258"/>
            <ac:picMk id="18" creationId="{4FA58DD0-2CDA-1C25-1178-ABF9B680EFF2}"/>
          </ac:picMkLst>
        </pc:picChg>
        <pc:picChg chg="mod">
          <ac:chgData name="Adwait Aralkar" userId="ae1719c1-ed02-42aa-a1d9-0d6e6247f692" providerId="ADAL" clId="{E83756EB-1544-42DC-BA2C-281AA4ABBF80}" dt="2025-02-05T09:26:00.840" v="1102" actId="1076"/>
          <ac:picMkLst>
            <pc:docMk/>
            <pc:sldMk cId="2396673663" sldId="258"/>
            <ac:picMk id="19" creationId="{2942D526-5E0C-C820-065F-2973516DFD9E}"/>
          </ac:picMkLst>
        </pc:picChg>
        <pc:picChg chg="mod">
          <ac:chgData name="Adwait Aralkar" userId="ae1719c1-ed02-42aa-a1d9-0d6e6247f692" providerId="ADAL" clId="{E83756EB-1544-42DC-BA2C-281AA4ABBF80}" dt="2025-02-05T09:51:26.783" v="1362" actId="1076"/>
          <ac:picMkLst>
            <pc:docMk/>
            <pc:sldMk cId="2396673663" sldId="258"/>
            <ac:picMk id="27" creationId="{3E9DD58B-B3E3-3E12-A7F0-C5A9A2D703A4}"/>
          </ac:picMkLst>
        </pc:picChg>
        <pc:picChg chg="mod">
          <ac:chgData name="Adwait Aralkar" userId="ae1719c1-ed02-42aa-a1d9-0d6e6247f692" providerId="ADAL" clId="{E83756EB-1544-42DC-BA2C-281AA4ABBF80}" dt="2025-02-05T09:51:26.783" v="1362" actId="1076"/>
          <ac:picMkLst>
            <pc:docMk/>
            <pc:sldMk cId="2396673663" sldId="258"/>
            <ac:picMk id="28" creationId="{53B4C398-2562-978D-6F0A-02BCE9A9E3A9}"/>
          </ac:picMkLst>
        </pc:picChg>
        <pc:picChg chg="add mod">
          <ac:chgData name="Adwait Aralkar" userId="ae1719c1-ed02-42aa-a1d9-0d6e6247f692" providerId="ADAL" clId="{E83756EB-1544-42DC-BA2C-281AA4ABBF80}" dt="2025-02-05T10:26:06.110" v="1865" actId="1076"/>
          <ac:picMkLst>
            <pc:docMk/>
            <pc:sldMk cId="2396673663" sldId="258"/>
            <ac:picMk id="46" creationId="{69C51820-A297-846C-C701-142D70E1A089}"/>
          </ac:picMkLst>
        </pc:picChg>
        <pc:picChg chg="add mod">
          <ac:chgData name="Adwait Aralkar" userId="ae1719c1-ed02-42aa-a1d9-0d6e6247f692" providerId="ADAL" clId="{E83756EB-1544-42DC-BA2C-281AA4ABBF80}" dt="2025-02-05T10:26:06.110" v="1865" actId="1076"/>
          <ac:picMkLst>
            <pc:docMk/>
            <pc:sldMk cId="2396673663" sldId="258"/>
            <ac:picMk id="47" creationId="{D611BF8F-0221-4461-59C6-E43F625D30FD}"/>
          </ac:picMkLst>
        </pc:picChg>
        <pc:picChg chg="add mod">
          <ac:chgData name="Adwait Aralkar" userId="ae1719c1-ed02-42aa-a1d9-0d6e6247f692" providerId="ADAL" clId="{E83756EB-1544-42DC-BA2C-281AA4ABBF80}" dt="2025-02-05T10:26:06.110" v="1865" actId="1076"/>
          <ac:picMkLst>
            <pc:docMk/>
            <pc:sldMk cId="2396673663" sldId="258"/>
            <ac:picMk id="54" creationId="{A6556FBB-C4F7-C9D0-2A8A-EBF012EC232D}"/>
          </ac:picMkLst>
        </pc:picChg>
        <pc:picChg chg="mod">
          <ac:chgData name="Adwait Aralkar" userId="ae1719c1-ed02-42aa-a1d9-0d6e6247f692" providerId="ADAL" clId="{E83756EB-1544-42DC-BA2C-281AA4ABBF80}" dt="2025-02-05T09:26:00.840" v="1102" actId="1076"/>
          <ac:picMkLst>
            <pc:docMk/>
            <pc:sldMk cId="2396673663" sldId="258"/>
            <ac:picMk id="3074" creationId="{D802191C-2843-2EE3-2861-143EDA8F60A4}"/>
          </ac:picMkLst>
        </pc:picChg>
      </pc:sldChg>
      <pc:sldChg chg="add">
        <pc:chgData name="Adwait Aralkar" userId="ae1719c1-ed02-42aa-a1d9-0d6e6247f692" providerId="ADAL" clId="{E83756EB-1544-42DC-BA2C-281AA4ABBF80}" dt="2025-02-05T06:02:15.239" v="1025"/>
        <pc:sldMkLst>
          <pc:docMk/>
          <pc:sldMk cId="3573936309" sldId="258"/>
        </pc:sldMkLst>
      </pc:sldChg>
      <pc:sldChg chg="addSp delSp modSp mod">
        <pc:chgData name="Adwait Aralkar" userId="ae1719c1-ed02-42aa-a1d9-0d6e6247f692" providerId="ADAL" clId="{E83756EB-1544-42DC-BA2C-281AA4ABBF80}" dt="2025-02-05T13:19:31.736" v="2181" actId="20577"/>
        <pc:sldMkLst>
          <pc:docMk/>
          <pc:sldMk cId="3112683689" sldId="262"/>
        </pc:sldMkLst>
        <pc:spChg chg="mod">
          <ac:chgData name="Adwait Aralkar" userId="ae1719c1-ed02-42aa-a1d9-0d6e6247f692" providerId="ADAL" clId="{E83756EB-1544-42DC-BA2C-281AA4ABBF80}" dt="2025-02-05T13:19:31.736" v="2181" actId="20577"/>
          <ac:spMkLst>
            <pc:docMk/>
            <pc:sldMk cId="3112683689" sldId="262"/>
            <ac:spMk id="3" creationId="{6FAF2BE4-9C90-C04B-5F78-BBBDE63578DE}"/>
          </ac:spMkLst>
        </pc:spChg>
        <pc:spChg chg="add del">
          <ac:chgData name="Adwait Aralkar" userId="ae1719c1-ed02-42aa-a1d9-0d6e6247f692" providerId="ADAL" clId="{E83756EB-1544-42DC-BA2C-281AA4ABBF80}" dt="2025-02-05T13:17:18.438" v="2162" actId="478"/>
          <ac:spMkLst>
            <pc:docMk/>
            <pc:sldMk cId="3112683689" sldId="262"/>
            <ac:spMk id="4" creationId="{9E9DB888-227B-73A5-5B39-97C021B2D554}"/>
          </ac:spMkLst>
        </pc:spChg>
      </pc:sldChg>
      <pc:sldChg chg="add del">
        <pc:chgData name="Adwait Aralkar" userId="ae1719c1-ed02-42aa-a1d9-0d6e6247f692" providerId="ADAL" clId="{E83756EB-1544-42DC-BA2C-281AA4ABBF80}" dt="2025-02-05T13:38:35.642" v="2423" actId="47"/>
        <pc:sldMkLst>
          <pc:docMk/>
          <pc:sldMk cId="30651718" sldId="263"/>
        </pc:sldMkLst>
      </pc:sldChg>
      <pc:sldChg chg="modSp add mod">
        <pc:chgData name="Adwait Aralkar" userId="ae1719c1-ed02-42aa-a1d9-0d6e6247f692" providerId="ADAL" clId="{E83756EB-1544-42DC-BA2C-281AA4ABBF80}" dt="2025-02-05T14:13:04.300" v="2451" actId="14100"/>
        <pc:sldMkLst>
          <pc:docMk/>
          <pc:sldMk cId="186803692" sldId="263"/>
        </pc:sldMkLst>
        <pc:spChg chg="mod">
          <ac:chgData name="Adwait Aralkar" userId="ae1719c1-ed02-42aa-a1d9-0d6e6247f692" providerId="ADAL" clId="{E83756EB-1544-42DC-BA2C-281AA4ABBF80}" dt="2025-02-05T14:13:04.300" v="2451" actId="14100"/>
          <ac:spMkLst>
            <pc:docMk/>
            <pc:sldMk cId="186803692" sldId="263"/>
            <ac:spMk id="3" creationId="{3B73A571-81AE-0DDC-FC7A-C248B150E162}"/>
          </ac:spMkLst>
        </pc:spChg>
        <pc:spChg chg="mod">
          <ac:chgData name="Adwait Aralkar" userId="ae1719c1-ed02-42aa-a1d9-0d6e6247f692" providerId="ADAL" clId="{E83756EB-1544-42DC-BA2C-281AA4ABBF80}" dt="2025-02-05T14:13:00.032" v="2450" actId="14100"/>
          <ac:spMkLst>
            <pc:docMk/>
            <pc:sldMk cId="186803692" sldId="263"/>
            <ac:spMk id="89" creationId="{C7A16A98-0809-47F6-728A-5D6DCAA318F3}"/>
          </ac:spMkLst>
        </pc:spChg>
      </pc:sldChg>
      <pc:sldChg chg="addSp delSp modSp del mod modShow">
        <pc:chgData name="Adwait Aralkar" userId="ae1719c1-ed02-42aa-a1d9-0d6e6247f692" providerId="ADAL" clId="{E83756EB-1544-42DC-BA2C-281AA4ABBF80}" dt="2025-02-05T09:57:27.214" v="1389" actId="2696"/>
        <pc:sldMkLst>
          <pc:docMk/>
          <pc:sldMk cId="1780373343" sldId="263"/>
        </pc:sldMkLst>
        <pc:spChg chg="mod ord">
          <ac:chgData name="Adwait Aralkar" userId="ae1719c1-ed02-42aa-a1d9-0d6e6247f692" providerId="ADAL" clId="{E83756EB-1544-42DC-BA2C-281AA4ABBF80}" dt="2025-02-05T09:20:43.436" v="1082" actId="167"/>
          <ac:spMkLst>
            <pc:docMk/>
            <pc:sldMk cId="1780373343" sldId="263"/>
            <ac:spMk id="16" creationId="{894576F5-512A-F6D0-1DEB-4D118C4A4A92}"/>
          </ac:spMkLst>
        </pc:spChg>
        <pc:spChg chg="mod">
          <ac:chgData name="Adwait Aralkar" userId="ae1719c1-ed02-42aa-a1d9-0d6e6247f692" providerId="ADAL" clId="{E83756EB-1544-42DC-BA2C-281AA4ABBF80}" dt="2025-02-05T09:24:00.157" v="1101" actId="20577"/>
          <ac:spMkLst>
            <pc:docMk/>
            <pc:sldMk cId="1780373343" sldId="263"/>
            <ac:spMk id="17" creationId="{8F7DBB11-D5FA-BFDF-FE57-0780F47465FD}"/>
          </ac:spMkLst>
        </pc:spChg>
        <pc:spChg chg="add mod">
          <ac:chgData name="Adwait Aralkar" userId="ae1719c1-ed02-42aa-a1d9-0d6e6247f692" providerId="ADAL" clId="{E83756EB-1544-42DC-BA2C-281AA4ABBF80}" dt="2025-02-05T09:19:18.390" v="1074" actId="404"/>
          <ac:spMkLst>
            <pc:docMk/>
            <pc:sldMk cId="1780373343" sldId="263"/>
            <ac:spMk id="29" creationId="{AF9A6CDA-F778-ECAD-8107-8C12469A56ED}"/>
          </ac:spMkLst>
        </pc:spChg>
        <pc:spChg chg="del mod topLvl">
          <ac:chgData name="Adwait Aralkar" userId="ae1719c1-ed02-42aa-a1d9-0d6e6247f692" providerId="ADAL" clId="{E83756EB-1544-42DC-BA2C-281AA4ABBF80}" dt="2025-02-05T09:22:47.861" v="1089" actId="478"/>
          <ac:spMkLst>
            <pc:docMk/>
            <pc:sldMk cId="1780373343" sldId="263"/>
            <ac:spMk id="36" creationId="{73976095-2244-A60E-9489-D0A7DC14C13C}"/>
          </ac:spMkLst>
        </pc:spChg>
        <pc:spChg chg="del mod topLvl">
          <ac:chgData name="Adwait Aralkar" userId="ae1719c1-ed02-42aa-a1d9-0d6e6247f692" providerId="ADAL" clId="{E83756EB-1544-42DC-BA2C-281AA4ABBF80}" dt="2025-02-05T09:23:16.688" v="1096" actId="478"/>
          <ac:spMkLst>
            <pc:docMk/>
            <pc:sldMk cId="1780373343" sldId="263"/>
            <ac:spMk id="37" creationId="{2E11AA63-24D0-AD7C-A87D-7466065EF9FB}"/>
          </ac:spMkLst>
        </pc:spChg>
        <pc:spChg chg="add mod">
          <ac:chgData name="Adwait Aralkar" userId="ae1719c1-ed02-42aa-a1d9-0d6e6247f692" providerId="ADAL" clId="{E83756EB-1544-42DC-BA2C-281AA4ABBF80}" dt="2025-02-05T09:20:18.975" v="1075"/>
          <ac:spMkLst>
            <pc:docMk/>
            <pc:sldMk cId="1780373343" sldId="263"/>
            <ac:spMk id="41" creationId="{2A6778C1-D20C-7E0E-020A-4D786583D0FE}"/>
          </ac:spMkLst>
        </pc:spChg>
        <pc:spChg chg="add mod ord">
          <ac:chgData name="Adwait Aralkar" userId="ae1719c1-ed02-42aa-a1d9-0d6e6247f692" providerId="ADAL" clId="{E83756EB-1544-42DC-BA2C-281AA4ABBF80}" dt="2025-02-05T09:20:51.050" v="1084" actId="14100"/>
          <ac:spMkLst>
            <pc:docMk/>
            <pc:sldMk cId="1780373343" sldId="263"/>
            <ac:spMk id="42" creationId="{5309549C-4089-1119-2291-163C3FA28EE3}"/>
          </ac:spMkLst>
        </pc:spChg>
        <pc:spChg chg="add mod">
          <ac:chgData name="Adwait Aralkar" userId="ae1719c1-ed02-42aa-a1d9-0d6e6247f692" providerId="ADAL" clId="{E83756EB-1544-42DC-BA2C-281AA4ABBF80}" dt="2025-02-05T09:22:44.131" v="1088"/>
          <ac:spMkLst>
            <pc:docMk/>
            <pc:sldMk cId="1780373343" sldId="263"/>
            <ac:spMk id="43" creationId="{16591C46-132F-2C76-EE5D-E66A3A556ED6}"/>
          </ac:spMkLst>
        </pc:spChg>
        <pc:spChg chg="add mod">
          <ac:chgData name="Adwait Aralkar" userId="ae1719c1-ed02-42aa-a1d9-0d6e6247f692" providerId="ADAL" clId="{E83756EB-1544-42DC-BA2C-281AA4ABBF80}" dt="2025-02-05T09:23:22.507" v="1097" actId="1076"/>
          <ac:spMkLst>
            <pc:docMk/>
            <pc:sldMk cId="1780373343" sldId="263"/>
            <ac:spMk id="44" creationId="{05939CF0-C386-FCB9-FD25-170F59F19656}"/>
          </ac:spMkLst>
        </pc:spChg>
        <pc:grpChg chg="del">
          <ac:chgData name="Adwait Aralkar" userId="ae1719c1-ed02-42aa-a1d9-0d6e6247f692" providerId="ADAL" clId="{E83756EB-1544-42DC-BA2C-281AA4ABBF80}" dt="2025-02-05T09:22:47.861" v="1089" actId="478"/>
          <ac:grpSpMkLst>
            <pc:docMk/>
            <pc:sldMk cId="1780373343" sldId="263"/>
            <ac:grpSpMk id="2" creationId="{EEA3A9B0-C39F-8A9E-643C-6861F032AAE3}"/>
          </ac:grpSpMkLst>
        </pc:grpChg>
      </pc:sldChg>
      <pc:sldChg chg="add del">
        <pc:chgData name="Adwait Aralkar" userId="ae1719c1-ed02-42aa-a1d9-0d6e6247f692" providerId="ADAL" clId="{E83756EB-1544-42DC-BA2C-281AA4ABBF80}" dt="2025-02-05T09:57:32.970" v="1391"/>
        <pc:sldMkLst>
          <pc:docMk/>
          <pc:sldMk cId="3083950344" sldId="263"/>
        </pc:sldMkLst>
      </pc:sldChg>
      <pc:sldChg chg="add del">
        <pc:chgData name="Adwait Aralkar" userId="ae1719c1-ed02-42aa-a1d9-0d6e6247f692" providerId="ADAL" clId="{E83756EB-1544-42DC-BA2C-281AA4ABBF80}" dt="2025-02-05T10:05:02.123" v="1471"/>
        <pc:sldMkLst>
          <pc:docMk/>
          <pc:sldMk cId="15848484" sldId="271"/>
        </pc:sldMkLst>
      </pc:sldChg>
      <pc:sldChg chg="addSp modSp del mod modShow">
        <pc:chgData name="Adwait Aralkar" userId="ae1719c1-ed02-42aa-a1d9-0d6e6247f692" providerId="ADAL" clId="{E83756EB-1544-42DC-BA2C-281AA4ABBF80}" dt="2025-02-05T10:04:57.446" v="1469" actId="2696"/>
        <pc:sldMkLst>
          <pc:docMk/>
          <pc:sldMk cId="55496167" sldId="271"/>
        </pc:sldMkLst>
        <pc:spChg chg="add mod">
          <ac:chgData name="Adwait Aralkar" userId="ae1719c1-ed02-42aa-a1d9-0d6e6247f692" providerId="ADAL" clId="{E83756EB-1544-42DC-BA2C-281AA4ABBF80}" dt="2025-02-05T09:34:56.416" v="1212" actId="13926"/>
          <ac:spMkLst>
            <pc:docMk/>
            <pc:sldMk cId="55496167" sldId="271"/>
            <ac:spMk id="6" creationId="{7939047E-BD8D-511E-CC70-E950218C73B4}"/>
          </ac:spMkLst>
        </pc:spChg>
      </pc:sldChg>
      <pc:sldChg chg="add del">
        <pc:chgData name="Adwait Aralkar" userId="ae1719c1-ed02-42aa-a1d9-0d6e6247f692" providerId="ADAL" clId="{E83756EB-1544-42DC-BA2C-281AA4ABBF80}" dt="2025-02-05T13:38:37.718" v="2425" actId="47"/>
        <pc:sldMkLst>
          <pc:docMk/>
          <pc:sldMk cId="92039138" sldId="271"/>
        </pc:sldMkLst>
      </pc:sldChg>
      <pc:sldChg chg="add del">
        <pc:chgData name="Adwait Aralkar" userId="ae1719c1-ed02-42aa-a1d9-0d6e6247f692" providerId="ADAL" clId="{E83756EB-1544-42DC-BA2C-281AA4ABBF80}" dt="2025-02-05T10:00:29.625" v="1426"/>
        <pc:sldMkLst>
          <pc:docMk/>
          <pc:sldMk cId="1570896486" sldId="273"/>
        </pc:sldMkLst>
      </pc:sldChg>
      <pc:sldChg chg="add del">
        <pc:chgData name="Adwait Aralkar" userId="ae1719c1-ed02-42aa-a1d9-0d6e6247f692" providerId="ADAL" clId="{E83756EB-1544-42DC-BA2C-281AA4ABBF80}" dt="2025-02-05T13:38:36.821" v="2424" actId="47"/>
        <pc:sldMkLst>
          <pc:docMk/>
          <pc:sldMk cId="3116241702" sldId="273"/>
        </pc:sldMkLst>
      </pc:sldChg>
      <pc:sldChg chg="addSp modSp del mod modShow">
        <pc:chgData name="Adwait Aralkar" userId="ae1719c1-ed02-42aa-a1d9-0d6e6247f692" providerId="ADAL" clId="{E83756EB-1544-42DC-BA2C-281AA4ABBF80}" dt="2025-02-05T10:00:24.641" v="1424" actId="2696"/>
        <pc:sldMkLst>
          <pc:docMk/>
          <pc:sldMk cId="3853684040" sldId="273"/>
        </pc:sldMkLst>
      </pc:sldChg>
      <pc:sldChg chg="modSp del mod modShow">
        <pc:chgData name="Adwait Aralkar" userId="ae1719c1-ed02-42aa-a1d9-0d6e6247f692" providerId="ADAL" clId="{E83756EB-1544-42DC-BA2C-281AA4ABBF80}" dt="2025-02-05T10:06:31.888" v="1478" actId="2696"/>
        <pc:sldMkLst>
          <pc:docMk/>
          <pc:sldMk cId="509631690" sldId="276"/>
        </pc:sldMkLst>
        <pc:spChg chg="mod">
          <ac:chgData name="Adwait Aralkar" userId="ae1719c1-ed02-42aa-a1d9-0d6e6247f692" providerId="ADAL" clId="{E83756EB-1544-42DC-BA2C-281AA4ABBF80}" dt="2025-02-05T10:06:24.514" v="1476" actId="20577"/>
          <ac:spMkLst>
            <pc:docMk/>
            <pc:sldMk cId="509631690" sldId="276"/>
            <ac:spMk id="4" creationId="{CA47EB22-40A2-59EE-8A59-1137715835BB}"/>
          </ac:spMkLst>
        </pc:spChg>
      </pc:sldChg>
      <pc:sldChg chg="add del">
        <pc:chgData name="Adwait Aralkar" userId="ae1719c1-ed02-42aa-a1d9-0d6e6247f692" providerId="ADAL" clId="{E83756EB-1544-42DC-BA2C-281AA4ABBF80}" dt="2025-02-05T13:38:38.642" v="2426" actId="47"/>
        <pc:sldMkLst>
          <pc:docMk/>
          <pc:sldMk cId="972489447" sldId="276"/>
        </pc:sldMkLst>
      </pc:sldChg>
      <pc:sldChg chg="add del">
        <pc:chgData name="Adwait Aralkar" userId="ae1719c1-ed02-42aa-a1d9-0d6e6247f692" providerId="ADAL" clId="{E83756EB-1544-42DC-BA2C-281AA4ABBF80}" dt="2025-02-05T10:06:36.761" v="1480"/>
        <pc:sldMkLst>
          <pc:docMk/>
          <pc:sldMk cId="1160659519" sldId="276"/>
        </pc:sldMkLst>
      </pc:sldChg>
      <pc:sldChg chg="addSp modSp del mod modShow">
        <pc:chgData name="Adwait Aralkar" userId="ae1719c1-ed02-42aa-a1d9-0d6e6247f692" providerId="ADAL" clId="{E83756EB-1544-42DC-BA2C-281AA4ABBF80}" dt="2025-02-05T10:08:34.758" v="1505" actId="2696"/>
        <pc:sldMkLst>
          <pc:docMk/>
          <pc:sldMk cId="1355154243" sldId="280"/>
        </pc:sldMkLst>
      </pc:sldChg>
      <pc:sldChg chg="add del">
        <pc:chgData name="Adwait Aralkar" userId="ae1719c1-ed02-42aa-a1d9-0d6e6247f692" providerId="ADAL" clId="{E83756EB-1544-42DC-BA2C-281AA4ABBF80}" dt="2025-02-05T13:38:41.048" v="2428" actId="47"/>
        <pc:sldMkLst>
          <pc:docMk/>
          <pc:sldMk cId="4242442597" sldId="280"/>
        </pc:sldMkLst>
      </pc:sldChg>
      <pc:sldChg chg="addSp modSp del mod modShow">
        <pc:chgData name="Adwait Aralkar" userId="ae1719c1-ed02-42aa-a1d9-0d6e6247f692" providerId="ADAL" clId="{E83756EB-1544-42DC-BA2C-281AA4ABBF80}" dt="2025-02-05T13:42:14.130" v="2447" actId="47"/>
        <pc:sldMkLst>
          <pc:docMk/>
          <pc:sldMk cId="2453782732" sldId="283"/>
        </pc:sldMkLst>
        <pc:spChg chg="add mod ord">
          <ac:chgData name="Adwait Aralkar" userId="ae1719c1-ed02-42aa-a1d9-0d6e6247f692" providerId="ADAL" clId="{E83756EB-1544-42DC-BA2C-281AA4ABBF80}" dt="2025-02-05T09:17:49.653" v="1068" actId="14100"/>
          <ac:spMkLst>
            <pc:docMk/>
            <pc:sldMk cId="2453782732" sldId="283"/>
            <ac:spMk id="2" creationId="{B93ED0FB-8E2E-9846-F884-475AF4C10409}"/>
          </ac:spMkLst>
        </pc:spChg>
        <pc:spChg chg="add mod">
          <ac:chgData name="Adwait Aralkar" userId="ae1719c1-ed02-42aa-a1d9-0d6e6247f692" providerId="ADAL" clId="{E83756EB-1544-42DC-BA2C-281AA4ABBF80}" dt="2025-02-05T10:28:01.775" v="1883" actId="1076"/>
          <ac:spMkLst>
            <pc:docMk/>
            <pc:sldMk cId="2453782732" sldId="283"/>
            <ac:spMk id="5" creationId="{B52FF5D8-914B-D8C1-76E4-5722C9CA8989}"/>
          </ac:spMkLst>
        </pc:spChg>
        <pc:spChg chg="add mod">
          <ac:chgData name="Adwait Aralkar" userId="ae1719c1-ed02-42aa-a1d9-0d6e6247f692" providerId="ADAL" clId="{E83756EB-1544-42DC-BA2C-281AA4ABBF80}" dt="2025-02-05T13:08:25.016" v="2135" actId="20577"/>
          <ac:spMkLst>
            <pc:docMk/>
            <pc:sldMk cId="2453782732" sldId="283"/>
            <ac:spMk id="6" creationId="{3A9EE936-57CD-5103-3B05-8BC9DD88D85C}"/>
          </ac:spMkLst>
        </pc:spChg>
        <pc:spChg chg="ord">
          <ac:chgData name="Adwait Aralkar" userId="ae1719c1-ed02-42aa-a1d9-0d6e6247f692" providerId="ADAL" clId="{E83756EB-1544-42DC-BA2C-281AA4ABBF80}" dt="2025-02-05T09:17:43.663" v="1067" actId="167"/>
          <ac:spMkLst>
            <pc:docMk/>
            <pc:sldMk cId="2453782732" sldId="283"/>
            <ac:spMk id="26" creationId="{91D8F514-3FD7-30ED-D554-133F1E3486EE}"/>
          </ac:spMkLst>
        </pc:spChg>
        <pc:spChg chg="mod">
          <ac:chgData name="Adwait Aralkar" userId="ae1719c1-ed02-42aa-a1d9-0d6e6247f692" providerId="ADAL" clId="{E83756EB-1544-42DC-BA2C-281AA4ABBF80}" dt="2025-02-05T09:18:46.069" v="1070" actId="20577"/>
          <ac:spMkLst>
            <pc:docMk/>
            <pc:sldMk cId="2453782732" sldId="283"/>
            <ac:spMk id="36" creationId="{B2405032-D70E-667C-9E27-37FB2C3CD7B9}"/>
          </ac:spMkLst>
        </pc:spChg>
      </pc:sldChg>
      <pc:sldChg chg="addSp delSp modSp mod">
        <pc:chgData name="Adwait Aralkar" userId="ae1719c1-ed02-42aa-a1d9-0d6e6247f692" providerId="ADAL" clId="{E83756EB-1544-42DC-BA2C-281AA4ABBF80}" dt="2025-02-06T17:01:42.600" v="2517" actId="2711"/>
        <pc:sldMkLst>
          <pc:docMk/>
          <pc:sldMk cId="2233467875" sldId="285"/>
        </pc:sldMkLst>
        <pc:spChg chg="mod">
          <ac:chgData name="Adwait Aralkar" userId="ae1719c1-ed02-42aa-a1d9-0d6e6247f692" providerId="ADAL" clId="{E83756EB-1544-42DC-BA2C-281AA4ABBF80}" dt="2025-02-06T17:01:42.600" v="2517" actId="2711"/>
          <ac:spMkLst>
            <pc:docMk/>
            <pc:sldMk cId="2233467875" sldId="285"/>
            <ac:spMk id="2" creationId="{900B4610-C444-5034-2B8C-06F23D53D77F}"/>
          </ac:spMkLst>
        </pc:spChg>
        <pc:spChg chg="add del mod">
          <ac:chgData name="Adwait Aralkar" userId="ae1719c1-ed02-42aa-a1d9-0d6e6247f692" providerId="ADAL" clId="{E83756EB-1544-42DC-BA2C-281AA4ABBF80}" dt="2025-02-06T13:06:09.047" v="2456" actId="478"/>
          <ac:spMkLst>
            <pc:docMk/>
            <pc:sldMk cId="2233467875" sldId="285"/>
            <ac:spMk id="3" creationId="{A15337CF-2269-D5D9-1E58-DDDA589F7D58}"/>
          </ac:spMkLst>
        </pc:spChg>
        <pc:spChg chg="del mod">
          <ac:chgData name="Adwait Aralkar" userId="ae1719c1-ed02-42aa-a1d9-0d6e6247f692" providerId="ADAL" clId="{E83756EB-1544-42DC-BA2C-281AA4ABBF80}" dt="2025-02-06T17:00:46.355" v="2516" actId="478"/>
          <ac:spMkLst>
            <pc:docMk/>
            <pc:sldMk cId="2233467875" sldId="285"/>
            <ac:spMk id="4" creationId="{3B854501-0010-1223-6CA0-8EEA81C577E0}"/>
          </ac:spMkLst>
        </pc:spChg>
      </pc:sldChg>
      <pc:sldChg chg="add del">
        <pc:chgData name="Adwait Aralkar" userId="ae1719c1-ed02-42aa-a1d9-0d6e6247f692" providerId="ADAL" clId="{E83756EB-1544-42DC-BA2C-281AA4ABBF80}" dt="2025-02-05T13:38:42.340" v="2429" actId="47"/>
        <pc:sldMkLst>
          <pc:docMk/>
          <pc:sldMk cId="810323587" sldId="286"/>
        </pc:sldMkLst>
      </pc:sldChg>
      <pc:sldChg chg="addSp modSp del mod modShow">
        <pc:chgData name="Adwait Aralkar" userId="ae1719c1-ed02-42aa-a1d9-0d6e6247f692" providerId="ADAL" clId="{E83756EB-1544-42DC-BA2C-281AA4ABBF80}" dt="2025-02-05T10:20:49.420" v="1803" actId="2696"/>
        <pc:sldMkLst>
          <pc:docMk/>
          <pc:sldMk cId="2161039759" sldId="286"/>
        </pc:sldMkLst>
      </pc:sldChg>
      <pc:sldChg chg="addSp delSp modSp add mod">
        <pc:chgData name="Adwait Aralkar" userId="ae1719c1-ed02-42aa-a1d9-0d6e6247f692" providerId="ADAL" clId="{E83756EB-1544-42DC-BA2C-281AA4ABBF80}" dt="2025-02-06T15:19:58.662" v="2475" actId="14100"/>
        <pc:sldMkLst>
          <pc:docMk/>
          <pc:sldMk cId="870452227" sldId="288"/>
        </pc:sldMkLst>
        <pc:spChg chg="mod">
          <ac:chgData name="Adwait Aralkar" userId="ae1719c1-ed02-42aa-a1d9-0d6e6247f692" providerId="ADAL" clId="{E83756EB-1544-42DC-BA2C-281AA4ABBF80}" dt="2025-02-05T11:17:44.389" v="2079" actId="2711"/>
          <ac:spMkLst>
            <pc:docMk/>
            <pc:sldMk cId="870452227" sldId="288"/>
            <ac:spMk id="2" creationId="{0A365C8D-E94C-22B5-BAE0-54FB713E3736}"/>
          </ac:spMkLst>
        </pc:spChg>
        <pc:spChg chg="del">
          <ac:chgData name="Adwait Aralkar" userId="ae1719c1-ed02-42aa-a1d9-0d6e6247f692" providerId="ADAL" clId="{E83756EB-1544-42DC-BA2C-281AA4ABBF80}" dt="2025-02-05T13:11:16.115" v="2139" actId="478"/>
          <ac:spMkLst>
            <pc:docMk/>
            <pc:sldMk cId="870452227" sldId="288"/>
            <ac:spMk id="3" creationId="{8CD31D1C-35F9-2E19-7FC9-3FB79F9B08E4}"/>
          </ac:spMkLst>
        </pc:spChg>
        <pc:spChg chg="mod">
          <ac:chgData name="Adwait Aralkar" userId="ae1719c1-ed02-42aa-a1d9-0d6e6247f692" providerId="ADAL" clId="{E83756EB-1544-42DC-BA2C-281AA4ABBF80}" dt="2025-02-06T13:19:07.104" v="2474" actId="1076"/>
          <ac:spMkLst>
            <pc:docMk/>
            <pc:sldMk cId="870452227" sldId="288"/>
            <ac:spMk id="4" creationId="{033BC968-E939-3DC6-8DC3-7362ECDC2CF5}"/>
          </ac:spMkLst>
        </pc:spChg>
        <pc:spChg chg="add del mod">
          <ac:chgData name="Adwait Aralkar" userId="ae1719c1-ed02-42aa-a1d9-0d6e6247f692" providerId="ADAL" clId="{E83756EB-1544-42DC-BA2C-281AA4ABBF80}" dt="2025-02-06T13:14:49.818" v="2461" actId="478"/>
          <ac:spMkLst>
            <pc:docMk/>
            <pc:sldMk cId="870452227" sldId="288"/>
            <ac:spMk id="6" creationId="{49A830A4-FF15-43A8-6DC1-FEE86CF861AA}"/>
          </ac:spMkLst>
        </pc:spChg>
        <pc:spChg chg="mod">
          <ac:chgData name="Adwait Aralkar" userId="ae1719c1-ed02-42aa-a1d9-0d6e6247f692" providerId="ADAL" clId="{E83756EB-1544-42DC-BA2C-281AA4ABBF80}" dt="2025-02-06T13:19:07.104" v="2474" actId="1076"/>
          <ac:spMkLst>
            <pc:docMk/>
            <pc:sldMk cId="870452227" sldId="288"/>
            <ac:spMk id="16" creationId="{95593EF8-8EC3-CAE2-9DC2-58A9B4EB5C76}"/>
          </ac:spMkLst>
        </pc:spChg>
        <pc:spChg chg="mod">
          <ac:chgData name="Adwait Aralkar" userId="ae1719c1-ed02-42aa-a1d9-0d6e6247f692" providerId="ADAL" clId="{E83756EB-1544-42DC-BA2C-281AA4ABBF80}" dt="2025-02-06T13:19:07.104" v="2474" actId="1076"/>
          <ac:spMkLst>
            <pc:docMk/>
            <pc:sldMk cId="870452227" sldId="288"/>
            <ac:spMk id="17" creationId="{58D007AA-0D5A-4F87-E009-0653A8C6699D}"/>
          </ac:spMkLst>
        </pc:spChg>
        <pc:spChg chg="mod">
          <ac:chgData name="Adwait Aralkar" userId="ae1719c1-ed02-42aa-a1d9-0d6e6247f692" providerId="ADAL" clId="{E83756EB-1544-42DC-BA2C-281AA4ABBF80}" dt="2025-02-06T13:19:07.104" v="2474" actId="1076"/>
          <ac:spMkLst>
            <pc:docMk/>
            <pc:sldMk cId="870452227" sldId="288"/>
            <ac:spMk id="21" creationId="{015B39B3-673E-141D-56AB-1A10EBF0AB8A}"/>
          </ac:spMkLst>
        </pc:spChg>
        <pc:spChg chg="mod">
          <ac:chgData name="Adwait Aralkar" userId="ae1719c1-ed02-42aa-a1d9-0d6e6247f692" providerId="ADAL" clId="{E83756EB-1544-42DC-BA2C-281AA4ABBF80}" dt="2025-02-06T13:19:07.104" v="2474" actId="1076"/>
          <ac:spMkLst>
            <pc:docMk/>
            <pc:sldMk cId="870452227" sldId="288"/>
            <ac:spMk id="24" creationId="{EEC110FC-0384-4A0C-83DD-AF704BABE5F0}"/>
          </ac:spMkLst>
        </pc:spChg>
        <pc:spChg chg="mod">
          <ac:chgData name="Adwait Aralkar" userId="ae1719c1-ed02-42aa-a1d9-0d6e6247f692" providerId="ADAL" clId="{E83756EB-1544-42DC-BA2C-281AA4ABBF80}" dt="2025-02-06T13:19:07.104" v="2474" actId="1076"/>
          <ac:spMkLst>
            <pc:docMk/>
            <pc:sldMk cId="870452227" sldId="288"/>
            <ac:spMk id="26" creationId="{F1746E12-C3DF-F0F8-2DEB-9FDF8B87FC17}"/>
          </ac:spMkLst>
        </pc:spChg>
        <pc:spChg chg="mod">
          <ac:chgData name="Adwait Aralkar" userId="ae1719c1-ed02-42aa-a1d9-0d6e6247f692" providerId="ADAL" clId="{E83756EB-1544-42DC-BA2C-281AA4ABBF80}" dt="2025-02-06T13:19:07.104" v="2474" actId="1076"/>
          <ac:spMkLst>
            <pc:docMk/>
            <pc:sldMk cId="870452227" sldId="288"/>
            <ac:spMk id="31" creationId="{669D48A5-3399-AAD3-F642-D158792B39DD}"/>
          </ac:spMkLst>
        </pc:spChg>
        <pc:spChg chg="mod">
          <ac:chgData name="Adwait Aralkar" userId="ae1719c1-ed02-42aa-a1d9-0d6e6247f692" providerId="ADAL" clId="{E83756EB-1544-42DC-BA2C-281AA4ABBF80}" dt="2025-02-06T15:19:58.662" v="2475" actId="14100"/>
          <ac:spMkLst>
            <pc:docMk/>
            <pc:sldMk cId="870452227" sldId="288"/>
            <ac:spMk id="41" creationId="{5C2D0CA7-7AE0-8F98-B4E8-50303C9E0629}"/>
          </ac:spMkLst>
        </pc:spChg>
        <pc:spChg chg="mod">
          <ac:chgData name="Adwait Aralkar" userId="ae1719c1-ed02-42aa-a1d9-0d6e6247f692" providerId="ADAL" clId="{E83756EB-1544-42DC-BA2C-281AA4ABBF80}" dt="2025-02-06T13:19:07.104" v="2474" actId="1076"/>
          <ac:spMkLst>
            <pc:docMk/>
            <pc:sldMk cId="870452227" sldId="288"/>
            <ac:spMk id="42" creationId="{92631524-6A05-70A8-A229-06019DA2BE9E}"/>
          </ac:spMkLst>
        </pc:spChg>
        <pc:spChg chg="mod">
          <ac:chgData name="Adwait Aralkar" userId="ae1719c1-ed02-42aa-a1d9-0d6e6247f692" providerId="ADAL" clId="{E83756EB-1544-42DC-BA2C-281AA4ABBF80}" dt="2025-02-06T13:19:07.104" v="2474" actId="1076"/>
          <ac:spMkLst>
            <pc:docMk/>
            <pc:sldMk cId="870452227" sldId="288"/>
            <ac:spMk id="43" creationId="{41481B3B-1947-72E3-DA82-16E4EA39E4B7}"/>
          </ac:spMkLst>
        </pc:spChg>
        <pc:spChg chg="mod">
          <ac:chgData name="Adwait Aralkar" userId="ae1719c1-ed02-42aa-a1d9-0d6e6247f692" providerId="ADAL" clId="{E83756EB-1544-42DC-BA2C-281AA4ABBF80}" dt="2025-02-06T13:19:07.104" v="2474" actId="1076"/>
          <ac:spMkLst>
            <pc:docMk/>
            <pc:sldMk cId="870452227" sldId="288"/>
            <ac:spMk id="44" creationId="{9B161ACE-F86A-B4A1-D58C-4BD857E45E15}"/>
          </ac:spMkLst>
        </pc:spChg>
        <pc:spChg chg="mod">
          <ac:chgData name="Adwait Aralkar" userId="ae1719c1-ed02-42aa-a1d9-0d6e6247f692" providerId="ADAL" clId="{E83756EB-1544-42DC-BA2C-281AA4ABBF80}" dt="2025-02-06T13:19:07.104" v="2474" actId="1076"/>
          <ac:spMkLst>
            <pc:docMk/>
            <pc:sldMk cId="870452227" sldId="288"/>
            <ac:spMk id="45" creationId="{2C656288-94F7-889F-D99E-39335B5A5D5F}"/>
          </ac:spMkLst>
        </pc:spChg>
        <pc:spChg chg="mod">
          <ac:chgData name="Adwait Aralkar" userId="ae1719c1-ed02-42aa-a1d9-0d6e6247f692" providerId="ADAL" clId="{E83756EB-1544-42DC-BA2C-281AA4ABBF80}" dt="2025-02-06T13:19:07.104" v="2474" actId="1076"/>
          <ac:spMkLst>
            <pc:docMk/>
            <pc:sldMk cId="870452227" sldId="288"/>
            <ac:spMk id="46" creationId="{1B301A03-890C-B26B-3E98-713009273F74}"/>
          </ac:spMkLst>
        </pc:spChg>
      </pc:sldChg>
      <pc:sldChg chg="delSp modSp mod">
        <pc:chgData name="Adwait Aralkar" userId="ae1719c1-ed02-42aa-a1d9-0d6e6247f692" providerId="ADAL" clId="{E83756EB-1544-42DC-BA2C-281AA4ABBF80}" dt="2025-02-06T15:22:30.663" v="2495" actId="1076"/>
        <pc:sldMkLst>
          <pc:docMk/>
          <pc:sldMk cId="3973081514" sldId="290"/>
        </pc:sldMkLst>
        <pc:spChg chg="del">
          <ac:chgData name="Adwait Aralkar" userId="ae1719c1-ed02-42aa-a1d9-0d6e6247f692" providerId="ADAL" clId="{E83756EB-1544-42DC-BA2C-281AA4ABBF80}" dt="2025-02-06T13:09:55.170" v="2458" actId="478"/>
          <ac:spMkLst>
            <pc:docMk/>
            <pc:sldMk cId="3973081514" sldId="290"/>
            <ac:spMk id="5" creationId="{BDFA308B-DDC9-B4FD-EE8F-6A0A93144DB8}"/>
          </ac:spMkLst>
        </pc:spChg>
        <pc:spChg chg="del">
          <ac:chgData name="Adwait Aralkar" userId="ae1719c1-ed02-42aa-a1d9-0d6e6247f692" providerId="ADAL" clId="{E83756EB-1544-42DC-BA2C-281AA4ABBF80}" dt="2025-02-06T13:09:55.170" v="2458" actId="478"/>
          <ac:spMkLst>
            <pc:docMk/>
            <pc:sldMk cId="3973081514" sldId="290"/>
            <ac:spMk id="6" creationId="{25A2DE51-E4A3-0804-3876-D04D38515597}"/>
          </ac:spMkLst>
        </pc:spChg>
        <pc:spChg chg="mod">
          <ac:chgData name="Adwait Aralkar" userId="ae1719c1-ed02-42aa-a1d9-0d6e6247f692" providerId="ADAL" clId="{E83756EB-1544-42DC-BA2C-281AA4ABBF80}" dt="2025-02-06T04:50:32.390" v="2453" actId="20577"/>
          <ac:spMkLst>
            <pc:docMk/>
            <pc:sldMk cId="3973081514" sldId="290"/>
            <ac:spMk id="8" creationId="{F817148A-F69E-91A6-721F-684C38AB4911}"/>
          </ac:spMkLst>
        </pc:spChg>
        <pc:spChg chg="mod">
          <ac:chgData name="Adwait Aralkar" userId="ae1719c1-ed02-42aa-a1d9-0d6e6247f692" providerId="ADAL" clId="{E83756EB-1544-42DC-BA2C-281AA4ABBF80}" dt="2025-02-06T15:22:30.663" v="2495" actId="1076"/>
          <ac:spMkLst>
            <pc:docMk/>
            <pc:sldMk cId="3973081514" sldId="290"/>
            <ac:spMk id="9" creationId="{7BD9C6D0-BCB6-132C-9B61-8BCA42081F9E}"/>
          </ac:spMkLst>
        </pc:spChg>
        <pc:spChg chg="mod">
          <ac:chgData name="Adwait Aralkar" userId="ae1719c1-ed02-42aa-a1d9-0d6e6247f692" providerId="ADAL" clId="{E83756EB-1544-42DC-BA2C-281AA4ABBF80}" dt="2025-02-06T15:22:30.663" v="2495" actId="1076"/>
          <ac:spMkLst>
            <pc:docMk/>
            <pc:sldMk cId="3973081514" sldId="290"/>
            <ac:spMk id="10" creationId="{6D66CD53-7400-DFD0-6F6D-18A8CB318984}"/>
          </ac:spMkLst>
        </pc:spChg>
        <pc:spChg chg="mod">
          <ac:chgData name="Adwait Aralkar" userId="ae1719c1-ed02-42aa-a1d9-0d6e6247f692" providerId="ADAL" clId="{E83756EB-1544-42DC-BA2C-281AA4ABBF80}" dt="2025-02-06T15:21:42.001" v="2483" actId="20577"/>
          <ac:spMkLst>
            <pc:docMk/>
            <pc:sldMk cId="3973081514" sldId="290"/>
            <ac:spMk id="11" creationId="{16E5DF13-DF94-A939-1806-70A0EE24A871}"/>
          </ac:spMkLst>
        </pc:spChg>
        <pc:spChg chg="mod">
          <ac:chgData name="Adwait Aralkar" userId="ae1719c1-ed02-42aa-a1d9-0d6e6247f692" providerId="ADAL" clId="{E83756EB-1544-42DC-BA2C-281AA4ABBF80}" dt="2025-02-06T15:22:30.663" v="2495" actId="1076"/>
          <ac:spMkLst>
            <pc:docMk/>
            <pc:sldMk cId="3973081514" sldId="290"/>
            <ac:spMk id="12" creationId="{D144BFCB-E674-7992-80DE-E1E5B5C91514}"/>
          </ac:spMkLst>
        </pc:spChg>
        <pc:spChg chg="mod">
          <ac:chgData name="Adwait Aralkar" userId="ae1719c1-ed02-42aa-a1d9-0d6e6247f692" providerId="ADAL" clId="{E83756EB-1544-42DC-BA2C-281AA4ABBF80}" dt="2025-02-06T15:22:30.663" v="2495" actId="1076"/>
          <ac:spMkLst>
            <pc:docMk/>
            <pc:sldMk cId="3973081514" sldId="290"/>
            <ac:spMk id="13" creationId="{20013400-CCB2-95A5-D391-192C05FE8E07}"/>
          </ac:spMkLst>
        </pc:spChg>
        <pc:spChg chg="mod">
          <ac:chgData name="Adwait Aralkar" userId="ae1719c1-ed02-42aa-a1d9-0d6e6247f692" providerId="ADAL" clId="{E83756EB-1544-42DC-BA2C-281AA4ABBF80}" dt="2025-02-06T15:22:30.663" v="2495" actId="1076"/>
          <ac:spMkLst>
            <pc:docMk/>
            <pc:sldMk cId="3973081514" sldId="290"/>
            <ac:spMk id="14" creationId="{36305634-12F5-1112-5579-4ABE66A4C96D}"/>
          </ac:spMkLst>
        </pc:spChg>
        <pc:spChg chg="mod">
          <ac:chgData name="Adwait Aralkar" userId="ae1719c1-ed02-42aa-a1d9-0d6e6247f692" providerId="ADAL" clId="{E83756EB-1544-42DC-BA2C-281AA4ABBF80}" dt="2025-02-05T13:20:05.147" v="2259" actId="14100"/>
          <ac:spMkLst>
            <pc:docMk/>
            <pc:sldMk cId="3973081514" sldId="290"/>
            <ac:spMk id="25" creationId="{929A94A0-20FB-3E92-2EFF-48F439C07948}"/>
          </ac:spMkLst>
        </pc:spChg>
        <pc:spChg chg="mod">
          <ac:chgData name="Adwait Aralkar" userId="ae1719c1-ed02-42aa-a1d9-0d6e6247f692" providerId="ADAL" clId="{E83756EB-1544-42DC-BA2C-281AA4ABBF80}" dt="2025-02-06T15:22:30.663" v="2495" actId="1076"/>
          <ac:spMkLst>
            <pc:docMk/>
            <pc:sldMk cId="3973081514" sldId="290"/>
            <ac:spMk id="31" creationId="{6690C43F-B5DC-D2F9-ED22-24014C9FF08C}"/>
          </ac:spMkLst>
        </pc:spChg>
        <pc:spChg chg="del">
          <ac:chgData name="Adwait Aralkar" userId="ae1719c1-ed02-42aa-a1d9-0d6e6247f692" providerId="ADAL" clId="{E83756EB-1544-42DC-BA2C-281AA4ABBF80}" dt="2025-02-06T13:09:51.788" v="2457" actId="478"/>
          <ac:spMkLst>
            <pc:docMk/>
            <pc:sldMk cId="3973081514" sldId="290"/>
            <ac:spMk id="33" creationId="{52EE6C18-9B27-9E8E-6D31-6C73E688C902}"/>
          </ac:spMkLst>
        </pc:spChg>
      </pc:sldChg>
      <pc:sldChg chg="add del">
        <pc:chgData name="Adwait Aralkar" userId="ae1719c1-ed02-42aa-a1d9-0d6e6247f692" providerId="ADAL" clId="{E83756EB-1544-42DC-BA2C-281AA4ABBF80}" dt="2025-02-05T10:08:25.108" v="1503"/>
        <pc:sldMkLst>
          <pc:docMk/>
          <pc:sldMk cId="783871412" sldId="296"/>
        </pc:sldMkLst>
      </pc:sldChg>
      <pc:sldChg chg="addSp delSp modSp del mod modShow">
        <pc:chgData name="Adwait Aralkar" userId="ae1719c1-ed02-42aa-a1d9-0d6e6247f692" providerId="ADAL" clId="{E83756EB-1544-42DC-BA2C-281AA4ABBF80}" dt="2025-02-05T10:08:18.686" v="1501" actId="2696"/>
        <pc:sldMkLst>
          <pc:docMk/>
          <pc:sldMk cId="1072605819" sldId="296"/>
        </pc:sldMkLst>
      </pc:sldChg>
      <pc:sldChg chg="add del">
        <pc:chgData name="Adwait Aralkar" userId="ae1719c1-ed02-42aa-a1d9-0d6e6247f692" providerId="ADAL" clId="{E83756EB-1544-42DC-BA2C-281AA4ABBF80}" dt="2025-02-05T13:38:39.948" v="2427" actId="47"/>
        <pc:sldMkLst>
          <pc:docMk/>
          <pc:sldMk cId="1367505086" sldId="296"/>
        </pc:sldMkLst>
      </pc:sldChg>
      <pc:sldChg chg="addSp delSp modSp add del mod">
        <pc:chgData name="Adwait Aralkar" userId="ae1719c1-ed02-42aa-a1d9-0d6e6247f692" providerId="ADAL" clId="{E83756EB-1544-42DC-BA2C-281AA4ABBF80}" dt="2025-02-05T13:38:14.683" v="2421" actId="47"/>
        <pc:sldMkLst>
          <pc:docMk/>
          <pc:sldMk cId="3865543623" sldId="297"/>
        </pc:sldMkLst>
        <pc:spChg chg="mod">
          <ac:chgData name="Adwait Aralkar" userId="ae1719c1-ed02-42aa-a1d9-0d6e6247f692" providerId="ADAL" clId="{E83756EB-1544-42DC-BA2C-281AA4ABBF80}" dt="2025-02-05T10:21:53.707" v="1805" actId="164"/>
          <ac:spMkLst>
            <pc:docMk/>
            <pc:sldMk cId="3865543623" sldId="297"/>
            <ac:spMk id="3" creationId="{6090A78A-F2F7-2BDF-5FE7-56FDA678B1AF}"/>
          </ac:spMkLst>
        </pc:spChg>
        <pc:spChg chg="mod">
          <ac:chgData name="Adwait Aralkar" userId="ae1719c1-ed02-42aa-a1d9-0d6e6247f692" providerId="ADAL" clId="{E83756EB-1544-42DC-BA2C-281AA4ABBF80}" dt="2025-02-05T10:10:37.925" v="1536" actId="20577"/>
          <ac:spMkLst>
            <pc:docMk/>
            <pc:sldMk cId="3865543623" sldId="297"/>
            <ac:spMk id="6" creationId="{9A8A8F03-D41C-6E4A-9AF4-E3CA627B46DA}"/>
          </ac:spMkLst>
        </pc:spChg>
        <pc:spChg chg="mod">
          <ac:chgData name="Adwait Aralkar" userId="ae1719c1-ed02-42aa-a1d9-0d6e6247f692" providerId="ADAL" clId="{E83756EB-1544-42DC-BA2C-281AA4ABBF80}" dt="2025-02-05T10:21:53.707" v="1805" actId="164"/>
          <ac:spMkLst>
            <pc:docMk/>
            <pc:sldMk cId="3865543623" sldId="297"/>
            <ac:spMk id="7" creationId="{CC0DBF53-878B-77BA-CFA9-5DB39D02BB80}"/>
          </ac:spMkLst>
        </pc:spChg>
        <pc:spChg chg="mod">
          <ac:chgData name="Adwait Aralkar" userId="ae1719c1-ed02-42aa-a1d9-0d6e6247f692" providerId="ADAL" clId="{E83756EB-1544-42DC-BA2C-281AA4ABBF80}" dt="2025-02-05T13:14:14.951" v="2149" actId="20577"/>
          <ac:spMkLst>
            <pc:docMk/>
            <pc:sldMk cId="3865543623" sldId="297"/>
            <ac:spMk id="9" creationId="{8E859C31-1111-3C1C-2E28-9F8A6FC131FE}"/>
          </ac:spMkLst>
        </pc:spChg>
        <pc:spChg chg="mod">
          <ac:chgData name="Adwait Aralkar" userId="ae1719c1-ed02-42aa-a1d9-0d6e6247f692" providerId="ADAL" clId="{E83756EB-1544-42DC-BA2C-281AA4ABBF80}" dt="2025-02-05T13:25:31.841" v="2314" actId="14100"/>
          <ac:spMkLst>
            <pc:docMk/>
            <pc:sldMk cId="3865543623" sldId="297"/>
            <ac:spMk id="12" creationId="{AE67A667-A5A7-7947-9FB4-457CBC6B2B9C}"/>
          </ac:spMkLst>
        </pc:spChg>
        <pc:spChg chg="del">
          <ac:chgData name="Adwait Aralkar" userId="ae1719c1-ed02-42aa-a1d9-0d6e6247f692" providerId="ADAL" clId="{E83756EB-1544-42DC-BA2C-281AA4ABBF80}" dt="2025-02-05T13:12:32.132" v="2140" actId="478"/>
          <ac:spMkLst>
            <pc:docMk/>
            <pc:sldMk cId="3865543623" sldId="297"/>
            <ac:spMk id="15" creationId="{EB04BDD2-6FEB-66CE-19C6-DB0E1F080243}"/>
          </ac:spMkLst>
        </pc:spChg>
        <pc:spChg chg="mod">
          <ac:chgData name="Adwait Aralkar" userId="ae1719c1-ed02-42aa-a1d9-0d6e6247f692" providerId="ADAL" clId="{E83756EB-1544-42DC-BA2C-281AA4ABBF80}" dt="2025-02-05T10:21:53.707" v="1805" actId="164"/>
          <ac:spMkLst>
            <pc:docMk/>
            <pc:sldMk cId="3865543623" sldId="297"/>
            <ac:spMk id="52" creationId="{6F121BCD-84C3-736B-7F98-D97334AF7110}"/>
          </ac:spMkLst>
        </pc:spChg>
        <pc:spChg chg="mod">
          <ac:chgData name="Adwait Aralkar" userId="ae1719c1-ed02-42aa-a1d9-0d6e6247f692" providerId="ADAL" clId="{E83756EB-1544-42DC-BA2C-281AA4ABBF80}" dt="2025-02-05T10:21:53.707" v="1805" actId="164"/>
          <ac:spMkLst>
            <pc:docMk/>
            <pc:sldMk cId="3865543623" sldId="297"/>
            <ac:spMk id="53" creationId="{ACC86075-5444-3C44-A521-E6D82B0E6FF2}"/>
          </ac:spMkLst>
        </pc:spChg>
        <pc:spChg chg="del mod">
          <ac:chgData name="Adwait Aralkar" userId="ae1719c1-ed02-42aa-a1d9-0d6e6247f692" providerId="ADAL" clId="{E83756EB-1544-42DC-BA2C-281AA4ABBF80}" dt="2025-02-05T10:09:55.789" v="1528" actId="478"/>
          <ac:spMkLst>
            <pc:docMk/>
            <pc:sldMk cId="3865543623" sldId="297"/>
            <ac:spMk id="63" creationId="{D955766D-3466-894F-3A02-04767D374B74}"/>
          </ac:spMkLst>
        </pc:spChg>
        <pc:spChg chg="mod">
          <ac:chgData name="Adwait Aralkar" userId="ae1719c1-ed02-42aa-a1d9-0d6e6247f692" providerId="ADAL" clId="{E83756EB-1544-42DC-BA2C-281AA4ABBF80}" dt="2025-02-05T09:05:19.166" v="1057" actId="20577"/>
          <ac:spMkLst>
            <pc:docMk/>
            <pc:sldMk cId="3865543623" sldId="297"/>
            <ac:spMk id="64" creationId="{6A2B54FD-FEA7-89B1-B56B-68194550200F}"/>
          </ac:spMkLst>
        </pc:spChg>
        <pc:spChg chg="add mod">
          <ac:chgData name="Adwait Aralkar" userId="ae1719c1-ed02-42aa-a1d9-0d6e6247f692" providerId="ADAL" clId="{E83756EB-1544-42DC-BA2C-281AA4ABBF80}" dt="2025-02-05T10:10:46.836" v="1547" actId="20577"/>
          <ac:spMkLst>
            <pc:docMk/>
            <pc:sldMk cId="3865543623" sldId="297"/>
            <ac:spMk id="65" creationId="{59A02F9F-549B-A56A-EDC1-D8190A4CA25E}"/>
          </ac:spMkLst>
        </pc:spChg>
        <pc:spChg chg="add mod">
          <ac:chgData name="Adwait Aralkar" userId="ae1719c1-ed02-42aa-a1d9-0d6e6247f692" providerId="ADAL" clId="{E83756EB-1544-42DC-BA2C-281AA4ABBF80}" dt="2025-02-05T10:11:07.247" v="1564" actId="1076"/>
          <ac:spMkLst>
            <pc:docMk/>
            <pc:sldMk cId="3865543623" sldId="297"/>
            <ac:spMk id="66" creationId="{1C81AF97-5A1D-2F87-BDA3-D56148B0F274}"/>
          </ac:spMkLst>
        </pc:spChg>
        <pc:spChg chg="add mod">
          <ac:chgData name="Adwait Aralkar" userId="ae1719c1-ed02-42aa-a1d9-0d6e6247f692" providerId="ADAL" clId="{E83756EB-1544-42DC-BA2C-281AA4ABBF80}" dt="2025-02-05T13:14:35.310" v="2158" actId="5793"/>
          <ac:spMkLst>
            <pc:docMk/>
            <pc:sldMk cId="3865543623" sldId="297"/>
            <ac:spMk id="68" creationId="{DC5ED38C-9FE2-8747-A28B-97125ABEE516}"/>
          </ac:spMkLst>
        </pc:spChg>
        <pc:grpChg chg="add del mod">
          <ac:chgData name="Adwait Aralkar" userId="ae1719c1-ed02-42aa-a1d9-0d6e6247f692" providerId="ADAL" clId="{E83756EB-1544-42DC-BA2C-281AA4ABBF80}" dt="2025-02-05T13:25:26.557" v="2313" actId="478"/>
          <ac:grpSpMkLst>
            <pc:docMk/>
            <pc:sldMk cId="3865543623" sldId="297"/>
            <ac:grpSpMk id="67" creationId="{8BAE698F-9945-9BD1-1A39-1DA4A55BD547}"/>
          </ac:grpSpMkLst>
        </pc:grpChg>
      </pc:sldChg>
      <pc:sldChg chg="addSp delSp modSp add mod">
        <pc:chgData name="Adwait Aralkar" userId="ae1719c1-ed02-42aa-a1d9-0d6e6247f692" providerId="ADAL" clId="{E83756EB-1544-42DC-BA2C-281AA4ABBF80}" dt="2025-02-05T10:08:49.100" v="1507" actId="478"/>
        <pc:sldMkLst>
          <pc:docMk/>
          <pc:sldMk cId="2723481107" sldId="298"/>
        </pc:sldMkLst>
        <pc:spChg chg="mod">
          <ac:chgData name="Adwait Aralkar" userId="ae1719c1-ed02-42aa-a1d9-0d6e6247f692" providerId="ADAL" clId="{E83756EB-1544-42DC-BA2C-281AA4ABBF80}" dt="2025-02-04T11:21:28.600" v="125" actId="20577"/>
          <ac:spMkLst>
            <pc:docMk/>
            <pc:sldMk cId="2723481107" sldId="298"/>
            <ac:spMk id="3" creationId="{EF181B65-BA1E-79EF-0DB4-E5246A1C4666}"/>
          </ac:spMkLst>
        </pc:spChg>
        <pc:spChg chg="add del mod">
          <ac:chgData name="Adwait Aralkar" userId="ae1719c1-ed02-42aa-a1d9-0d6e6247f692" providerId="ADAL" clId="{E83756EB-1544-42DC-BA2C-281AA4ABBF80}" dt="2025-02-05T10:08:49.100" v="1507" actId="478"/>
          <ac:spMkLst>
            <pc:docMk/>
            <pc:sldMk cId="2723481107" sldId="298"/>
            <ac:spMk id="6" creationId="{05A7FDE1-9559-9116-8D1B-2207CA2BC1B7}"/>
          </ac:spMkLst>
        </pc:spChg>
        <pc:spChg chg="mod">
          <ac:chgData name="Adwait Aralkar" userId="ae1719c1-ed02-42aa-a1d9-0d6e6247f692" providerId="ADAL" clId="{E83756EB-1544-42DC-BA2C-281AA4ABBF80}" dt="2025-02-04T10:34:36.097" v="26" actId="20577"/>
          <ac:spMkLst>
            <pc:docMk/>
            <pc:sldMk cId="2723481107" sldId="298"/>
            <ac:spMk id="13" creationId="{9ED6ECEE-26BD-25C1-F70B-79E6EF1FB43C}"/>
          </ac:spMkLst>
        </pc:spChg>
      </pc:sldChg>
      <pc:sldChg chg="delSp modSp add del mod">
        <pc:chgData name="Adwait Aralkar" userId="ae1719c1-ed02-42aa-a1d9-0d6e6247f692" providerId="ADAL" clId="{E83756EB-1544-42DC-BA2C-281AA4ABBF80}" dt="2025-02-05T14:12:50.284" v="2448" actId="47"/>
        <pc:sldMkLst>
          <pc:docMk/>
          <pc:sldMk cId="4208253848" sldId="299"/>
        </pc:sldMkLst>
        <pc:spChg chg="mod">
          <ac:chgData name="Adwait Aralkar" userId="ae1719c1-ed02-42aa-a1d9-0d6e6247f692" providerId="ADAL" clId="{E83756EB-1544-42DC-BA2C-281AA4ABBF80}" dt="2025-02-05T13:40:22.267" v="2434" actId="1076"/>
          <ac:spMkLst>
            <pc:docMk/>
            <pc:sldMk cId="4208253848" sldId="299"/>
            <ac:spMk id="3" creationId="{B13B789C-8045-08D9-74C2-D019632E015B}"/>
          </ac:spMkLst>
        </pc:spChg>
        <pc:spChg chg="del">
          <ac:chgData name="Adwait Aralkar" userId="ae1719c1-ed02-42aa-a1d9-0d6e6247f692" providerId="ADAL" clId="{E83756EB-1544-42DC-BA2C-281AA4ABBF80}" dt="2025-02-05T13:08:33.687" v="2136" actId="478"/>
          <ac:spMkLst>
            <pc:docMk/>
            <pc:sldMk cId="4208253848" sldId="299"/>
            <ac:spMk id="4" creationId="{6EF7D236-4E20-FA7C-2212-66C22F4F6E07}"/>
          </ac:spMkLst>
        </pc:spChg>
        <pc:spChg chg="mod">
          <ac:chgData name="Adwait Aralkar" userId="ae1719c1-ed02-42aa-a1d9-0d6e6247f692" providerId="ADAL" clId="{E83756EB-1544-42DC-BA2C-281AA4ABBF80}" dt="2025-02-05T06:14:28.232" v="1054" actId="20577"/>
          <ac:spMkLst>
            <pc:docMk/>
            <pc:sldMk cId="4208253848" sldId="299"/>
            <ac:spMk id="19" creationId="{976C133D-D5DC-1644-480F-85D3C805FFE3}"/>
          </ac:spMkLst>
        </pc:spChg>
        <pc:spChg chg="mod">
          <ac:chgData name="Adwait Aralkar" userId="ae1719c1-ed02-42aa-a1d9-0d6e6247f692" providerId="ADAL" clId="{E83756EB-1544-42DC-BA2C-281AA4ABBF80}" dt="2025-02-05T13:40:24.369" v="2435" actId="1076"/>
          <ac:spMkLst>
            <pc:docMk/>
            <pc:sldMk cId="4208253848" sldId="299"/>
            <ac:spMk id="89" creationId="{48A23675-22D0-54D5-8DB2-DB09733D3621}"/>
          </ac:spMkLst>
        </pc:spChg>
      </pc:sldChg>
      <pc:sldChg chg="modSp mod">
        <pc:chgData name="Adwait Aralkar" userId="ae1719c1-ed02-42aa-a1d9-0d6e6247f692" providerId="ADAL" clId="{E83756EB-1544-42DC-BA2C-281AA4ABBF80}" dt="2025-02-04T12:54:04.850" v="595" actId="20577"/>
        <pc:sldMkLst>
          <pc:docMk/>
          <pc:sldMk cId="2940475054" sldId="300"/>
        </pc:sldMkLst>
        <pc:spChg chg="mod">
          <ac:chgData name="Adwait Aralkar" userId="ae1719c1-ed02-42aa-a1d9-0d6e6247f692" providerId="ADAL" clId="{E83756EB-1544-42DC-BA2C-281AA4ABBF80}" dt="2025-02-04T12:54:04.850" v="595" actId="20577"/>
          <ac:spMkLst>
            <pc:docMk/>
            <pc:sldMk cId="2940475054" sldId="300"/>
            <ac:spMk id="7" creationId="{637C98A9-21B9-C99B-066A-7216154C7689}"/>
          </ac:spMkLst>
        </pc:spChg>
      </pc:sldChg>
      <pc:sldChg chg="modSp mod">
        <pc:chgData name="Adwait Aralkar" userId="ae1719c1-ed02-42aa-a1d9-0d6e6247f692" providerId="ADAL" clId="{E83756EB-1544-42DC-BA2C-281AA4ABBF80}" dt="2025-02-05T10:06:58.049" v="1494" actId="20577"/>
        <pc:sldMkLst>
          <pc:docMk/>
          <pc:sldMk cId="2640976559" sldId="301"/>
        </pc:sldMkLst>
        <pc:spChg chg="mod">
          <ac:chgData name="Adwait Aralkar" userId="ae1719c1-ed02-42aa-a1d9-0d6e6247f692" providerId="ADAL" clId="{E83756EB-1544-42DC-BA2C-281AA4ABBF80}" dt="2025-02-05T10:06:58.049" v="1494" actId="20577"/>
          <ac:spMkLst>
            <pc:docMk/>
            <pc:sldMk cId="2640976559" sldId="301"/>
            <ac:spMk id="19" creationId="{D758764B-F356-8BBC-D471-4110644955C7}"/>
          </ac:spMkLst>
        </pc:spChg>
      </pc:sldChg>
      <pc:sldChg chg="add del">
        <pc:chgData name="Adwait Aralkar" userId="ae1719c1-ed02-42aa-a1d9-0d6e6247f692" providerId="ADAL" clId="{E83756EB-1544-42DC-BA2C-281AA4ABBF80}" dt="2025-02-04T13:27:51.553" v="748" actId="47"/>
        <pc:sldMkLst>
          <pc:docMk/>
          <pc:sldMk cId="3463703872" sldId="301"/>
        </pc:sldMkLst>
      </pc:sldChg>
      <pc:sldChg chg="addSp delSp modSp add mod modNotesTx">
        <pc:chgData name="Adwait Aralkar" userId="ae1719c1-ed02-42aa-a1d9-0d6e6247f692" providerId="ADAL" clId="{E83756EB-1544-42DC-BA2C-281AA4ABBF80}" dt="2025-02-05T11:01:37.656" v="1934" actId="113"/>
        <pc:sldMkLst>
          <pc:docMk/>
          <pc:sldMk cId="1078193935" sldId="302"/>
        </pc:sldMkLst>
        <pc:spChg chg="mod">
          <ac:chgData name="Adwait Aralkar" userId="ae1719c1-ed02-42aa-a1d9-0d6e6247f692" providerId="ADAL" clId="{E83756EB-1544-42DC-BA2C-281AA4ABBF80}" dt="2025-02-05T09:57:47.989" v="1394" actId="14100"/>
          <ac:spMkLst>
            <pc:docMk/>
            <pc:sldMk cId="1078193935" sldId="302"/>
            <ac:spMk id="2" creationId="{EC52E68C-746D-FEAE-8E3F-9415F6F14857}"/>
          </ac:spMkLst>
        </pc:spChg>
        <pc:spChg chg="mod">
          <ac:chgData name="Adwait Aralkar" userId="ae1719c1-ed02-42aa-a1d9-0d6e6247f692" providerId="ADAL" clId="{E83756EB-1544-42DC-BA2C-281AA4ABBF80}" dt="2025-02-05T09:57:58.635" v="1396" actId="164"/>
          <ac:spMkLst>
            <pc:docMk/>
            <pc:sldMk cId="1078193935" sldId="302"/>
            <ac:spMk id="3" creationId="{D7821132-1E7A-9F18-3AEA-5F6A53AB7DDB}"/>
          </ac:spMkLst>
        </pc:spChg>
        <pc:spChg chg="mod">
          <ac:chgData name="Adwait Aralkar" userId="ae1719c1-ed02-42aa-a1d9-0d6e6247f692" providerId="ADAL" clId="{E83756EB-1544-42DC-BA2C-281AA4ABBF80}" dt="2025-02-05T09:57:44.637" v="1393" actId="14100"/>
          <ac:spMkLst>
            <pc:docMk/>
            <pc:sldMk cId="1078193935" sldId="302"/>
            <ac:spMk id="12" creationId="{B17D2672-B301-1C1B-9FB8-D00E79BAA592}"/>
          </ac:spMkLst>
        </pc:spChg>
        <pc:spChg chg="mod">
          <ac:chgData name="Adwait Aralkar" userId="ae1719c1-ed02-42aa-a1d9-0d6e6247f692" providerId="ADAL" clId="{E83756EB-1544-42DC-BA2C-281AA4ABBF80}" dt="2025-02-05T09:42:08.065" v="1299" actId="14100"/>
          <ac:spMkLst>
            <pc:docMk/>
            <pc:sldMk cId="1078193935" sldId="302"/>
            <ac:spMk id="20" creationId="{330C6459-D786-C1B5-6949-7D9C3D9863B1}"/>
          </ac:spMkLst>
        </pc:spChg>
        <pc:spChg chg="mod">
          <ac:chgData name="Adwait Aralkar" userId="ae1719c1-ed02-42aa-a1d9-0d6e6247f692" providerId="ADAL" clId="{E83756EB-1544-42DC-BA2C-281AA4ABBF80}" dt="2025-02-05T09:57:51.925" v="1395" actId="14100"/>
          <ac:spMkLst>
            <pc:docMk/>
            <pc:sldMk cId="1078193935" sldId="302"/>
            <ac:spMk id="22" creationId="{2ADE6E40-1280-81C7-3851-8B4985FB5C79}"/>
          </ac:spMkLst>
        </pc:spChg>
        <pc:spChg chg="del">
          <ac:chgData name="Adwait Aralkar" userId="ae1719c1-ed02-42aa-a1d9-0d6e6247f692" providerId="ADAL" clId="{E83756EB-1544-42DC-BA2C-281AA4ABBF80}" dt="2025-02-05T03:53:12.384" v="1019" actId="478"/>
          <ac:spMkLst>
            <pc:docMk/>
            <pc:sldMk cId="1078193935" sldId="302"/>
            <ac:spMk id="25" creationId="{66AF1FF7-FD99-CF01-D53A-A95B0F877F2D}"/>
          </ac:spMkLst>
        </pc:spChg>
        <pc:spChg chg="del mod">
          <ac:chgData name="Adwait Aralkar" userId="ae1719c1-ed02-42aa-a1d9-0d6e6247f692" providerId="ADAL" clId="{E83756EB-1544-42DC-BA2C-281AA4ABBF80}" dt="2025-02-05T09:33:37.691" v="1192" actId="478"/>
          <ac:spMkLst>
            <pc:docMk/>
            <pc:sldMk cId="1078193935" sldId="302"/>
            <ac:spMk id="25" creationId="{B3539653-7646-47E3-8813-83FA2CC22720}"/>
          </ac:spMkLst>
        </pc:spChg>
        <pc:spChg chg="mod">
          <ac:chgData name="Adwait Aralkar" userId="ae1719c1-ed02-42aa-a1d9-0d6e6247f692" providerId="ADAL" clId="{E83756EB-1544-42DC-BA2C-281AA4ABBF80}" dt="2025-02-05T09:47:19.056" v="1330" actId="14100"/>
          <ac:spMkLst>
            <pc:docMk/>
            <pc:sldMk cId="1078193935" sldId="302"/>
            <ac:spMk id="31" creationId="{1B738369-9158-DC18-B548-3F27D13E4A30}"/>
          </ac:spMkLst>
        </pc:spChg>
        <pc:spChg chg="mod">
          <ac:chgData name="Adwait Aralkar" userId="ae1719c1-ed02-42aa-a1d9-0d6e6247f692" providerId="ADAL" clId="{E83756EB-1544-42DC-BA2C-281AA4ABBF80}" dt="2025-02-05T09:57:58.635" v="1396" actId="164"/>
          <ac:spMkLst>
            <pc:docMk/>
            <pc:sldMk cId="1078193935" sldId="302"/>
            <ac:spMk id="32" creationId="{F821D9F6-7142-A47A-0747-F08D6691FEE3}"/>
          </ac:spMkLst>
        </pc:spChg>
        <pc:spChg chg="mod">
          <ac:chgData name="Adwait Aralkar" userId="ae1719c1-ed02-42aa-a1d9-0d6e6247f692" providerId="ADAL" clId="{E83756EB-1544-42DC-BA2C-281AA4ABBF80}" dt="2025-02-05T10:04:20.708" v="1466" actId="14100"/>
          <ac:spMkLst>
            <pc:docMk/>
            <pc:sldMk cId="1078193935" sldId="302"/>
            <ac:spMk id="33" creationId="{41892F68-2488-2BD1-2D74-2ABD42F7D7D1}"/>
          </ac:spMkLst>
        </pc:spChg>
        <pc:spChg chg="mod">
          <ac:chgData name="Adwait Aralkar" userId="ae1719c1-ed02-42aa-a1d9-0d6e6247f692" providerId="ADAL" clId="{E83756EB-1544-42DC-BA2C-281AA4ABBF80}" dt="2025-02-05T11:01:37.656" v="1934" actId="113"/>
          <ac:spMkLst>
            <pc:docMk/>
            <pc:sldMk cId="1078193935" sldId="302"/>
            <ac:spMk id="34" creationId="{595A1D83-2B91-E7A6-F7E3-0C7C43DE5C7A}"/>
          </ac:spMkLst>
        </pc:spChg>
        <pc:spChg chg="del">
          <ac:chgData name="Adwait Aralkar" userId="ae1719c1-ed02-42aa-a1d9-0d6e6247f692" providerId="ADAL" clId="{E83756EB-1544-42DC-BA2C-281AA4ABBF80}" dt="2025-02-05T03:46:07.013" v="776" actId="478"/>
          <ac:spMkLst>
            <pc:docMk/>
            <pc:sldMk cId="1078193935" sldId="302"/>
            <ac:spMk id="35" creationId="{9CD87B95-4727-A099-6B86-EA8D44C0E21C}"/>
          </ac:spMkLst>
        </pc:spChg>
        <pc:spChg chg="del">
          <ac:chgData name="Adwait Aralkar" userId="ae1719c1-ed02-42aa-a1d9-0d6e6247f692" providerId="ADAL" clId="{E83756EB-1544-42DC-BA2C-281AA4ABBF80}" dt="2025-02-05T03:46:09.339" v="777" actId="478"/>
          <ac:spMkLst>
            <pc:docMk/>
            <pc:sldMk cId="1078193935" sldId="302"/>
            <ac:spMk id="36" creationId="{1C3B24C0-5A9E-F794-E6A5-1830E08C8767}"/>
          </ac:spMkLst>
        </pc:spChg>
        <pc:spChg chg="mod">
          <ac:chgData name="Adwait Aralkar" userId="ae1719c1-ed02-42aa-a1d9-0d6e6247f692" providerId="ADAL" clId="{E83756EB-1544-42DC-BA2C-281AA4ABBF80}" dt="2025-02-05T09:57:10.300" v="1386" actId="1076"/>
          <ac:spMkLst>
            <pc:docMk/>
            <pc:sldMk cId="1078193935" sldId="302"/>
            <ac:spMk id="37" creationId="{42A9D598-6BA5-9E5E-AF34-8D1F47D48340}"/>
          </ac:spMkLst>
        </pc:spChg>
        <pc:spChg chg="mod">
          <ac:chgData name="Adwait Aralkar" userId="ae1719c1-ed02-42aa-a1d9-0d6e6247f692" providerId="ADAL" clId="{E83756EB-1544-42DC-BA2C-281AA4ABBF80}" dt="2025-02-05T09:36:47.822" v="1227" actId="1076"/>
          <ac:spMkLst>
            <pc:docMk/>
            <pc:sldMk cId="1078193935" sldId="302"/>
            <ac:spMk id="42" creationId="{56D96CDE-B2DF-48A5-35ED-E004D918914C}"/>
          </ac:spMkLst>
        </pc:spChg>
        <pc:spChg chg="del">
          <ac:chgData name="Adwait Aralkar" userId="ae1719c1-ed02-42aa-a1d9-0d6e6247f692" providerId="ADAL" clId="{E83756EB-1544-42DC-BA2C-281AA4ABBF80}" dt="2025-02-05T03:53:15.417" v="1020" actId="478"/>
          <ac:spMkLst>
            <pc:docMk/>
            <pc:sldMk cId="1078193935" sldId="302"/>
            <ac:spMk id="50" creationId="{2C8ACA29-2BDA-6C74-930E-AC2A338A37BD}"/>
          </ac:spMkLst>
        </pc:spChg>
        <pc:spChg chg="mod">
          <ac:chgData name="Adwait Aralkar" userId="ae1719c1-ed02-42aa-a1d9-0d6e6247f692" providerId="ADAL" clId="{E83756EB-1544-42DC-BA2C-281AA4ABBF80}" dt="2025-02-05T09:43:47.280" v="1301" actId="1076"/>
          <ac:spMkLst>
            <pc:docMk/>
            <pc:sldMk cId="1078193935" sldId="302"/>
            <ac:spMk id="51" creationId="{ED6160B3-3150-1A2A-04A4-D89BA1B1A1B1}"/>
          </ac:spMkLst>
        </pc:spChg>
        <pc:spChg chg="mod">
          <ac:chgData name="Adwait Aralkar" userId="ae1719c1-ed02-42aa-a1d9-0d6e6247f692" providerId="ADAL" clId="{E83756EB-1544-42DC-BA2C-281AA4ABBF80}" dt="2025-02-05T09:42:11.800" v="1300" actId="1076"/>
          <ac:spMkLst>
            <pc:docMk/>
            <pc:sldMk cId="1078193935" sldId="302"/>
            <ac:spMk id="52" creationId="{D2BF6DBB-456D-1CFA-E04B-55121311CDE7}"/>
          </ac:spMkLst>
        </pc:spChg>
        <pc:spChg chg="add del mod">
          <ac:chgData name="Adwait Aralkar" userId="ae1719c1-ed02-42aa-a1d9-0d6e6247f692" providerId="ADAL" clId="{E83756EB-1544-42DC-BA2C-281AA4ABBF80}" dt="2025-02-05T09:33:17.466" v="1186" actId="478"/>
          <ac:spMkLst>
            <pc:docMk/>
            <pc:sldMk cId="1078193935" sldId="302"/>
            <ac:spMk id="55" creationId="{3F7C4A96-1AC7-1899-21AB-12C9D11429DE}"/>
          </ac:spMkLst>
        </pc:spChg>
        <pc:spChg chg="del mod">
          <ac:chgData name="Adwait Aralkar" userId="ae1719c1-ed02-42aa-a1d9-0d6e6247f692" providerId="ADAL" clId="{E83756EB-1544-42DC-BA2C-281AA4ABBF80}" dt="2025-02-05T09:33:39.622" v="1193" actId="478"/>
          <ac:spMkLst>
            <pc:docMk/>
            <pc:sldMk cId="1078193935" sldId="302"/>
            <ac:spMk id="56" creationId="{40880C4E-9B57-0AF5-5F4C-51D318690EBA}"/>
          </ac:spMkLst>
        </pc:spChg>
        <pc:spChg chg="mod">
          <ac:chgData name="Adwait Aralkar" userId="ae1719c1-ed02-42aa-a1d9-0d6e6247f692" providerId="ADAL" clId="{E83756EB-1544-42DC-BA2C-281AA4ABBF80}" dt="2025-02-05T09:44:01.801" v="1302" actId="1076"/>
          <ac:spMkLst>
            <pc:docMk/>
            <pc:sldMk cId="1078193935" sldId="302"/>
            <ac:spMk id="58" creationId="{8268C142-DA9B-15AA-934C-AEBCAEB70EEB}"/>
          </ac:spMkLst>
        </pc:spChg>
        <pc:spChg chg="mod">
          <ac:chgData name="Adwait Aralkar" userId="ae1719c1-ed02-42aa-a1d9-0d6e6247f692" providerId="ADAL" clId="{E83756EB-1544-42DC-BA2C-281AA4ABBF80}" dt="2025-02-05T09:57:03.759" v="1385" actId="20577"/>
          <ac:spMkLst>
            <pc:docMk/>
            <pc:sldMk cId="1078193935" sldId="302"/>
            <ac:spMk id="59" creationId="{15FDB899-329A-CD45-BF68-A6623A4D3C1F}"/>
          </ac:spMkLst>
        </pc:spChg>
        <pc:spChg chg="add mod">
          <ac:chgData name="Adwait Aralkar" userId="ae1719c1-ed02-42aa-a1d9-0d6e6247f692" providerId="ADAL" clId="{E83756EB-1544-42DC-BA2C-281AA4ABBF80}" dt="2025-02-05T11:01:21.798" v="1930" actId="404"/>
          <ac:spMkLst>
            <pc:docMk/>
            <pc:sldMk cId="1078193935" sldId="302"/>
            <ac:spMk id="60" creationId="{3162A752-AC50-E22F-F649-27E2CDB2581F}"/>
          </ac:spMkLst>
        </pc:spChg>
        <pc:spChg chg="mod">
          <ac:chgData name="Adwait Aralkar" userId="ae1719c1-ed02-42aa-a1d9-0d6e6247f692" providerId="ADAL" clId="{E83756EB-1544-42DC-BA2C-281AA4ABBF80}" dt="2025-02-05T09:47:30.846" v="1332" actId="1076"/>
          <ac:spMkLst>
            <pc:docMk/>
            <pc:sldMk cId="1078193935" sldId="302"/>
            <ac:spMk id="64" creationId="{AE380F07-5CE9-BBC5-D18F-E0DC4DFE28FB}"/>
          </ac:spMkLst>
        </pc:spChg>
        <pc:spChg chg="mod">
          <ac:chgData name="Adwait Aralkar" userId="ae1719c1-ed02-42aa-a1d9-0d6e6247f692" providerId="ADAL" clId="{E83756EB-1544-42DC-BA2C-281AA4ABBF80}" dt="2025-02-05T09:47:08.527" v="1329" actId="1076"/>
          <ac:spMkLst>
            <pc:docMk/>
            <pc:sldMk cId="1078193935" sldId="302"/>
            <ac:spMk id="67" creationId="{69598EDD-4D54-6706-9E8E-8B3EE4476B48}"/>
          </ac:spMkLst>
        </pc:spChg>
        <pc:spChg chg="add mod">
          <ac:chgData name="Adwait Aralkar" userId="ae1719c1-ed02-42aa-a1d9-0d6e6247f692" providerId="ADAL" clId="{E83756EB-1544-42DC-BA2C-281AA4ABBF80}" dt="2025-02-05T10:04:02.900" v="1462" actId="14100"/>
          <ac:spMkLst>
            <pc:docMk/>
            <pc:sldMk cId="1078193935" sldId="302"/>
            <ac:spMk id="69" creationId="{4A13A916-D3A9-B09F-F790-08BFCA4B4BB7}"/>
          </ac:spMkLst>
        </pc:spChg>
        <pc:spChg chg="add del mod">
          <ac:chgData name="Adwait Aralkar" userId="ae1719c1-ed02-42aa-a1d9-0d6e6247f692" providerId="ADAL" clId="{E83756EB-1544-42DC-BA2C-281AA4ABBF80}" dt="2025-02-05T03:53:20.595" v="1021" actId="478"/>
          <ac:spMkLst>
            <pc:docMk/>
            <pc:sldMk cId="1078193935" sldId="302"/>
            <ac:spMk id="70" creationId="{CA8F75E7-6A81-6088-EEFB-8525D35840BC}"/>
          </ac:spMkLst>
        </pc:spChg>
        <pc:spChg chg="add mod">
          <ac:chgData name="Adwait Aralkar" userId="ae1719c1-ed02-42aa-a1d9-0d6e6247f692" providerId="ADAL" clId="{E83756EB-1544-42DC-BA2C-281AA4ABBF80}" dt="2025-02-05T09:31:58.109" v="1174" actId="1076"/>
          <ac:spMkLst>
            <pc:docMk/>
            <pc:sldMk cId="1078193935" sldId="302"/>
            <ac:spMk id="73" creationId="{C13955D7-3A0C-D173-E4D5-785466E2205B}"/>
          </ac:spMkLst>
        </pc:spChg>
        <pc:spChg chg="add mod">
          <ac:chgData name="Adwait Aralkar" userId="ae1719c1-ed02-42aa-a1d9-0d6e6247f692" providerId="ADAL" clId="{E83756EB-1544-42DC-BA2C-281AA4ABBF80}" dt="2025-02-05T09:28:36.599" v="1124" actId="5793"/>
          <ac:spMkLst>
            <pc:docMk/>
            <pc:sldMk cId="1078193935" sldId="302"/>
            <ac:spMk id="74" creationId="{490A9AE1-C4B4-656C-821B-B33F28C69655}"/>
          </ac:spMkLst>
        </pc:spChg>
        <pc:spChg chg="add mod">
          <ac:chgData name="Adwait Aralkar" userId="ae1719c1-ed02-42aa-a1d9-0d6e6247f692" providerId="ADAL" clId="{E83756EB-1544-42DC-BA2C-281AA4ABBF80}" dt="2025-02-05T09:28:50.880" v="1150" actId="20577"/>
          <ac:spMkLst>
            <pc:docMk/>
            <pc:sldMk cId="1078193935" sldId="302"/>
            <ac:spMk id="75" creationId="{63E530B8-F8D1-2BC1-EEF5-47AAC98F9DD5}"/>
          </ac:spMkLst>
        </pc:spChg>
        <pc:spChg chg="add mod">
          <ac:chgData name="Adwait Aralkar" userId="ae1719c1-ed02-42aa-a1d9-0d6e6247f692" providerId="ADAL" clId="{E83756EB-1544-42DC-BA2C-281AA4ABBF80}" dt="2025-02-05T09:32:05.678" v="1176" actId="1076"/>
          <ac:spMkLst>
            <pc:docMk/>
            <pc:sldMk cId="1078193935" sldId="302"/>
            <ac:spMk id="76" creationId="{7A7836A0-CAE1-EF52-6AC9-0CF8E059E7C2}"/>
          </ac:spMkLst>
        </pc:spChg>
        <pc:spChg chg="add mod">
          <ac:chgData name="Adwait Aralkar" userId="ae1719c1-ed02-42aa-a1d9-0d6e6247f692" providerId="ADAL" clId="{E83756EB-1544-42DC-BA2C-281AA4ABBF80}" dt="2025-02-05T09:32:01.198" v="1175" actId="1076"/>
          <ac:spMkLst>
            <pc:docMk/>
            <pc:sldMk cId="1078193935" sldId="302"/>
            <ac:spMk id="77" creationId="{47D7240F-C267-DCB1-69DD-F3110243C355}"/>
          </ac:spMkLst>
        </pc:spChg>
        <pc:spChg chg="add mod">
          <ac:chgData name="Adwait Aralkar" userId="ae1719c1-ed02-42aa-a1d9-0d6e6247f692" providerId="ADAL" clId="{E83756EB-1544-42DC-BA2C-281AA4ABBF80}" dt="2025-02-05T09:32:13.726" v="1178" actId="1076"/>
          <ac:spMkLst>
            <pc:docMk/>
            <pc:sldMk cId="1078193935" sldId="302"/>
            <ac:spMk id="78" creationId="{08EA35EF-1124-C531-45DE-59D7361BF480}"/>
          </ac:spMkLst>
        </pc:spChg>
        <pc:spChg chg="add mod">
          <ac:chgData name="Adwait Aralkar" userId="ae1719c1-ed02-42aa-a1d9-0d6e6247f692" providerId="ADAL" clId="{E83756EB-1544-42DC-BA2C-281AA4ABBF80}" dt="2025-02-05T09:33:23.748" v="1188" actId="1076"/>
          <ac:spMkLst>
            <pc:docMk/>
            <pc:sldMk cId="1078193935" sldId="302"/>
            <ac:spMk id="79" creationId="{E5510213-C6DD-634B-D6EA-E63E6EB5FD00}"/>
          </ac:spMkLst>
        </pc:spChg>
        <pc:spChg chg="add mod">
          <ac:chgData name="Adwait Aralkar" userId="ae1719c1-ed02-42aa-a1d9-0d6e6247f692" providerId="ADAL" clId="{E83756EB-1544-42DC-BA2C-281AA4ABBF80}" dt="2025-02-05T09:33:35.158" v="1191"/>
          <ac:spMkLst>
            <pc:docMk/>
            <pc:sldMk cId="1078193935" sldId="302"/>
            <ac:spMk id="80" creationId="{F75A2B00-EC5F-8D40-64FC-BF2A0719A1EC}"/>
          </ac:spMkLst>
        </pc:spChg>
        <pc:spChg chg="add mod">
          <ac:chgData name="Adwait Aralkar" userId="ae1719c1-ed02-42aa-a1d9-0d6e6247f692" providerId="ADAL" clId="{E83756EB-1544-42DC-BA2C-281AA4ABBF80}" dt="2025-02-05T09:36:07.084" v="1219" actId="1076"/>
          <ac:spMkLst>
            <pc:docMk/>
            <pc:sldMk cId="1078193935" sldId="302"/>
            <ac:spMk id="81" creationId="{8D095A93-40C2-6DC9-7A88-0F3316E98C27}"/>
          </ac:spMkLst>
        </pc:spChg>
        <pc:spChg chg="add mod">
          <ac:chgData name="Adwait Aralkar" userId="ae1719c1-ed02-42aa-a1d9-0d6e6247f692" providerId="ADAL" clId="{E83756EB-1544-42DC-BA2C-281AA4ABBF80}" dt="2025-02-05T09:55:57.910" v="1381" actId="1076"/>
          <ac:spMkLst>
            <pc:docMk/>
            <pc:sldMk cId="1078193935" sldId="302"/>
            <ac:spMk id="82" creationId="{C4EA8F04-9E53-9AA5-ADBA-3645CC3143D4}"/>
          </ac:spMkLst>
        </pc:spChg>
        <pc:grpChg chg="add mod">
          <ac:chgData name="Adwait Aralkar" userId="ae1719c1-ed02-42aa-a1d9-0d6e6247f692" providerId="ADAL" clId="{E83756EB-1544-42DC-BA2C-281AA4ABBF80}" dt="2025-02-05T09:47:42.319" v="1333" actId="1076"/>
          <ac:grpSpMkLst>
            <pc:docMk/>
            <pc:sldMk cId="1078193935" sldId="302"/>
            <ac:grpSpMk id="83" creationId="{A8269AF8-5EB7-7489-4E5C-8DB2D7EE9216}"/>
          </ac:grpSpMkLst>
        </pc:grpChg>
        <pc:grpChg chg="add mod">
          <ac:chgData name="Adwait Aralkar" userId="ae1719c1-ed02-42aa-a1d9-0d6e6247f692" providerId="ADAL" clId="{E83756EB-1544-42DC-BA2C-281AA4ABBF80}" dt="2025-02-05T09:58:02.885" v="1397" actId="1076"/>
          <ac:grpSpMkLst>
            <pc:docMk/>
            <pc:sldMk cId="1078193935" sldId="302"/>
            <ac:grpSpMk id="84" creationId="{162AF36E-749F-5019-2E6D-1D7E76981506}"/>
          </ac:grpSpMkLst>
        </pc:grpChg>
        <pc:picChg chg="mod">
          <ac:chgData name="Adwait Aralkar" userId="ae1719c1-ed02-42aa-a1d9-0d6e6247f692" providerId="ADAL" clId="{E83756EB-1544-42DC-BA2C-281AA4ABBF80}" dt="2025-02-05T09:47:42.319" v="1333" actId="1076"/>
          <ac:picMkLst>
            <pc:docMk/>
            <pc:sldMk cId="1078193935" sldId="302"/>
            <ac:picMk id="47" creationId="{BF4EA66A-4D8D-CC1F-D5D7-15AF88A83020}"/>
          </ac:picMkLst>
        </pc:picChg>
        <pc:picChg chg="mod">
          <ac:chgData name="Adwait Aralkar" userId="ae1719c1-ed02-42aa-a1d9-0d6e6247f692" providerId="ADAL" clId="{E83756EB-1544-42DC-BA2C-281AA4ABBF80}" dt="2025-02-05T09:47:42.319" v="1333" actId="1076"/>
          <ac:picMkLst>
            <pc:docMk/>
            <pc:sldMk cId="1078193935" sldId="302"/>
            <ac:picMk id="48" creationId="{7EA6D0B2-E582-84B9-82B6-510B56487D25}"/>
          </ac:picMkLst>
        </pc:picChg>
      </pc:sldChg>
      <pc:sldChg chg="del">
        <pc:chgData name="Adwait Aralkar" userId="ae1719c1-ed02-42aa-a1d9-0d6e6247f692" providerId="ADAL" clId="{E83756EB-1544-42DC-BA2C-281AA4ABBF80}" dt="2025-02-05T13:38:34.507" v="2422" actId="47"/>
        <pc:sldMkLst>
          <pc:docMk/>
          <pc:sldMk cId="3573936309" sldId="303"/>
        </pc:sldMkLst>
      </pc:sldChg>
      <pc:sldChg chg="delSp mod">
        <pc:chgData name="Adwait Aralkar" userId="ae1719c1-ed02-42aa-a1d9-0d6e6247f692" providerId="ADAL" clId="{E83756EB-1544-42DC-BA2C-281AA4ABBF80}" dt="2025-02-05T13:08:58.499" v="2137" actId="478"/>
        <pc:sldMkLst>
          <pc:docMk/>
          <pc:sldMk cId="3804778257" sldId="305"/>
        </pc:sldMkLst>
        <pc:spChg chg="del">
          <ac:chgData name="Adwait Aralkar" userId="ae1719c1-ed02-42aa-a1d9-0d6e6247f692" providerId="ADAL" clId="{E83756EB-1544-42DC-BA2C-281AA4ABBF80}" dt="2025-02-05T13:08:58.499" v="2137" actId="478"/>
          <ac:spMkLst>
            <pc:docMk/>
            <pc:sldMk cId="3804778257" sldId="305"/>
            <ac:spMk id="4" creationId="{977FFBD1-9D10-A819-BF6F-21CE13FC4EAB}"/>
          </ac:spMkLst>
        </pc:spChg>
      </pc:sldChg>
      <pc:sldChg chg="add del">
        <pc:chgData name="Adwait Aralkar" userId="ae1719c1-ed02-42aa-a1d9-0d6e6247f692" providerId="ADAL" clId="{E83756EB-1544-42DC-BA2C-281AA4ABBF80}" dt="2025-02-05T11:10:39.766" v="1969" actId="2696"/>
        <pc:sldMkLst>
          <pc:docMk/>
          <pc:sldMk cId="260377367" sldId="306"/>
        </pc:sldMkLst>
      </pc:sldChg>
      <pc:sldChg chg="add del">
        <pc:chgData name="Adwait Aralkar" userId="ae1719c1-ed02-42aa-a1d9-0d6e6247f692" providerId="ADAL" clId="{E83756EB-1544-42DC-BA2C-281AA4ABBF80}" dt="2025-02-05T10:14:51.354" v="1566"/>
        <pc:sldMkLst>
          <pc:docMk/>
          <pc:sldMk cId="1502235988" sldId="306"/>
        </pc:sldMkLst>
      </pc:sldChg>
      <pc:sldChg chg="addSp modSp add mod">
        <pc:chgData name="Adwait Aralkar" userId="ae1719c1-ed02-42aa-a1d9-0d6e6247f692" providerId="ADAL" clId="{E83756EB-1544-42DC-BA2C-281AA4ABBF80}" dt="2025-02-05T11:17:02.693" v="2078" actId="207"/>
        <pc:sldMkLst>
          <pc:docMk/>
          <pc:sldMk cId="1838352972" sldId="306"/>
        </pc:sldMkLst>
        <pc:spChg chg="add mod">
          <ac:chgData name="Adwait Aralkar" userId="ae1719c1-ed02-42aa-a1d9-0d6e6247f692" providerId="ADAL" clId="{E83756EB-1544-42DC-BA2C-281AA4ABBF80}" dt="2025-02-05T11:17:02.693" v="2078" actId="207"/>
          <ac:spMkLst>
            <pc:docMk/>
            <pc:sldMk cId="1838352972" sldId="306"/>
            <ac:spMk id="2" creationId="{97EBDC62-43E2-E02C-2A64-56E1557843AE}"/>
          </ac:spMkLst>
        </pc:spChg>
        <pc:spChg chg="mod">
          <ac:chgData name="Adwait Aralkar" userId="ae1719c1-ed02-42aa-a1d9-0d6e6247f692" providerId="ADAL" clId="{E83756EB-1544-42DC-BA2C-281AA4ABBF80}" dt="2025-02-05T11:10:51.743" v="1971"/>
          <ac:spMkLst>
            <pc:docMk/>
            <pc:sldMk cId="1838352972" sldId="306"/>
            <ac:spMk id="15" creationId="{A0D6A673-C657-7326-F867-5A9963749503}"/>
          </ac:spMkLst>
        </pc:spChg>
        <pc:spChg chg="mod">
          <ac:chgData name="Adwait Aralkar" userId="ae1719c1-ed02-42aa-a1d9-0d6e6247f692" providerId="ADAL" clId="{E83756EB-1544-42DC-BA2C-281AA4ABBF80}" dt="2025-02-05T11:16:49.758" v="2075" actId="1076"/>
          <ac:spMkLst>
            <pc:docMk/>
            <pc:sldMk cId="1838352972" sldId="306"/>
            <ac:spMk id="20" creationId="{BE292D61-326C-71CF-AD07-619AC2C76B0C}"/>
          </ac:spMkLst>
        </pc:spChg>
        <pc:spChg chg="mod">
          <ac:chgData name="Adwait Aralkar" userId="ae1719c1-ed02-42aa-a1d9-0d6e6247f692" providerId="ADAL" clId="{E83756EB-1544-42DC-BA2C-281AA4ABBF80}" dt="2025-02-05T11:16:49.758" v="2075" actId="1076"/>
          <ac:spMkLst>
            <pc:docMk/>
            <pc:sldMk cId="1838352972" sldId="306"/>
            <ac:spMk id="23" creationId="{21E8184C-D7FF-2BE3-8A25-35EB9C62E30F}"/>
          </ac:spMkLst>
        </pc:spChg>
        <pc:spChg chg="mod">
          <ac:chgData name="Adwait Aralkar" userId="ae1719c1-ed02-42aa-a1d9-0d6e6247f692" providerId="ADAL" clId="{E83756EB-1544-42DC-BA2C-281AA4ABBF80}" dt="2025-02-05T11:16:49.758" v="2075" actId="1076"/>
          <ac:spMkLst>
            <pc:docMk/>
            <pc:sldMk cId="1838352972" sldId="306"/>
            <ac:spMk id="25" creationId="{7D6FFB96-6746-A4D3-BBC3-D840CEA27ADE}"/>
          </ac:spMkLst>
        </pc:spChg>
        <pc:picChg chg="add mod">
          <ac:chgData name="Adwait Aralkar" userId="ae1719c1-ed02-42aa-a1d9-0d6e6247f692" providerId="ADAL" clId="{E83756EB-1544-42DC-BA2C-281AA4ABBF80}" dt="2025-02-05T11:12:23.251" v="2042"/>
          <ac:picMkLst>
            <pc:docMk/>
            <pc:sldMk cId="1838352972" sldId="306"/>
            <ac:picMk id="3" creationId="{3D0DE470-D20B-91E3-EDC6-3AE4FE880C13}"/>
          </ac:picMkLst>
        </pc:picChg>
      </pc:sldChg>
      <pc:sldChg chg="add del">
        <pc:chgData name="Adwait Aralkar" userId="ae1719c1-ed02-42aa-a1d9-0d6e6247f692" providerId="ADAL" clId="{E83756EB-1544-42DC-BA2C-281AA4ABBF80}" dt="2025-02-05T10:20:45.121" v="1802" actId="47"/>
        <pc:sldMkLst>
          <pc:docMk/>
          <pc:sldMk cId="2746635401" sldId="306"/>
        </pc:sldMkLst>
      </pc:sldChg>
      <pc:sldChg chg="addSp delSp modSp add mod">
        <pc:chgData name="Adwait Aralkar" userId="ae1719c1-ed02-42aa-a1d9-0d6e6247f692" providerId="ADAL" clId="{E83756EB-1544-42DC-BA2C-281AA4ABBF80}" dt="2025-02-05T13:37:37.457" v="2420" actId="12789"/>
        <pc:sldMkLst>
          <pc:docMk/>
          <pc:sldMk cId="646410781" sldId="308"/>
        </pc:sldMkLst>
        <pc:spChg chg="add del mod">
          <ac:chgData name="Adwait Aralkar" userId="ae1719c1-ed02-42aa-a1d9-0d6e6247f692" providerId="ADAL" clId="{E83756EB-1544-42DC-BA2C-281AA4ABBF80}" dt="2025-02-05T13:33:48.615" v="2330" actId="478"/>
          <ac:spMkLst>
            <pc:docMk/>
            <pc:sldMk cId="646410781" sldId="308"/>
            <ac:spMk id="3" creationId="{309981E0-279E-1C8F-BF34-D346E0BD7AAF}"/>
          </ac:spMkLst>
        </pc:spChg>
        <pc:spChg chg="add mod">
          <ac:chgData name="Adwait Aralkar" userId="ae1719c1-ed02-42aa-a1d9-0d6e6247f692" providerId="ADAL" clId="{E83756EB-1544-42DC-BA2C-281AA4ABBF80}" dt="2025-02-05T13:37:37.457" v="2420" actId="12789"/>
          <ac:spMkLst>
            <pc:docMk/>
            <pc:sldMk cId="646410781" sldId="308"/>
            <ac:spMk id="7" creationId="{A3F37D88-88E9-04F7-716D-5E9EAEC985BD}"/>
          </ac:spMkLst>
        </pc:spChg>
        <pc:spChg chg="add del mod">
          <ac:chgData name="Adwait Aralkar" userId="ae1719c1-ed02-42aa-a1d9-0d6e6247f692" providerId="ADAL" clId="{E83756EB-1544-42DC-BA2C-281AA4ABBF80}" dt="2025-02-05T13:34:51.695" v="2363" actId="1076"/>
          <ac:spMkLst>
            <pc:docMk/>
            <pc:sldMk cId="646410781" sldId="308"/>
            <ac:spMk id="8" creationId="{677C7E49-99BA-836C-E153-56F241973CD6}"/>
          </ac:spMkLst>
        </pc:spChg>
        <pc:spChg chg="mod">
          <ac:chgData name="Adwait Aralkar" userId="ae1719c1-ed02-42aa-a1d9-0d6e6247f692" providerId="ADAL" clId="{E83756EB-1544-42DC-BA2C-281AA4ABBF80}" dt="2025-02-05T13:36:56.996" v="2416" actId="113"/>
          <ac:spMkLst>
            <pc:docMk/>
            <pc:sldMk cId="646410781" sldId="308"/>
            <ac:spMk id="12" creationId="{AB5930F7-80B1-2F4A-BF96-A3FFE7E5F8C5}"/>
          </ac:spMkLst>
        </pc:spChg>
        <pc:spChg chg="add mod">
          <ac:chgData name="Adwait Aralkar" userId="ae1719c1-ed02-42aa-a1d9-0d6e6247f692" providerId="ADAL" clId="{E83756EB-1544-42DC-BA2C-281AA4ABBF80}" dt="2025-02-05T13:37:37.457" v="2420" actId="12789"/>
          <ac:spMkLst>
            <pc:docMk/>
            <pc:sldMk cId="646410781" sldId="308"/>
            <ac:spMk id="13" creationId="{1A79236F-C06C-DB8C-A7EA-0F985979E57F}"/>
          </ac:spMkLst>
        </pc:spChg>
        <pc:spChg chg="add mod">
          <ac:chgData name="Adwait Aralkar" userId="ae1719c1-ed02-42aa-a1d9-0d6e6247f692" providerId="ADAL" clId="{E83756EB-1544-42DC-BA2C-281AA4ABBF80}" dt="2025-02-05T13:37:37.457" v="2420" actId="12789"/>
          <ac:spMkLst>
            <pc:docMk/>
            <pc:sldMk cId="646410781" sldId="308"/>
            <ac:spMk id="14" creationId="{4BABF799-077A-55D9-E2F5-F9D58B48376D}"/>
          </ac:spMkLst>
        </pc:spChg>
        <pc:spChg chg="add mod">
          <ac:chgData name="Adwait Aralkar" userId="ae1719c1-ed02-42aa-a1d9-0d6e6247f692" providerId="ADAL" clId="{E83756EB-1544-42DC-BA2C-281AA4ABBF80}" dt="2025-02-05T13:37:37.457" v="2420" actId="12789"/>
          <ac:spMkLst>
            <pc:docMk/>
            <pc:sldMk cId="646410781" sldId="308"/>
            <ac:spMk id="15" creationId="{B8F16FAF-8D98-1D3F-9388-BF018994253B}"/>
          </ac:spMkLst>
        </pc:spChg>
        <pc:spChg chg="add mod">
          <ac:chgData name="Adwait Aralkar" userId="ae1719c1-ed02-42aa-a1d9-0d6e6247f692" providerId="ADAL" clId="{E83756EB-1544-42DC-BA2C-281AA4ABBF80}" dt="2025-02-05T13:35:52.810" v="2384" actId="1076"/>
          <ac:spMkLst>
            <pc:docMk/>
            <pc:sldMk cId="646410781" sldId="308"/>
            <ac:spMk id="16" creationId="{FBC87EA7-1A7E-6D47-53C0-F4E4DD1EC30F}"/>
          </ac:spMkLst>
        </pc:spChg>
        <pc:spChg chg="add mod">
          <ac:chgData name="Adwait Aralkar" userId="ae1719c1-ed02-42aa-a1d9-0d6e6247f692" providerId="ADAL" clId="{E83756EB-1544-42DC-BA2C-281AA4ABBF80}" dt="2025-02-05T13:36:06.374" v="2390" actId="1076"/>
          <ac:spMkLst>
            <pc:docMk/>
            <pc:sldMk cId="646410781" sldId="308"/>
            <ac:spMk id="17" creationId="{BFCF577B-73C6-DE9D-62D2-D0BC15D9E842}"/>
          </ac:spMkLst>
        </pc:spChg>
        <pc:spChg chg="add mod">
          <ac:chgData name="Adwait Aralkar" userId="ae1719c1-ed02-42aa-a1d9-0d6e6247f692" providerId="ADAL" clId="{E83756EB-1544-42DC-BA2C-281AA4ABBF80}" dt="2025-02-05T13:36:15.449" v="2396" actId="20577"/>
          <ac:spMkLst>
            <pc:docMk/>
            <pc:sldMk cId="646410781" sldId="308"/>
            <ac:spMk id="18" creationId="{117899FF-0298-8BA6-93AF-359F800EC061}"/>
          </ac:spMkLst>
        </pc:spChg>
        <pc:spChg chg="add mod">
          <ac:chgData name="Adwait Aralkar" userId="ae1719c1-ed02-42aa-a1d9-0d6e6247f692" providerId="ADAL" clId="{E83756EB-1544-42DC-BA2C-281AA4ABBF80}" dt="2025-02-05T13:37:37.457" v="2420" actId="12789"/>
          <ac:spMkLst>
            <pc:docMk/>
            <pc:sldMk cId="646410781" sldId="308"/>
            <ac:spMk id="19" creationId="{A25829E1-CD48-B03D-2105-EF9033558DFB}"/>
          </ac:spMkLst>
        </pc:spChg>
        <pc:spChg chg="add mod">
          <ac:chgData name="Adwait Aralkar" userId="ae1719c1-ed02-42aa-a1d9-0d6e6247f692" providerId="ADAL" clId="{E83756EB-1544-42DC-BA2C-281AA4ABBF80}" dt="2025-02-05T13:36:48.021" v="2414" actId="1076"/>
          <ac:spMkLst>
            <pc:docMk/>
            <pc:sldMk cId="646410781" sldId="308"/>
            <ac:spMk id="20" creationId="{C9CE11FE-4983-C713-BF0B-32AFDA00277E}"/>
          </ac:spMkLst>
        </pc:spChg>
        <pc:spChg chg="del">
          <ac:chgData name="Adwait Aralkar" userId="ae1719c1-ed02-42aa-a1d9-0d6e6247f692" providerId="ADAL" clId="{E83756EB-1544-42DC-BA2C-281AA4ABBF80}" dt="2025-02-05T13:36:51.036" v="2415" actId="478"/>
          <ac:spMkLst>
            <pc:docMk/>
            <pc:sldMk cId="646410781" sldId="308"/>
            <ac:spMk id="68" creationId="{36203F8E-C6C1-58A3-CF4D-2E9EACFA3859}"/>
          </ac:spMkLst>
        </pc:spChg>
        <pc:graphicFrameChg chg="del">
          <ac:chgData name="Adwait Aralkar" userId="ae1719c1-ed02-42aa-a1d9-0d6e6247f692" providerId="ADAL" clId="{E83756EB-1544-42DC-BA2C-281AA4ABBF80}" dt="2025-02-05T13:33:13.755" v="2316" actId="478"/>
          <ac:graphicFrameMkLst>
            <pc:docMk/>
            <pc:sldMk cId="646410781" sldId="308"/>
            <ac:graphicFrameMk id="5" creationId="{DDBB203A-A7C8-EB67-9E6B-5DCD263743FC}"/>
          </ac:graphicFrameMkLst>
        </pc:graphicFrameChg>
      </pc:sldChg>
      <pc:sldChg chg="add del">
        <pc:chgData name="Adwait Aralkar" userId="ae1719c1-ed02-42aa-a1d9-0d6e6247f692" providerId="ADAL" clId="{E83756EB-1544-42DC-BA2C-281AA4ABBF80}" dt="2025-02-05T10:07:19.974" v="1498"/>
        <pc:sldMkLst>
          <pc:docMk/>
          <pc:sldMk cId="32177741" sldId="2147471166"/>
        </pc:sldMkLst>
      </pc:sldChg>
      <pc:sldChg chg="add del">
        <pc:chgData name="Adwait Aralkar" userId="ae1719c1-ed02-42aa-a1d9-0d6e6247f692" providerId="ADAL" clId="{E83756EB-1544-42DC-BA2C-281AA4ABBF80}" dt="2025-02-05T13:10:09.431" v="2138" actId="47"/>
        <pc:sldMkLst>
          <pc:docMk/>
          <pc:sldMk cId="1415414937" sldId="2147471166"/>
        </pc:sldMkLst>
      </pc:sldChg>
      <pc:sldChg chg="addSp delSp modSp del mod modShow">
        <pc:chgData name="Adwait Aralkar" userId="ae1719c1-ed02-42aa-a1d9-0d6e6247f692" providerId="ADAL" clId="{E83756EB-1544-42DC-BA2C-281AA4ABBF80}" dt="2025-02-05T10:07:15.479" v="1496" actId="2696"/>
        <pc:sldMkLst>
          <pc:docMk/>
          <pc:sldMk cId="1679638984" sldId="2147471166"/>
        </pc:sldMkLst>
        <pc:spChg chg="add del mod">
          <ac:chgData name="Adwait Aralkar" userId="ae1719c1-ed02-42aa-a1d9-0d6e6247f692" providerId="ADAL" clId="{E83756EB-1544-42DC-BA2C-281AA4ABBF80}" dt="2025-02-05T09:03:43.805" v="1056" actId="478"/>
          <ac:spMkLst>
            <pc:docMk/>
            <pc:sldMk cId="1679638984" sldId="2147471166"/>
            <ac:spMk id="4" creationId="{7B8C70E7-DB08-3FB8-78F2-3812797C4C9F}"/>
          </ac:spMkLst>
        </pc:spChg>
      </pc:sldChg>
      <pc:sldChg chg="addSp delSp modSp mod">
        <pc:chgData name="Adwait Aralkar" userId="ae1719c1-ed02-42aa-a1d9-0d6e6247f692" providerId="ADAL" clId="{E83756EB-1544-42DC-BA2C-281AA4ABBF80}" dt="2025-02-05T11:16:06.056" v="2070" actId="207"/>
        <pc:sldMkLst>
          <pc:docMk/>
          <pc:sldMk cId="4042701003" sldId="2147482884"/>
        </pc:sldMkLst>
        <pc:spChg chg="mod">
          <ac:chgData name="Adwait Aralkar" userId="ae1719c1-ed02-42aa-a1d9-0d6e6247f692" providerId="ADAL" clId="{E83756EB-1544-42DC-BA2C-281AA4ABBF80}" dt="2025-02-05T11:16:06.056" v="2070" actId="207"/>
          <ac:spMkLst>
            <pc:docMk/>
            <pc:sldMk cId="4042701003" sldId="2147482884"/>
            <ac:spMk id="2" creationId="{BCB43738-C07F-AAF7-A3F8-660FCB1ACB48}"/>
          </ac:spMkLst>
        </pc:spChg>
        <pc:spChg chg="add mod">
          <ac:chgData name="Adwait Aralkar" userId="ae1719c1-ed02-42aa-a1d9-0d6e6247f692" providerId="ADAL" clId="{E83756EB-1544-42DC-BA2C-281AA4ABBF80}" dt="2025-02-05T10:28:58.140" v="1889"/>
          <ac:spMkLst>
            <pc:docMk/>
            <pc:sldMk cId="4042701003" sldId="2147482884"/>
            <ac:spMk id="3" creationId="{D8B95210-A5EA-B459-37CC-AB426BE3FFAE}"/>
          </ac:spMkLst>
        </pc:spChg>
        <pc:spChg chg="mod">
          <ac:chgData name="Adwait Aralkar" userId="ae1719c1-ed02-42aa-a1d9-0d6e6247f692" providerId="ADAL" clId="{E83756EB-1544-42DC-BA2C-281AA4ABBF80}" dt="2025-02-05T11:14:59.733" v="2063" actId="2711"/>
          <ac:spMkLst>
            <pc:docMk/>
            <pc:sldMk cId="4042701003" sldId="2147482884"/>
            <ac:spMk id="4" creationId="{1AE69994-6969-C761-2CB0-1D423FDC857E}"/>
          </ac:spMkLst>
        </pc:spChg>
        <pc:spChg chg="add del mod">
          <ac:chgData name="Adwait Aralkar" userId="ae1719c1-ed02-42aa-a1d9-0d6e6247f692" providerId="ADAL" clId="{E83756EB-1544-42DC-BA2C-281AA4ABBF80}" dt="2025-02-05T10:30:18.227" v="1904" actId="478"/>
          <ac:spMkLst>
            <pc:docMk/>
            <pc:sldMk cId="4042701003" sldId="2147482884"/>
            <ac:spMk id="5" creationId="{474F5369-A168-252E-E379-D391FD375AC9}"/>
          </ac:spMkLst>
        </pc:spChg>
        <pc:spChg chg="mod">
          <ac:chgData name="Adwait Aralkar" userId="ae1719c1-ed02-42aa-a1d9-0d6e6247f692" providerId="ADAL" clId="{E83756EB-1544-42DC-BA2C-281AA4ABBF80}" dt="2025-02-05T11:14:59.733" v="2063" actId="2711"/>
          <ac:spMkLst>
            <pc:docMk/>
            <pc:sldMk cId="4042701003" sldId="2147482884"/>
            <ac:spMk id="85" creationId="{8C883223-4198-42BB-B3D5-FB459C24E007}"/>
          </ac:spMkLst>
        </pc:spChg>
        <pc:spChg chg="mod">
          <ac:chgData name="Adwait Aralkar" userId="ae1719c1-ed02-42aa-a1d9-0d6e6247f692" providerId="ADAL" clId="{E83756EB-1544-42DC-BA2C-281AA4ABBF80}" dt="2025-02-05T11:14:59.733" v="2063" actId="2711"/>
          <ac:spMkLst>
            <pc:docMk/>
            <pc:sldMk cId="4042701003" sldId="2147482884"/>
            <ac:spMk id="86" creationId="{1461A710-DA74-1E51-2785-3BA39C32847E}"/>
          </ac:spMkLst>
        </pc:spChg>
        <pc:spChg chg="mod">
          <ac:chgData name="Adwait Aralkar" userId="ae1719c1-ed02-42aa-a1d9-0d6e6247f692" providerId="ADAL" clId="{E83756EB-1544-42DC-BA2C-281AA4ABBF80}" dt="2025-02-05T11:14:59.733" v="2063" actId="2711"/>
          <ac:spMkLst>
            <pc:docMk/>
            <pc:sldMk cId="4042701003" sldId="2147482884"/>
            <ac:spMk id="87" creationId="{5FD2818A-A849-6252-4D62-74EF32E5022F}"/>
          </ac:spMkLst>
        </pc:spChg>
        <pc:spChg chg="mod">
          <ac:chgData name="Adwait Aralkar" userId="ae1719c1-ed02-42aa-a1d9-0d6e6247f692" providerId="ADAL" clId="{E83756EB-1544-42DC-BA2C-281AA4ABBF80}" dt="2025-02-05T11:14:59.733" v="2063" actId="2711"/>
          <ac:spMkLst>
            <pc:docMk/>
            <pc:sldMk cId="4042701003" sldId="2147482884"/>
            <ac:spMk id="88" creationId="{9DF638A6-7EFD-55CE-C1FB-69050D0C61AB}"/>
          </ac:spMkLst>
        </pc:spChg>
        <pc:spChg chg="mod">
          <ac:chgData name="Adwait Aralkar" userId="ae1719c1-ed02-42aa-a1d9-0d6e6247f692" providerId="ADAL" clId="{E83756EB-1544-42DC-BA2C-281AA4ABBF80}" dt="2025-02-05T11:14:59.733" v="2063" actId="2711"/>
          <ac:spMkLst>
            <pc:docMk/>
            <pc:sldMk cId="4042701003" sldId="2147482884"/>
            <ac:spMk id="90" creationId="{A233074E-134B-C5F9-FA86-A278D96686DD}"/>
          </ac:spMkLst>
        </pc:spChg>
        <pc:spChg chg="mod">
          <ac:chgData name="Adwait Aralkar" userId="ae1719c1-ed02-42aa-a1d9-0d6e6247f692" providerId="ADAL" clId="{E83756EB-1544-42DC-BA2C-281AA4ABBF80}" dt="2025-02-05T11:14:59.733" v="2063" actId="2711"/>
          <ac:spMkLst>
            <pc:docMk/>
            <pc:sldMk cId="4042701003" sldId="2147482884"/>
            <ac:spMk id="96" creationId="{A14B6E1E-A022-A4EB-4102-60FE1F708493}"/>
          </ac:spMkLst>
        </pc:spChg>
        <pc:spChg chg="mod">
          <ac:chgData name="Adwait Aralkar" userId="ae1719c1-ed02-42aa-a1d9-0d6e6247f692" providerId="ADAL" clId="{E83756EB-1544-42DC-BA2C-281AA4ABBF80}" dt="2025-02-05T11:14:59.733" v="2063" actId="2711"/>
          <ac:spMkLst>
            <pc:docMk/>
            <pc:sldMk cId="4042701003" sldId="2147482884"/>
            <ac:spMk id="98" creationId="{B9380880-3B4E-E1E1-2912-44BF09D97493}"/>
          </ac:spMkLst>
        </pc:spChg>
        <pc:spChg chg="mod">
          <ac:chgData name="Adwait Aralkar" userId="ae1719c1-ed02-42aa-a1d9-0d6e6247f692" providerId="ADAL" clId="{E83756EB-1544-42DC-BA2C-281AA4ABBF80}" dt="2025-02-05T11:14:59.733" v="2063" actId="2711"/>
          <ac:spMkLst>
            <pc:docMk/>
            <pc:sldMk cId="4042701003" sldId="2147482884"/>
            <ac:spMk id="99" creationId="{9582C560-029E-B0B7-4E0B-2DE006633E2F}"/>
          </ac:spMkLst>
        </pc:spChg>
        <pc:spChg chg="del mod">
          <ac:chgData name="Adwait Aralkar" userId="ae1719c1-ed02-42aa-a1d9-0d6e6247f692" providerId="ADAL" clId="{E83756EB-1544-42DC-BA2C-281AA4ABBF80}" dt="2025-02-05T10:30:26.013" v="1906" actId="478"/>
          <ac:spMkLst>
            <pc:docMk/>
            <pc:sldMk cId="4042701003" sldId="2147482884"/>
            <ac:spMk id="100" creationId="{414DA806-A75D-9444-9A2E-51D14C237349}"/>
          </ac:spMkLst>
        </pc:spChg>
        <pc:spChg chg="mod">
          <ac:chgData name="Adwait Aralkar" userId="ae1719c1-ed02-42aa-a1d9-0d6e6247f692" providerId="ADAL" clId="{E83756EB-1544-42DC-BA2C-281AA4ABBF80}" dt="2025-02-05T11:14:59.733" v="2063" actId="2711"/>
          <ac:spMkLst>
            <pc:docMk/>
            <pc:sldMk cId="4042701003" sldId="2147482884"/>
            <ac:spMk id="101" creationId="{92EA0BEC-AA88-B620-E2CC-87FC279759F3}"/>
          </ac:spMkLst>
        </pc:spChg>
        <pc:spChg chg="mod">
          <ac:chgData name="Adwait Aralkar" userId="ae1719c1-ed02-42aa-a1d9-0d6e6247f692" providerId="ADAL" clId="{E83756EB-1544-42DC-BA2C-281AA4ABBF80}" dt="2025-02-05T11:14:59.733" v="2063" actId="2711"/>
          <ac:spMkLst>
            <pc:docMk/>
            <pc:sldMk cId="4042701003" sldId="2147482884"/>
            <ac:spMk id="105" creationId="{D391FA06-0E68-840D-5F57-7E18405A39CE}"/>
          </ac:spMkLst>
        </pc:spChg>
        <pc:spChg chg="mod">
          <ac:chgData name="Adwait Aralkar" userId="ae1719c1-ed02-42aa-a1d9-0d6e6247f692" providerId="ADAL" clId="{E83756EB-1544-42DC-BA2C-281AA4ABBF80}" dt="2025-02-05T11:14:59.733" v="2063" actId="2711"/>
          <ac:spMkLst>
            <pc:docMk/>
            <pc:sldMk cId="4042701003" sldId="2147482884"/>
            <ac:spMk id="107" creationId="{742A6439-F55E-3D77-4F43-E270C3EAAA51}"/>
          </ac:spMkLst>
        </pc:spChg>
        <pc:spChg chg="mod">
          <ac:chgData name="Adwait Aralkar" userId="ae1719c1-ed02-42aa-a1d9-0d6e6247f692" providerId="ADAL" clId="{E83756EB-1544-42DC-BA2C-281AA4ABBF80}" dt="2025-02-05T11:14:59.733" v="2063" actId="2711"/>
          <ac:spMkLst>
            <pc:docMk/>
            <pc:sldMk cId="4042701003" sldId="2147482884"/>
            <ac:spMk id="108" creationId="{E0ABF820-8239-5154-1A74-9DBF4FCC5C40}"/>
          </ac:spMkLst>
        </pc:spChg>
        <pc:spChg chg="mod">
          <ac:chgData name="Adwait Aralkar" userId="ae1719c1-ed02-42aa-a1d9-0d6e6247f692" providerId="ADAL" clId="{E83756EB-1544-42DC-BA2C-281AA4ABBF80}" dt="2025-02-05T11:14:59.733" v="2063" actId="2711"/>
          <ac:spMkLst>
            <pc:docMk/>
            <pc:sldMk cId="4042701003" sldId="2147482884"/>
            <ac:spMk id="109" creationId="{42DFDBFE-9E21-36B3-4234-C95FDCA1256D}"/>
          </ac:spMkLst>
        </pc:spChg>
        <pc:spChg chg="mod">
          <ac:chgData name="Adwait Aralkar" userId="ae1719c1-ed02-42aa-a1d9-0d6e6247f692" providerId="ADAL" clId="{E83756EB-1544-42DC-BA2C-281AA4ABBF80}" dt="2025-02-05T11:14:59.733" v="2063" actId="2711"/>
          <ac:spMkLst>
            <pc:docMk/>
            <pc:sldMk cId="4042701003" sldId="2147482884"/>
            <ac:spMk id="110" creationId="{8979CA37-91E7-F779-9362-BCCE5409C0A2}"/>
          </ac:spMkLst>
        </pc:spChg>
        <pc:spChg chg="mod">
          <ac:chgData name="Adwait Aralkar" userId="ae1719c1-ed02-42aa-a1d9-0d6e6247f692" providerId="ADAL" clId="{E83756EB-1544-42DC-BA2C-281AA4ABBF80}" dt="2025-02-05T11:14:59.733" v="2063" actId="2711"/>
          <ac:spMkLst>
            <pc:docMk/>
            <pc:sldMk cId="4042701003" sldId="2147482884"/>
            <ac:spMk id="114" creationId="{15BF926C-E4D3-5543-C82E-85543363E17C}"/>
          </ac:spMkLst>
        </pc:spChg>
        <pc:spChg chg="mod">
          <ac:chgData name="Adwait Aralkar" userId="ae1719c1-ed02-42aa-a1d9-0d6e6247f692" providerId="ADAL" clId="{E83756EB-1544-42DC-BA2C-281AA4ABBF80}" dt="2025-02-05T11:14:59.733" v="2063" actId="2711"/>
          <ac:spMkLst>
            <pc:docMk/>
            <pc:sldMk cId="4042701003" sldId="2147482884"/>
            <ac:spMk id="116" creationId="{B877F28E-9915-4933-7A2A-BBE8C44732A5}"/>
          </ac:spMkLst>
        </pc:spChg>
        <pc:spChg chg="mod">
          <ac:chgData name="Adwait Aralkar" userId="ae1719c1-ed02-42aa-a1d9-0d6e6247f692" providerId="ADAL" clId="{E83756EB-1544-42DC-BA2C-281AA4ABBF80}" dt="2025-02-05T11:14:59.733" v="2063" actId="2711"/>
          <ac:spMkLst>
            <pc:docMk/>
            <pc:sldMk cId="4042701003" sldId="2147482884"/>
            <ac:spMk id="117" creationId="{A9E7FA97-1A37-C306-FCAD-8E41FB53F05A}"/>
          </ac:spMkLst>
        </pc:spChg>
        <pc:spChg chg="mod">
          <ac:chgData name="Adwait Aralkar" userId="ae1719c1-ed02-42aa-a1d9-0d6e6247f692" providerId="ADAL" clId="{E83756EB-1544-42DC-BA2C-281AA4ABBF80}" dt="2025-02-05T11:14:59.733" v="2063" actId="2711"/>
          <ac:spMkLst>
            <pc:docMk/>
            <pc:sldMk cId="4042701003" sldId="2147482884"/>
            <ac:spMk id="118" creationId="{BE4BF2CE-670D-7550-7F4C-DEA8E135847A}"/>
          </ac:spMkLst>
        </pc:spChg>
        <pc:spChg chg="mod">
          <ac:chgData name="Adwait Aralkar" userId="ae1719c1-ed02-42aa-a1d9-0d6e6247f692" providerId="ADAL" clId="{E83756EB-1544-42DC-BA2C-281AA4ABBF80}" dt="2025-02-05T11:14:59.733" v="2063" actId="2711"/>
          <ac:spMkLst>
            <pc:docMk/>
            <pc:sldMk cId="4042701003" sldId="2147482884"/>
            <ac:spMk id="119" creationId="{FB57BC91-4611-E77D-DE5D-0F6250EF7603}"/>
          </ac:spMkLst>
        </pc:spChg>
        <pc:grpChg chg="mod">
          <ac:chgData name="Adwait Aralkar" userId="ae1719c1-ed02-42aa-a1d9-0d6e6247f692" providerId="ADAL" clId="{E83756EB-1544-42DC-BA2C-281AA4ABBF80}" dt="2025-02-05T10:28:34.192" v="1887" actId="207"/>
          <ac:grpSpMkLst>
            <pc:docMk/>
            <pc:sldMk cId="4042701003" sldId="2147482884"/>
            <ac:grpSpMk id="84" creationId="{9DA88887-E5F8-EFD3-861E-F83AC074A9E2}"/>
          </ac:grpSpMkLst>
        </pc:grpChg>
        <pc:grpChg chg="add del mod">
          <ac:chgData name="Adwait Aralkar" userId="ae1719c1-ed02-42aa-a1d9-0d6e6247f692" providerId="ADAL" clId="{E83756EB-1544-42DC-BA2C-281AA4ABBF80}" dt="2025-02-05T10:28:34.192" v="1887" actId="207"/>
          <ac:grpSpMkLst>
            <pc:docMk/>
            <pc:sldMk cId="4042701003" sldId="2147482884"/>
            <ac:grpSpMk id="92" creationId="{1737CA1C-7F92-F158-EBAF-26FD0CA9814F}"/>
          </ac:grpSpMkLst>
        </pc:grpChg>
      </pc:sldChg>
      <pc:sldChg chg="addSp delSp modSp mod modNotesTx">
        <pc:chgData name="Adwait Aralkar" userId="ae1719c1-ed02-42aa-a1d9-0d6e6247f692" providerId="ADAL" clId="{E83756EB-1544-42DC-BA2C-281AA4ABBF80}" dt="2025-02-05T11:14:22.299" v="2061"/>
        <pc:sldMkLst>
          <pc:docMk/>
          <pc:sldMk cId="3411714768" sldId="2147483204"/>
        </pc:sldMkLst>
        <pc:spChg chg="del mod">
          <ac:chgData name="Adwait Aralkar" userId="ae1719c1-ed02-42aa-a1d9-0d6e6247f692" providerId="ADAL" clId="{E83756EB-1544-42DC-BA2C-281AA4ABBF80}" dt="2025-02-05T11:14:12.227" v="2057" actId="478"/>
          <ac:spMkLst>
            <pc:docMk/>
            <pc:sldMk cId="3411714768" sldId="2147483204"/>
            <ac:spMk id="2" creationId="{576F66E6-F68F-499A-021A-D27040DF4083}"/>
          </ac:spMkLst>
        </pc:spChg>
        <pc:spChg chg="mod">
          <ac:chgData name="Adwait Aralkar" userId="ae1719c1-ed02-42aa-a1d9-0d6e6247f692" providerId="ADAL" clId="{E83756EB-1544-42DC-BA2C-281AA4ABBF80}" dt="2025-02-05T11:13:35.011" v="2052" actId="2711"/>
          <ac:spMkLst>
            <pc:docMk/>
            <pc:sldMk cId="3411714768" sldId="2147483204"/>
            <ac:spMk id="3" creationId="{0CD61271-691F-AAE2-97C9-EE3FCD7B26CF}"/>
          </ac:spMkLst>
        </pc:spChg>
        <pc:spChg chg="add mod">
          <ac:chgData name="Adwait Aralkar" userId="ae1719c1-ed02-42aa-a1d9-0d6e6247f692" providerId="ADAL" clId="{E83756EB-1544-42DC-BA2C-281AA4ABBF80}" dt="2025-02-05T11:14:22.299" v="2061"/>
          <ac:spMkLst>
            <pc:docMk/>
            <pc:sldMk cId="3411714768" sldId="2147483204"/>
            <ac:spMk id="4" creationId="{8B6121C8-0C90-D211-2E21-EBA7340BE663}"/>
          </ac:spMkLst>
        </pc:spChg>
        <pc:spChg chg="add del mod">
          <ac:chgData name="Adwait Aralkar" userId="ae1719c1-ed02-42aa-a1d9-0d6e6247f692" providerId="ADAL" clId="{E83756EB-1544-42DC-BA2C-281AA4ABBF80}" dt="2025-02-05T11:14:15.457" v="2058" actId="478"/>
          <ac:spMkLst>
            <pc:docMk/>
            <pc:sldMk cId="3411714768" sldId="2147483204"/>
            <ac:spMk id="7" creationId="{5BE01425-86B0-AAA5-6F4E-4EADB5136254}"/>
          </ac:spMkLst>
        </pc:spChg>
        <pc:spChg chg="mod">
          <ac:chgData name="Adwait Aralkar" userId="ae1719c1-ed02-42aa-a1d9-0d6e6247f692" providerId="ADAL" clId="{E83756EB-1544-42DC-BA2C-281AA4ABBF80}" dt="2025-02-05T11:13:49.029" v="2053" actId="1076"/>
          <ac:spMkLst>
            <pc:docMk/>
            <pc:sldMk cId="3411714768" sldId="2147483204"/>
            <ac:spMk id="31" creationId="{FED5E1DB-356B-4563-BCBA-82882D19FDBF}"/>
          </ac:spMkLst>
        </pc:spChg>
        <pc:spChg chg="mod">
          <ac:chgData name="Adwait Aralkar" userId="ae1719c1-ed02-42aa-a1d9-0d6e6247f692" providerId="ADAL" clId="{E83756EB-1544-42DC-BA2C-281AA4ABBF80}" dt="2025-02-05T11:13:49.029" v="2053" actId="1076"/>
          <ac:spMkLst>
            <pc:docMk/>
            <pc:sldMk cId="3411714768" sldId="2147483204"/>
            <ac:spMk id="32" creationId="{D3E4237E-CA3F-12AF-5596-5B13F678351B}"/>
          </ac:spMkLst>
        </pc:spChg>
        <pc:spChg chg="mod">
          <ac:chgData name="Adwait Aralkar" userId="ae1719c1-ed02-42aa-a1d9-0d6e6247f692" providerId="ADAL" clId="{E83756EB-1544-42DC-BA2C-281AA4ABBF80}" dt="2025-02-05T11:13:49.029" v="2053" actId="1076"/>
          <ac:spMkLst>
            <pc:docMk/>
            <pc:sldMk cId="3411714768" sldId="2147483204"/>
            <ac:spMk id="34" creationId="{8A669DC8-7689-1CFC-DC73-E3DFC7D1EF96}"/>
          </ac:spMkLst>
        </pc:spChg>
        <pc:spChg chg="mod">
          <ac:chgData name="Adwait Aralkar" userId="ae1719c1-ed02-42aa-a1d9-0d6e6247f692" providerId="ADAL" clId="{E83756EB-1544-42DC-BA2C-281AA4ABBF80}" dt="2025-02-05T11:13:49.029" v="2053" actId="1076"/>
          <ac:spMkLst>
            <pc:docMk/>
            <pc:sldMk cId="3411714768" sldId="2147483204"/>
            <ac:spMk id="35" creationId="{F684E41D-823A-1F38-6381-DCEEF3B2BA06}"/>
          </ac:spMkLst>
        </pc:spChg>
        <pc:spChg chg="mod">
          <ac:chgData name="Adwait Aralkar" userId="ae1719c1-ed02-42aa-a1d9-0d6e6247f692" providerId="ADAL" clId="{E83756EB-1544-42DC-BA2C-281AA4ABBF80}" dt="2025-02-05T11:13:49.029" v="2053" actId="1076"/>
          <ac:spMkLst>
            <pc:docMk/>
            <pc:sldMk cId="3411714768" sldId="2147483204"/>
            <ac:spMk id="36" creationId="{906A27B5-FC51-B1F9-EA38-42CA0CA44C84}"/>
          </ac:spMkLst>
        </pc:spChg>
        <pc:spChg chg="mod">
          <ac:chgData name="Adwait Aralkar" userId="ae1719c1-ed02-42aa-a1d9-0d6e6247f692" providerId="ADAL" clId="{E83756EB-1544-42DC-BA2C-281AA4ABBF80}" dt="2025-02-05T11:13:49.029" v="2053" actId="1076"/>
          <ac:spMkLst>
            <pc:docMk/>
            <pc:sldMk cId="3411714768" sldId="2147483204"/>
            <ac:spMk id="37" creationId="{6F382132-6318-84E0-AABB-945EDF1DE262}"/>
          </ac:spMkLst>
        </pc:spChg>
        <pc:spChg chg="mod">
          <ac:chgData name="Adwait Aralkar" userId="ae1719c1-ed02-42aa-a1d9-0d6e6247f692" providerId="ADAL" clId="{E83756EB-1544-42DC-BA2C-281AA4ABBF80}" dt="2025-02-05T11:13:49.029" v="2053" actId="1076"/>
          <ac:spMkLst>
            <pc:docMk/>
            <pc:sldMk cId="3411714768" sldId="2147483204"/>
            <ac:spMk id="41" creationId="{4B1342AF-C226-3803-0ECB-7D6DEF0E987B}"/>
          </ac:spMkLst>
        </pc:spChg>
        <pc:spChg chg="mod">
          <ac:chgData name="Adwait Aralkar" userId="ae1719c1-ed02-42aa-a1d9-0d6e6247f692" providerId="ADAL" clId="{E83756EB-1544-42DC-BA2C-281AA4ABBF80}" dt="2025-02-05T11:13:49.029" v="2053" actId="1076"/>
          <ac:spMkLst>
            <pc:docMk/>
            <pc:sldMk cId="3411714768" sldId="2147483204"/>
            <ac:spMk id="42" creationId="{30039BA6-F988-98AF-257F-B9A76BA8A158}"/>
          </ac:spMkLst>
        </pc:spChg>
        <pc:spChg chg="mod">
          <ac:chgData name="Adwait Aralkar" userId="ae1719c1-ed02-42aa-a1d9-0d6e6247f692" providerId="ADAL" clId="{E83756EB-1544-42DC-BA2C-281AA4ABBF80}" dt="2025-02-05T11:13:49.029" v="2053" actId="1076"/>
          <ac:spMkLst>
            <pc:docMk/>
            <pc:sldMk cId="3411714768" sldId="2147483204"/>
            <ac:spMk id="44" creationId="{34B7226C-A56A-FF43-6AE5-526887116856}"/>
          </ac:spMkLst>
        </pc:spChg>
        <pc:spChg chg="mod">
          <ac:chgData name="Adwait Aralkar" userId="ae1719c1-ed02-42aa-a1d9-0d6e6247f692" providerId="ADAL" clId="{E83756EB-1544-42DC-BA2C-281AA4ABBF80}" dt="2025-02-05T11:13:49.029" v="2053" actId="1076"/>
          <ac:spMkLst>
            <pc:docMk/>
            <pc:sldMk cId="3411714768" sldId="2147483204"/>
            <ac:spMk id="45" creationId="{896F00FE-933D-8429-C792-844D9451D887}"/>
          </ac:spMkLst>
        </pc:spChg>
        <pc:spChg chg="mod">
          <ac:chgData name="Adwait Aralkar" userId="ae1719c1-ed02-42aa-a1d9-0d6e6247f692" providerId="ADAL" clId="{E83756EB-1544-42DC-BA2C-281AA4ABBF80}" dt="2025-02-05T11:13:49.029" v="2053" actId="1076"/>
          <ac:spMkLst>
            <pc:docMk/>
            <pc:sldMk cId="3411714768" sldId="2147483204"/>
            <ac:spMk id="46" creationId="{3A1B89E7-DE0E-5DF7-B1CD-B8E51EE673F9}"/>
          </ac:spMkLst>
        </pc:spChg>
        <pc:spChg chg="mod">
          <ac:chgData name="Adwait Aralkar" userId="ae1719c1-ed02-42aa-a1d9-0d6e6247f692" providerId="ADAL" clId="{E83756EB-1544-42DC-BA2C-281AA4ABBF80}" dt="2025-02-05T11:13:49.029" v="2053" actId="1076"/>
          <ac:spMkLst>
            <pc:docMk/>
            <pc:sldMk cId="3411714768" sldId="2147483204"/>
            <ac:spMk id="47" creationId="{F2E721F7-55F0-EF58-F275-EF5FA23F8D04}"/>
          </ac:spMkLst>
        </pc:spChg>
        <pc:spChg chg="mod">
          <ac:chgData name="Adwait Aralkar" userId="ae1719c1-ed02-42aa-a1d9-0d6e6247f692" providerId="ADAL" clId="{E83756EB-1544-42DC-BA2C-281AA4ABBF80}" dt="2025-02-05T11:13:49.029" v="2053" actId="1076"/>
          <ac:spMkLst>
            <pc:docMk/>
            <pc:sldMk cId="3411714768" sldId="2147483204"/>
            <ac:spMk id="49" creationId="{068CA0EE-147C-D0D7-F210-6020AD3EDE64}"/>
          </ac:spMkLst>
        </pc:spChg>
        <pc:spChg chg="mod">
          <ac:chgData name="Adwait Aralkar" userId="ae1719c1-ed02-42aa-a1d9-0d6e6247f692" providerId="ADAL" clId="{E83756EB-1544-42DC-BA2C-281AA4ABBF80}" dt="2025-02-05T11:13:49.029" v="2053" actId="1076"/>
          <ac:spMkLst>
            <pc:docMk/>
            <pc:sldMk cId="3411714768" sldId="2147483204"/>
            <ac:spMk id="50" creationId="{EF111D07-74FD-F326-7FE7-E09A674C473F}"/>
          </ac:spMkLst>
        </pc:spChg>
        <pc:spChg chg="mod">
          <ac:chgData name="Adwait Aralkar" userId="ae1719c1-ed02-42aa-a1d9-0d6e6247f692" providerId="ADAL" clId="{E83756EB-1544-42DC-BA2C-281AA4ABBF80}" dt="2025-02-05T11:13:49.029" v="2053" actId="1076"/>
          <ac:spMkLst>
            <pc:docMk/>
            <pc:sldMk cId="3411714768" sldId="2147483204"/>
            <ac:spMk id="52" creationId="{2880E9F6-AA76-B2D3-80FC-A51C24282A57}"/>
          </ac:spMkLst>
        </pc:spChg>
        <pc:spChg chg="mod">
          <ac:chgData name="Adwait Aralkar" userId="ae1719c1-ed02-42aa-a1d9-0d6e6247f692" providerId="ADAL" clId="{E83756EB-1544-42DC-BA2C-281AA4ABBF80}" dt="2025-02-05T11:13:49.029" v="2053" actId="1076"/>
          <ac:spMkLst>
            <pc:docMk/>
            <pc:sldMk cId="3411714768" sldId="2147483204"/>
            <ac:spMk id="53" creationId="{4EE1218B-BC9C-34AC-8057-1FF63148E021}"/>
          </ac:spMkLst>
        </pc:spChg>
        <pc:spChg chg="mod">
          <ac:chgData name="Adwait Aralkar" userId="ae1719c1-ed02-42aa-a1d9-0d6e6247f692" providerId="ADAL" clId="{E83756EB-1544-42DC-BA2C-281AA4ABBF80}" dt="2025-02-05T11:13:49.029" v="2053" actId="1076"/>
          <ac:spMkLst>
            <pc:docMk/>
            <pc:sldMk cId="3411714768" sldId="2147483204"/>
            <ac:spMk id="54" creationId="{F2BC3474-47AB-AED3-43F4-E7C1D1D1603D}"/>
          </ac:spMkLst>
        </pc:spChg>
        <pc:spChg chg="mod">
          <ac:chgData name="Adwait Aralkar" userId="ae1719c1-ed02-42aa-a1d9-0d6e6247f692" providerId="ADAL" clId="{E83756EB-1544-42DC-BA2C-281AA4ABBF80}" dt="2025-02-05T11:13:49.029" v="2053" actId="1076"/>
          <ac:spMkLst>
            <pc:docMk/>
            <pc:sldMk cId="3411714768" sldId="2147483204"/>
            <ac:spMk id="55" creationId="{1DFB8EB5-5FDE-EBAE-4044-5DF2DD46233C}"/>
          </ac:spMkLst>
        </pc:spChg>
        <pc:spChg chg="mod">
          <ac:chgData name="Adwait Aralkar" userId="ae1719c1-ed02-42aa-a1d9-0d6e6247f692" providerId="ADAL" clId="{E83756EB-1544-42DC-BA2C-281AA4ABBF80}" dt="2025-02-05T11:13:49.029" v="2053" actId="1076"/>
          <ac:spMkLst>
            <pc:docMk/>
            <pc:sldMk cId="3411714768" sldId="2147483204"/>
            <ac:spMk id="111" creationId="{EAE8956C-485A-0947-2FFC-33494BF1CAB5}"/>
          </ac:spMkLst>
        </pc:spChg>
        <pc:spChg chg="mod">
          <ac:chgData name="Adwait Aralkar" userId="ae1719c1-ed02-42aa-a1d9-0d6e6247f692" providerId="ADAL" clId="{E83756EB-1544-42DC-BA2C-281AA4ABBF80}" dt="2025-02-05T11:13:49.029" v="2053" actId="1076"/>
          <ac:spMkLst>
            <pc:docMk/>
            <pc:sldMk cId="3411714768" sldId="2147483204"/>
            <ac:spMk id="112" creationId="{2DAE7C81-0552-A115-A62D-B94A7BD24126}"/>
          </ac:spMkLst>
        </pc:spChg>
        <pc:spChg chg="mod">
          <ac:chgData name="Adwait Aralkar" userId="ae1719c1-ed02-42aa-a1d9-0d6e6247f692" providerId="ADAL" clId="{E83756EB-1544-42DC-BA2C-281AA4ABBF80}" dt="2025-02-05T11:13:49.029" v="2053" actId="1076"/>
          <ac:spMkLst>
            <pc:docMk/>
            <pc:sldMk cId="3411714768" sldId="2147483204"/>
            <ac:spMk id="114" creationId="{9405043D-5387-20CB-8435-96B21CE47A48}"/>
          </ac:spMkLst>
        </pc:spChg>
        <pc:spChg chg="mod">
          <ac:chgData name="Adwait Aralkar" userId="ae1719c1-ed02-42aa-a1d9-0d6e6247f692" providerId="ADAL" clId="{E83756EB-1544-42DC-BA2C-281AA4ABBF80}" dt="2025-02-05T11:13:49.029" v="2053" actId="1076"/>
          <ac:spMkLst>
            <pc:docMk/>
            <pc:sldMk cId="3411714768" sldId="2147483204"/>
            <ac:spMk id="115" creationId="{714848AC-56A4-170B-BEB5-3BAF68E6FEB5}"/>
          </ac:spMkLst>
        </pc:spChg>
        <pc:spChg chg="mod">
          <ac:chgData name="Adwait Aralkar" userId="ae1719c1-ed02-42aa-a1d9-0d6e6247f692" providerId="ADAL" clId="{E83756EB-1544-42DC-BA2C-281AA4ABBF80}" dt="2025-02-05T11:13:49.029" v="2053" actId="1076"/>
          <ac:spMkLst>
            <pc:docMk/>
            <pc:sldMk cId="3411714768" sldId="2147483204"/>
            <ac:spMk id="116" creationId="{C8AA4A74-3683-3BFC-1053-54940DD7900E}"/>
          </ac:spMkLst>
        </pc:spChg>
        <pc:spChg chg="mod">
          <ac:chgData name="Adwait Aralkar" userId="ae1719c1-ed02-42aa-a1d9-0d6e6247f692" providerId="ADAL" clId="{E83756EB-1544-42DC-BA2C-281AA4ABBF80}" dt="2025-02-05T11:13:49.029" v="2053" actId="1076"/>
          <ac:spMkLst>
            <pc:docMk/>
            <pc:sldMk cId="3411714768" sldId="2147483204"/>
            <ac:spMk id="117" creationId="{729CF69A-2D59-2DB8-EA31-0FAFEEDD4D1E}"/>
          </ac:spMkLst>
        </pc:spChg>
        <pc:spChg chg="mod">
          <ac:chgData name="Adwait Aralkar" userId="ae1719c1-ed02-42aa-a1d9-0d6e6247f692" providerId="ADAL" clId="{E83756EB-1544-42DC-BA2C-281AA4ABBF80}" dt="2025-02-05T11:13:49.029" v="2053" actId="1076"/>
          <ac:spMkLst>
            <pc:docMk/>
            <pc:sldMk cId="3411714768" sldId="2147483204"/>
            <ac:spMk id="122" creationId="{1721E57F-BBDD-D999-7379-76836F4D5184}"/>
          </ac:spMkLst>
        </pc:spChg>
        <pc:spChg chg="mod">
          <ac:chgData name="Adwait Aralkar" userId="ae1719c1-ed02-42aa-a1d9-0d6e6247f692" providerId="ADAL" clId="{E83756EB-1544-42DC-BA2C-281AA4ABBF80}" dt="2025-02-05T11:13:49.029" v="2053" actId="1076"/>
          <ac:spMkLst>
            <pc:docMk/>
            <pc:sldMk cId="3411714768" sldId="2147483204"/>
            <ac:spMk id="123" creationId="{97BAA592-08A2-E445-525E-187ECFDE65D1}"/>
          </ac:spMkLst>
        </pc:spChg>
        <pc:spChg chg="mod">
          <ac:chgData name="Adwait Aralkar" userId="ae1719c1-ed02-42aa-a1d9-0d6e6247f692" providerId="ADAL" clId="{E83756EB-1544-42DC-BA2C-281AA4ABBF80}" dt="2025-02-05T11:13:49.029" v="2053" actId="1076"/>
          <ac:spMkLst>
            <pc:docMk/>
            <pc:sldMk cId="3411714768" sldId="2147483204"/>
            <ac:spMk id="125" creationId="{DE63D562-3D1F-9E82-F9FF-2AC088AA932E}"/>
          </ac:spMkLst>
        </pc:spChg>
        <pc:spChg chg="mod">
          <ac:chgData name="Adwait Aralkar" userId="ae1719c1-ed02-42aa-a1d9-0d6e6247f692" providerId="ADAL" clId="{E83756EB-1544-42DC-BA2C-281AA4ABBF80}" dt="2025-02-05T11:13:49.029" v="2053" actId="1076"/>
          <ac:spMkLst>
            <pc:docMk/>
            <pc:sldMk cId="3411714768" sldId="2147483204"/>
            <ac:spMk id="126" creationId="{AC6B5572-20D1-6622-9BA3-79100478234E}"/>
          </ac:spMkLst>
        </pc:spChg>
        <pc:spChg chg="mod">
          <ac:chgData name="Adwait Aralkar" userId="ae1719c1-ed02-42aa-a1d9-0d6e6247f692" providerId="ADAL" clId="{E83756EB-1544-42DC-BA2C-281AA4ABBF80}" dt="2025-02-05T11:13:49.029" v="2053" actId="1076"/>
          <ac:spMkLst>
            <pc:docMk/>
            <pc:sldMk cId="3411714768" sldId="2147483204"/>
            <ac:spMk id="127" creationId="{40F32A81-9FB8-A335-1558-87A14758A73E}"/>
          </ac:spMkLst>
        </pc:spChg>
        <pc:spChg chg="mod">
          <ac:chgData name="Adwait Aralkar" userId="ae1719c1-ed02-42aa-a1d9-0d6e6247f692" providerId="ADAL" clId="{E83756EB-1544-42DC-BA2C-281AA4ABBF80}" dt="2025-02-05T11:13:49.029" v="2053" actId="1076"/>
          <ac:spMkLst>
            <pc:docMk/>
            <pc:sldMk cId="3411714768" sldId="2147483204"/>
            <ac:spMk id="128" creationId="{C0C30A16-1D11-2C21-54DC-6CDFD04C3FF5}"/>
          </ac:spMkLst>
        </pc:spChg>
        <pc:spChg chg="mod">
          <ac:chgData name="Adwait Aralkar" userId="ae1719c1-ed02-42aa-a1d9-0d6e6247f692" providerId="ADAL" clId="{E83756EB-1544-42DC-BA2C-281AA4ABBF80}" dt="2025-02-05T11:13:49.029" v="2053" actId="1076"/>
          <ac:spMkLst>
            <pc:docMk/>
            <pc:sldMk cId="3411714768" sldId="2147483204"/>
            <ac:spMk id="133" creationId="{73AD5EB0-461C-6319-9B02-C849E56B07C5}"/>
          </ac:spMkLst>
        </pc:spChg>
        <pc:spChg chg="mod">
          <ac:chgData name="Adwait Aralkar" userId="ae1719c1-ed02-42aa-a1d9-0d6e6247f692" providerId="ADAL" clId="{E83756EB-1544-42DC-BA2C-281AA4ABBF80}" dt="2025-02-05T11:13:49.029" v="2053" actId="1076"/>
          <ac:spMkLst>
            <pc:docMk/>
            <pc:sldMk cId="3411714768" sldId="2147483204"/>
            <ac:spMk id="134" creationId="{8AB33337-F75A-2677-A7FB-318BC4829EC5}"/>
          </ac:spMkLst>
        </pc:spChg>
        <pc:spChg chg="mod">
          <ac:chgData name="Adwait Aralkar" userId="ae1719c1-ed02-42aa-a1d9-0d6e6247f692" providerId="ADAL" clId="{E83756EB-1544-42DC-BA2C-281AA4ABBF80}" dt="2025-02-05T11:13:49.029" v="2053" actId="1076"/>
          <ac:spMkLst>
            <pc:docMk/>
            <pc:sldMk cId="3411714768" sldId="2147483204"/>
            <ac:spMk id="136" creationId="{8167162A-DE98-1F33-65EB-B2CF2F9BC07F}"/>
          </ac:spMkLst>
        </pc:spChg>
        <pc:spChg chg="mod">
          <ac:chgData name="Adwait Aralkar" userId="ae1719c1-ed02-42aa-a1d9-0d6e6247f692" providerId="ADAL" clId="{E83756EB-1544-42DC-BA2C-281AA4ABBF80}" dt="2025-02-05T11:13:49.029" v="2053" actId="1076"/>
          <ac:spMkLst>
            <pc:docMk/>
            <pc:sldMk cId="3411714768" sldId="2147483204"/>
            <ac:spMk id="137" creationId="{F7D8324C-A45E-D58D-057F-757E48E1BDC5}"/>
          </ac:spMkLst>
        </pc:spChg>
        <pc:spChg chg="mod">
          <ac:chgData name="Adwait Aralkar" userId="ae1719c1-ed02-42aa-a1d9-0d6e6247f692" providerId="ADAL" clId="{E83756EB-1544-42DC-BA2C-281AA4ABBF80}" dt="2025-02-05T11:13:49.029" v="2053" actId="1076"/>
          <ac:spMkLst>
            <pc:docMk/>
            <pc:sldMk cId="3411714768" sldId="2147483204"/>
            <ac:spMk id="138" creationId="{0DAEE446-9884-6ABA-AC87-836FFFFAE65C}"/>
          </ac:spMkLst>
        </pc:spChg>
        <pc:spChg chg="mod">
          <ac:chgData name="Adwait Aralkar" userId="ae1719c1-ed02-42aa-a1d9-0d6e6247f692" providerId="ADAL" clId="{E83756EB-1544-42DC-BA2C-281AA4ABBF80}" dt="2025-02-05T11:13:49.029" v="2053" actId="1076"/>
          <ac:spMkLst>
            <pc:docMk/>
            <pc:sldMk cId="3411714768" sldId="2147483204"/>
            <ac:spMk id="139" creationId="{3D0ABCA9-CAF4-4DCE-9E02-CC50E995232E}"/>
          </ac:spMkLst>
        </pc:spChg>
        <pc:spChg chg="mod">
          <ac:chgData name="Adwait Aralkar" userId="ae1719c1-ed02-42aa-a1d9-0d6e6247f692" providerId="ADAL" clId="{E83756EB-1544-42DC-BA2C-281AA4ABBF80}" dt="2025-02-05T11:13:49.029" v="2053" actId="1076"/>
          <ac:spMkLst>
            <pc:docMk/>
            <pc:sldMk cId="3411714768" sldId="2147483204"/>
            <ac:spMk id="144" creationId="{F5E5F4CC-C896-677F-B556-2C1D6F4CEFF4}"/>
          </ac:spMkLst>
        </pc:spChg>
        <pc:spChg chg="mod">
          <ac:chgData name="Adwait Aralkar" userId="ae1719c1-ed02-42aa-a1d9-0d6e6247f692" providerId="ADAL" clId="{E83756EB-1544-42DC-BA2C-281AA4ABBF80}" dt="2025-02-05T11:13:49.029" v="2053" actId="1076"/>
          <ac:spMkLst>
            <pc:docMk/>
            <pc:sldMk cId="3411714768" sldId="2147483204"/>
            <ac:spMk id="145" creationId="{565A6B7F-BD2C-A737-8588-B2A1EAE76476}"/>
          </ac:spMkLst>
        </pc:spChg>
        <pc:spChg chg="mod">
          <ac:chgData name="Adwait Aralkar" userId="ae1719c1-ed02-42aa-a1d9-0d6e6247f692" providerId="ADAL" clId="{E83756EB-1544-42DC-BA2C-281AA4ABBF80}" dt="2025-02-05T11:13:49.029" v="2053" actId="1076"/>
          <ac:spMkLst>
            <pc:docMk/>
            <pc:sldMk cId="3411714768" sldId="2147483204"/>
            <ac:spMk id="147" creationId="{E18EB816-FBBE-EA0E-D2CE-083CD9C6BC6D}"/>
          </ac:spMkLst>
        </pc:spChg>
        <pc:spChg chg="mod">
          <ac:chgData name="Adwait Aralkar" userId="ae1719c1-ed02-42aa-a1d9-0d6e6247f692" providerId="ADAL" clId="{E83756EB-1544-42DC-BA2C-281AA4ABBF80}" dt="2025-02-05T11:13:49.029" v="2053" actId="1076"/>
          <ac:spMkLst>
            <pc:docMk/>
            <pc:sldMk cId="3411714768" sldId="2147483204"/>
            <ac:spMk id="148" creationId="{E3B677EB-DF6F-5126-BAC1-755B23172BE2}"/>
          </ac:spMkLst>
        </pc:spChg>
        <pc:spChg chg="mod">
          <ac:chgData name="Adwait Aralkar" userId="ae1719c1-ed02-42aa-a1d9-0d6e6247f692" providerId="ADAL" clId="{E83756EB-1544-42DC-BA2C-281AA4ABBF80}" dt="2025-02-05T11:13:49.029" v="2053" actId="1076"/>
          <ac:spMkLst>
            <pc:docMk/>
            <pc:sldMk cId="3411714768" sldId="2147483204"/>
            <ac:spMk id="149" creationId="{FD39A9F7-30D7-CF67-F9BE-A0B540586216}"/>
          </ac:spMkLst>
        </pc:spChg>
        <pc:spChg chg="mod">
          <ac:chgData name="Adwait Aralkar" userId="ae1719c1-ed02-42aa-a1d9-0d6e6247f692" providerId="ADAL" clId="{E83756EB-1544-42DC-BA2C-281AA4ABBF80}" dt="2025-02-05T11:13:49.029" v="2053" actId="1076"/>
          <ac:spMkLst>
            <pc:docMk/>
            <pc:sldMk cId="3411714768" sldId="2147483204"/>
            <ac:spMk id="150" creationId="{742B3A9E-89F6-3F81-E8E7-459E468F76FD}"/>
          </ac:spMkLst>
        </pc:spChg>
        <pc:spChg chg="mod">
          <ac:chgData name="Adwait Aralkar" userId="ae1719c1-ed02-42aa-a1d9-0d6e6247f692" providerId="ADAL" clId="{E83756EB-1544-42DC-BA2C-281AA4ABBF80}" dt="2025-02-05T11:13:49.029" v="2053" actId="1076"/>
          <ac:spMkLst>
            <pc:docMk/>
            <pc:sldMk cId="3411714768" sldId="2147483204"/>
            <ac:spMk id="155" creationId="{6283D96E-5C44-8496-BB8D-E79F0BCF635C}"/>
          </ac:spMkLst>
        </pc:spChg>
        <pc:spChg chg="mod">
          <ac:chgData name="Adwait Aralkar" userId="ae1719c1-ed02-42aa-a1d9-0d6e6247f692" providerId="ADAL" clId="{E83756EB-1544-42DC-BA2C-281AA4ABBF80}" dt="2025-02-05T11:13:49.029" v="2053" actId="1076"/>
          <ac:spMkLst>
            <pc:docMk/>
            <pc:sldMk cId="3411714768" sldId="2147483204"/>
            <ac:spMk id="156" creationId="{3F33971C-65DC-40A6-024D-0E8AAABAFF5C}"/>
          </ac:spMkLst>
        </pc:spChg>
        <pc:spChg chg="mod">
          <ac:chgData name="Adwait Aralkar" userId="ae1719c1-ed02-42aa-a1d9-0d6e6247f692" providerId="ADAL" clId="{E83756EB-1544-42DC-BA2C-281AA4ABBF80}" dt="2025-02-05T11:13:49.029" v="2053" actId="1076"/>
          <ac:spMkLst>
            <pc:docMk/>
            <pc:sldMk cId="3411714768" sldId="2147483204"/>
            <ac:spMk id="158" creationId="{D4714CCB-9519-71B2-8FEE-5E9B554D25E5}"/>
          </ac:spMkLst>
        </pc:spChg>
        <pc:spChg chg="mod">
          <ac:chgData name="Adwait Aralkar" userId="ae1719c1-ed02-42aa-a1d9-0d6e6247f692" providerId="ADAL" clId="{E83756EB-1544-42DC-BA2C-281AA4ABBF80}" dt="2025-02-05T11:13:49.029" v="2053" actId="1076"/>
          <ac:spMkLst>
            <pc:docMk/>
            <pc:sldMk cId="3411714768" sldId="2147483204"/>
            <ac:spMk id="159" creationId="{468B5A89-2229-D41A-88D1-DD1B29BFCAD3}"/>
          </ac:spMkLst>
        </pc:spChg>
        <pc:spChg chg="mod">
          <ac:chgData name="Adwait Aralkar" userId="ae1719c1-ed02-42aa-a1d9-0d6e6247f692" providerId="ADAL" clId="{E83756EB-1544-42DC-BA2C-281AA4ABBF80}" dt="2025-02-05T11:13:49.029" v="2053" actId="1076"/>
          <ac:spMkLst>
            <pc:docMk/>
            <pc:sldMk cId="3411714768" sldId="2147483204"/>
            <ac:spMk id="160" creationId="{463CB0F0-F4CD-E872-5A59-E8A6B44F5C08}"/>
          </ac:spMkLst>
        </pc:spChg>
        <pc:spChg chg="mod">
          <ac:chgData name="Adwait Aralkar" userId="ae1719c1-ed02-42aa-a1d9-0d6e6247f692" providerId="ADAL" clId="{E83756EB-1544-42DC-BA2C-281AA4ABBF80}" dt="2025-02-05T11:13:49.029" v="2053" actId="1076"/>
          <ac:spMkLst>
            <pc:docMk/>
            <pc:sldMk cId="3411714768" sldId="2147483204"/>
            <ac:spMk id="161" creationId="{CEF23491-CA27-F006-59BA-2601297A64F1}"/>
          </ac:spMkLst>
        </pc:spChg>
        <pc:spChg chg="mod">
          <ac:chgData name="Adwait Aralkar" userId="ae1719c1-ed02-42aa-a1d9-0d6e6247f692" providerId="ADAL" clId="{E83756EB-1544-42DC-BA2C-281AA4ABBF80}" dt="2025-02-05T11:13:49.029" v="2053" actId="1076"/>
          <ac:spMkLst>
            <pc:docMk/>
            <pc:sldMk cId="3411714768" sldId="2147483204"/>
            <ac:spMk id="173" creationId="{822883E0-D036-1409-143B-F49990506465}"/>
          </ac:spMkLst>
        </pc:spChg>
        <pc:spChg chg="mod">
          <ac:chgData name="Adwait Aralkar" userId="ae1719c1-ed02-42aa-a1d9-0d6e6247f692" providerId="ADAL" clId="{E83756EB-1544-42DC-BA2C-281AA4ABBF80}" dt="2025-02-05T11:13:49.029" v="2053" actId="1076"/>
          <ac:spMkLst>
            <pc:docMk/>
            <pc:sldMk cId="3411714768" sldId="2147483204"/>
            <ac:spMk id="175" creationId="{69247387-EDCD-D210-BBD6-F812FFF7484C}"/>
          </ac:spMkLst>
        </pc:spChg>
        <pc:spChg chg="mod">
          <ac:chgData name="Adwait Aralkar" userId="ae1719c1-ed02-42aa-a1d9-0d6e6247f692" providerId="ADAL" clId="{E83756EB-1544-42DC-BA2C-281AA4ABBF80}" dt="2025-02-05T11:13:49.029" v="2053" actId="1076"/>
          <ac:spMkLst>
            <pc:docMk/>
            <pc:sldMk cId="3411714768" sldId="2147483204"/>
            <ac:spMk id="176" creationId="{0C9AE19A-0358-3262-2F80-2E83EB3FA7F0}"/>
          </ac:spMkLst>
        </pc:spChg>
        <pc:spChg chg="mod">
          <ac:chgData name="Adwait Aralkar" userId="ae1719c1-ed02-42aa-a1d9-0d6e6247f692" providerId="ADAL" clId="{E83756EB-1544-42DC-BA2C-281AA4ABBF80}" dt="2025-02-05T11:13:49.029" v="2053" actId="1076"/>
          <ac:spMkLst>
            <pc:docMk/>
            <pc:sldMk cId="3411714768" sldId="2147483204"/>
            <ac:spMk id="179" creationId="{5453BC08-B91E-D2EB-6784-50D14970169F}"/>
          </ac:spMkLst>
        </pc:spChg>
        <pc:spChg chg="mod">
          <ac:chgData name="Adwait Aralkar" userId="ae1719c1-ed02-42aa-a1d9-0d6e6247f692" providerId="ADAL" clId="{E83756EB-1544-42DC-BA2C-281AA4ABBF80}" dt="2025-02-05T11:13:49.029" v="2053" actId="1076"/>
          <ac:spMkLst>
            <pc:docMk/>
            <pc:sldMk cId="3411714768" sldId="2147483204"/>
            <ac:spMk id="180" creationId="{32B12FF6-C9E1-B907-245B-0045DB675490}"/>
          </ac:spMkLst>
        </pc:spChg>
        <pc:spChg chg="mod">
          <ac:chgData name="Adwait Aralkar" userId="ae1719c1-ed02-42aa-a1d9-0d6e6247f692" providerId="ADAL" clId="{E83756EB-1544-42DC-BA2C-281AA4ABBF80}" dt="2025-02-05T11:13:49.029" v="2053" actId="1076"/>
          <ac:spMkLst>
            <pc:docMk/>
            <pc:sldMk cId="3411714768" sldId="2147483204"/>
            <ac:spMk id="183" creationId="{3B8C086C-F080-8274-C926-1B7F6E317609}"/>
          </ac:spMkLst>
        </pc:spChg>
        <pc:spChg chg="mod">
          <ac:chgData name="Adwait Aralkar" userId="ae1719c1-ed02-42aa-a1d9-0d6e6247f692" providerId="ADAL" clId="{E83756EB-1544-42DC-BA2C-281AA4ABBF80}" dt="2025-02-05T11:13:49.029" v="2053" actId="1076"/>
          <ac:spMkLst>
            <pc:docMk/>
            <pc:sldMk cId="3411714768" sldId="2147483204"/>
            <ac:spMk id="184" creationId="{E9743254-1AD2-42D6-98B6-61FB8ACEFE25}"/>
          </ac:spMkLst>
        </pc:spChg>
        <pc:spChg chg="mod">
          <ac:chgData name="Adwait Aralkar" userId="ae1719c1-ed02-42aa-a1d9-0d6e6247f692" providerId="ADAL" clId="{E83756EB-1544-42DC-BA2C-281AA4ABBF80}" dt="2025-02-05T11:13:49.029" v="2053" actId="1076"/>
          <ac:spMkLst>
            <pc:docMk/>
            <pc:sldMk cId="3411714768" sldId="2147483204"/>
            <ac:spMk id="187" creationId="{963B682D-3F9E-6EC8-B0CF-9916B55193DF}"/>
          </ac:spMkLst>
        </pc:spChg>
        <pc:spChg chg="mod">
          <ac:chgData name="Adwait Aralkar" userId="ae1719c1-ed02-42aa-a1d9-0d6e6247f692" providerId="ADAL" clId="{E83756EB-1544-42DC-BA2C-281AA4ABBF80}" dt="2025-02-05T11:13:49.029" v="2053" actId="1076"/>
          <ac:spMkLst>
            <pc:docMk/>
            <pc:sldMk cId="3411714768" sldId="2147483204"/>
            <ac:spMk id="214" creationId="{57097F99-AE25-758A-31DC-36FB563E0EA4}"/>
          </ac:spMkLst>
        </pc:spChg>
        <pc:grpChg chg="mod">
          <ac:chgData name="Adwait Aralkar" userId="ae1719c1-ed02-42aa-a1d9-0d6e6247f692" providerId="ADAL" clId="{E83756EB-1544-42DC-BA2C-281AA4ABBF80}" dt="2025-02-05T11:13:49.029" v="2053" actId="1076"/>
          <ac:grpSpMkLst>
            <pc:docMk/>
            <pc:sldMk cId="3411714768" sldId="2147483204"/>
            <ac:grpSpMk id="5" creationId="{55FB1DA4-0922-6E2E-D2E9-D8D03DE44786}"/>
          </ac:grpSpMkLst>
        </pc:grpChg>
        <pc:grpChg chg="mod">
          <ac:chgData name="Adwait Aralkar" userId="ae1719c1-ed02-42aa-a1d9-0d6e6247f692" providerId="ADAL" clId="{E83756EB-1544-42DC-BA2C-281AA4ABBF80}" dt="2025-02-05T11:13:49.029" v="2053" actId="1076"/>
          <ac:grpSpMkLst>
            <pc:docMk/>
            <pc:sldMk cId="3411714768" sldId="2147483204"/>
            <ac:grpSpMk id="28" creationId="{25C0DA5F-0941-4E60-C83E-0C55CAD066B5}"/>
          </ac:grpSpMkLst>
        </pc:grpChg>
        <pc:grpChg chg="mod">
          <ac:chgData name="Adwait Aralkar" userId="ae1719c1-ed02-42aa-a1d9-0d6e6247f692" providerId="ADAL" clId="{E83756EB-1544-42DC-BA2C-281AA4ABBF80}" dt="2025-02-05T11:13:49.029" v="2053" actId="1076"/>
          <ac:grpSpMkLst>
            <pc:docMk/>
            <pc:sldMk cId="3411714768" sldId="2147483204"/>
            <ac:grpSpMk id="30" creationId="{9787F053-6F96-C13D-D2C6-61DD8A1FFF63}"/>
          </ac:grpSpMkLst>
        </pc:grpChg>
        <pc:grpChg chg="mod">
          <ac:chgData name="Adwait Aralkar" userId="ae1719c1-ed02-42aa-a1d9-0d6e6247f692" providerId="ADAL" clId="{E83756EB-1544-42DC-BA2C-281AA4ABBF80}" dt="2025-02-05T11:13:49.029" v="2053" actId="1076"/>
          <ac:grpSpMkLst>
            <pc:docMk/>
            <pc:sldMk cId="3411714768" sldId="2147483204"/>
            <ac:grpSpMk id="33" creationId="{D3E17BF6-EEC5-0C83-2995-0DABCBF28FD6}"/>
          </ac:grpSpMkLst>
        </pc:grpChg>
        <pc:grpChg chg="mod">
          <ac:chgData name="Adwait Aralkar" userId="ae1719c1-ed02-42aa-a1d9-0d6e6247f692" providerId="ADAL" clId="{E83756EB-1544-42DC-BA2C-281AA4ABBF80}" dt="2025-02-05T11:13:49.029" v="2053" actId="1076"/>
          <ac:grpSpMkLst>
            <pc:docMk/>
            <pc:sldMk cId="3411714768" sldId="2147483204"/>
            <ac:grpSpMk id="38" creationId="{5AD04546-B2FF-319B-D00B-391207299BF6}"/>
          </ac:grpSpMkLst>
        </pc:grpChg>
        <pc:grpChg chg="mod">
          <ac:chgData name="Adwait Aralkar" userId="ae1719c1-ed02-42aa-a1d9-0d6e6247f692" providerId="ADAL" clId="{E83756EB-1544-42DC-BA2C-281AA4ABBF80}" dt="2025-02-05T11:13:49.029" v="2053" actId="1076"/>
          <ac:grpSpMkLst>
            <pc:docMk/>
            <pc:sldMk cId="3411714768" sldId="2147483204"/>
            <ac:grpSpMk id="40" creationId="{98EA9DA4-1C66-6AE1-8298-DD920FEDE537}"/>
          </ac:grpSpMkLst>
        </pc:grpChg>
        <pc:grpChg chg="mod">
          <ac:chgData name="Adwait Aralkar" userId="ae1719c1-ed02-42aa-a1d9-0d6e6247f692" providerId="ADAL" clId="{E83756EB-1544-42DC-BA2C-281AA4ABBF80}" dt="2025-02-05T11:13:49.029" v="2053" actId="1076"/>
          <ac:grpSpMkLst>
            <pc:docMk/>
            <pc:sldMk cId="3411714768" sldId="2147483204"/>
            <ac:grpSpMk id="43" creationId="{DAF6F21B-9976-D6C6-018B-7A72F71A5556}"/>
          </ac:grpSpMkLst>
        </pc:grpChg>
        <pc:grpChg chg="mod">
          <ac:chgData name="Adwait Aralkar" userId="ae1719c1-ed02-42aa-a1d9-0d6e6247f692" providerId="ADAL" clId="{E83756EB-1544-42DC-BA2C-281AA4ABBF80}" dt="2025-02-05T11:13:49.029" v="2053" actId="1076"/>
          <ac:grpSpMkLst>
            <pc:docMk/>
            <pc:sldMk cId="3411714768" sldId="2147483204"/>
            <ac:grpSpMk id="48" creationId="{740BFB9D-1B12-CFD6-3A31-C47DD1A83373}"/>
          </ac:grpSpMkLst>
        </pc:grpChg>
        <pc:grpChg chg="mod">
          <ac:chgData name="Adwait Aralkar" userId="ae1719c1-ed02-42aa-a1d9-0d6e6247f692" providerId="ADAL" clId="{E83756EB-1544-42DC-BA2C-281AA4ABBF80}" dt="2025-02-05T11:13:49.029" v="2053" actId="1076"/>
          <ac:grpSpMkLst>
            <pc:docMk/>
            <pc:sldMk cId="3411714768" sldId="2147483204"/>
            <ac:grpSpMk id="51" creationId="{6BDFF8F3-071E-C331-2D48-CF1DFDFB57C3}"/>
          </ac:grpSpMkLst>
        </pc:grpChg>
        <pc:grpChg chg="mod">
          <ac:chgData name="Adwait Aralkar" userId="ae1719c1-ed02-42aa-a1d9-0d6e6247f692" providerId="ADAL" clId="{E83756EB-1544-42DC-BA2C-281AA4ABBF80}" dt="2025-02-05T11:13:49.029" v="2053" actId="1076"/>
          <ac:grpSpMkLst>
            <pc:docMk/>
            <pc:sldMk cId="3411714768" sldId="2147483204"/>
            <ac:grpSpMk id="58" creationId="{776289A1-F9C3-9D0B-DC34-CF451FBDD6E5}"/>
          </ac:grpSpMkLst>
        </pc:grpChg>
        <pc:grpChg chg="mod">
          <ac:chgData name="Adwait Aralkar" userId="ae1719c1-ed02-42aa-a1d9-0d6e6247f692" providerId="ADAL" clId="{E83756EB-1544-42DC-BA2C-281AA4ABBF80}" dt="2025-02-05T11:13:49.029" v="2053" actId="1076"/>
          <ac:grpSpMkLst>
            <pc:docMk/>
            <pc:sldMk cId="3411714768" sldId="2147483204"/>
            <ac:grpSpMk id="108" creationId="{EBC0764A-ACBE-0447-E8CD-732198A5D2FD}"/>
          </ac:grpSpMkLst>
        </pc:grpChg>
        <pc:grpChg chg="mod">
          <ac:chgData name="Adwait Aralkar" userId="ae1719c1-ed02-42aa-a1d9-0d6e6247f692" providerId="ADAL" clId="{E83756EB-1544-42DC-BA2C-281AA4ABBF80}" dt="2025-02-05T11:13:49.029" v="2053" actId="1076"/>
          <ac:grpSpMkLst>
            <pc:docMk/>
            <pc:sldMk cId="3411714768" sldId="2147483204"/>
            <ac:grpSpMk id="110" creationId="{D39A3E89-C7D6-B8F3-A5B1-D3701DED6A58}"/>
          </ac:grpSpMkLst>
        </pc:grpChg>
        <pc:grpChg chg="mod">
          <ac:chgData name="Adwait Aralkar" userId="ae1719c1-ed02-42aa-a1d9-0d6e6247f692" providerId="ADAL" clId="{E83756EB-1544-42DC-BA2C-281AA4ABBF80}" dt="2025-02-05T11:13:49.029" v="2053" actId="1076"/>
          <ac:grpSpMkLst>
            <pc:docMk/>
            <pc:sldMk cId="3411714768" sldId="2147483204"/>
            <ac:grpSpMk id="113" creationId="{FD5E566F-FCF6-1EFD-6883-7C4D14CF117F}"/>
          </ac:grpSpMkLst>
        </pc:grpChg>
        <pc:grpChg chg="mod">
          <ac:chgData name="Adwait Aralkar" userId="ae1719c1-ed02-42aa-a1d9-0d6e6247f692" providerId="ADAL" clId="{E83756EB-1544-42DC-BA2C-281AA4ABBF80}" dt="2025-02-05T11:13:49.029" v="2053" actId="1076"/>
          <ac:grpSpMkLst>
            <pc:docMk/>
            <pc:sldMk cId="3411714768" sldId="2147483204"/>
            <ac:grpSpMk id="119" creationId="{255A22E6-853F-B365-9EA4-6C541998626E}"/>
          </ac:grpSpMkLst>
        </pc:grpChg>
        <pc:grpChg chg="mod">
          <ac:chgData name="Adwait Aralkar" userId="ae1719c1-ed02-42aa-a1d9-0d6e6247f692" providerId="ADAL" clId="{E83756EB-1544-42DC-BA2C-281AA4ABBF80}" dt="2025-02-05T11:13:49.029" v="2053" actId="1076"/>
          <ac:grpSpMkLst>
            <pc:docMk/>
            <pc:sldMk cId="3411714768" sldId="2147483204"/>
            <ac:grpSpMk id="121" creationId="{EA5A2A7A-F853-6E43-E993-51831895ABE3}"/>
          </ac:grpSpMkLst>
        </pc:grpChg>
        <pc:grpChg chg="mod">
          <ac:chgData name="Adwait Aralkar" userId="ae1719c1-ed02-42aa-a1d9-0d6e6247f692" providerId="ADAL" clId="{E83756EB-1544-42DC-BA2C-281AA4ABBF80}" dt="2025-02-05T11:13:49.029" v="2053" actId="1076"/>
          <ac:grpSpMkLst>
            <pc:docMk/>
            <pc:sldMk cId="3411714768" sldId="2147483204"/>
            <ac:grpSpMk id="124" creationId="{09897A42-D77C-8B0D-2440-0D3C14BEE45A}"/>
          </ac:grpSpMkLst>
        </pc:grpChg>
        <pc:grpChg chg="mod">
          <ac:chgData name="Adwait Aralkar" userId="ae1719c1-ed02-42aa-a1d9-0d6e6247f692" providerId="ADAL" clId="{E83756EB-1544-42DC-BA2C-281AA4ABBF80}" dt="2025-02-05T11:13:49.029" v="2053" actId="1076"/>
          <ac:grpSpMkLst>
            <pc:docMk/>
            <pc:sldMk cId="3411714768" sldId="2147483204"/>
            <ac:grpSpMk id="129" creationId="{8E801B0E-06F8-3B10-9004-848C52A83722}"/>
          </ac:grpSpMkLst>
        </pc:grpChg>
        <pc:grpChg chg="mod">
          <ac:chgData name="Adwait Aralkar" userId="ae1719c1-ed02-42aa-a1d9-0d6e6247f692" providerId="ADAL" clId="{E83756EB-1544-42DC-BA2C-281AA4ABBF80}" dt="2025-02-05T11:13:49.029" v="2053" actId="1076"/>
          <ac:grpSpMkLst>
            <pc:docMk/>
            <pc:sldMk cId="3411714768" sldId="2147483204"/>
            <ac:grpSpMk id="130" creationId="{09A2F690-F0AF-F9D6-361C-4C8BB81CFECB}"/>
          </ac:grpSpMkLst>
        </pc:grpChg>
        <pc:grpChg chg="mod">
          <ac:chgData name="Adwait Aralkar" userId="ae1719c1-ed02-42aa-a1d9-0d6e6247f692" providerId="ADAL" clId="{E83756EB-1544-42DC-BA2C-281AA4ABBF80}" dt="2025-02-05T11:13:49.029" v="2053" actId="1076"/>
          <ac:grpSpMkLst>
            <pc:docMk/>
            <pc:sldMk cId="3411714768" sldId="2147483204"/>
            <ac:grpSpMk id="132" creationId="{D4DE1742-7641-4141-2315-B93766535BA4}"/>
          </ac:grpSpMkLst>
        </pc:grpChg>
        <pc:grpChg chg="mod">
          <ac:chgData name="Adwait Aralkar" userId="ae1719c1-ed02-42aa-a1d9-0d6e6247f692" providerId="ADAL" clId="{E83756EB-1544-42DC-BA2C-281AA4ABBF80}" dt="2025-02-05T11:13:49.029" v="2053" actId="1076"/>
          <ac:grpSpMkLst>
            <pc:docMk/>
            <pc:sldMk cId="3411714768" sldId="2147483204"/>
            <ac:grpSpMk id="135" creationId="{48A7A096-EC4D-B67A-BB0B-8DCA9C29933B}"/>
          </ac:grpSpMkLst>
        </pc:grpChg>
        <pc:grpChg chg="mod">
          <ac:chgData name="Adwait Aralkar" userId="ae1719c1-ed02-42aa-a1d9-0d6e6247f692" providerId="ADAL" clId="{E83756EB-1544-42DC-BA2C-281AA4ABBF80}" dt="2025-02-05T11:13:49.029" v="2053" actId="1076"/>
          <ac:grpSpMkLst>
            <pc:docMk/>
            <pc:sldMk cId="3411714768" sldId="2147483204"/>
            <ac:grpSpMk id="141" creationId="{DC696DB3-E1AF-930A-F8CB-BA04CE0BCF4A}"/>
          </ac:grpSpMkLst>
        </pc:grpChg>
        <pc:grpChg chg="mod">
          <ac:chgData name="Adwait Aralkar" userId="ae1719c1-ed02-42aa-a1d9-0d6e6247f692" providerId="ADAL" clId="{E83756EB-1544-42DC-BA2C-281AA4ABBF80}" dt="2025-02-05T11:13:49.029" v="2053" actId="1076"/>
          <ac:grpSpMkLst>
            <pc:docMk/>
            <pc:sldMk cId="3411714768" sldId="2147483204"/>
            <ac:grpSpMk id="143" creationId="{037A50CC-2C88-90AD-719C-4187C00C03DA}"/>
          </ac:grpSpMkLst>
        </pc:grpChg>
        <pc:grpChg chg="mod">
          <ac:chgData name="Adwait Aralkar" userId="ae1719c1-ed02-42aa-a1d9-0d6e6247f692" providerId="ADAL" clId="{E83756EB-1544-42DC-BA2C-281AA4ABBF80}" dt="2025-02-05T11:13:49.029" v="2053" actId="1076"/>
          <ac:grpSpMkLst>
            <pc:docMk/>
            <pc:sldMk cId="3411714768" sldId="2147483204"/>
            <ac:grpSpMk id="146" creationId="{372F4EBA-D124-E2B6-AEA5-F0322A09D847}"/>
          </ac:grpSpMkLst>
        </pc:grpChg>
        <pc:grpChg chg="mod">
          <ac:chgData name="Adwait Aralkar" userId="ae1719c1-ed02-42aa-a1d9-0d6e6247f692" providerId="ADAL" clId="{E83756EB-1544-42DC-BA2C-281AA4ABBF80}" dt="2025-02-05T11:13:49.029" v="2053" actId="1076"/>
          <ac:grpSpMkLst>
            <pc:docMk/>
            <pc:sldMk cId="3411714768" sldId="2147483204"/>
            <ac:grpSpMk id="152" creationId="{DBAD6C71-B1FE-8074-DD6E-FAEEBE021CA6}"/>
          </ac:grpSpMkLst>
        </pc:grpChg>
        <pc:grpChg chg="mod">
          <ac:chgData name="Adwait Aralkar" userId="ae1719c1-ed02-42aa-a1d9-0d6e6247f692" providerId="ADAL" clId="{E83756EB-1544-42DC-BA2C-281AA4ABBF80}" dt="2025-02-05T11:13:49.029" v="2053" actId="1076"/>
          <ac:grpSpMkLst>
            <pc:docMk/>
            <pc:sldMk cId="3411714768" sldId="2147483204"/>
            <ac:grpSpMk id="154" creationId="{CA89A966-FAC5-F357-026A-D49B22140508}"/>
          </ac:grpSpMkLst>
        </pc:grpChg>
        <pc:grpChg chg="mod">
          <ac:chgData name="Adwait Aralkar" userId="ae1719c1-ed02-42aa-a1d9-0d6e6247f692" providerId="ADAL" clId="{E83756EB-1544-42DC-BA2C-281AA4ABBF80}" dt="2025-02-05T11:13:49.029" v="2053" actId="1076"/>
          <ac:grpSpMkLst>
            <pc:docMk/>
            <pc:sldMk cId="3411714768" sldId="2147483204"/>
            <ac:grpSpMk id="157" creationId="{5C09A114-0251-09DC-647D-7E728CD9BFA6}"/>
          </ac:grpSpMkLst>
        </pc:grpChg>
        <pc:grpChg chg="mod">
          <ac:chgData name="Adwait Aralkar" userId="ae1719c1-ed02-42aa-a1d9-0d6e6247f692" providerId="ADAL" clId="{E83756EB-1544-42DC-BA2C-281AA4ABBF80}" dt="2025-02-05T11:13:49.029" v="2053" actId="1076"/>
          <ac:grpSpMkLst>
            <pc:docMk/>
            <pc:sldMk cId="3411714768" sldId="2147483204"/>
            <ac:grpSpMk id="178" creationId="{8DD35AA6-49BB-BA46-4249-5AA7835FE018}"/>
          </ac:grpSpMkLst>
        </pc:grpChg>
        <pc:grpChg chg="mod">
          <ac:chgData name="Adwait Aralkar" userId="ae1719c1-ed02-42aa-a1d9-0d6e6247f692" providerId="ADAL" clId="{E83756EB-1544-42DC-BA2C-281AA4ABBF80}" dt="2025-02-05T11:13:49.029" v="2053" actId="1076"/>
          <ac:grpSpMkLst>
            <pc:docMk/>
            <pc:sldMk cId="3411714768" sldId="2147483204"/>
            <ac:grpSpMk id="182" creationId="{D8530F6A-461F-9073-2A1E-15C10A72E2B9}"/>
          </ac:grpSpMkLst>
        </pc:grpChg>
        <pc:grpChg chg="mod">
          <ac:chgData name="Adwait Aralkar" userId="ae1719c1-ed02-42aa-a1d9-0d6e6247f692" providerId="ADAL" clId="{E83756EB-1544-42DC-BA2C-281AA4ABBF80}" dt="2025-02-05T11:13:49.029" v="2053" actId="1076"/>
          <ac:grpSpMkLst>
            <pc:docMk/>
            <pc:sldMk cId="3411714768" sldId="2147483204"/>
            <ac:grpSpMk id="193" creationId="{20EA6724-1B01-B21D-76F2-30EDC776ADC1}"/>
          </ac:grpSpMkLst>
        </pc:grpChg>
        <pc:grpChg chg="mod">
          <ac:chgData name="Adwait Aralkar" userId="ae1719c1-ed02-42aa-a1d9-0d6e6247f692" providerId="ADAL" clId="{E83756EB-1544-42DC-BA2C-281AA4ABBF80}" dt="2025-02-05T11:13:49.029" v="2053" actId="1076"/>
          <ac:grpSpMkLst>
            <pc:docMk/>
            <pc:sldMk cId="3411714768" sldId="2147483204"/>
            <ac:grpSpMk id="195" creationId="{C95A2EE7-C3C5-BFDB-0841-1FB688F00504}"/>
          </ac:grpSpMkLst>
        </pc:grpChg>
        <pc:grpChg chg="mod">
          <ac:chgData name="Adwait Aralkar" userId="ae1719c1-ed02-42aa-a1d9-0d6e6247f692" providerId="ADAL" clId="{E83756EB-1544-42DC-BA2C-281AA4ABBF80}" dt="2025-02-05T11:13:49.029" v="2053" actId="1076"/>
          <ac:grpSpMkLst>
            <pc:docMk/>
            <pc:sldMk cId="3411714768" sldId="2147483204"/>
            <ac:grpSpMk id="198" creationId="{4FE32D61-3962-8A87-F7C6-D95A680D3CDC}"/>
          </ac:grpSpMkLst>
        </pc:grpChg>
        <pc:grpChg chg="mod">
          <ac:chgData name="Adwait Aralkar" userId="ae1719c1-ed02-42aa-a1d9-0d6e6247f692" providerId="ADAL" clId="{E83756EB-1544-42DC-BA2C-281AA4ABBF80}" dt="2025-02-05T11:13:49.029" v="2053" actId="1076"/>
          <ac:grpSpMkLst>
            <pc:docMk/>
            <pc:sldMk cId="3411714768" sldId="2147483204"/>
            <ac:grpSpMk id="201" creationId="{5EF74A41-D379-03CD-3985-8036CA68C517}"/>
          </ac:grpSpMkLst>
        </pc:grpChg>
        <pc:grpChg chg="mod">
          <ac:chgData name="Adwait Aralkar" userId="ae1719c1-ed02-42aa-a1d9-0d6e6247f692" providerId="ADAL" clId="{E83756EB-1544-42DC-BA2C-281AA4ABBF80}" dt="2025-02-05T11:13:49.029" v="2053" actId="1076"/>
          <ac:grpSpMkLst>
            <pc:docMk/>
            <pc:sldMk cId="3411714768" sldId="2147483204"/>
            <ac:grpSpMk id="206" creationId="{EEF9E127-1789-0391-996D-B14C44F1E9DB}"/>
          </ac:grpSpMkLst>
        </pc:grpChg>
        <pc:grpChg chg="mod">
          <ac:chgData name="Adwait Aralkar" userId="ae1719c1-ed02-42aa-a1d9-0d6e6247f692" providerId="ADAL" clId="{E83756EB-1544-42DC-BA2C-281AA4ABBF80}" dt="2025-02-05T11:13:49.029" v="2053" actId="1076"/>
          <ac:grpSpMkLst>
            <pc:docMk/>
            <pc:sldMk cId="3411714768" sldId="2147483204"/>
            <ac:grpSpMk id="207" creationId="{E3E07C9C-29D1-1A06-BC5B-24DB989D708E}"/>
          </ac:grpSpMkLst>
        </pc:grpChg>
        <pc:picChg chg="mod">
          <ac:chgData name="Adwait Aralkar" userId="ae1719c1-ed02-42aa-a1d9-0d6e6247f692" providerId="ADAL" clId="{E83756EB-1544-42DC-BA2C-281AA4ABBF80}" dt="2025-02-05T11:13:49.029" v="2053" actId="1076"/>
          <ac:picMkLst>
            <pc:docMk/>
            <pc:sldMk cId="3411714768" sldId="2147483204"/>
            <ac:picMk id="57" creationId="{59320C79-98AE-0DDE-C70F-EF70ADD7D8E6}"/>
          </ac:picMkLst>
        </pc:picChg>
        <pc:picChg chg="mod">
          <ac:chgData name="Adwait Aralkar" userId="ae1719c1-ed02-42aa-a1d9-0d6e6247f692" providerId="ADAL" clId="{E83756EB-1544-42DC-BA2C-281AA4ABBF80}" dt="2025-02-05T11:13:35.011" v="2052" actId="2711"/>
          <ac:picMkLst>
            <pc:docMk/>
            <pc:sldMk cId="3411714768" sldId="2147483204"/>
            <ac:picMk id="70" creationId="{DA5B086A-8185-FB49-A985-B86A13EBC167}"/>
          </ac:picMkLst>
        </pc:picChg>
        <pc:picChg chg="mod">
          <ac:chgData name="Adwait Aralkar" userId="ae1719c1-ed02-42aa-a1d9-0d6e6247f692" providerId="ADAL" clId="{E83756EB-1544-42DC-BA2C-281AA4ABBF80}" dt="2025-02-05T11:13:49.029" v="2053" actId="1076"/>
          <ac:picMkLst>
            <pc:docMk/>
            <pc:sldMk cId="3411714768" sldId="2147483204"/>
            <ac:picMk id="131" creationId="{F833915E-49E2-504E-7A50-3826B2AF2B63}"/>
          </ac:picMkLst>
        </pc:picChg>
        <pc:picChg chg="mod">
          <ac:chgData name="Adwait Aralkar" userId="ae1719c1-ed02-42aa-a1d9-0d6e6247f692" providerId="ADAL" clId="{E83756EB-1544-42DC-BA2C-281AA4ABBF80}" dt="2025-02-05T11:13:49.029" v="2053" actId="1076"/>
          <ac:picMkLst>
            <pc:docMk/>
            <pc:sldMk cId="3411714768" sldId="2147483204"/>
            <ac:picMk id="177" creationId="{AC28631E-59A1-FC52-4941-483B60136457}"/>
          </ac:picMkLst>
        </pc:picChg>
        <pc:picChg chg="mod">
          <ac:chgData name="Adwait Aralkar" userId="ae1719c1-ed02-42aa-a1d9-0d6e6247f692" providerId="ADAL" clId="{E83756EB-1544-42DC-BA2C-281AA4ABBF80}" dt="2025-02-05T11:13:49.029" v="2053" actId="1076"/>
          <ac:picMkLst>
            <pc:docMk/>
            <pc:sldMk cId="3411714768" sldId="2147483204"/>
            <ac:picMk id="181" creationId="{9476C4DC-2B77-554C-A98A-151247925658}"/>
          </ac:picMkLst>
        </pc:picChg>
        <pc:picChg chg="mod">
          <ac:chgData name="Adwait Aralkar" userId="ae1719c1-ed02-42aa-a1d9-0d6e6247f692" providerId="ADAL" clId="{E83756EB-1544-42DC-BA2C-281AA4ABBF80}" dt="2025-02-05T11:13:49.029" v="2053" actId="1076"/>
          <ac:picMkLst>
            <pc:docMk/>
            <pc:sldMk cId="3411714768" sldId="2147483204"/>
            <ac:picMk id="186" creationId="{64D61650-FA0C-E3BD-DA7A-AC1C67A264EF}"/>
          </ac:picMkLst>
        </pc:picChg>
        <pc:picChg chg="mod">
          <ac:chgData name="Adwait Aralkar" userId="ae1719c1-ed02-42aa-a1d9-0d6e6247f692" providerId="ADAL" clId="{E83756EB-1544-42DC-BA2C-281AA4ABBF80}" dt="2025-02-05T11:13:49.029" v="2053" actId="1076"/>
          <ac:picMkLst>
            <pc:docMk/>
            <pc:sldMk cId="3411714768" sldId="2147483204"/>
            <ac:picMk id="192" creationId="{50ECF112-DB41-E44C-59A9-F9A4A3973B48}"/>
          </ac:picMkLst>
        </pc:picChg>
        <pc:picChg chg="mod">
          <ac:chgData name="Adwait Aralkar" userId="ae1719c1-ed02-42aa-a1d9-0d6e6247f692" providerId="ADAL" clId="{E83756EB-1544-42DC-BA2C-281AA4ABBF80}" dt="2025-02-05T11:13:49.029" v="2053" actId="1076"/>
          <ac:picMkLst>
            <pc:docMk/>
            <pc:sldMk cId="3411714768" sldId="2147483204"/>
            <ac:picMk id="194" creationId="{4410BA55-AD48-A146-66D7-0640A9EFDE54}"/>
          </ac:picMkLst>
        </pc:picChg>
        <pc:picChg chg="mod">
          <ac:chgData name="Adwait Aralkar" userId="ae1719c1-ed02-42aa-a1d9-0d6e6247f692" providerId="ADAL" clId="{E83756EB-1544-42DC-BA2C-281AA4ABBF80}" dt="2025-02-05T11:13:49.029" v="2053" actId="1076"/>
          <ac:picMkLst>
            <pc:docMk/>
            <pc:sldMk cId="3411714768" sldId="2147483204"/>
            <ac:picMk id="197" creationId="{85BA8FEF-1C8E-A92A-858E-FC7A1A507CDB}"/>
          </ac:picMkLst>
        </pc:picChg>
        <pc:picChg chg="mod">
          <ac:chgData name="Adwait Aralkar" userId="ae1719c1-ed02-42aa-a1d9-0d6e6247f692" providerId="ADAL" clId="{E83756EB-1544-42DC-BA2C-281AA4ABBF80}" dt="2025-02-05T11:13:49.029" v="2053" actId="1076"/>
          <ac:picMkLst>
            <pc:docMk/>
            <pc:sldMk cId="3411714768" sldId="2147483204"/>
            <ac:picMk id="200" creationId="{1970F0BE-9901-8184-F354-F57ECFA02FBF}"/>
          </ac:picMkLst>
        </pc:picChg>
        <pc:picChg chg="mod">
          <ac:chgData name="Adwait Aralkar" userId="ae1719c1-ed02-42aa-a1d9-0d6e6247f692" providerId="ADAL" clId="{E83756EB-1544-42DC-BA2C-281AA4ABBF80}" dt="2025-02-05T11:13:49.029" v="2053" actId="1076"/>
          <ac:picMkLst>
            <pc:docMk/>
            <pc:sldMk cId="3411714768" sldId="2147483204"/>
            <ac:picMk id="203" creationId="{99B96F01-A018-8FA0-70AB-0E7016439C8F}"/>
          </ac:picMkLst>
        </pc:picChg>
        <pc:picChg chg="mod">
          <ac:chgData name="Adwait Aralkar" userId="ae1719c1-ed02-42aa-a1d9-0d6e6247f692" providerId="ADAL" clId="{E83756EB-1544-42DC-BA2C-281AA4ABBF80}" dt="2025-02-05T11:13:49.029" v="2053" actId="1076"/>
          <ac:picMkLst>
            <pc:docMk/>
            <pc:sldMk cId="3411714768" sldId="2147483204"/>
            <ac:picMk id="205" creationId="{3EAEE6D5-8562-4F92-02DB-AFF703FCA5C5}"/>
          </ac:picMkLst>
        </pc:picChg>
        <pc:picChg chg="mod">
          <ac:chgData name="Adwait Aralkar" userId="ae1719c1-ed02-42aa-a1d9-0d6e6247f692" providerId="ADAL" clId="{E83756EB-1544-42DC-BA2C-281AA4ABBF80}" dt="2025-02-05T11:13:49.029" v="2053" actId="1076"/>
          <ac:picMkLst>
            <pc:docMk/>
            <pc:sldMk cId="3411714768" sldId="2147483204"/>
            <ac:picMk id="211" creationId="{E4E01898-DDD3-CC60-12A8-A64A6974E28F}"/>
          </ac:picMkLst>
        </pc:picChg>
      </pc:sldChg>
      <pc:sldChg chg="modSp del mod">
        <pc:chgData name="Adwait Aralkar" userId="ae1719c1-ed02-42aa-a1d9-0d6e6247f692" providerId="ADAL" clId="{E83756EB-1544-42DC-BA2C-281AA4ABBF80}" dt="2025-02-05T11:12:29.306" v="2043" actId="47"/>
        <pc:sldMkLst>
          <pc:docMk/>
          <pc:sldMk cId="3130312742" sldId="2147483370"/>
        </pc:sldMkLst>
        <pc:spChg chg="mod">
          <ac:chgData name="Adwait Aralkar" userId="ae1719c1-ed02-42aa-a1d9-0d6e6247f692" providerId="ADAL" clId="{E83756EB-1544-42DC-BA2C-281AA4ABBF80}" dt="2025-02-05T11:09:13.552" v="1962" actId="2711"/>
          <ac:spMkLst>
            <pc:docMk/>
            <pc:sldMk cId="3130312742" sldId="2147483370"/>
            <ac:spMk id="3" creationId="{C15964DB-2AD1-0DDC-6FA0-70F4A258FA37}"/>
          </ac:spMkLst>
        </pc:spChg>
        <pc:spChg chg="mod">
          <ac:chgData name="Adwait Aralkar" userId="ae1719c1-ed02-42aa-a1d9-0d6e6247f692" providerId="ADAL" clId="{E83756EB-1544-42DC-BA2C-281AA4ABBF80}" dt="2025-02-05T11:09:13.552" v="1962" actId="2711"/>
          <ac:spMkLst>
            <pc:docMk/>
            <pc:sldMk cId="3130312742" sldId="2147483370"/>
            <ac:spMk id="4" creationId="{F0C11AC4-EEA2-8F2D-528A-A21FF6282000}"/>
          </ac:spMkLst>
        </pc:spChg>
        <pc:spChg chg="mod">
          <ac:chgData name="Adwait Aralkar" userId="ae1719c1-ed02-42aa-a1d9-0d6e6247f692" providerId="ADAL" clId="{E83756EB-1544-42DC-BA2C-281AA4ABBF80}" dt="2025-02-05T11:09:13.552" v="1962" actId="2711"/>
          <ac:spMkLst>
            <pc:docMk/>
            <pc:sldMk cId="3130312742" sldId="2147483370"/>
            <ac:spMk id="5" creationId="{9AE1562D-507D-9385-557F-949F1EA285B8}"/>
          </ac:spMkLst>
        </pc:spChg>
        <pc:spChg chg="mod">
          <ac:chgData name="Adwait Aralkar" userId="ae1719c1-ed02-42aa-a1d9-0d6e6247f692" providerId="ADAL" clId="{E83756EB-1544-42DC-BA2C-281AA4ABBF80}" dt="2025-02-05T11:09:13.552" v="1962" actId="2711"/>
          <ac:spMkLst>
            <pc:docMk/>
            <pc:sldMk cId="3130312742" sldId="2147483370"/>
            <ac:spMk id="7" creationId="{012521B3-B2E6-3F11-0C63-F185DE6FD23A}"/>
          </ac:spMkLst>
        </pc:spChg>
        <pc:spChg chg="mod">
          <ac:chgData name="Adwait Aralkar" userId="ae1719c1-ed02-42aa-a1d9-0d6e6247f692" providerId="ADAL" clId="{E83756EB-1544-42DC-BA2C-281AA4ABBF80}" dt="2025-02-05T11:09:13.552" v="1962" actId="2711"/>
          <ac:spMkLst>
            <pc:docMk/>
            <pc:sldMk cId="3130312742" sldId="2147483370"/>
            <ac:spMk id="13" creationId="{87834172-0271-56FD-DFA2-A0E07B9B531D}"/>
          </ac:spMkLst>
        </pc:spChg>
        <pc:spChg chg="mod">
          <ac:chgData name="Adwait Aralkar" userId="ae1719c1-ed02-42aa-a1d9-0d6e6247f692" providerId="ADAL" clId="{E83756EB-1544-42DC-BA2C-281AA4ABBF80}" dt="2025-02-05T11:10:23.289" v="1967" actId="207"/>
          <ac:spMkLst>
            <pc:docMk/>
            <pc:sldMk cId="3130312742" sldId="2147483370"/>
            <ac:spMk id="15" creationId="{58AB688A-C1C6-A7CA-DC2A-25C0EEE72A98}"/>
          </ac:spMkLst>
        </pc:spChg>
        <pc:spChg chg="mod">
          <ac:chgData name="Adwait Aralkar" userId="ae1719c1-ed02-42aa-a1d9-0d6e6247f692" providerId="ADAL" clId="{E83756EB-1544-42DC-BA2C-281AA4ABBF80}" dt="2025-02-05T11:10:18.293" v="1966" actId="207"/>
          <ac:spMkLst>
            <pc:docMk/>
            <pc:sldMk cId="3130312742" sldId="2147483370"/>
            <ac:spMk id="17" creationId="{8274719B-8256-797D-C612-91C822D10148}"/>
          </ac:spMkLst>
        </pc:spChg>
        <pc:spChg chg="mod">
          <ac:chgData name="Adwait Aralkar" userId="ae1719c1-ed02-42aa-a1d9-0d6e6247f692" providerId="ADAL" clId="{E83756EB-1544-42DC-BA2C-281AA4ABBF80}" dt="2025-02-05T11:09:13.552" v="1962" actId="2711"/>
          <ac:spMkLst>
            <pc:docMk/>
            <pc:sldMk cId="3130312742" sldId="2147483370"/>
            <ac:spMk id="19" creationId="{50D381B9-BDEE-7CDE-D10D-928218CB5C7E}"/>
          </ac:spMkLst>
        </pc:spChg>
        <pc:spChg chg="mod">
          <ac:chgData name="Adwait Aralkar" userId="ae1719c1-ed02-42aa-a1d9-0d6e6247f692" providerId="ADAL" clId="{E83756EB-1544-42DC-BA2C-281AA4ABBF80}" dt="2025-02-05T11:09:13.552" v="1962" actId="2711"/>
          <ac:spMkLst>
            <pc:docMk/>
            <pc:sldMk cId="3130312742" sldId="2147483370"/>
            <ac:spMk id="22" creationId="{2F30F0D9-6752-FAEE-C81B-90C85D508751}"/>
          </ac:spMkLst>
        </pc:spChg>
        <pc:spChg chg="mod">
          <ac:chgData name="Adwait Aralkar" userId="ae1719c1-ed02-42aa-a1d9-0d6e6247f692" providerId="ADAL" clId="{E83756EB-1544-42DC-BA2C-281AA4ABBF80}" dt="2025-02-05T11:09:13.552" v="1962" actId="2711"/>
          <ac:spMkLst>
            <pc:docMk/>
            <pc:sldMk cId="3130312742" sldId="2147483370"/>
            <ac:spMk id="23" creationId="{FC31FF94-75C4-2B3A-7687-867459031C76}"/>
          </ac:spMkLst>
        </pc:spChg>
        <pc:spChg chg="mod">
          <ac:chgData name="Adwait Aralkar" userId="ae1719c1-ed02-42aa-a1d9-0d6e6247f692" providerId="ADAL" clId="{E83756EB-1544-42DC-BA2C-281AA4ABBF80}" dt="2025-02-05T11:09:13.552" v="1962" actId="2711"/>
          <ac:spMkLst>
            <pc:docMk/>
            <pc:sldMk cId="3130312742" sldId="2147483370"/>
            <ac:spMk id="24" creationId="{D34C0839-5F8E-6341-7422-E1F94AD8C8FF}"/>
          </ac:spMkLst>
        </pc:spChg>
        <pc:spChg chg="mod">
          <ac:chgData name="Adwait Aralkar" userId="ae1719c1-ed02-42aa-a1d9-0d6e6247f692" providerId="ADAL" clId="{E83756EB-1544-42DC-BA2C-281AA4ABBF80}" dt="2025-02-05T11:09:35.352" v="1965" actId="1076"/>
          <ac:spMkLst>
            <pc:docMk/>
            <pc:sldMk cId="3130312742" sldId="2147483370"/>
            <ac:spMk id="26" creationId="{20CE72F3-30A3-33AB-F786-0A52A4AD7809}"/>
          </ac:spMkLst>
        </pc:spChg>
        <pc:spChg chg="mod">
          <ac:chgData name="Adwait Aralkar" userId="ae1719c1-ed02-42aa-a1d9-0d6e6247f692" providerId="ADAL" clId="{E83756EB-1544-42DC-BA2C-281AA4ABBF80}" dt="2025-02-05T11:09:13.552" v="1962" actId="2711"/>
          <ac:spMkLst>
            <pc:docMk/>
            <pc:sldMk cId="3130312742" sldId="2147483370"/>
            <ac:spMk id="29" creationId="{F4F4385F-84DE-1247-BEC5-630921D0A740}"/>
          </ac:spMkLst>
        </pc:spChg>
        <pc:spChg chg="mod">
          <ac:chgData name="Adwait Aralkar" userId="ae1719c1-ed02-42aa-a1d9-0d6e6247f692" providerId="ADAL" clId="{E83756EB-1544-42DC-BA2C-281AA4ABBF80}" dt="2025-02-05T11:09:13.552" v="1962" actId="2711"/>
          <ac:spMkLst>
            <pc:docMk/>
            <pc:sldMk cId="3130312742" sldId="2147483370"/>
            <ac:spMk id="30" creationId="{5C53B244-99B9-408A-1524-313FE9FEB567}"/>
          </ac:spMkLst>
        </pc:spChg>
        <pc:spChg chg="mod">
          <ac:chgData name="Adwait Aralkar" userId="ae1719c1-ed02-42aa-a1d9-0d6e6247f692" providerId="ADAL" clId="{E83756EB-1544-42DC-BA2C-281AA4ABBF80}" dt="2025-02-05T11:09:13.552" v="1962" actId="2711"/>
          <ac:spMkLst>
            <pc:docMk/>
            <pc:sldMk cId="3130312742" sldId="2147483370"/>
            <ac:spMk id="33" creationId="{05CBA03B-44A0-BFBF-2464-29D30345458B}"/>
          </ac:spMkLst>
        </pc:spChg>
        <pc:spChg chg="mod">
          <ac:chgData name="Adwait Aralkar" userId="ae1719c1-ed02-42aa-a1d9-0d6e6247f692" providerId="ADAL" clId="{E83756EB-1544-42DC-BA2C-281AA4ABBF80}" dt="2025-02-05T11:09:13.552" v="1962" actId="2711"/>
          <ac:spMkLst>
            <pc:docMk/>
            <pc:sldMk cId="3130312742" sldId="2147483370"/>
            <ac:spMk id="36" creationId="{9BD8E109-C0D0-F04E-425B-BBD1B6A04240}"/>
          </ac:spMkLst>
        </pc:spChg>
        <pc:spChg chg="mod">
          <ac:chgData name="Adwait Aralkar" userId="ae1719c1-ed02-42aa-a1d9-0d6e6247f692" providerId="ADAL" clId="{E83756EB-1544-42DC-BA2C-281AA4ABBF80}" dt="2025-02-05T11:10:23.289" v="1967" actId="207"/>
          <ac:spMkLst>
            <pc:docMk/>
            <pc:sldMk cId="3130312742" sldId="2147483370"/>
            <ac:spMk id="37" creationId="{1386A3B2-B14C-FDD9-79D3-3B3C3932D85C}"/>
          </ac:spMkLst>
        </pc:spChg>
        <pc:spChg chg="mod">
          <ac:chgData name="Adwait Aralkar" userId="ae1719c1-ed02-42aa-a1d9-0d6e6247f692" providerId="ADAL" clId="{E83756EB-1544-42DC-BA2C-281AA4ABBF80}" dt="2025-02-05T11:10:18.293" v="1966" actId="207"/>
          <ac:spMkLst>
            <pc:docMk/>
            <pc:sldMk cId="3130312742" sldId="2147483370"/>
            <ac:spMk id="38" creationId="{DB95CE89-6888-37F1-4A53-4417BD104FDA}"/>
          </ac:spMkLst>
        </pc:spChg>
        <pc:spChg chg="mod">
          <ac:chgData name="Adwait Aralkar" userId="ae1719c1-ed02-42aa-a1d9-0d6e6247f692" providerId="ADAL" clId="{E83756EB-1544-42DC-BA2C-281AA4ABBF80}" dt="2025-02-05T11:09:35.352" v="1965" actId="1076"/>
          <ac:spMkLst>
            <pc:docMk/>
            <pc:sldMk cId="3130312742" sldId="2147483370"/>
            <ac:spMk id="39" creationId="{B124EF36-AEAF-514A-277B-6BC4D180D949}"/>
          </ac:spMkLst>
        </pc:spChg>
        <pc:spChg chg="mod">
          <ac:chgData name="Adwait Aralkar" userId="ae1719c1-ed02-42aa-a1d9-0d6e6247f692" providerId="ADAL" clId="{E83756EB-1544-42DC-BA2C-281AA4ABBF80}" dt="2025-02-05T11:09:13.552" v="1962" actId="2711"/>
          <ac:spMkLst>
            <pc:docMk/>
            <pc:sldMk cId="3130312742" sldId="2147483370"/>
            <ac:spMk id="41" creationId="{A772A7E6-DB4E-702F-F9C2-713AE14C0AB4}"/>
          </ac:spMkLst>
        </pc:spChg>
        <pc:spChg chg="mod">
          <ac:chgData name="Adwait Aralkar" userId="ae1719c1-ed02-42aa-a1d9-0d6e6247f692" providerId="ADAL" clId="{E83756EB-1544-42DC-BA2C-281AA4ABBF80}" dt="2025-02-05T11:09:13.552" v="1962" actId="2711"/>
          <ac:spMkLst>
            <pc:docMk/>
            <pc:sldMk cId="3130312742" sldId="2147483370"/>
            <ac:spMk id="44" creationId="{54A67D93-012D-65B8-3B97-0CEE42E4DF11}"/>
          </ac:spMkLst>
        </pc:spChg>
        <pc:spChg chg="mod">
          <ac:chgData name="Adwait Aralkar" userId="ae1719c1-ed02-42aa-a1d9-0d6e6247f692" providerId="ADAL" clId="{E83756EB-1544-42DC-BA2C-281AA4ABBF80}" dt="2025-02-05T11:09:13.552" v="1962" actId="2711"/>
          <ac:spMkLst>
            <pc:docMk/>
            <pc:sldMk cId="3130312742" sldId="2147483370"/>
            <ac:spMk id="45" creationId="{3ABB56CC-82E4-58DD-0E15-E4187B82304A}"/>
          </ac:spMkLst>
        </pc:spChg>
        <pc:spChg chg="mod">
          <ac:chgData name="Adwait Aralkar" userId="ae1719c1-ed02-42aa-a1d9-0d6e6247f692" providerId="ADAL" clId="{E83756EB-1544-42DC-BA2C-281AA4ABBF80}" dt="2025-02-05T11:09:13.552" v="1962" actId="2711"/>
          <ac:spMkLst>
            <pc:docMk/>
            <pc:sldMk cId="3130312742" sldId="2147483370"/>
            <ac:spMk id="46" creationId="{4C2BF054-A4BF-8FE1-A0BF-7AE46DCA7530}"/>
          </ac:spMkLst>
        </pc:spChg>
        <pc:spChg chg="mod">
          <ac:chgData name="Adwait Aralkar" userId="ae1719c1-ed02-42aa-a1d9-0d6e6247f692" providerId="ADAL" clId="{E83756EB-1544-42DC-BA2C-281AA4ABBF80}" dt="2025-02-05T11:09:13.552" v="1962" actId="2711"/>
          <ac:spMkLst>
            <pc:docMk/>
            <pc:sldMk cId="3130312742" sldId="2147483370"/>
            <ac:spMk id="49" creationId="{E1150AE8-BF11-7BF9-94E1-286E7678EAD3}"/>
          </ac:spMkLst>
        </pc:spChg>
        <pc:spChg chg="mod">
          <ac:chgData name="Adwait Aralkar" userId="ae1719c1-ed02-42aa-a1d9-0d6e6247f692" providerId="ADAL" clId="{E83756EB-1544-42DC-BA2C-281AA4ABBF80}" dt="2025-02-05T11:09:13.552" v="1962" actId="2711"/>
          <ac:spMkLst>
            <pc:docMk/>
            <pc:sldMk cId="3130312742" sldId="2147483370"/>
            <ac:spMk id="50" creationId="{BEB12E90-098F-4146-1039-21A8B1283C30}"/>
          </ac:spMkLst>
        </pc:spChg>
        <pc:spChg chg="mod">
          <ac:chgData name="Adwait Aralkar" userId="ae1719c1-ed02-42aa-a1d9-0d6e6247f692" providerId="ADAL" clId="{E83756EB-1544-42DC-BA2C-281AA4ABBF80}" dt="2025-02-05T11:09:13.552" v="1962" actId="2711"/>
          <ac:spMkLst>
            <pc:docMk/>
            <pc:sldMk cId="3130312742" sldId="2147483370"/>
            <ac:spMk id="51" creationId="{0F3EF1F5-2FA2-DCFB-1DEB-247BE0606BC5}"/>
          </ac:spMkLst>
        </pc:spChg>
        <pc:spChg chg="mod">
          <ac:chgData name="Adwait Aralkar" userId="ae1719c1-ed02-42aa-a1d9-0d6e6247f692" providerId="ADAL" clId="{E83756EB-1544-42DC-BA2C-281AA4ABBF80}" dt="2025-02-05T11:09:13.552" v="1962" actId="2711"/>
          <ac:spMkLst>
            <pc:docMk/>
            <pc:sldMk cId="3130312742" sldId="2147483370"/>
            <ac:spMk id="54" creationId="{E6FE9836-1D59-D116-213C-D9E83F13A078}"/>
          </ac:spMkLst>
        </pc:spChg>
        <pc:spChg chg="mod">
          <ac:chgData name="Adwait Aralkar" userId="ae1719c1-ed02-42aa-a1d9-0d6e6247f692" providerId="ADAL" clId="{E83756EB-1544-42DC-BA2C-281AA4ABBF80}" dt="2025-02-05T11:10:18.293" v="1966" actId="207"/>
          <ac:spMkLst>
            <pc:docMk/>
            <pc:sldMk cId="3130312742" sldId="2147483370"/>
            <ac:spMk id="55" creationId="{97BCF96B-B6D5-1171-B85F-F9E10CBE784D}"/>
          </ac:spMkLst>
        </pc:spChg>
        <pc:spChg chg="mod">
          <ac:chgData name="Adwait Aralkar" userId="ae1719c1-ed02-42aa-a1d9-0d6e6247f692" providerId="ADAL" clId="{E83756EB-1544-42DC-BA2C-281AA4ABBF80}" dt="2025-02-05T11:09:35.352" v="1965" actId="1076"/>
          <ac:spMkLst>
            <pc:docMk/>
            <pc:sldMk cId="3130312742" sldId="2147483370"/>
            <ac:spMk id="56" creationId="{E16BC8F4-8BBE-E692-CFD8-A071F5D69AFD}"/>
          </ac:spMkLst>
        </pc:spChg>
        <pc:spChg chg="mod">
          <ac:chgData name="Adwait Aralkar" userId="ae1719c1-ed02-42aa-a1d9-0d6e6247f692" providerId="ADAL" clId="{E83756EB-1544-42DC-BA2C-281AA4ABBF80}" dt="2025-02-05T11:09:13.552" v="1962" actId="2711"/>
          <ac:spMkLst>
            <pc:docMk/>
            <pc:sldMk cId="3130312742" sldId="2147483370"/>
            <ac:spMk id="58" creationId="{5569809F-5564-52BF-035A-3C56040C2BC4}"/>
          </ac:spMkLst>
        </pc:spChg>
        <pc:spChg chg="mod">
          <ac:chgData name="Adwait Aralkar" userId="ae1719c1-ed02-42aa-a1d9-0d6e6247f692" providerId="ADAL" clId="{E83756EB-1544-42DC-BA2C-281AA4ABBF80}" dt="2025-02-05T11:09:13.552" v="1962" actId="2711"/>
          <ac:spMkLst>
            <pc:docMk/>
            <pc:sldMk cId="3130312742" sldId="2147483370"/>
            <ac:spMk id="61" creationId="{1D29DA79-E0EB-8CBF-4348-C7404384F333}"/>
          </ac:spMkLst>
        </pc:spChg>
        <pc:spChg chg="mod">
          <ac:chgData name="Adwait Aralkar" userId="ae1719c1-ed02-42aa-a1d9-0d6e6247f692" providerId="ADAL" clId="{E83756EB-1544-42DC-BA2C-281AA4ABBF80}" dt="2025-02-05T11:09:13.552" v="1962" actId="2711"/>
          <ac:spMkLst>
            <pc:docMk/>
            <pc:sldMk cId="3130312742" sldId="2147483370"/>
            <ac:spMk id="62" creationId="{A6D37ED3-1BB4-8136-8354-C79086588C3F}"/>
          </ac:spMkLst>
        </pc:spChg>
        <pc:spChg chg="mod">
          <ac:chgData name="Adwait Aralkar" userId="ae1719c1-ed02-42aa-a1d9-0d6e6247f692" providerId="ADAL" clId="{E83756EB-1544-42DC-BA2C-281AA4ABBF80}" dt="2025-02-05T11:09:13.552" v="1962" actId="2711"/>
          <ac:spMkLst>
            <pc:docMk/>
            <pc:sldMk cId="3130312742" sldId="2147483370"/>
            <ac:spMk id="63" creationId="{EE0B6C23-21D7-EC8F-6FBC-E5744CC719A1}"/>
          </ac:spMkLst>
        </pc:spChg>
        <pc:spChg chg="mod">
          <ac:chgData name="Adwait Aralkar" userId="ae1719c1-ed02-42aa-a1d9-0d6e6247f692" providerId="ADAL" clId="{E83756EB-1544-42DC-BA2C-281AA4ABBF80}" dt="2025-02-05T11:09:13.552" v="1962" actId="2711"/>
          <ac:spMkLst>
            <pc:docMk/>
            <pc:sldMk cId="3130312742" sldId="2147483370"/>
            <ac:spMk id="258" creationId="{A95D559E-6917-C739-F0D7-5629C52415CD}"/>
          </ac:spMkLst>
        </pc:spChg>
        <pc:spChg chg="mod">
          <ac:chgData name="Adwait Aralkar" userId="ae1719c1-ed02-42aa-a1d9-0d6e6247f692" providerId="ADAL" clId="{E83756EB-1544-42DC-BA2C-281AA4ABBF80}" dt="2025-02-05T11:10:23.289" v="1967" actId="207"/>
          <ac:spMkLst>
            <pc:docMk/>
            <pc:sldMk cId="3130312742" sldId="2147483370"/>
            <ac:spMk id="259" creationId="{95C87DD0-35F4-F439-9D0C-74C237439E77}"/>
          </ac:spMkLst>
        </pc:spChg>
        <pc:spChg chg="mod">
          <ac:chgData name="Adwait Aralkar" userId="ae1719c1-ed02-42aa-a1d9-0d6e6247f692" providerId="ADAL" clId="{E83756EB-1544-42DC-BA2C-281AA4ABBF80}" dt="2025-02-05T11:09:13.552" v="1962" actId="2711"/>
          <ac:spMkLst>
            <pc:docMk/>
            <pc:sldMk cId="3130312742" sldId="2147483370"/>
            <ac:spMk id="286" creationId="{CC9EEDC8-C348-B85D-6DAB-80A4025C43B2}"/>
          </ac:spMkLst>
        </pc:spChg>
        <pc:grpChg chg="mod">
          <ac:chgData name="Adwait Aralkar" userId="ae1719c1-ed02-42aa-a1d9-0d6e6247f692" providerId="ADAL" clId="{E83756EB-1544-42DC-BA2C-281AA4ABBF80}" dt="2025-02-05T11:09:35.352" v="1965" actId="1076"/>
          <ac:grpSpMkLst>
            <pc:docMk/>
            <pc:sldMk cId="3130312742" sldId="2147483370"/>
            <ac:grpSpMk id="2" creationId="{810321A1-EEE7-CC6C-592A-38F0EC8904AB}"/>
          </ac:grpSpMkLst>
        </pc:grpChg>
        <pc:grpChg chg="mod">
          <ac:chgData name="Adwait Aralkar" userId="ae1719c1-ed02-42aa-a1d9-0d6e6247f692" providerId="ADAL" clId="{E83756EB-1544-42DC-BA2C-281AA4ABBF80}" dt="2025-02-05T11:09:35.352" v="1965" actId="1076"/>
          <ac:grpSpMkLst>
            <pc:docMk/>
            <pc:sldMk cId="3130312742" sldId="2147483370"/>
            <ac:grpSpMk id="18" creationId="{D560926D-05DC-34E9-44D2-1D029B5976E2}"/>
          </ac:grpSpMkLst>
        </pc:grpChg>
        <pc:grpChg chg="mod">
          <ac:chgData name="Adwait Aralkar" userId="ae1719c1-ed02-42aa-a1d9-0d6e6247f692" providerId="ADAL" clId="{E83756EB-1544-42DC-BA2C-281AA4ABBF80}" dt="2025-02-05T11:09:35.352" v="1965" actId="1076"/>
          <ac:grpSpMkLst>
            <pc:docMk/>
            <pc:sldMk cId="3130312742" sldId="2147483370"/>
            <ac:grpSpMk id="28" creationId="{F97F55A4-821D-EDE6-6833-70AC5E4EF403}"/>
          </ac:grpSpMkLst>
        </pc:grpChg>
        <pc:grpChg chg="mod">
          <ac:chgData name="Adwait Aralkar" userId="ae1719c1-ed02-42aa-a1d9-0d6e6247f692" providerId="ADAL" clId="{E83756EB-1544-42DC-BA2C-281AA4ABBF80}" dt="2025-02-05T11:09:35.352" v="1965" actId="1076"/>
          <ac:grpSpMkLst>
            <pc:docMk/>
            <pc:sldMk cId="3130312742" sldId="2147483370"/>
            <ac:grpSpMk id="40" creationId="{11553CA1-8A84-72CC-658E-7FBA25E788BF}"/>
          </ac:grpSpMkLst>
        </pc:grpChg>
        <pc:grpChg chg="mod">
          <ac:chgData name="Adwait Aralkar" userId="ae1719c1-ed02-42aa-a1d9-0d6e6247f692" providerId="ADAL" clId="{E83756EB-1544-42DC-BA2C-281AA4ABBF80}" dt="2025-02-05T11:09:35.352" v="1965" actId="1076"/>
          <ac:grpSpMkLst>
            <pc:docMk/>
            <pc:sldMk cId="3130312742" sldId="2147483370"/>
            <ac:grpSpMk id="48" creationId="{26780A35-7B89-2811-D7E8-B64E32AD3BE0}"/>
          </ac:grpSpMkLst>
        </pc:grpChg>
        <pc:grpChg chg="mod">
          <ac:chgData name="Adwait Aralkar" userId="ae1719c1-ed02-42aa-a1d9-0d6e6247f692" providerId="ADAL" clId="{E83756EB-1544-42DC-BA2C-281AA4ABBF80}" dt="2025-02-05T11:09:35.352" v="1965" actId="1076"/>
          <ac:grpSpMkLst>
            <pc:docMk/>
            <pc:sldMk cId="3130312742" sldId="2147483370"/>
            <ac:grpSpMk id="57" creationId="{5C08A35A-E729-73A1-CED6-533EA675E2A7}"/>
          </ac:grpSpMkLst>
        </pc:grpChg>
        <pc:picChg chg="mod">
          <ac:chgData name="Adwait Aralkar" userId="ae1719c1-ed02-42aa-a1d9-0d6e6247f692" providerId="ADAL" clId="{E83756EB-1544-42DC-BA2C-281AA4ABBF80}" dt="2025-02-05T11:09:35.352" v="1965" actId="1076"/>
          <ac:picMkLst>
            <pc:docMk/>
            <pc:sldMk cId="3130312742" sldId="2147483370"/>
            <ac:picMk id="27" creationId="{222556C4-6C52-B009-B7A3-C31335720B21}"/>
          </ac:picMkLst>
        </pc:picChg>
        <pc:picChg chg="mod">
          <ac:chgData name="Adwait Aralkar" userId="ae1719c1-ed02-42aa-a1d9-0d6e6247f692" providerId="ADAL" clId="{E83756EB-1544-42DC-BA2C-281AA4ABBF80}" dt="2025-02-05T11:09:35.352" v="1965" actId="1076"/>
          <ac:picMkLst>
            <pc:docMk/>
            <pc:sldMk cId="3130312742" sldId="2147483370"/>
            <ac:picMk id="47" creationId="{D790498E-F078-1E4E-27FA-45EA694E0702}"/>
          </ac:picMkLst>
        </pc:picChg>
        <pc:picChg chg="mod">
          <ac:chgData name="Adwait Aralkar" userId="ae1719c1-ed02-42aa-a1d9-0d6e6247f692" providerId="ADAL" clId="{E83756EB-1544-42DC-BA2C-281AA4ABBF80}" dt="2025-02-05T11:09:35.352" v="1965" actId="1076"/>
          <ac:picMkLst>
            <pc:docMk/>
            <pc:sldMk cId="3130312742" sldId="2147483370"/>
            <ac:picMk id="256" creationId="{34F5BBB9-D716-737E-7E20-FC8E5C6759C9}"/>
          </ac:picMkLst>
        </pc:picChg>
      </pc:sldChg>
      <pc:sldMasterChg chg="delSldLayout">
        <pc:chgData name="Adwait Aralkar" userId="ae1719c1-ed02-42aa-a1d9-0d6e6247f692" providerId="ADAL" clId="{E83756EB-1544-42DC-BA2C-281AA4ABBF80}" dt="2025-02-05T11:12:29.306" v="2043" actId="47"/>
        <pc:sldMasterMkLst>
          <pc:docMk/>
          <pc:sldMasterMk cId="1488275023" sldId="2147484176"/>
        </pc:sldMasterMkLst>
        <pc:sldLayoutChg chg="del">
          <pc:chgData name="Adwait Aralkar" userId="ae1719c1-ed02-42aa-a1d9-0d6e6247f692" providerId="ADAL" clId="{E83756EB-1544-42DC-BA2C-281AA4ABBF80}" dt="2025-02-05T11:12:29.306" v="2043" actId="47"/>
          <pc:sldLayoutMkLst>
            <pc:docMk/>
            <pc:sldMasterMk cId="1488275023" sldId="2147484176"/>
            <pc:sldLayoutMk cId="2283439742" sldId="2147484152"/>
          </pc:sldLayoutMkLst>
        </pc:sldLayoutChg>
      </pc:sldMasterChg>
    </pc:docChg>
  </pc:docChgLst>
  <pc:docChgLst>
    <pc:chgData name="Siddhi Paliwal" userId="3ef3921d-16b8-4854-8920-f0b2bd004b9f" providerId="ADAL" clId="{6E0FE3E2-44D9-074D-A48B-E6AD77B83E40}"/>
    <pc:docChg chg="undo redo custSel addSld delSld modSld">
      <pc:chgData name="Siddhi Paliwal" userId="3ef3921d-16b8-4854-8920-f0b2bd004b9f" providerId="ADAL" clId="{6E0FE3E2-44D9-074D-A48B-E6AD77B83E40}" dt="2025-02-06T09:35:15.043" v="417" actId="14100"/>
      <pc:docMkLst>
        <pc:docMk/>
      </pc:docMkLst>
      <pc:sldChg chg="modSp mod">
        <pc:chgData name="Siddhi Paliwal" userId="3ef3921d-16b8-4854-8920-f0b2bd004b9f" providerId="ADAL" clId="{6E0FE3E2-44D9-074D-A48B-E6AD77B83E40}" dt="2025-02-06T09:35:15.043" v="417" actId="14100"/>
        <pc:sldMkLst>
          <pc:docMk/>
          <pc:sldMk cId="2396673663" sldId="258"/>
        </pc:sldMkLst>
        <pc:spChg chg="mod">
          <ac:chgData name="Siddhi Paliwal" userId="3ef3921d-16b8-4854-8920-f0b2bd004b9f" providerId="ADAL" clId="{6E0FE3E2-44D9-074D-A48B-E6AD77B83E40}" dt="2025-02-06T07:32:30.564" v="18" actId="1076"/>
          <ac:spMkLst>
            <pc:docMk/>
            <pc:sldMk cId="2396673663" sldId="258"/>
            <ac:spMk id="26" creationId="{0C3F0036-9AD5-8749-CF9B-F813BC8A0413}"/>
          </ac:spMkLst>
        </pc:spChg>
        <pc:spChg chg="mod">
          <ac:chgData name="Siddhi Paliwal" userId="3ef3921d-16b8-4854-8920-f0b2bd004b9f" providerId="ADAL" clId="{6E0FE3E2-44D9-074D-A48B-E6AD77B83E40}" dt="2025-02-06T07:32:30.564" v="18" actId="1076"/>
          <ac:spMkLst>
            <pc:docMk/>
            <pc:sldMk cId="2396673663" sldId="258"/>
            <ac:spMk id="38" creationId="{F02D3C8C-B6E7-17B8-F970-03A866939942}"/>
          </ac:spMkLst>
        </pc:spChg>
        <pc:spChg chg="mod">
          <ac:chgData name="Siddhi Paliwal" userId="3ef3921d-16b8-4854-8920-f0b2bd004b9f" providerId="ADAL" clId="{6E0FE3E2-44D9-074D-A48B-E6AD77B83E40}" dt="2025-02-06T07:32:30.564" v="18" actId="1076"/>
          <ac:spMkLst>
            <pc:docMk/>
            <pc:sldMk cId="2396673663" sldId="258"/>
            <ac:spMk id="39" creationId="{2A92E4EC-AA1A-FFCA-E2E1-A570C79A59C8}"/>
          </ac:spMkLst>
        </pc:spChg>
        <pc:spChg chg="mod">
          <ac:chgData name="Siddhi Paliwal" userId="3ef3921d-16b8-4854-8920-f0b2bd004b9f" providerId="ADAL" clId="{6E0FE3E2-44D9-074D-A48B-E6AD77B83E40}" dt="2025-02-06T09:35:15.043" v="417" actId="14100"/>
          <ac:spMkLst>
            <pc:docMk/>
            <pc:sldMk cId="2396673663" sldId="258"/>
            <ac:spMk id="42" creationId="{91AA8356-3817-1422-E5D9-862807C99EFC}"/>
          </ac:spMkLst>
        </pc:spChg>
      </pc:sldChg>
      <pc:sldChg chg="delSp modSp mod">
        <pc:chgData name="Siddhi Paliwal" userId="3ef3921d-16b8-4854-8920-f0b2bd004b9f" providerId="ADAL" clId="{6E0FE3E2-44D9-074D-A48B-E6AD77B83E40}" dt="2025-02-06T07:31:15.485" v="16" actId="207"/>
        <pc:sldMkLst>
          <pc:docMk/>
          <pc:sldMk cId="186803692" sldId="263"/>
        </pc:sldMkLst>
        <pc:spChg chg="mod">
          <ac:chgData name="Siddhi Paliwal" userId="3ef3921d-16b8-4854-8920-f0b2bd004b9f" providerId="ADAL" clId="{6E0FE3E2-44D9-074D-A48B-E6AD77B83E40}" dt="2025-02-06T07:31:15.485" v="16" actId="207"/>
          <ac:spMkLst>
            <pc:docMk/>
            <pc:sldMk cId="186803692" sldId="263"/>
            <ac:spMk id="3" creationId="{3B73A571-81AE-0DDC-FC7A-C248B150E162}"/>
          </ac:spMkLst>
        </pc:spChg>
        <pc:spChg chg="del mod">
          <ac:chgData name="Siddhi Paliwal" userId="3ef3921d-16b8-4854-8920-f0b2bd004b9f" providerId="ADAL" clId="{6E0FE3E2-44D9-074D-A48B-E6AD77B83E40}" dt="2025-02-06T07:31:07.768" v="4" actId="478"/>
          <ac:spMkLst>
            <pc:docMk/>
            <pc:sldMk cId="186803692" sldId="263"/>
            <ac:spMk id="10" creationId="{1398DE31-28CE-6E06-FC02-645D8F944CE2}"/>
          </ac:spMkLst>
        </pc:spChg>
        <pc:spChg chg="del">
          <ac:chgData name="Siddhi Paliwal" userId="3ef3921d-16b8-4854-8920-f0b2bd004b9f" providerId="ADAL" clId="{6E0FE3E2-44D9-074D-A48B-E6AD77B83E40}" dt="2025-02-06T07:31:11.513" v="5" actId="478"/>
          <ac:spMkLst>
            <pc:docMk/>
            <pc:sldMk cId="186803692" sldId="263"/>
            <ac:spMk id="85" creationId="{174FF877-69AD-BA42-EBE4-AF0B0BB3B896}"/>
          </ac:spMkLst>
        </pc:spChg>
      </pc:sldChg>
      <pc:sldChg chg="modSp mod">
        <pc:chgData name="Siddhi Paliwal" userId="3ef3921d-16b8-4854-8920-f0b2bd004b9f" providerId="ADAL" clId="{6E0FE3E2-44D9-074D-A48B-E6AD77B83E40}" dt="2025-02-06T09:32:04.396" v="376" actId="1076"/>
        <pc:sldMkLst>
          <pc:docMk/>
          <pc:sldMk cId="2370674296" sldId="270"/>
        </pc:sldMkLst>
        <pc:spChg chg="mod">
          <ac:chgData name="Siddhi Paliwal" userId="3ef3921d-16b8-4854-8920-f0b2bd004b9f" providerId="ADAL" clId="{6E0FE3E2-44D9-074D-A48B-E6AD77B83E40}" dt="2025-02-06T09:32:04.396" v="376" actId="1076"/>
          <ac:spMkLst>
            <pc:docMk/>
            <pc:sldMk cId="2370674296" sldId="270"/>
            <ac:spMk id="18" creationId="{FBCE832A-5E69-5CA4-02FD-D90EB48A7FB2}"/>
          </ac:spMkLst>
        </pc:spChg>
      </pc:sldChg>
      <pc:sldChg chg="addSp delSp modSp add mod">
        <pc:chgData name="Siddhi Paliwal" userId="3ef3921d-16b8-4854-8920-f0b2bd004b9f" providerId="ADAL" clId="{6E0FE3E2-44D9-074D-A48B-E6AD77B83E40}" dt="2025-02-06T08:02:45.374" v="278" actId="12"/>
        <pc:sldMkLst>
          <pc:docMk/>
          <pc:sldMk cId="2660684556" sldId="271"/>
        </pc:sldMkLst>
        <pc:spChg chg="mod">
          <ac:chgData name="Siddhi Paliwal" userId="3ef3921d-16b8-4854-8920-f0b2bd004b9f" providerId="ADAL" clId="{6E0FE3E2-44D9-074D-A48B-E6AD77B83E40}" dt="2025-02-06T07:45:52.155" v="145" actId="1036"/>
          <ac:spMkLst>
            <pc:docMk/>
            <pc:sldMk cId="2660684556" sldId="271"/>
            <ac:spMk id="9" creationId="{91CF9B04-27E1-AEF7-3AE5-53239AE3B07B}"/>
          </ac:spMkLst>
        </pc:spChg>
        <pc:spChg chg="mod">
          <ac:chgData name="Siddhi Paliwal" userId="3ef3921d-16b8-4854-8920-f0b2bd004b9f" providerId="ADAL" clId="{6E0FE3E2-44D9-074D-A48B-E6AD77B83E40}" dt="2025-02-06T08:02:13.368" v="275" actId="207"/>
          <ac:spMkLst>
            <pc:docMk/>
            <pc:sldMk cId="2660684556" sldId="271"/>
            <ac:spMk id="10" creationId="{683DE5B6-D67A-6171-9EF1-C7E0D5E50403}"/>
          </ac:spMkLst>
        </pc:spChg>
        <pc:spChg chg="mod">
          <ac:chgData name="Siddhi Paliwal" userId="3ef3921d-16b8-4854-8920-f0b2bd004b9f" providerId="ADAL" clId="{6E0FE3E2-44D9-074D-A48B-E6AD77B83E40}" dt="2025-02-06T07:39:59.396" v="64" actId="571"/>
          <ac:spMkLst>
            <pc:docMk/>
            <pc:sldMk cId="2660684556" sldId="271"/>
            <ac:spMk id="11" creationId="{A6779506-851C-8751-53CC-6126E0E41898}"/>
          </ac:spMkLst>
        </pc:spChg>
        <pc:spChg chg="mod">
          <ac:chgData name="Siddhi Paliwal" userId="3ef3921d-16b8-4854-8920-f0b2bd004b9f" providerId="ADAL" clId="{6E0FE3E2-44D9-074D-A48B-E6AD77B83E40}" dt="2025-02-06T07:44:39.437" v="134" actId="14100"/>
          <ac:spMkLst>
            <pc:docMk/>
            <pc:sldMk cId="2660684556" sldId="271"/>
            <ac:spMk id="12" creationId="{2C4D560C-BE2C-E094-97B7-F4CF17182A29}"/>
          </ac:spMkLst>
        </pc:spChg>
        <pc:spChg chg="mod">
          <ac:chgData name="Siddhi Paliwal" userId="3ef3921d-16b8-4854-8920-f0b2bd004b9f" providerId="ADAL" clId="{6E0FE3E2-44D9-074D-A48B-E6AD77B83E40}" dt="2025-02-06T07:39:59.396" v="64" actId="571"/>
          <ac:spMkLst>
            <pc:docMk/>
            <pc:sldMk cId="2660684556" sldId="271"/>
            <ac:spMk id="13" creationId="{1989C69F-014E-A029-98ED-E9FA2D0B8B5E}"/>
          </ac:spMkLst>
        </pc:spChg>
        <pc:spChg chg="mod">
          <ac:chgData name="Siddhi Paliwal" userId="3ef3921d-16b8-4854-8920-f0b2bd004b9f" providerId="ADAL" clId="{6E0FE3E2-44D9-074D-A48B-E6AD77B83E40}" dt="2025-02-06T07:47:02.655" v="173" actId="12"/>
          <ac:spMkLst>
            <pc:docMk/>
            <pc:sldMk cId="2660684556" sldId="271"/>
            <ac:spMk id="17" creationId="{6D4DF0EB-EEF0-A453-F975-D7590A7A8DB6}"/>
          </ac:spMkLst>
        </pc:spChg>
        <pc:spChg chg="mod">
          <ac:chgData name="Siddhi Paliwal" userId="3ef3921d-16b8-4854-8920-f0b2bd004b9f" providerId="ADAL" clId="{6E0FE3E2-44D9-074D-A48B-E6AD77B83E40}" dt="2025-02-06T07:44:27.188" v="133" actId="1036"/>
          <ac:spMkLst>
            <pc:docMk/>
            <pc:sldMk cId="2660684556" sldId="271"/>
            <ac:spMk id="18" creationId="{34005E50-D3D8-B666-FA34-876F50E3CD6C}"/>
          </ac:spMkLst>
        </pc:spChg>
        <pc:spChg chg="mod">
          <ac:chgData name="Siddhi Paliwal" userId="3ef3921d-16b8-4854-8920-f0b2bd004b9f" providerId="ADAL" clId="{6E0FE3E2-44D9-074D-A48B-E6AD77B83E40}" dt="2025-02-06T07:43:44.022" v="101" actId="571"/>
          <ac:spMkLst>
            <pc:docMk/>
            <pc:sldMk cId="2660684556" sldId="271"/>
            <ac:spMk id="19" creationId="{28D19500-7DD8-3FEC-22E2-DFA8AFFEB6FE}"/>
          </ac:spMkLst>
        </pc:spChg>
        <pc:spChg chg="mod">
          <ac:chgData name="Siddhi Paliwal" userId="3ef3921d-16b8-4854-8920-f0b2bd004b9f" providerId="ADAL" clId="{6E0FE3E2-44D9-074D-A48B-E6AD77B83E40}" dt="2025-02-06T07:44:23.686" v="130" actId="14100"/>
          <ac:spMkLst>
            <pc:docMk/>
            <pc:sldMk cId="2660684556" sldId="271"/>
            <ac:spMk id="20" creationId="{12D9EB70-DFC5-1FCC-2D1A-624604FB1DBC}"/>
          </ac:spMkLst>
        </pc:spChg>
        <pc:spChg chg="mod">
          <ac:chgData name="Siddhi Paliwal" userId="3ef3921d-16b8-4854-8920-f0b2bd004b9f" providerId="ADAL" clId="{6E0FE3E2-44D9-074D-A48B-E6AD77B83E40}" dt="2025-02-06T07:43:44.022" v="101" actId="571"/>
          <ac:spMkLst>
            <pc:docMk/>
            <pc:sldMk cId="2660684556" sldId="271"/>
            <ac:spMk id="21" creationId="{05E62D24-23A3-D43D-6377-BDC62431A819}"/>
          </ac:spMkLst>
        </pc:spChg>
        <pc:spChg chg="mod">
          <ac:chgData name="Siddhi Paliwal" userId="3ef3921d-16b8-4854-8920-f0b2bd004b9f" providerId="ADAL" clId="{6E0FE3E2-44D9-074D-A48B-E6AD77B83E40}" dt="2025-02-06T07:46:57.602" v="172" actId="12"/>
          <ac:spMkLst>
            <pc:docMk/>
            <pc:sldMk cId="2660684556" sldId="271"/>
            <ac:spMk id="26" creationId="{333E32FE-16FD-2ED3-4B14-A748B7FDBA2F}"/>
          </ac:spMkLst>
        </pc:spChg>
        <pc:spChg chg="mod">
          <ac:chgData name="Siddhi Paliwal" userId="3ef3921d-16b8-4854-8920-f0b2bd004b9f" providerId="ADAL" clId="{6E0FE3E2-44D9-074D-A48B-E6AD77B83E40}" dt="2025-02-06T07:47:07.974" v="175" actId="20577"/>
          <ac:spMkLst>
            <pc:docMk/>
            <pc:sldMk cId="2660684556" sldId="271"/>
            <ac:spMk id="27" creationId="{174FB79C-8559-4F23-3182-CA45772BB5CC}"/>
          </ac:spMkLst>
        </pc:spChg>
        <pc:spChg chg="mod">
          <ac:chgData name="Siddhi Paliwal" userId="3ef3921d-16b8-4854-8920-f0b2bd004b9f" providerId="ADAL" clId="{6E0FE3E2-44D9-074D-A48B-E6AD77B83E40}" dt="2025-02-06T07:46:19.478" v="148" actId="571"/>
          <ac:spMkLst>
            <pc:docMk/>
            <pc:sldMk cId="2660684556" sldId="271"/>
            <ac:spMk id="29" creationId="{79AC914E-D571-EA6C-7E09-C2CD59346E3D}"/>
          </ac:spMkLst>
        </pc:spChg>
        <pc:spChg chg="mod">
          <ac:chgData name="Siddhi Paliwal" userId="3ef3921d-16b8-4854-8920-f0b2bd004b9f" providerId="ADAL" clId="{6E0FE3E2-44D9-074D-A48B-E6AD77B83E40}" dt="2025-02-06T08:02:40.073" v="277" actId="12"/>
          <ac:spMkLst>
            <pc:docMk/>
            <pc:sldMk cId="2660684556" sldId="271"/>
            <ac:spMk id="31" creationId="{FED5E1DB-356B-4563-BCBA-82882D19FDBF}"/>
          </ac:spMkLst>
        </pc:spChg>
        <pc:spChg chg="mod">
          <ac:chgData name="Siddhi Paliwal" userId="3ef3921d-16b8-4854-8920-f0b2bd004b9f" providerId="ADAL" clId="{6E0FE3E2-44D9-074D-A48B-E6AD77B83E40}" dt="2025-02-06T08:01:43.013" v="270" actId="207"/>
          <ac:spMkLst>
            <pc:docMk/>
            <pc:sldMk cId="2660684556" sldId="271"/>
            <ac:spMk id="32" creationId="{D3E4237E-CA3F-12AF-5596-5B13F678351B}"/>
          </ac:spMkLst>
        </pc:spChg>
        <pc:spChg chg="mod">
          <ac:chgData name="Siddhi Paliwal" userId="3ef3921d-16b8-4854-8920-f0b2bd004b9f" providerId="ADAL" clId="{6E0FE3E2-44D9-074D-A48B-E6AD77B83E40}" dt="2025-02-06T07:56:41.545" v="224" actId="167"/>
          <ac:spMkLst>
            <pc:docMk/>
            <pc:sldMk cId="2660684556" sldId="271"/>
            <ac:spMk id="34" creationId="{8A669DC8-7689-1CFC-DC73-E3DFC7D1EF96}"/>
          </ac:spMkLst>
        </pc:spChg>
        <pc:spChg chg="mod">
          <ac:chgData name="Siddhi Paliwal" userId="3ef3921d-16b8-4854-8920-f0b2bd004b9f" providerId="ADAL" clId="{6E0FE3E2-44D9-074D-A48B-E6AD77B83E40}" dt="2025-02-06T07:57:13.218" v="226" actId="207"/>
          <ac:spMkLst>
            <pc:docMk/>
            <pc:sldMk cId="2660684556" sldId="271"/>
            <ac:spMk id="35" creationId="{F684E41D-823A-1F38-6381-DCEEF3B2BA06}"/>
          </ac:spMkLst>
        </pc:spChg>
        <pc:spChg chg="del">
          <ac:chgData name="Siddhi Paliwal" userId="3ef3921d-16b8-4854-8920-f0b2bd004b9f" providerId="ADAL" clId="{6E0FE3E2-44D9-074D-A48B-E6AD77B83E40}" dt="2025-02-06T07:56:11.863" v="218" actId="478"/>
          <ac:spMkLst>
            <pc:docMk/>
            <pc:sldMk cId="2660684556" sldId="271"/>
            <ac:spMk id="36" creationId="{906A27B5-FC51-B1F9-EA38-42CA0CA44C84}"/>
          </ac:spMkLst>
        </pc:spChg>
        <pc:spChg chg="mod">
          <ac:chgData name="Siddhi Paliwal" userId="3ef3921d-16b8-4854-8920-f0b2bd004b9f" providerId="ADAL" clId="{6E0FE3E2-44D9-074D-A48B-E6AD77B83E40}" dt="2025-02-06T07:56:22.110" v="220" actId="14100"/>
          <ac:spMkLst>
            <pc:docMk/>
            <pc:sldMk cId="2660684556" sldId="271"/>
            <ac:spMk id="37" creationId="{6F382132-6318-84E0-AABB-945EDF1DE262}"/>
          </ac:spMkLst>
        </pc:spChg>
        <pc:spChg chg="mod">
          <ac:chgData name="Siddhi Paliwal" userId="3ef3921d-16b8-4854-8920-f0b2bd004b9f" providerId="ADAL" clId="{6E0FE3E2-44D9-074D-A48B-E6AD77B83E40}" dt="2025-02-06T07:46:19.478" v="148" actId="571"/>
          <ac:spMkLst>
            <pc:docMk/>
            <pc:sldMk cId="2660684556" sldId="271"/>
            <ac:spMk id="39" creationId="{5AC74453-8063-2144-C1F0-BF47EEA4C024}"/>
          </ac:spMkLst>
        </pc:spChg>
        <pc:spChg chg="mod">
          <ac:chgData name="Siddhi Paliwal" userId="3ef3921d-16b8-4854-8920-f0b2bd004b9f" providerId="ADAL" clId="{6E0FE3E2-44D9-074D-A48B-E6AD77B83E40}" dt="2025-02-06T07:53:11.467" v="203" actId="12"/>
          <ac:spMkLst>
            <pc:docMk/>
            <pc:sldMk cId="2660684556" sldId="271"/>
            <ac:spMk id="41" creationId="{4B1342AF-C226-3803-0ECB-7D6DEF0E987B}"/>
          </ac:spMkLst>
        </pc:spChg>
        <pc:spChg chg="mod">
          <ac:chgData name="Siddhi Paliwal" userId="3ef3921d-16b8-4854-8920-f0b2bd004b9f" providerId="ADAL" clId="{6E0FE3E2-44D9-074D-A48B-E6AD77B83E40}" dt="2025-02-06T08:01:38.571" v="269" actId="207"/>
          <ac:spMkLst>
            <pc:docMk/>
            <pc:sldMk cId="2660684556" sldId="271"/>
            <ac:spMk id="42" creationId="{30039BA6-F988-98AF-257F-B9A76BA8A158}"/>
          </ac:spMkLst>
        </pc:spChg>
        <pc:spChg chg="mod">
          <ac:chgData name="Siddhi Paliwal" userId="3ef3921d-16b8-4854-8920-f0b2bd004b9f" providerId="ADAL" clId="{6E0FE3E2-44D9-074D-A48B-E6AD77B83E40}" dt="2025-02-06T07:55:03.527" v="213" actId="2085"/>
          <ac:spMkLst>
            <pc:docMk/>
            <pc:sldMk cId="2660684556" sldId="271"/>
            <ac:spMk id="44" creationId="{34B7226C-A56A-FF43-6AE5-526887116856}"/>
          </ac:spMkLst>
        </pc:spChg>
        <pc:spChg chg="mod">
          <ac:chgData name="Siddhi Paliwal" userId="3ef3921d-16b8-4854-8920-f0b2bd004b9f" providerId="ADAL" clId="{6E0FE3E2-44D9-074D-A48B-E6AD77B83E40}" dt="2025-02-06T07:55:11.417" v="215" actId="2085"/>
          <ac:spMkLst>
            <pc:docMk/>
            <pc:sldMk cId="2660684556" sldId="271"/>
            <ac:spMk id="45" creationId="{896F00FE-933D-8429-C792-844D9451D887}"/>
          </ac:spMkLst>
        </pc:spChg>
        <pc:spChg chg="del">
          <ac:chgData name="Siddhi Paliwal" userId="3ef3921d-16b8-4854-8920-f0b2bd004b9f" providerId="ADAL" clId="{6E0FE3E2-44D9-074D-A48B-E6AD77B83E40}" dt="2025-02-06T07:53:27.917" v="206" actId="478"/>
          <ac:spMkLst>
            <pc:docMk/>
            <pc:sldMk cId="2660684556" sldId="271"/>
            <ac:spMk id="46" creationId="{3A1B89E7-DE0E-5DF7-B1CD-B8E51EE673F9}"/>
          </ac:spMkLst>
        </pc:spChg>
        <pc:spChg chg="mod">
          <ac:chgData name="Siddhi Paliwal" userId="3ef3921d-16b8-4854-8920-f0b2bd004b9f" providerId="ADAL" clId="{6E0FE3E2-44D9-074D-A48B-E6AD77B83E40}" dt="2025-02-06T07:54:24.467" v="208" actId="14100"/>
          <ac:spMkLst>
            <pc:docMk/>
            <pc:sldMk cId="2660684556" sldId="271"/>
            <ac:spMk id="47" creationId="{F2E721F7-55F0-EF58-F275-EF5FA23F8D04}"/>
          </ac:spMkLst>
        </pc:spChg>
        <pc:spChg chg="mod">
          <ac:chgData name="Siddhi Paliwal" userId="3ef3921d-16b8-4854-8920-f0b2bd004b9f" providerId="ADAL" clId="{6E0FE3E2-44D9-074D-A48B-E6AD77B83E40}" dt="2025-02-06T07:53:18.317" v="205" actId="12"/>
          <ac:spMkLst>
            <pc:docMk/>
            <pc:sldMk cId="2660684556" sldId="271"/>
            <ac:spMk id="49" creationId="{068CA0EE-147C-D0D7-F210-6020AD3EDE64}"/>
          </ac:spMkLst>
        </pc:spChg>
        <pc:spChg chg="mod">
          <ac:chgData name="Siddhi Paliwal" userId="3ef3921d-16b8-4854-8920-f0b2bd004b9f" providerId="ADAL" clId="{6E0FE3E2-44D9-074D-A48B-E6AD77B83E40}" dt="2025-02-06T08:01:32.588" v="268" actId="207"/>
          <ac:spMkLst>
            <pc:docMk/>
            <pc:sldMk cId="2660684556" sldId="271"/>
            <ac:spMk id="50" creationId="{EF111D07-74FD-F326-7FE7-E09A674C473F}"/>
          </ac:spMkLst>
        </pc:spChg>
        <pc:spChg chg="mod">
          <ac:chgData name="Siddhi Paliwal" userId="3ef3921d-16b8-4854-8920-f0b2bd004b9f" providerId="ADAL" clId="{6E0FE3E2-44D9-074D-A48B-E6AD77B83E40}" dt="2025-02-06T07:52:27.821" v="197" actId="2085"/>
          <ac:spMkLst>
            <pc:docMk/>
            <pc:sldMk cId="2660684556" sldId="271"/>
            <ac:spMk id="52" creationId="{2880E9F6-AA76-B2D3-80FC-A51C24282A57}"/>
          </ac:spMkLst>
        </pc:spChg>
        <pc:spChg chg="mod">
          <ac:chgData name="Siddhi Paliwal" userId="3ef3921d-16b8-4854-8920-f0b2bd004b9f" providerId="ADAL" clId="{6E0FE3E2-44D9-074D-A48B-E6AD77B83E40}" dt="2025-02-06T07:52:56.368" v="202" actId="2085"/>
          <ac:spMkLst>
            <pc:docMk/>
            <pc:sldMk cId="2660684556" sldId="271"/>
            <ac:spMk id="53" creationId="{4EE1218B-BC9C-34AC-8057-1FF63148E021}"/>
          </ac:spMkLst>
        </pc:spChg>
        <pc:spChg chg="del mod">
          <ac:chgData name="Siddhi Paliwal" userId="3ef3921d-16b8-4854-8920-f0b2bd004b9f" providerId="ADAL" clId="{6E0FE3E2-44D9-074D-A48B-E6AD77B83E40}" dt="2025-02-06T07:51:02.267" v="183" actId="478"/>
          <ac:spMkLst>
            <pc:docMk/>
            <pc:sldMk cId="2660684556" sldId="271"/>
            <ac:spMk id="54" creationId="{F2BC3474-47AB-AED3-43F4-E7C1D1D1603D}"/>
          </ac:spMkLst>
        </pc:spChg>
        <pc:spChg chg="mod">
          <ac:chgData name="Siddhi Paliwal" userId="3ef3921d-16b8-4854-8920-f0b2bd004b9f" providerId="ADAL" clId="{6E0FE3E2-44D9-074D-A48B-E6AD77B83E40}" dt="2025-02-06T07:51:18.571" v="185" actId="14100"/>
          <ac:spMkLst>
            <pc:docMk/>
            <pc:sldMk cId="2660684556" sldId="271"/>
            <ac:spMk id="55" creationId="{1DFB8EB5-5FDE-EBAE-4044-5DF2DD46233C}"/>
          </ac:spMkLst>
        </pc:spChg>
        <pc:spChg chg="mod">
          <ac:chgData name="Siddhi Paliwal" userId="3ef3921d-16b8-4854-8920-f0b2bd004b9f" providerId="ADAL" clId="{6E0FE3E2-44D9-074D-A48B-E6AD77B83E40}" dt="2025-02-06T07:46:19.478" v="148" actId="571"/>
          <ac:spMkLst>
            <pc:docMk/>
            <pc:sldMk cId="2660684556" sldId="271"/>
            <ac:spMk id="56" creationId="{EBBEDE21-47FE-439A-9489-6F88783C4639}"/>
          </ac:spMkLst>
        </pc:spChg>
        <pc:spChg chg="add del mod">
          <ac:chgData name="Siddhi Paliwal" userId="3ef3921d-16b8-4854-8920-f0b2bd004b9f" providerId="ADAL" clId="{6E0FE3E2-44D9-074D-A48B-E6AD77B83E40}" dt="2025-02-06T07:50:48.027" v="181" actId="478"/>
          <ac:spMkLst>
            <pc:docMk/>
            <pc:sldMk cId="2660684556" sldId="271"/>
            <ac:spMk id="60" creationId="{0EFF392E-C23F-4F75-4188-F602DC3AE045}"/>
          </ac:spMkLst>
        </pc:spChg>
        <pc:spChg chg="add mod">
          <ac:chgData name="Siddhi Paliwal" userId="3ef3921d-16b8-4854-8920-f0b2bd004b9f" providerId="ADAL" clId="{6E0FE3E2-44D9-074D-A48B-E6AD77B83E40}" dt="2025-02-06T08:01:49.324" v="272" actId="767"/>
          <ac:spMkLst>
            <pc:docMk/>
            <pc:sldMk cId="2660684556" sldId="271"/>
            <ac:spMk id="62" creationId="{4292D9AC-FB81-8B36-AAA3-B7C23FECC857}"/>
          </ac:spMkLst>
        </pc:spChg>
        <pc:spChg chg="add mod">
          <ac:chgData name="Siddhi Paliwal" userId="3ef3921d-16b8-4854-8920-f0b2bd004b9f" providerId="ADAL" clId="{6E0FE3E2-44D9-074D-A48B-E6AD77B83E40}" dt="2025-02-06T08:02:15.087" v="276" actId="767"/>
          <ac:spMkLst>
            <pc:docMk/>
            <pc:sldMk cId="2660684556" sldId="271"/>
            <ac:spMk id="63" creationId="{74457E8C-59FA-0813-45B9-FE8379CBAB2D}"/>
          </ac:spMkLst>
        </pc:spChg>
        <pc:spChg chg="mod">
          <ac:chgData name="Siddhi Paliwal" userId="3ef3921d-16b8-4854-8920-f0b2bd004b9f" providerId="ADAL" clId="{6E0FE3E2-44D9-074D-A48B-E6AD77B83E40}" dt="2025-02-06T08:02:45.374" v="278" actId="12"/>
          <ac:spMkLst>
            <pc:docMk/>
            <pc:sldMk cId="2660684556" sldId="271"/>
            <ac:spMk id="111" creationId="{EAE8956C-485A-0947-2FFC-33494BF1CAB5}"/>
          </ac:spMkLst>
        </pc:spChg>
        <pc:spChg chg="mod">
          <ac:chgData name="Siddhi Paliwal" userId="3ef3921d-16b8-4854-8920-f0b2bd004b9f" providerId="ADAL" clId="{6E0FE3E2-44D9-074D-A48B-E6AD77B83E40}" dt="2025-02-06T08:01:47.437" v="271" actId="207"/>
          <ac:spMkLst>
            <pc:docMk/>
            <pc:sldMk cId="2660684556" sldId="271"/>
            <ac:spMk id="112" creationId="{2DAE7C81-0552-A115-A62D-B94A7BD24126}"/>
          </ac:spMkLst>
        </pc:spChg>
        <pc:spChg chg="mod">
          <ac:chgData name="Siddhi Paliwal" userId="3ef3921d-16b8-4854-8920-f0b2bd004b9f" providerId="ADAL" clId="{6E0FE3E2-44D9-074D-A48B-E6AD77B83E40}" dt="2025-02-06T07:58:22.066" v="237" actId="167"/>
          <ac:spMkLst>
            <pc:docMk/>
            <pc:sldMk cId="2660684556" sldId="271"/>
            <ac:spMk id="114" creationId="{9405043D-5387-20CB-8435-96B21CE47A48}"/>
          </ac:spMkLst>
        </pc:spChg>
        <pc:spChg chg="mod">
          <ac:chgData name="Siddhi Paliwal" userId="3ef3921d-16b8-4854-8920-f0b2bd004b9f" providerId="ADAL" clId="{6E0FE3E2-44D9-074D-A48B-E6AD77B83E40}" dt="2025-02-06T08:00:20.919" v="262" actId="207"/>
          <ac:spMkLst>
            <pc:docMk/>
            <pc:sldMk cId="2660684556" sldId="271"/>
            <ac:spMk id="115" creationId="{714848AC-56A4-170B-BEB5-3BAF68E6FEB5}"/>
          </ac:spMkLst>
        </pc:spChg>
        <pc:spChg chg="del">
          <ac:chgData name="Siddhi Paliwal" userId="3ef3921d-16b8-4854-8920-f0b2bd004b9f" providerId="ADAL" clId="{6E0FE3E2-44D9-074D-A48B-E6AD77B83E40}" dt="2025-02-06T07:57:50.666" v="231" actId="478"/>
          <ac:spMkLst>
            <pc:docMk/>
            <pc:sldMk cId="2660684556" sldId="271"/>
            <ac:spMk id="116" creationId="{C8AA4A74-3683-3BFC-1053-54940DD7900E}"/>
          </ac:spMkLst>
        </pc:spChg>
        <pc:spChg chg="mod">
          <ac:chgData name="Siddhi Paliwal" userId="3ef3921d-16b8-4854-8920-f0b2bd004b9f" providerId="ADAL" clId="{6E0FE3E2-44D9-074D-A48B-E6AD77B83E40}" dt="2025-02-06T07:57:59.516" v="233" actId="14100"/>
          <ac:spMkLst>
            <pc:docMk/>
            <pc:sldMk cId="2660684556" sldId="271"/>
            <ac:spMk id="117" creationId="{729CF69A-2D59-2DB8-EA31-0FAFEEDD4D1E}"/>
          </ac:spMkLst>
        </pc:spChg>
        <pc:spChg chg="mod">
          <ac:chgData name="Siddhi Paliwal" userId="3ef3921d-16b8-4854-8920-f0b2bd004b9f" providerId="ADAL" clId="{6E0FE3E2-44D9-074D-A48B-E6AD77B83E40}" dt="2025-02-06T07:45:57.243" v="147" actId="1036"/>
          <ac:spMkLst>
            <pc:docMk/>
            <pc:sldMk cId="2660684556" sldId="271"/>
            <ac:spMk id="144" creationId="{F5E5F4CC-C896-677F-B556-2C1D6F4CEFF4}"/>
          </ac:spMkLst>
        </pc:spChg>
        <pc:spChg chg="mod">
          <ac:chgData name="Siddhi Paliwal" userId="3ef3921d-16b8-4854-8920-f0b2bd004b9f" providerId="ADAL" clId="{6E0FE3E2-44D9-074D-A48B-E6AD77B83E40}" dt="2025-02-06T08:02:08.068" v="274" actId="207"/>
          <ac:spMkLst>
            <pc:docMk/>
            <pc:sldMk cId="2660684556" sldId="271"/>
            <ac:spMk id="145" creationId="{565A6B7F-BD2C-A737-8588-B2A1EAE76476}"/>
          </ac:spMkLst>
        </pc:spChg>
        <pc:spChg chg="mod">
          <ac:chgData name="Siddhi Paliwal" userId="3ef3921d-16b8-4854-8920-f0b2bd004b9f" providerId="ADAL" clId="{6E0FE3E2-44D9-074D-A48B-E6AD77B83E40}" dt="2025-02-06T07:44:47.937" v="135" actId="14100"/>
          <ac:spMkLst>
            <pc:docMk/>
            <pc:sldMk cId="2660684556" sldId="271"/>
            <ac:spMk id="150" creationId="{742B3A9E-89F6-3F81-E8E7-459E468F76FD}"/>
          </ac:spMkLst>
        </pc:spChg>
        <pc:spChg chg="mod">
          <ac:chgData name="Siddhi Paliwal" userId="3ef3921d-16b8-4854-8920-f0b2bd004b9f" providerId="ADAL" clId="{6E0FE3E2-44D9-074D-A48B-E6AD77B83E40}" dt="2025-02-06T08:01:21.316" v="267" actId="1076"/>
          <ac:spMkLst>
            <pc:docMk/>
            <pc:sldMk cId="2660684556" sldId="271"/>
            <ac:spMk id="173" creationId="{822883E0-D036-1409-143B-F49990506465}"/>
          </ac:spMkLst>
        </pc:spChg>
        <pc:spChg chg="mod">
          <ac:chgData name="Siddhi Paliwal" userId="3ef3921d-16b8-4854-8920-f0b2bd004b9f" providerId="ADAL" clId="{6E0FE3E2-44D9-074D-A48B-E6AD77B83E40}" dt="2025-02-06T08:02:00.596" v="273" actId="1076"/>
          <ac:spMkLst>
            <pc:docMk/>
            <pc:sldMk cId="2660684556" sldId="271"/>
            <ac:spMk id="175" creationId="{69247387-EDCD-D210-BBD6-F812FFF7484C}"/>
          </ac:spMkLst>
        </pc:spChg>
        <pc:spChg chg="mod">
          <ac:chgData name="Siddhi Paliwal" userId="3ef3921d-16b8-4854-8920-f0b2bd004b9f" providerId="ADAL" clId="{6E0FE3E2-44D9-074D-A48B-E6AD77B83E40}" dt="2025-02-06T08:02:00.596" v="273" actId="1076"/>
          <ac:spMkLst>
            <pc:docMk/>
            <pc:sldMk cId="2660684556" sldId="271"/>
            <ac:spMk id="176" creationId="{0C9AE19A-0358-3262-2F80-2E83EB3FA7F0}"/>
          </ac:spMkLst>
        </pc:spChg>
        <pc:spChg chg="mod">
          <ac:chgData name="Siddhi Paliwal" userId="3ef3921d-16b8-4854-8920-f0b2bd004b9f" providerId="ADAL" clId="{6E0FE3E2-44D9-074D-A48B-E6AD77B83E40}" dt="2025-02-06T08:02:00.596" v="273" actId="1076"/>
          <ac:spMkLst>
            <pc:docMk/>
            <pc:sldMk cId="2660684556" sldId="271"/>
            <ac:spMk id="179" creationId="{5453BC08-B91E-D2EB-6784-50D14970169F}"/>
          </ac:spMkLst>
        </pc:spChg>
        <pc:spChg chg="mod">
          <ac:chgData name="Siddhi Paliwal" userId="3ef3921d-16b8-4854-8920-f0b2bd004b9f" providerId="ADAL" clId="{6E0FE3E2-44D9-074D-A48B-E6AD77B83E40}" dt="2025-02-06T08:02:00.596" v="273" actId="1076"/>
          <ac:spMkLst>
            <pc:docMk/>
            <pc:sldMk cId="2660684556" sldId="271"/>
            <ac:spMk id="180" creationId="{32B12FF6-C9E1-B907-245B-0045DB675490}"/>
          </ac:spMkLst>
        </pc:spChg>
        <pc:spChg chg="mod">
          <ac:chgData name="Siddhi Paliwal" userId="3ef3921d-16b8-4854-8920-f0b2bd004b9f" providerId="ADAL" clId="{6E0FE3E2-44D9-074D-A48B-E6AD77B83E40}" dt="2025-02-06T08:02:00.596" v="273" actId="1076"/>
          <ac:spMkLst>
            <pc:docMk/>
            <pc:sldMk cId="2660684556" sldId="271"/>
            <ac:spMk id="183" creationId="{3B8C086C-F080-8274-C926-1B7F6E317609}"/>
          </ac:spMkLst>
        </pc:spChg>
        <pc:spChg chg="mod">
          <ac:chgData name="Siddhi Paliwal" userId="3ef3921d-16b8-4854-8920-f0b2bd004b9f" providerId="ADAL" clId="{6E0FE3E2-44D9-074D-A48B-E6AD77B83E40}" dt="2025-02-06T08:02:00.596" v="273" actId="1076"/>
          <ac:spMkLst>
            <pc:docMk/>
            <pc:sldMk cId="2660684556" sldId="271"/>
            <ac:spMk id="184" creationId="{E9743254-1AD2-42D6-98B6-61FB8ACEFE25}"/>
          </ac:spMkLst>
        </pc:spChg>
        <pc:spChg chg="mod">
          <ac:chgData name="Siddhi Paliwal" userId="3ef3921d-16b8-4854-8920-f0b2bd004b9f" providerId="ADAL" clId="{6E0FE3E2-44D9-074D-A48B-E6AD77B83E40}" dt="2025-02-06T08:02:00.596" v="273" actId="1076"/>
          <ac:spMkLst>
            <pc:docMk/>
            <pc:sldMk cId="2660684556" sldId="271"/>
            <ac:spMk id="187" creationId="{963B682D-3F9E-6EC8-B0CF-9916B55193DF}"/>
          </ac:spMkLst>
        </pc:spChg>
        <pc:spChg chg="del mod">
          <ac:chgData name="Siddhi Paliwal" userId="3ef3921d-16b8-4854-8920-f0b2bd004b9f" providerId="ADAL" clId="{6E0FE3E2-44D9-074D-A48B-E6AD77B83E40}" dt="2025-02-06T07:50:48.027" v="181" actId="478"/>
          <ac:spMkLst>
            <pc:docMk/>
            <pc:sldMk cId="2660684556" sldId="271"/>
            <ac:spMk id="214" creationId="{57097F99-AE25-758A-31DC-36FB563E0EA4}"/>
          </ac:spMkLst>
        </pc:spChg>
        <pc:grpChg chg="add del mod">
          <ac:chgData name="Siddhi Paliwal" userId="3ef3921d-16b8-4854-8920-f0b2bd004b9f" providerId="ADAL" clId="{6E0FE3E2-44D9-074D-A48B-E6AD77B83E40}" dt="2025-02-06T07:40:31.295" v="78" actId="478"/>
          <ac:grpSpMkLst>
            <pc:docMk/>
            <pc:sldMk cId="2660684556" sldId="271"/>
            <ac:grpSpMk id="2" creationId="{DDF743FA-1ED7-FFF9-53BA-CBBA53103A39}"/>
          </ac:grpSpMkLst>
        </pc:grpChg>
        <pc:grpChg chg="mod topLvl">
          <ac:chgData name="Siddhi Paliwal" userId="3ef3921d-16b8-4854-8920-f0b2bd004b9f" providerId="ADAL" clId="{6E0FE3E2-44D9-074D-A48B-E6AD77B83E40}" dt="2025-02-06T07:40:31.295" v="78" actId="478"/>
          <ac:grpSpMkLst>
            <pc:docMk/>
            <pc:sldMk cId="2660684556" sldId="271"/>
            <ac:grpSpMk id="6" creationId="{4180AE7B-39D3-B252-6F37-00BE60DA650B}"/>
          </ac:grpSpMkLst>
        </pc:grpChg>
        <pc:grpChg chg="mod">
          <ac:chgData name="Siddhi Paliwal" userId="3ef3921d-16b8-4854-8920-f0b2bd004b9f" providerId="ADAL" clId="{6E0FE3E2-44D9-074D-A48B-E6AD77B83E40}" dt="2025-02-06T07:39:59.396" v="64" actId="571"/>
          <ac:grpSpMkLst>
            <pc:docMk/>
            <pc:sldMk cId="2660684556" sldId="271"/>
            <ac:grpSpMk id="8" creationId="{76F3E284-DC9F-D21F-AE59-1C5BBCA8C786}"/>
          </ac:grpSpMkLst>
        </pc:grpChg>
        <pc:grpChg chg="add mod">
          <ac:chgData name="Siddhi Paliwal" userId="3ef3921d-16b8-4854-8920-f0b2bd004b9f" providerId="ADAL" clId="{6E0FE3E2-44D9-074D-A48B-E6AD77B83E40}" dt="2025-02-06T07:45:13.141" v="138" actId="1076"/>
          <ac:grpSpMkLst>
            <pc:docMk/>
            <pc:sldMk cId="2660684556" sldId="271"/>
            <ac:grpSpMk id="15" creationId="{C7BE1590-B68E-E7E6-7251-A1A8AC8AE659}"/>
          </ac:grpSpMkLst>
        </pc:grpChg>
        <pc:grpChg chg="mod">
          <ac:chgData name="Siddhi Paliwal" userId="3ef3921d-16b8-4854-8920-f0b2bd004b9f" providerId="ADAL" clId="{6E0FE3E2-44D9-074D-A48B-E6AD77B83E40}" dt="2025-02-06T07:43:44.022" v="101" actId="571"/>
          <ac:grpSpMkLst>
            <pc:docMk/>
            <pc:sldMk cId="2660684556" sldId="271"/>
            <ac:grpSpMk id="16" creationId="{5C15C871-BB35-9F21-9420-1E31103A9862}"/>
          </ac:grpSpMkLst>
        </pc:grpChg>
        <pc:grpChg chg="add mod">
          <ac:chgData name="Siddhi Paliwal" userId="3ef3921d-16b8-4854-8920-f0b2bd004b9f" providerId="ADAL" clId="{6E0FE3E2-44D9-074D-A48B-E6AD77B83E40}" dt="2025-02-06T07:46:37.105" v="151" actId="1076"/>
          <ac:grpSpMkLst>
            <pc:docMk/>
            <pc:sldMk cId="2660684556" sldId="271"/>
            <ac:grpSpMk id="24" creationId="{B682B4D2-D1C0-BD0E-AA98-77C425A381D8}"/>
          </ac:grpSpMkLst>
        </pc:grpChg>
        <pc:grpChg chg="mod">
          <ac:chgData name="Siddhi Paliwal" userId="3ef3921d-16b8-4854-8920-f0b2bd004b9f" providerId="ADAL" clId="{6E0FE3E2-44D9-074D-A48B-E6AD77B83E40}" dt="2025-02-06T07:46:19.478" v="148" actId="571"/>
          <ac:grpSpMkLst>
            <pc:docMk/>
            <pc:sldMk cId="2660684556" sldId="271"/>
            <ac:grpSpMk id="25" creationId="{BB6194E3-2A43-F3CC-7334-B3D245244822}"/>
          </ac:grpSpMkLst>
        </pc:grpChg>
        <pc:grpChg chg="mod">
          <ac:chgData name="Siddhi Paliwal" userId="3ef3921d-16b8-4854-8920-f0b2bd004b9f" providerId="ADAL" clId="{6E0FE3E2-44D9-074D-A48B-E6AD77B83E40}" dt="2025-02-06T07:59:46.563" v="248" actId="1038"/>
          <ac:grpSpMkLst>
            <pc:docMk/>
            <pc:sldMk cId="2660684556" sldId="271"/>
            <ac:grpSpMk id="28" creationId="{25C0DA5F-0941-4E60-C83E-0C55CAD066B5}"/>
          </ac:grpSpMkLst>
        </pc:grpChg>
        <pc:grpChg chg="del">
          <ac:chgData name="Siddhi Paliwal" userId="3ef3921d-16b8-4854-8920-f0b2bd004b9f" providerId="ADAL" clId="{6E0FE3E2-44D9-074D-A48B-E6AD77B83E40}" dt="2025-02-06T07:56:11.863" v="218" actId="478"/>
          <ac:grpSpMkLst>
            <pc:docMk/>
            <pc:sldMk cId="2660684556" sldId="271"/>
            <ac:grpSpMk id="33" creationId="{D3E17BF6-EEC5-0C83-2995-0DABCBF28FD6}"/>
          </ac:grpSpMkLst>
        </pc:grpChg>
        <pc:grpChg chg="del">
          <ac:chgData name="Siddhi Paliwal" userId="3ef3921d-16b8-4854-8920-f0b2bd004b9f" providerId="ADAL" clId="{6E0FE3E2-44D9-074D-A48B-E6AD77B83E40}" dt="2025-02-06T07:53:27.917" v="206" actId="478"/>
          <ac:grpSpMkLst>
            <pc:docMk/>
            <pc:sldMk cId="2660684556" sldId="271"/>
            <ac:grpSpMk id="43" creationId="{DAF6F21B-9976-D6C6-018B-7A72F71A5556}"/>
          </ac:grpSpMkLst>
        </pc:grpChg>
        <pc:grpChg chg="del">
          <ac:chgData name="Siddhi Paliwal" userId="3ef3921d-16b8-4854-8920-f0b2bd004b9f" providerId="ADAL" clId="{6E0FE3E2-44D9-074D-A48B-E6AD77B83E40}" dt="2025-02-06T07:51:02.267" v="183" actId="478"/>
          <ac:grpSpMkLst>
            <pc:docMk/>
            <pc:sldMk cId="2660684556" sldId="271"/>
            <ac:grpSpMk id="51" creationId="{6BDFF8F3-071E-C331-2D48-CF1DFDFB57C3}"/>
          </ac:grpSpMkLst>
        </pc:grpChg>
        <pc:grpChg chg="mod">
          <ac:chgData name="Siddhi Paliwal" userId="3ef3921d-16b8-4854-8920-f0b2bd004b9f" providerId="ADAL" clId="{6E0FE3E2-44D9-074D-A48B-E6AD77B83E40}" dt="2025-02-06T07:59:34.385" v="241" actId="1038"/>
          <ac:grpSpMkLst>
            <pc:docMk/>
            <pc:sldMk cId="2660684556" sldId="271"/>
            <ac:grpSpMk id="58" creationId="{776289A1-F9C3-9D0B-DC34-CF451FBDD6E5}"/>
          </ac:grpSpMkLst>
        </pc:grpChg>
        <pc:grpChg chg="del">
          <ac:chgData name="Siddhi Paliwal" userId="3ef3921d-16b8-4854-8920-f0b2bd004b9f" providerId="ADAL" clId="{6E0FE3E2-44D9-074D-A48B-E6AD77B83E40}" dt="2025-02-06T07:57:50.666" v="231" actId="478"/>
          <ac:grpSpMkLst>
            <pc:docMk/>
            <pc:sldMk cId="2660684556" sldId="271"/>
            <ac:grpSpMk id="113" creationId="{FD5E566F-FCF6-1EFD-6883-7C4D14CF117F}"/>
          </ac:grpSpMkLst>
        </pc:grpChg>
        <pc:grpChg chg="del mod">
          <ac:chgData name="Siddhi Paliwal" userId="3ef3921d-16b8-4854-8920-f0b2bd004b9f" providerId="ADAL" clId="{6E0FE3E2-44D9-074D-A48B-E6AD77B83E40}" dt="2025-02-06T07:42:39.268" v="95" actId="478"/>
          <ac:grpSpMkLst>
            <pc:docMk/>
            <pc:sldMk cId="2660684556" sldId="271"/>
            <ac:grpSpMk id="129" creationId="{8E801B0E-06F8-3B10-9004-848C52A83722}"/>
          </ac:grpSpMkLst>
        </pc:grpChg>
        <pc:grpChg chg="del mod">
          <ac:chgData name="Siddhi Paliwal" userId="3ef3921d-16b8-4854-8920-f0b2bd004b9f" providerId="ADAL" clId="{6E0FE3E2-44D9-074D-A48B-E6AD77B83E40}" dt="2025-02-06T07:50:48.027" v="181" actId="478"/>
          <ac:grpSpMkLst>
            <pc:docMk/>
            <pc:sldMk cId="2660684556" sldId="271"/>
            <ac:grpSpMk id="193" creationId="{20EA6724-1B01-B21D-76F2-30EDC776ADC1}"/>
          </ac:grpSpMkLst>
        </pc:grpChg>
        <pc:grpChg chg="mod">
          <ac:chgData name="Siddhi Paliwal" userId="3ef3921d-16b8-4854-8920-f0b2bd004b9f" providerId="ADAL" clId="{6E0FE3E2-44D9-074D-A48B-E6AD77B83E40}" dt="2025-02-06T07:39:49.236" v="63" actId="1076"/>
          <ac:grpSpMkLst>
            <pc:docMk/>
            <pc:sldMk cId="2660684556" sldId="271"/>
            <ac:grpSpMk id="195" creationId="{C95A2EE7-C3C5-BFDB-0841-1FB688F00504}"/>
          </ac:grpSpMkLst>
        </pc:grpChg>
        <pc:grpChg chg="del mod">
          <ac:chgData name="Siddhi Paliwal" userId="3ef3921d-16b8-4854-8920-f0b2bd004b9f" providerId="ADAL" clId="{6E0FE3E2-44D9-074D-A48B-E6AD77B83E40}" dt="2025-02-06T07:50:48.027" v="181" actId="478"/>
          <ac:grpSpMkLst>
            <pc:docMk/>
            <pc:sldMk cId="2660684556" sldId="271"/>
            <ac:grpSpMk id="198" creationId="{4FE32D61-3962-8A87-F7C6-D95A680D3CDC}"/>
          </ac:grpSpMkLst>
        </pc:grpChg>
        <pc:grpChg chg="mod">
          <ac:chgData name="Siddhi Paliwal" userId="3ef3921d-16b8-4854-8920-f0b2bd004b9f" providerId="ADAL" clId="{6E0FE3E2-44D9-074D-A48B-E6AD77B83E40}" dt="2025-02-06T08:00:08.570" v="260" actId="1038"/>
          <ac:grpSpMkLst>
            <pc:docMk/>
            <pc:sldMk cId="2660684556" sldId="271"/>
            <ac:grpSpMk id="201" creationId="{5EF74A41-D379-03CD-3985-8036CA68C517}"/>
          </ac:grpSpMkLst>
        </pc:grpChg>
        <pc:grpChg chg="mod">
          <ac:chgData name="Siddhi Paliwal" userId="3ef3921d-16b8-4854-8920-f0b2bd004b9f" providerId="ADAL" clId="{6E0FE3E2-44D9-074D-A48B-E6AD77B83E40}" dt="2025-02-06T07:59:34.385" v="241" actId="1038"/>
          <ac:grpSpMkLst>
            <pc:docMk/>
            <pc:sldMk cId="2660684556" sldId="271"/>
            <ac:grpSpMk id="207" creationId="{E3E07C9C-29D1-1A06-BC5B-24DB989D708E}"/>
          </ac:grpSpMkLst>
        </pc:grpChg>
        <pc:picChg chg="del mod topLvl">
          <ac:chgData name="Siddhi Paliwal" userId="3ef3921d-16b8-4854-8920-f0b2bd004b9f" providerId="ADAL" clId="{6E0FE3E2-44D9-074D-A48B-E6AD77B83E40}" dt="2025-02-06T07:40:31.295" v="78" actId="478"/>
          <ac:picMkLst>
            <pc:docMk/>
            <pc:sldMk cId="2660684556" sldId="271"/>
            <ac:picMk id="7" creationId="{7DD7A755-2225-B0C6-67F9-9571600D4C5F}"/>
          </ac:picMkLst>
        </pc:picChg>
        <pc:picChg chg="add mod">
          <ac:chgData name="Siddhi Paliwal" userId="3ef3921d-16b8-4854-8920-f0b2bd004b9f" providerId="ADAL" clId="{6E0FE3E2-44D9-074D-A48B-E6AD77B83E40}" dt="2025-02-06T07:41:13.631" v="91" actId="692"/>
          <ac:picMkLst>
            <pc:docMk/>
            <pc:sldMk cId="2660684556" sldId="271"/>
            <ac:picMk id="14" creationId="{6B5271B4-0BE8-9997-E163-1350FFF1E97F}"/>
          </ac:picMkLst>
        </pc:picChg>
        <pc:picChg chg="add del mod">
          <ac:chgData name="Siddhi Paliwal" userId="3ef3921d-16b8-4854-8920-f0b2bd004b9f" providerId="ADAL" clId="{6E0FE3E2-44D9-074D-A48B-E6AD77B83E40}" dt="2025-02-06T07:44:14.707" v="129" actId="478"/>
          <ac:picMkLst>
            <pc:docMk/>
            <pc:sldMk cId="2660684556" sldId="271"/>
            <ac:picMk id="22" creationId="{4B429F73-A64C-A260-D150-D35C841C83E6}"/>
          </ac:picMkLst>
        </pc:picChg>
        <pc:picChg chg="add mod">
          <ac:chgData name="Siddhi Paliwal" userId="3ef3921d-16b8-4854-8920-f0b2bd004b9f" providerId="ADAL" clId="{6E0FE3E2-44D9-074D-A48B-E6AD77B83E40}" dt="2025-02-06T07:45:33.188" v="141" actId="1076"/>
          <ac:picMkLst>
            <pc:docMk/>
            <pc:sldMk cId="2660684556" sldId="271"/>
            <ac:picMk id="23" creationId="{9A56BD84-9A9C-1931-4667-B414A831671C}"/>
          </ac:picMkLst>
        </pc:picChg>
        <pc:picChg chg="mod">
          <ac:chgData name="Siddhi Paliwal" userId="3ef3921d-16b8-4854-8920-f0b2bd004b9f" providerId="ADAL" clId="{6E0FE3E2-44D9-074D-A48B-E6AD77B83E40}" dt="2025-02-06T07:52:47.420" v="200" actId="1076"/>
          <ac:picMkLst>
            <pc:docMk/>
            <pc:sldMk cId="2660684556" sldId="271"/>
            <ac:picMk id="57" creationId="{59320C79-98AE-0DDE-C70F-EF70ADD7D8E6}"/>
          </ac:picMkLst>
        </pc:picChg>
        <pc:picChg chg="add del mod">
          <ac:chgData name="Siddhi Paliwal" userId="3ef3921d-16b8-4854-8920-f0b2bd004b9f" providerId="ADAL" clId="{6E0FE3E2-44D9-074D-A48B-E6AD77B83E40}" dt="2025-02-06T07:46:32.808" v="150" actId="478"/>
          <ac:picMkLst>
            <pc:docMk/>
            <pc:sldMk cId="2660684556" sldId="271"/>
            <ac:picMk id="59" creationId="{C0FB0AF1-00CD-7F35-D8DE-06FAC7BFD316}"/>
          </ac:picMkLst>
        </pc:picChg>
        <pc:picChg chg="add mod">
          <ac:chgData name="Siddhi Paliwal" userId="3ef3921d-16b8-4854-8920-f0b2bd004b9f" providerId="ADAL" clId="{6E0FE3E2-44D9-074D-A48B-E6AD77B83E40}" dt="2025-02-06T07:49:53.070" v="180" actId="692"/>
          <ac:picMkLst>
            <pc:docMk/>
            <pc:sldMk cId="2660684556" sldId="271"/>
            <ac:picMk id="61" creationId="{AC6BEBD0-8CCA-E0C4-79F8-BED44A6E2E06}"/>
          </ac:picMkLst>
        </pc:picChg>
        <pc:picChg chg="mod">
          <ac:chgData name="Siddhi Paliwal" userId="3ef3921d-16b8-4854-8920-f0b2bd004b9f" providerId="ADAL" clId="{6E0FE3E2-44D9-074D-A48B-E6AD77B83E40}" dt="2025-02-06T08:02:00.596" v="273" actId="1076"/>
          <ac:picMkLst>
            <pc:docMk/>
            <pc:sldMk cId="2660684556" sldId="271"/>
            <ac:picMk id="177" creationId="{AC28631E-59A1-FC52-4941-483B60136457}"/>
          </ac:picMkLst>
        </pc:picChg>
        <pc:picChg chg="mod">
          <ac:chgData name="Siddhi Paliwal" userId="3ef3921d-16b8-4854-8920-f0b2bd004b9f" providerId="ADAL" clId="{6E0FE3E2-44D9-074D-A48B-E6AD77B83E40}" dt="2025-02-06T08:02:00.596" v="273" actId="1076"/>
          <ac:picMkLst>
            <pc:docMk/>
            <pc:sldMk cId="2660684556" sldId="271"/>
            <ac:picMk id="181" creationId="{9476C4DC-2B77-554C-A98A-151247925658}"/>
          </ac:picMkLst>
        </pc:picChg>
        <pc:picChg chg="mod">
          <ac:chgData name="Siddhi Paliwal" userId="3ef3921d-16b8-4854-8920-f0b2bd004b9f" providerId="ADAL" clId="{6E0FE3E2-44D9-074D-A48B-E6AD77B83E40}" dt="2025-02-06T07:42:32.429" v="94" actId="1038"/>
          <ac:picMkLst>
            <pc:docMk/>
            <pc:sldMk cId="2660684556" sldId="271"/>
            <ac:picMk id="194" creationId="{4410BA55-AD48-A146-66D7-0640A9EFDE54}"/>
          </ac:picMkLst>
        </pc:picChg>
        <pc:picChg chg="mod">
          <ac:chgData name="Siddhi Paliwal" userId="3ef3921d-16b8-4854-8920-f0b2bd004b9f" providerId="ADAL" clId="{6E0FE3E2-44D9-074D-A48B-E6AD77B83E40}" dt="2025-02-06T07:55:51.516" v="217" actId="1076"/>
          <ac:picMkLst>
            <pc:docMk/>
            <pc:sldMk cId="2660684556" sldId="271"/>
            <ac:picMk id="200" creationId="{1970F0BE-9901-8184-F354-F57ECFA02FBF}"/>
          </ac:picMkLst>
        </pc:picChg>
        <pc:picChg chg="mod">
          <ac:chgData name="Siddhi Paliwal" userId="3ef3921d-16b8-4854-8920-f0b2bd004b9f" providerId="ADAL" clId="{6E0FE3E2-44D9-074D-A48B-E6AD77B83E40}" dt="2025-02-06T08:02:00.596" v="273" actId="1076"/>
          <ac:picMkLst>
            <pc:docMk/>
            <pc:sldMk cId="2660684556" sldId="271"/>
            <ac:picMk id="203" creationId="{99B96F01-A018-8FA0-70AB-0E7016439C8F}"/>
          </ac:picMkLst>
        </pc:picChg>
        <pc:picChg chg="mod">
          <ac:chgData name="Siddhi Paliwal" userId="3ef3921d-16b8-4854-8920-f0b2bd004b9f" providerId="ADAL" clId="{6E0FE3E2-44D9-074D-A48B-E6AD77B83E40}" dt="2025-02-06T07:59:56.886" v="258" actId="1037"/>
          <ac:picMkLst>
            <pc:docMk/>
            <pc:sldMk cId="2660684556" sldId="271"/>
            <ac:picMk id="211" creationId="{E4E01898-DDD3-CC60-12A8-A64A6974E28F}"/>
          </ac:picMkLst>
        </pc:picChg>
      </pc:sldChg>
      <pc:sldChg chg="modSp mod">
        <pc:chgData name="Siddhi Paliwal" userId="3ef3921d-16b8-4854-8920-f0b2bd004b9f" providerId="ADAL" clId="{6E0FE3E2-44D9-074D-A48B-E6AD77B83E40}" dt="2025-02-06T09:33:53.190" v="413" actId="1037"/>
        <pc:sldMkLst>
          <pc:docMk/>
          <pc:sldMk cId="870452227" sldId="288"/>
        </pc:sldMkLst>
        <pc:spChg chg="mod">
          <ac:chgData name="Siddhi Paliwal" userId="3ef3921d-16b8-4854-8920-f0b2bd004b9f" providerId="ADAL" clId="{6E0FE3E2-44D9-074D-A48B-E6AD77B83E40}" dt="2025-02-06T09:33:53.190" v="413" actId="1037"/>
          <ac:spMkLst>
            <pc:docMk/>
            <pc:sldMk cId="870452227" sldId="288"/>
            <ac:spMk id="4" creationId="{033BC968-E939-3DC6-8DC3-7362ECDC2CF5}"/>
          </ac:spMkLst>
        </pc:spChg>
        <pc:spChg chg="mod">
          <ac:chgData name="Siddhi Paliwal" userId="3ef3921d-16b8-4854-8920-f0b2bd004b9f" providerId="ADAL" clId="{6E0FE3E2-44D9-074D-A48B-E6AD77B83E40}" dt="2025-02-06T09:33:47.526" v="412" actId="207"/>
          <ac:spMkLst>
            <pc:docMk/>
            <pc:sldMk cId="870452227" sldId="288"/>
            <ac:spMk id="17" creationId="{58D007AA-0D5A-4F87-E009-0653A8C6699D}"/>
          </ac:spMkLst>
        </pc:spChg>
      </pc:sldChg>
      <pc:sldChg chg="modSp mod">
        <pc:chgData name="Siddhi Paliwal" userId="3ef3921d-16b8-4854-8920-f0b2bd004b9f" providerId="ADAL" clId="{6E0FE3E2-44D9-074D-A48B-E6AD77B83E40}" dt="2025-02-06T07:34:59.650" v="33" actId="14100"/>
        <pc:sldMkLst>
          <pc:docMk/>
          <pc:sldMk cId="1838352972" sldId="306"/>
        </pc:sldMkLst>
        <pc:spChg chg="mod">
          <ac:chgData name="Siddhi Paliwal" userId="3ef3921d-16b8-4854-8920-f0b2bd004b9f" providerId="ADAL" clId="{6E0FE3E2-44D9-074D-A48B-E6AD77B83E40}" dt="2025-02-06T07:34:40.231" v="32" actId="1076"/>
          <ac:spMkLst>
            <pc:docMk/>
            <pc:sldMk cId="1838352972" sldId="306"/>
            <ac:spMk id="2" creationId="{97EBDC62-43E2-E02C-2A64-56E1557843AE}"/>
          </ac:spMkLst>
        </pc:spChg>
        <pc:spChg chg="mod">
          <ac:chgData name="Siddhi Paliwal" userId="3ef3921d-16b8-4854-8920-f0b2bd004b9f" providerId="ADAL" clId="{6E0FE3E2-44D9-074D-A48B-E6AD77B83E40}" dt="2025-02-06T07:34:59.650" v="33" actId="14100"/>
          <ac:spMkLst>
            <pc:docMk/>
            <pc:sldMk cId="1838352972" sldId="306"/>
            <ac:spMk id="20" creationId="{BE292D61-326C-71CF-AD07-619AC2C76B0C}"/>
          </ac:spMkLst>
        </pc:spChg>
        <pc:spChg chg="mod">
          <ac:chgData name="Siddhi Paliwal" userId="3ef3921d-16b8-4854-8920-f0b2bd004b9f" providerId="ADAL" clId="{6E0FE3E2-44D9-074D-A48B-E6AD77B83E40}" dt="2025-02-06T07:34:59.650" v="33" actId="14100"/>
          <ac:spMkLst>
            <pc:docMk/>
            <pc:sldMk cId="1838352972" sldId="306"/>
            <ac:spMk id="23" creationId="{21E8184C-D7FF-2BE3-8A25-35EB9C62E30F}"/>
          </ac:spMkLst>
        </pc:spChg>
        <pc:spChg chg="mod">
          <ac:chgData name="Siddhi Paliwal" userId="3ef3921d-16b8-4854-8920-f0b2bd004b9f" providerId="ADAL" clId="{6E0FE3E2-44D9-074D-A48B-E6AD77B83E40}" dt="2025-02-06T07:34:59.650" v="33" actId="14100"/>
          <ac:spMkLst>
            <pc:docMk/>
            <pc:sldMk cId="1838352972" sldId="306"/>
            <ac:spMk id="25" creationId="{7D6FFB96-6746-A4D3-BBC3-D840CEA27ADE}"/>
          </ac:spMkLst>
        </pc:spChg>
        <pc:picChg chg="mod">
          <ac:chgData name="Siddhi Paliwal" userId="3ef3921d-16b8-4854-8920-f0b2bd004b9f" providerId="ADAL" clId="{6E0FE3E2-44D9-074D-A48B-E6AD77B83E40}" dt="2025-02-06T07:34:31.116" v="31" actId="1076"/>
          <ac:picMkLst>
            <pc:docMk/>
            <pc:sldMk cId="1838352972" sldId="306"/>
            <ac:picMk id="3" creationId="{3D0DE470-D20B-91E3-EDC6-3AE4FE880C13}"/>
          </ac:picMkLst>
        </pc:picChg>
      </pc:sldChg>
      <pc:sldChg chg="modSp mod">
        <pc:chgData name="Siddhi Paliwal" userId="3ef3921d-16b8-4854-8920-f0b2bd004b9f" providerId="ADAL" clId="{6E0FE3E2-44D9-074D-A48B-E6AD77B83E40}" dt="2025-02-06T07:31:31.997" v="17" actId="2085"/>
        <pc:sldMkLst>
          <pc:docMk/>
          <pc:sldMk cId="3674961419" sldId="307"/>
        </pc:sldMkLst>
        <pc:spChg chg="mod">
          <ac:chgData name="Siddhi Paliwal" userId="3ef3921d-16b8-4854-8920-f0b2bd004b9f" providerId="ADAL" clId="{6E0FE3E2-44D9-074D-A48B-E6AD77B83E40}" dt="2025-02-06T07:31:31.997" v="17" actId="2085"/>
          <ac:spMkLst>
            <pc:docMk/>
            <pc:sldMk cId="3674961419" sldId="307"/>
            <ac:spMk id="2" creationId="{9914140B-F809-5CE4-5862-53B53A7F2F23}"/>
          </ac:spMkLst>
        </pc:spChg>
      </pc:sldChg>
      <pc:sldChg chg="modSp mod">
        <pc:chgData name="Siddhi Paliwal" userId="3ef3921d-16b8-4854-8920-f0b2bd004b9f" providerId="ADAL" clId="{6E0FE3E2-44D9-074D-A48B-E6AD77B83E40}" dt="2025-02-06T09:31:42.243" v="375" actId="1037"/>
        <pc:sldMkLst>
          <pc:docMk/>
          <pc:sldMk cId="4042701003" sldId="2147482884"/>
        </pc:sldMkLst>
        <pc:spChg chg="mod">
          <ac:chgData name="Siddhi Paliwal" userId="3ef3921d-16b8-4854-8920-f0b2bd004b9f" providerId="ADAL" clId="{6E0FE3E2-44D9-074D-A48B-E6AD77B83E40}" dt="2025-02-06T08:10:10.643" v="345" actId="1076"/>
          <ac:spMkLst>
            <pc:docMk/>
            <pc:sldMk cId="4042701003" sldId="2147482884"/>
            <ac:spMk id="2" creationId="{BCB43738-C07F-AAF7-A3F8-660FCB1ACB48}"/>
          </ac:spMkLst>
        </pc:spChg>
        <pc:spChg chg="mod">
          <ac:chgData name="Siddhi Paliwal" userId="3ef3921d-16b8-4854-8920-f0b2bd004b9f" providerId="ADAL" clId="{6E0FE3E2-44D9-074D-A48B-E6AD77B83E40}" dt="2025-02-06T08:10:56.555" v="356" actId="2085"/>
          <ac:spMkLst>
            <pc:docMk/>
            <pc:sldMk cId="4042701003" sldId="2147482884"/>
            <ac:spMk id="85" creationId="{8C883223-4198-42BB-B3D5-FB459C24E007}"/>
          </ac:spMkLst>
        </pc:spChg>
        <pc:spChg chg="mod">
          <ac:chgData name="Siddhi Paliwal" userId="3ef3921d-16b8-4854-8920-f0b2bd004b9f" providerId="ADAL" clId="{6E0FE3E2-44D9-074D-A48B-E6AD77B83E40}" dt="2025-02-06T08:11:08.454" v="359" actId="2085"/>
          <ac:spMkLst>
            <pc:docMk/>
            <pc:sldMk cId="4042701003" sldId="2147482884"/>
            <ac:spMk id="86" creationId="{1461A710-DA74-1E51-2785-3BA39C32847E}"/>
          </ac:spMkLst>
        </pc:spChg>
        <pc:spChg chg="mod">
          <ac:chgData name="Siddhi Paliwal" userId="3ef3921d-16b8-4854-8920-f0b2bd004b9f" providerId="ADAL" clId="{6E0FE3E2-44D9-074D-A48B-E6AD77B83E40}" dt="2025-02-06T08:11:12.994" v="360" actId="12"/>
          <ac:spMkLst>
            <pc:docMk/>
            <pc:sldMk cId="4042701003" sldId="2147482884"/>
            <ac:spMk id="88" creationId="{9DF638A6-7EFD-55CE-C1FB-69050D0C61AB}"/>
          </ac:spMkLst>
        </pc:spChg>
        <pc:spChg chg="mod">
          <ac:chgData name="Siddhi Paliwal" userId="3ef3921d-16b8-4854-8920-f0b2bd004b9f" providerId="ADAL" clId="{6E0FE3E2-44D9-074D-A48B-E6AD77B83E40}" dt="2025-02-06T08:08:50.292" v="330" actId="2085"/>
          <ac:spMkLst>
            <pc:docMk/>
            <pc:sldMk cId="4042701003" sldId="2147482884"/>
            <ac:spMk id="90" creationId="{A233074E-134B-C5F9-FA86-A278D96686DD}"/>
          </ac:spMkLst>
        </pc:spChg>
        <pc:spChg chg="mod">
          <ac:chgData name="Siddhi Paliwal" userId="3ef3921d-16b8-4854-8920-f0b2bd004b9f" providerId="ADAL" clId="{6E0FE3E2-44D9-074D-A48B-E6AD77B83E40}" dt="2025-02-06T08:08:08.887" v="313" actId="2085"/>
          <ac:spMkLst>
            <pc:docMk/>
            <pc:sldMk cId="4042701003" sldId="2147482884"/>
            <ac:spMk id="96" creationId="{A14B6E1E-A022-A4EB-4102-60FE1F708493}"/>
          </ac:spMkLst>
        </pc:spChg>
        <pc:spChg chg="mod">
          <ac:chgData name="Siddhi Paliwal" userId="3ef3921d-16b8-4854-8920-f0b2bd004b9f" providerId="ADAL" clId="{6E0FE3E2-44D9-074D-A48B-E6AD77B83E40}" dt="2025-02-06T08:10:20.193" v="348" actId="207"/>
          <ac:spMkLst>
            <pc:docMk/>
            <pc:sldMk cId="4042701003" sldId="2147482884"/>
            <ac:spMk id="98" creationId="{B9380880-3B4E-E1E1-2912-44BF09D97493}"/>
          </ac:spMkLst>
        </pc:spChg>
        <pc:spChg chg="mod">
          <ac:chgData name="Siddhi Paliwal" userId="3ef3921d-16b8-4854-8920-f0b2bd004b9f" providerId="ADAL" clId="{6E0FE3E2-44D9-074D-A48B-E6AD77B83E40}" dt="2025-02-06T08:10:27.854" v="351" actId="120"/>
          <ac:spMkLst>
            <pc:docMk/>
            <pc:sldMk cId="4042701003" sldId="2147482884"/>
            <ac:spMk id="99" creationId="{9582C560-029E-B0B7-4E0B-2DE006633E2F}"/>
          </ac:spMkLst>
        </pc:spChg>
        <pc:spChg chg="mod">
          <ac:chgData name="Siddhi Paliwal" userId="3ef3921d-16b8-4854-8920-f0b2bd004b9f" providerId="ADAL" clId="{6E0FE3E2-44D9-074D-A48B-E6AD77B83E40}" dt="2025-02-06T08:10:45.093" v="353" actId="12"/>
          <ac:spMkLst>
            <pc:docMk/>
            <pc:sldMk cId="4042701003" sldId="2147482884"/>
            <ac:spMk id="101" creationId="{92EA0BEC-AA88-B620-E2CC-87FC279759F3}"/>
          </ac:spMkLst>
        </pc:spChg>
        <pc:spChg chg="mod">
          <ac:chgData name="Siddhi Paliwal" userId="3ef3921d-16b8-4854-8920-f0b2bd004b9f" providerId="ADAL" clId="{6E0FE3E2-44D9-074D-A48B-E6AD77B83E40}" dt="2025-02-06T08:07:46.731" v="304" actId="2085"/>
          <ac:spMkLst>
            <pc:docMk/>
            <pc:sldMk cId="4042701003" sldId="2147482884"/>
            <ac:spMk id="105" creationId="{D391FA06-0E68-840D-5F57-7E18405A39CE}"/>
          </ac:spMkLst>
        </pc:spChg>
        <pc:spChg chg="mod">
          <ac:chgData name="Siddhi Paliwal" userId="3ef3921d-16b8-4854-8920-f0b2bd004b9f" providerId="ADAL" clId="{6E0FE3E2-44D9-074D-A48B-E6AD77B83E40}" dt="2025-02-06T08:09:36.292" v="338" actId="2085"/>
          <ac:spMkLst>
            <pc:docMk/>
            <pc:sldMk cId="4042701003" sldId="2147482884"/>
            <ac:spMk id="107" creationId="{742A6439-F55E-3D77-4F43-E270C3EAAA51}"/>
          </ac:spMkLst>
        </pc:spChg>
        <pc:spChg chg="mod">
          <ac:chgData name="Siddhi Paliwal" userId="3ef3921d-16b8-4854-8920-f0b2bd004b9f" providerId="ADAL" clId="{6E0FE3E2-44D9-074D-A48B-E6AD77B83E40}" dt="2025-02-06T09:31:42.243" v="375" actId="1037"/>
          <ac:spMkLst>
            <pc:docMk/>
            <pc:sldMk cId="4042701003" sldId="2147482884"/>
            <ac:spMk id="108" creationId="{E0ABF820-8239-5154-1A74-9DBF4FCC5C40}"/>
          </ac:spMkLst>
        </pc:spChg>
        <pc:spChg chg="mod">
          <ac:chgData name="Siddhi Paliwal" userId="3ef3921d-16b8-4854-8920-f0b2bd004b9f" providerId="ADAL" clId="{6E0FE3E2-44D9-074D-A48B-E6AD77B83E40}" dt="2025-02-06T08:09:54.693" v="342" actId="12"/>
          <ac:spMkLst>
            <pc:docMk/>
            <pc:sldMk cId="4042701003" sldId="2147482884"/>
            <ac:spMk id="110" creationId="{8979CA37-91E7-F779-9362-BCCE5409C0A2}"/>
          </ac:spMkLst>
        </pc:spChg>
        <pc:spChg chg="mod">
          <ac:chgData name="Siddhi Paliwal" userId="3ef3921d-16b8-4854-8920-f0b2bd004b9f" providerId="ADAL" clId="{6E0FE3E2-44D9-074D-A48B-E6AD77B83E40}" dt="2025-02-06T08:07:19.963" v="300" actId="14100"/>
          <ac:spMkLst>
            <pc:docMk/>
            <pc:sldMk cId="4042701003" sldId="2147482884"/>
            <ac:spMk id="114" creationId="{15BF926C-E4D3-5543-C82E-85543363E17C}"/>
          </ac:spMkLst>
        </pc:spChg>
        <pc:spChg chg="mod">
          <ac:chgData name="Siddhi Paliwal" userId="3ef3921d-16b8-4854-8920-f0b2bd004b9f" providerId="ADAL" clId="{6E0FE3E2-44D9-074D-A48B-E6AD77B83E40}" dt="2025-02-06T08:07:01.513" v="298" actId="2085"/>
          <ac:spMkLst>
            <pc:docMk/>
            <pc:sldMk cId="4042701003" sldId="2147482884"/>
            <ac:spMk id="116" creationId="{B877F28E-9915-4933-7A2A-BBE8C44732A5}"/>
          </ac:spMkLst>
        </pc:spChg>
        <pc:spChg chg="mod">
          <ac:chgData name="Siddhi Paliwal" userId="3ef3921d-16b8-4854-8920-f0b2bd004b9f" providerId="ADAL" clId="{6E0FE3E2-44D9-074D-A48B-E6AD77B83E40}" dt="2025-02-06T08:07:04.996" v="299" actId="207"/>
          <ac:spMkLst>
            <pc:docMk/>
            <pc:sldMk cId="4042701003" sldId="2147482884"/>
            <ac:spMk id="117" creationId="{A9E7FA97-1A37-C306-FCAD-8E41FB53F05A}"/>
          </ac:spMkLst>
        </pc:spChg>
        <pc:spChg chg="mod">
          <ac:chgData name="Siddhi Paliwal" userId="3ef3921d-16b8-4854-8920-f0b2bd004b9f" providerId="ADAL" clId="{6E0FE3E2-44D9-074D-A48B-E6AD77B83E40}" dt="2025-02-06T08:10:03.293" v="344" actId="12"/>
          <ac:spMkLst>
            <pc:docMk/>
            <pc:sldMk cId="4042701003" sldId="2147482884"/>
            <ac:spMk id="119" creationId="{FB57BC91-4611-E77D-DE5D-0F6250EF7603}"/>
          </ac:spMkLst>
        </pc:spChg>
        <pc:grpChg chg="mod">
          <ac:chgData name="Siddhi Paliwal" userId="3ef3921d-16b8-4854-8920-f0b2bd004b9f" providerId="ADAL" clId="{6E0FE3E2-44D9-074D-A48B-E6AD77B83E40}" dt="2025-02-06T09:31:15.150" v="370" actId="1038"/>
          <ac:grpSpMkLst>
            <pc:docMk/>
            <pc:sldMk cId="4042701003" sldId="2147482884"/>
            <ac:grpSpMk id="92" creationId="{1737CA1C-7F92-F158-EBAF-26FD0CA9814F}"/>
          </ac:grpSpMkLst>
        </pc:grpChg>
        <pc:grpChg chg="mod">
          <ac:chgData name="Siddhi Paliwal" userId="3ef3921d-16b8-4854-8920-f0b2bd004b9f" providerId="ADAL" clId="{6E0FE3E2-44D9-074D-A48B-E6AD77B83E40}" dt="2025-02-06T09:31:15.150" v="370" actId="1038"/>
          <ac:grpSpMkLst>
            <pc:docMk/>
            <pc:sldMk cId="4042701003" sldId="2147482884"/>
            <ac:grpSpMk id="93" creationId="{D032362D-F6F4-BC77-9B5F-74E7A6BD1A25}"/>
          </ac:grpSpMkLst>
        </pc:grpChg>
        <pc:grpChg chg="mod">
          <ac:chgData name="Siddhi Paliwal" userId="3ef3921d-16b8-4854-8920-f0b2bd004b9f" providerId="ADAL" clId="{6E0FE3E2-44D9-074D-A48B-E6AD77B83E40}" dt="2025-02-06T09:31:15.150" v="370" actId="1038"/>
          <ac:grpSpMkLst>
            <pc:docMk/>
            <pc:sldMk cId="4042701003" sldId="2147482884"/>
            <ac:grpSpMk id="102" creationId="{70D36A14-B5EB-894D-F43B-3019DC985624}"/>
          </ac:grpSpMkLst>
        </pc:grpChg>
        <pc:grpChg chg="mod">
          <ac:chgData name="Siddhi Paliwal" userId="3ef3921d-16b8-4854-8920-f0b2bd004b9f" providerId="ADAL" clId="{6E0FE3E2-44D9-074D-A48B-E6AD77B83E40}" dt="2025-02-06T09:31:15.150" v="370" actId="1038"/>
          <ac:grpSpMkLst>
            <pc:docMk/>
            <pc:sldMk cId="4042701003" sldId="2147482884"/>
            <ac:grpSpMk id="111" creationId="{3DD9643A-5292-0422-9101-B931D04FC187}"/>
          </ac:grpSpMkLst>
        </pc:grpChg>
        <pc:picChg chg="mod">
          <ac:chgData name="Siddhi Paliwal" userId="3ef3921d-16b8-4854-8920-f0b2bd004b9f" providerId="ADAL" clId="{6E0FE3E2-44D9-074D-A48B-E6AD77B83E40}" dt="2025-02-06T09:31:15.150" v="370" actId="1038"/>
          <ac:picMkLst>
            <pc:docMk/>
            <pc:sldMk cId="4042701003" sldId="2147482884"/>
            <ac:picMk id="121" creationId="{D6730616-5791-74C2-CD60-F1B895EA5545}"/>
          </ac:picMkLst>
        </pc:picChg>
        <pc:picChg chg="mod">
          <ac:chgData name="Siddhi Paliwal" userId="3ef3921d-16b8-4854-8920-f0b2bd004b9f" providerId="ADAL" clId="{6E0FE3E2-44D9-074D-A48B-E6AD77B83E40}" dt="2025-02-06T09:31:15.150" v="370" actId="1038"/>
          <ac:picMkLst>
            <pc:docMk/>
            <pc:sldMk cId="4042701003" sldId="2147482884"/>
            <ac:picMk id="123" creationId="{EAE37D7A-4494-DF10-D7C1-DA54F736A63C}"/>
          </ac:picMkLst>
        </pc:picChg>
        <pc:picChg chg="mod">
          <ac:chgData name="Siddhi Paliwal" userId="3ef3921d-16b8-4854-8920-f0b2bd004b9f" providerId="ADAL" clId="{6E0FE3E2-44D9-074D-A48B-E6AD77B83E40}" dt="2025-02-06T09:31:15.150" v="370" actId="1038"/>
          <ac:picMkLst>
            <pc:docMk/>
            <pc:sldMk cId="4042701003" sldId="2147482884"/>
            <ac:picMk id="125" creationId="{8D57C65E-8D18-0F0F-8587-F9091CCE016C}"/>
          </ac:picMkLst>
        </pc:picChg>
        <pc:picChg chg="mod">
          <ac:chgData name="Siddhi Paliwal" userId="3ef3921d-16b8-4854-8920-f0b2bd004b9f" providerId="ADAL" clId="{6E0FE3E2-44D9-074D-A48B-E6AD77B83E40}" dt="2025-02-06T09:31:15.150" v="370" actId="1038"/>
          <ac:picMkLst>
            <pc:docMk/>
            <pc:sldMk cId="4042701003" sldId="2147482884"/>
            <ac:picMk id="127" creationId="{1D379D1A-7638-6657-AB16-3AEBA79A45DE}"/>
          </ac:picMkLst>
        </pc:picChg>
      </pc:sldChg>
      <pc:sldChg chg="delSp modSp del mod">
        <pc:chgData name="Siddhi Paliwal" userId="3ef3921d-16b8-4854-8920-f0b2bd004b9f" providerId="ADAL" clId="{6E0FE3E2-44D9-074D-A48B-E6AD77B83E40}" dt="2025-02-06T08:03:28.249" v="279" actId="2696"/>
        <pc:sldMkLst>
          <pc:docMk/>
          <pc:sldMk cId="3411714768" sldId="2147483204"/>
        </pc:sldMkLst>
        <pc:spChg chg="mod">
          <ac:chgData name="Siddhi Paliwal" userId="3ef3921d-16b8-4854-8920-f0b2bd004b9f" providerId="ADAL" clId="{6E0FE3E2-44D9-074D-A48B-E6AD77B83E40}" dt="2025-02-06T07:39:11.118" v="59" actId="1076"/>
          <ac:spMkLst>
            <pc:docMk/>
            <pc:sldMk cId="3411714768" sldId="2147483204"/>
            <ac:spMk id="4" creationId="{8B6121C8-0C90-D211-2E21-EBA7340BE663}"/>
          </ac:spMkLst>
        </pc:spChg>
        <pc:spChg chg="del">
          <ac:chgData name="Siddhi Paliwal" userId="3ef3921d-16b8-4854-8920-f0b2bd004b9f" providerId="ADAL" clId="{6E0FE3E2-44D9-074D-A48B-E6AD77B83E40}" dt="2025-02-06T07:38:45.395" v="58" actId="478"/>
          <ac:spMkLst>
            <pc:docMk/>
            <pc:sldMk cId="3411714768" sldId="2147483204"/>
            <ac:spMk id="138" creationId="{0DAEE446-9884-6ABA-AC87-836FFFFAE65C}"/>
          </ac:spMkLst>
        </pc:spChg>
        <pc:spChg chg="mod">
          <ac:chgData name="Siddhi Paliwal" userId="3ef3921d-16b8-4854-8920-f0b2bd004b9f" providerId="ADAL" clId="{6E0FE3E2-44D9-074D-A48B-E6AD77B83E40}" dt="2025-02-06T07:38:36.338" v="57" actId="12"/>
          <ac:spMkLst>
            <pc:docMk/>
            <pc:sldMk cId="3411714768" sldId="2147483204"/>
            <ac:spMk id="144" creationId="{F5E5F4CC-C896-677F-B556-2C1D6F4CEFF4}"/>
          </ac:spMkLst>
        </pc:spChg>
        <pc:spChg chg="mod">
          <ac:chgData name="Siddhi Paliwal" userId="3ef3921d-16b8-4854-8920-f0b2bd004b9f" providerId="ADAL" clId="{6E0FE3E2-44D9-074D-A48B-E6AD77B83E40}" dt="2025-02-06T07:37:17.752" v="49" actId="2085"/>
          <ac:spMkLst>
            <pc:docMk/>
            <pc:sldMk cId="3411714768" sldId="2147483204"/>
            <ac:spMk id="147" creationId="{E18EB816-FBBE-EA0E-D2CE-083CD9C6BC6D}"/>
          </ac:spMkLst>
        </pc:spChg>
        <pc:spChg chg="mod">
          <ac:chgData name="Siddhi Paliwal" userId="3ef3921d-16b8-4854-8920-f0b2bd004b9f" providerId="ADAL" clId="{6E0FE3E2-44D9-074D-A48B-E6AD77B83E40}" dt="2025-02-06T07:37:54.386" v="50" actId="207"/>
          <ac:spMkLst>
            <pc:docMk/>
            <pc:sldMk cId="3411714768" sldId="2147483204"/>
            <ac:spMk id="148" creationId="{E3B677EB-DF6F-5126-BAC1-755B23172BE2}"/>
          </ac:spMkLst>
        </pc:spChg>
        <pc:spChg chg="del">
          <ac:chgData name="Siddhi Paliwal" userId="3ef3921d-16b8-4854-8920-f0b2bd004b9f" providerId="ADAL" clId="{6E0FE3E2-44D9-074D-A48B-E6AD77B83E40}" dt="2025-02-06T07:36:29.005" v="43" actId="478"/>
          <ac:spMkLst>
            <pc:docMk/>
            <pc:sldMk cId="3411714768" sldId="2147483204"/>
            <ac:spMk id="149" creationId="{FD39A9F7-30D7-CF67-F9BE-A0B540586216}"/>
          </ac:spMkLst>
        </pc:spChg>
        <pc:spChg chg="mod">
          <ac:chgData name="Siddhi Paliwal" userId="3ef3921d-16b8-4854-8920-f0b2bd004b9f" providerId="ADAL" clId="{6E0FE3E2-44D9-074D-A48B-E6AD77B83E40}" dt="2025-02-06T07:36:50.217" v="45" actId="14100"/>
          <ac:spMkLst>
            <pc:docMk/>
            <pc:sldMk cId="3411714768" sldId="2147483204"/>
            <ac:spMk id="150" creationId="{742B3A9E-89F6-3F81-E8E7-459E468F76FD}"/>
          </ac:spMkLst>
        </pc:spChg>
        <pc:grpChg chg="del">
          <ac:chgData name="Siddhi Paliwal" userId="3ef3921d-16b8-4854-8920-f0b2bd004b9f" providerId="ADAL" clId="{6E0FE3E2-44D9-074D-A48B-E6AD77B83E40}" dt="2025-02-06T07:38:45.395" v="58" actId="478"/>
          <ac:grpSpMkLst>
            <pc:docMk/>
            <pc:sldMk cId="3411714768" sldId="2147483204"/>
            <ac:grpSpMk id="135" creationId="{48A7A096-EC4D-B67A-BB0B-8DCA9C29933B}"/>
          </ac:grpSpMkLst>
        </pc:grpChg>
        <pc:grpChg chg="del">
          <ac:chgData name="Siddhi Paliwal" userId="3ef3921d-16b8-4854-8920-f0b2bd004b9f" providerId="ADAL" clId="{6E0FE3E2-44D9-074D-A48B-E6AD77B83E40}" dt="2025-02-06T07:36:29.005" v="43" actId="478"/>
          <ac:grpSpMkLst>
            <pc:docMk/>
            <pc:sldMk cId="3411714768" sldId="2147483204"/>
            <ac:grpSpMk id="146" creationId="{372F4EBA-D124-E2B6-AEA5-F0322A09D847}"/>
          </ac:grpSpMkLst>
        </pc:grpChg>
        <pc:picChg chg="mod">
          <ac:chgData name="Siddhi Paliwal" userId="3ef3921d-16b8-4854-8920-f0b2bd004b9f" providerId="ADAL" clId="{6E0FE3E2-44D9-074D-A48B-E6AD77B83E40}" dt="2025-02-06T07:35:38.034" v="35" actId="14100"/>
          <ac:picMkLst>
            <pc:docMk/>
            <pc:sldMk cId="3411714768" sldId="2147483204"/>
            <ac:picMk id="70" creationId="{DA5B086A-8185-FB49-A985-B86A13EBC167}"/>
          </ac:picMkLst>
        </pc:picChg>
        <pc:picChg chg="mod">
          <ac:chgData name="Siddhi Paliwal" userId="3ef3921d-16b8-4854-8920-f0b2bd004b9f" providerId="ADAL" clId="{6E0FE3E2-44D9-074D-A48B-E6AD77B83E40}" dt="2025-02-06T07:38:20.567" v="55" actId="1076"/>
          <ac:picMkLst>
            <pc:docMk/>
            <pc:sldMk cId="3411714768" sldId="2147483204"/>
            <ac:picMk id="194" creationId="{4410BA55-AD48-A146-66D7-0640A9EFDE54}"/>
          </ac:picMkLst>
        </pc:picChg>
      </pc:sldChg>
    </pc:docChg>
  </pc:docChgLst>
  <pc:docChgLst>
    <pc:chgData name="Abhijith Shastry" userId="S::abhijith.shastry@brillio.com::539567d6-5baa-4651-be60-b3cf18d64dc2" providerId="AD" clId="Web-{61CAA28A-8650-A063-50D1-2A71026CD811}"/>
    <pc:docChg chg="modSld">
      <pc:chgData name="Abhijith Shastry" userId="S::abhijith.shastry@brillio.com::539567d6-5baa-4651-be60-b3cf18d64dc2" providerId="AD" clId="Web-{61CAA28A-8650-A063-50D1-2A71026CD811}" dt="2025-01-10T03:34:27.608" v="130" actId="20577"/>
      <pc:docMkLst>
        <pc:docMk/>
      </pc:docMkLst>
      <pc:sldChg chg="modSp">
        <pc:chgData name="Abhijith Shastry" userId="S::abhijith.shastry@brillio.com::539567d6-5baa-4651-be60-b3cf18d64dc2" providerId="AD" clId="Web-{61CAA28A-8650-A063-50D1-2A71026CD811}" dt="2025-01-10T03:34:27.608" v="130" actId="20577"/>
        <pc:sldMkLst>
          <pc:docMk/>
          <pc:sldMk cId="1573368600" sldId="263"/>
        </pc:sldMkLst>
      </pc:sldChg>
    </pc:docChg>
  </pc:docChgLst>
  <pc:docChgLst>
    <pc:chgData name="Aswani Chittilla" userId="S::aswani.chittilla@brillio.com::e4377af8-5c25-4d6d-97ff-a0a1ea235d6c" providerId="AD" clId="Web-{C00B15FE-C15D-4DC7-E28A-20DA5DEAAAC5}"/>
    <pc:docChg chg="modSld">
      <pc:chgData name="Aswani Chittilla" userId="S::aswani.chittilla@brillio.com::e4377af8-5c25-4d6d-97ff-a0a1ea235d6c" providerId="AD" clId="Web-{C00B15FE-C15D-4DC7-E28A-20DA5DEAAAC5}" dt="2025-01-15T14:02:39.355" v="2" actId="20577"/>
      <pc:docMkLst>
        <pc:docMk/>
      </pc:docMkLst>
      <pc:sldChg chg="modSp">
        <pc:chgData name="Aswani Chittilla" userId="S::aswani.chittilla@brillio.com::e4377af8-5c25-4d6d-97ff-a0a1ea235d6c" providerId="AD" clId="Web-{C00B15FE-C15D-4DC7-E28A-20DA5DEAAAC5}" dt="2025-01-15T14:02:39.355" v="2" actId="20577"/>
        <pc:sldMkLst>
          <pc:docMk/>
          <pc:sldMk cId="3071321685" sldId="288"/>
        </pc:sldMkLst>
      </pc:sldChg>
    </pc:docChg>
  </pc:docChgLst>
  <pc:docChgLst>
    <pc:chgData name="Abhijith Shastry" userId="S::abhijith.shastry@brillio.com::539567d6-5baa-4651-be60-b3cf18d64dc2" providerId="AD" clId="Web-{DF476C15-B425-D5E8-297F-86541C221E80}"/>
    <pc:docChg chg="mod modSld">
      <pc:chgData name="Abhijith Shastry" userId="S::abhijith.shastry@brillio.com::539567d6-5baa-4651-be60-b3cf18d64dc2" providerId="AD" clId="Web-{DF476C15-B425-D5E8-297F-86541C221E80}" dt="2025-01-13T09:27:59.850" v="70" actId="20577"/>
      <pc:docMkLst>
        <pc:docMk/>
      </pc:docMkLst>
      <pc:sldChg chg="modSp">
        <pc:chgData name="Abhijith Shastry" userId="S::abhijith.shastry@brillio.com::539567d6-5baa-4651-be60-b3cf18d64dc2" providerId="AD" clId="Web-{DF476C15-B425-D5E8-297F-86541C221E80}" dt="2025-01-13T09:27:59.850" v="70" actId="20577"/>
        <pc:sldMkLst>
          <pc:docMk/>
          <pc:sldMk cId="1138799537" sldId="268"/>
        </pc:sldMkLst>
        <pc:spChg chg="mod">
          <ac:chgData name="Abhijith Shastry" userId="S::abhijith.shastry@brillio.com::539567d6-5baa-4651-be60-b3cf18d64dc2" providerId="AD" clId="Web-{DF476C15-B425-D5E8-297F-86541C221E80}" dt="2025-01-13T09:27:59.850" v="70" actId="20577"/>
          <ac:spMkLst>
            <pc:docMk/>
            <pc:sldMk cId="1138799537" sldId="268"/>
            <ac:spMk id="7" creationId="{8EA0F6D5-1C51-D87C-348B-4E867EBC16B7}"/>
          </ac:spMkLst>
        </pc:spChg>
      </pc:sldChg>
    </pc:docChg>
  </pc:docChgLst>
  <pc:docChgLst>
    <pc:chgData name="Rajavelu Vijaykumar" userId="S::rajavelu.v@brillio.com::58a321eb-bc8c-448d-87a5-748a932387ee" providerId="AD" clId="Web-{25C59435-06A9-7D2C-6759-5BE23250B0A0}"/>
    <pc:docChg chg="mod">
      <pc:chgData name="Rajavelu Vijaykumar" userId="S::rajavelu.v@brillio.com::58a321eb-bc8c-448d-87a5-748a932387ee" providerId="AD" clId="Web-{25C59435-06A9-7D2C-6759-5BE23250B0A0}" dt="2025-01-10T09:30:25.489" v="0"/>
      <pc:docMkLst>
        <pc:docMk/>
      </pc:docMkLst>
    </pc:docChg>
  </pc:docChgLst>
  <pc:docChgLst>
    <pc:chgData name="Aswani Chittilla" userId="S::aswani.chittilla@brillio.com::e4377af8-5c25-4d6d-97ff-a0a1ea235d6c" providerId="AD" clId="Web-{BA3823C6-F89D-B0A4-5AE1-1D403008488A}"/>
    <pc:docChg chg="modSld">
      <pc:chgData name="Aswani Chittilla" userId="S::aswani.chittilla@brillio.com::e4377af8-5c25-4d6d-97ff-a0a1ea235d6c" providerId="AD" clId="Web-{BA3823C6-F89D-B0A4-5AE1-1D403008488A}" dt="2025-01-21T06:53:47.557" v="127" actId="20577"/>
      <pc:docMkLst>
        <pc:docMk/>
      </pc:docMkLst>
      <pc:sldChg chg="modSp">
        <pc:chgData name="Aswani Chittilla" userId="S::aswani.chittilla@brillio.com::e4377af8-5c25-4d6d-97ff-a0a1ea235d6c" providerId="AD" clId="Web-{BA3823C6-F89D-B0A4-5AE1-1D403008488A}" dt="2025-01-20T16:31:27.904" v="117" actId="20577"/>
        <pc:sldMkLst>
          <pc:docMk/>
          <pc:sldMk cId="508278704" sldId="257"/>
        </pc:sldMkLst>
        <pc:spChg chg="mod">
          <ac:chgData name="Aswani Chittilla" userId="S::aswani.chittilla@brillio.com::e4377af8-5c25-4d6d-97ff-a0a1ea235d6c" providerId="AD" clId="Web-{BA3823C6-F89D-B0A4-5AE1-1D403008488A}" dt="2025-01-20T16:31:27.904" v="117" actId="20577"/>
          <ac:spMkLst>
            <pc:docMk/>
            <pc:sldMk cId="508278704" sldId="257"/>
            <ac:spMk id="3" creationId="{6FAF2BE4-9C90-C04B-5F78-BBBDE63578DE}"/>
          </ac:spMkLst>
        </pc:spChg>
      </pc:sldChg>
      <pc:sldChg chg="modSp">
        <pc:chgData name="Aswani Chittilla" userId="S::aswani.chittilla@brillio.com::e4377af8-5c25-4d6d-97ff-a0a1ea235d6c" providerId="AD" clId="Web-{BA3823C6-F89D-B0A4-5AE1-1D403008488A}" dt="2025-01-20T16:28:47.913" v="81" actId="20577"/>
        <pc:sldMkLst>
          <pc:docMk/>
          <pc:sldMk cId="1355154243" sldId="280"/>
        </pc:sldMkLst>
      </pc:sldChg>
      <pc:sldChg chg="modSp">
        <pc:chgData name="Aswani Chittilla" userId="S::aswani.chittilla@brillio.com::e4377af8-5c25-4d6d-97ff-a0a1ea235d6c" providerId="AD" clId="Web-{BA3823C6-F89D-B0A4-5AE1-1D403008488A}" dt="2025-01-20T15:03:51.049" v="77" actId="20577"/>
        <pc:sldMkLst>
          <pc:docMk/>
          <pc:sldMk cId="2161039759" sldId="286"/>
        </pc:sldMkLst>
      </pc:sldChg>
      <pc:sldChg chg="modSp">
        <pc:chgData name="Aswani Chittilla" userId="S::aswani.chittilla@brillio.com::e4377af8-5c25-4d6d-97ff-a0a1ea235d6c" providerId="AD" clId="Web-{BA3823C6-F89D-B0A4-5AE1-1D403008488A}" dt="2025-01-20T14:59:35.970" v="11" actId="20577"/>
        <pc:sldMkLst>
          <pc:docMk/>
          <pc:sldMk cId="3973081514" sldId="290"/>
        </pc:sldMkLst>
        <pc:spChg chg="mod">
          <ac:chgData name="Aswani Chittilla" userId="S::aswani.chittilla@brillio.com::e4377af8-5c25-4d6d-97ff-a0a1ea235d6c" providerId="AD" clId="Web-{BA3823C6-F89D-B0A4-5AE1-1D403008488A}" dt="2025-01-20T14:57:30.383" v="7" actId="20577"/>
          <ac:spMkLst>
            <pc:docMk/>
            <pc:sldMk cId="3973081514" sldId="290"/>
            <ac:spMk id="12" creationId="{D144BFCB-E674-7992-80DE-E1E5B5C91514}"/>
          </ac:spMkLst>
        </pc:spChg>
      </pc:sldChg>
      <pc:sldChg chg="modSp">
        <pc:chgData name="Aswani Chittilla" userId="S::aswani.chittilla@brillio.com::e4377af8-5c25-4d6d-97ff-a0a1ea235d6c" providerId="AD" clId="Web-{BA3823C6-F89D-B0A4-5AE1-1D403008488A}" dt="2025-01-21T06:53:47.557" v="127" actId="20577"/>
        <pc:sldMkLst>
          <pc:docMk/>
          <pc:sldMk cId="2603095592" sldId="293"/>
        </pc:sldMkLst>
        <pc:spChg chg="mod">
          <ac:chgData name="Aswani Chittilla" userId="S::aswani.chittilla@brillio.com::e4377af8-5c25-4d6d-97ff-a0a1ea235d6c" providerId="AD" clId="Web-{BA3823C6-F89D-B0A4-5AE1-1D403008488A}" dt="2025-01-21T06:53:47.557" v="127" actId="20577"/>
          <ac:spMkLst>
            <pc:docMk/>
            <pc:sldMk cId="2603095592" sldId="293"/>
            <ac:spMk id="14" creationId="{7D90622B-0D70-4776-43A4-8370CB46136C}"/>
          </ac:spMkLst>
        </pc:spChg>
      </pc:sldChg>
    </pc:docChg>
  </pc:docChgLst>
  <pc:docChgLst>
    <pc:chgData name="Jon Bennett" userId="f08bf36d-aba7-40c1-b6fc-baa856c3acbf" providerId="ADAL" clId="{EABEEC7E-27AE-46CE-AA87-F6988CE7844D}"/>
    <pc:docChg chg="undo custSel modSld">
      <pc:chgData name="Jon Bennett" userId="f08bf36d-aba7-40c1-b6fc-baa856c3acbf" providerId="ADAL" clId="{EABEEC7E-27AE-46CE-AA87-F6988CE7844D}" dt="2025-02-07T09:34:05.490" v="452" actId="20577"/>
      <pc:docMkLst>
        <pc:docMk/>
      </pc:docMkLst>
      <pc:sldChg chg="addSp modSp">
        <pc:chgData name="Jon Bennett" userId="f08bf36d-aba7-40c1-b6fc-baa856c3acbf" providerId="ADAL" clId="{EABEEC7E-27AE-46CE-AA87-F6988CE7844D}" dt="2025-02-04T09:59:16.164" v="83"/>
        <pc:sldMkLst>
          <pc:docMk/>
          <pc:sldMk cId="3112683689" sldId="262"/>
        </pc:sldMkLst>
      </pc:sldChg>
      <pc:sldChg chg="addSp modSp mod">
        <pc:chgData name="Jon Bennett" userId="f08bf36d-aba7-40c1-b6fc-baa856c3acbf" providerId="ADAL" clId="{EABEEC7E-27AE-46CE-AA87-F6988CE7844D}" dt="2025-02-05T08:08:36.219" v="185" actId="20577"/>
        <pc:sldMkLst>
          <pc:docMk/>
          <pc:sldMk cId="55496167" sldId="271"/>
        </pc:sldMkLst>
      </pc:sldChg>
      <pc:sldChg chg="modSp mod">
        <pc:chgData name="Jon Bennett" userId="f08bf36d-aba7-40c1-b6fc-baa856c3acbf" providerId="ADAL" clId="{EABEEC7E-27AE-46CE-AA87-F6988CE7844D}" dt="2025-02-07T09:34:05.490" v="452" actId="20577"/>
        <pc:sldMkLst>
          <pc:docMk/>
          <pc:sldMk cId="2802471153" sldId="273"/>
        </pc:sldMkLst>
        <pc:spChg chg="mod">
          <ac:chgData name="Jon Bennett" userId="f08bf36d-aba7-40c1-b6fc-baa856c3acbf" providerId="ADAL" clId="{EABEEC7E-27AE-46CE-AA87-F6988CE7844D}" dt="2025-02-07T09:34:05.490" v="452" actId="20577"/>
          <ac:spMkLst>
            <pc:docMk/>
            <pc:sldMk cId="2802471153" sldId="273"/>
            <ac:spMk id="11" creationId="{AD8406AF-4713-0F91-DA2E-FDA2AAE8816D}"/>
          </ac:spMkLst>
        </pc:spChg>
      </pc:sldChg>
      <pc:sldChg chg="addSp modSp mod">
        <pc:chgData name="Jon Bennett" userId="f08bf36d-aba7-40c1-b6fc-baa856c3acbf" providerId="ADAL" clId="{EABEEC7E-27AE-46CE-AA87-F6988CE7844D}" dt="2025-02-04T09:54:07.346" v="39" actId="207"/>
        <pc:sldMkLst>
          <pc:docMk/>
          <pc:sldMk cId="3853684040" sldId="273"/>
        </pc:sldMkLst>
      </pc:sldChg>
      <pc:sldChg chg="modSp mod">
        <pc:chgData name="Jon Bennett" userId="f08bf36d-aba7-40c1-b6fc-baa856c3acbf" providerId="ADAL" clId="{EABEEC7E-27AE-46CE-AA87-F6988CE7844D}" dt="2025-02-07T09:34:01.500" v="449" actId="20577"/>
        <pc:sldMkLst>
          <pc:docMk/>
          <pc:sldMk cId="1677712169" sldId="276"/>
        </pc:sldMkLst>
        <pc:spChg chg="mod">
          <ac:chgData name="Jon Bennett" userId="f08bf36d-aba7-40c1-b6fc-baa856c3acbf" providerId="ADAL" clId="{EABEEC7E-27AE-46CE-AA87-F6988CE7844D}" dt="2025-02-07T09:34:01.500" v="449" actId="20577"/>
          <ac:spMkLst>
            <pc:docMk/>
            <pc:sldMk cId="1677712169" sldId="276"/>
            <ac:spMk id="11" creationId="{300E92CE-177A-2C3C-82B8-92E17E4960A9}"/>
          </ac:spMkLst>
        </pc:spChg>
      </pc:sldChg>
      <pc:sldChg chg="addSp delSp modSp mod">
        <pc:chgData name="Jon Bennett" userId="f08bf36d-aba7-40c1-b6fc-baa856c3acbf" providerId="ADAL" clId="{EABEEC7E-27AE-46CE-AA87-F6988CE7844D}" dt="2025-02-04T10:01:18.539" v="147" actId="1076"/>
        <pc:sldMkLst>
          <pc:docMk/>
          <pc:sldMk cId="1355154243" sldId="280"/>
        </pc:sldMkLst>
      </pc:sldChg>
      <pc:sldChg chg="addSp delSp modSp mod">
        <pc:chgData name="Jon Bennett" userId="f08bf36d-aba7-40c1-b6fc-baa856c3acbf" providerId="ADAL" clId="{EABEEC7E-27AE-46CE-AA87-F6988CE7844D}" dt="2025-02-04T09:56:39.863" v="51" actId="478"/>
        <pc:sldMkLst>
          <pc:docMk/>
          <pc:sldMk cId="2453782732" sldId="283"/>
        </pc:sldMkLst>
      </pc:sldChg>
      <pc:sldChg chg="addSp modSp mod">
        <pc:chgData name="Jon Bennett" userId="f08bf36d-aba7-40c1-b6fc-baa856c3acbf" providerId="ADAL" clId="{EABEEC7E-27AE-46CE-AA87-F6988CE7844D}" dt="2025-02-07T09:33:57.345" v="446" actId="20577"/>
        <pc:sldMkLst>
          <pc:docMk/>
          <pc:sldMk cId="2233467875" sldId="285"/>
        </pc:sldMkLst>
        <pc:spChg chg="mod">
          <ac:chgData name="Jon Bennett" userId="f08bf36d-aba7-40c1-b6fc-baa856c3acbf" providerId="ADAL" clId="{EABEEC7E-27AE-46CE-AA87-F6988CE7844D}" dt="2025-02-07T09:33:57.345" v="446" actId="20577"/>
          <ac:spMkLst>
            <pc:docMk/>
            <pc:sldMk cId="2233467875" sldId="285"/>
            <ac:spMk id="11" creationId="{4B105FCD-2FD3-8A01-EB65-0B4B343BDA6A}"/>
          </ac:spMkLst>
        </pc:spChg>
      </pc:sldChg>
      <pc:sldChg chg="addSp modSp mod">
        <pc:chgData name="Jon Bennett" userId="f08bf36d-aba7-40c1-b6fc-baa856c3acbf" providerId="ADAL" clId="{EABEEC7E-27AE-46CE-AA87-F6988CE7844D}" dt="2025-02-04T10:00:42.041" v="125" actId="20577"/>
        <pc:sldMkLst>
          <pc:docMk/>
          <pc:sldMk cId="2161039759" sldId="286"/>
        </pc:sldMkLst>
      </pc:sldChg>
      <pc:sldChg chg="addSp delSp modSp mod">
        <pc:chgData name="Jon Bennett" userId="f08bf36d-aba7-40c1-b6fc-baa856c3acbf" providerId="ADAL" clId="{EABEEC7E-27AE-46CE-AA87-F6988CE7844D}" dt="2025-02-06T13:09:55.304" v="443" actId="478"/>
        <pc:sldMkLst>
          <pc:docMk/>
          <pc:sldMk cId="3973081514" sldId="290"/>
        </pc:sldMkLst>
        <pc:spChg chg="add mod">
          <ac:chgData name="Jon Bennett" userId="f08bf36d-aba7-40c1-b6fc-baa856c3acbf" providerId="ADAL" clId="{EABEEC7E-27AE-46CE-AA87-F6988CE7844D}" dt="2025-02-05T15:45:27.145" v="287" actId="207"/>
          <ac:spMkLst>
            <pc:docMk/>
            <pc:sldMk cId="3973081514" sldId="290"/>
            <ac:spMk id="3" creationId="{BCF8C1BD-D161-AA52-BD7E-F0EB44A10BB0}"/>
          </ac:spMkLst>
        </pc:spChg>
        <pc:spChg chg="add mod ord">
          <ac:chgData name="Jon Bennett" userId="f08bf36d-aba7-40c1-b6fc-baa856c3acbf" providerId="ADAL" clId="{EABEEC7E-27AE-46CE-AA87-F6988CE7844D}" dt="2025-02-05T15:45:55.308" v="290" actId="167"/>
          <ac:spMkLst>
            <pc:docMk/>
            <pc:sldMk cId="3973081514" sldId="290"/>
            <ac:spMk id="4" creationId="{FEAB69EA-A1A2-C782-223B-5C904400E11E}"/>
          </ac:spMkLst>
        </pc:spChg>
        <pc:spChg chg="del mod">
          <ac:chgData name="Jon Bennett" userId="f08bf36d-aba7-40c1-b6fc-baa856c3acbf" providerId="ADAL" clId="{EABEEC7E-27AE-46CE-AA87-F6988CE7844D}" dt="2025-02-06T13:09:53.863" v="442" actId="478"/>
          <ac:spMkLst>
            <pc:docMk/>
            <pc:sldMk cId="3973081514" sldId="290"/>
            <ac:spMk id="5" creationId="{BDFA308B-DDC9-B4FD-EE8F-6A0A93144DB8}"/>
          </ac:spMkLst>
        </pc:spChg>
        <pc:spChg chg="del mod">
          <ac:chgData name="Jon Bennett" userId="f08bf36d-aba7-40c1-b6fc-baa856c3acbf" providerId="ADAL" clId="{EABEEC7E-27AE-46CE-AA87-F6988CE7844D}" dt="2025-02-06T13:09:55.304" v="443" actId="478"/>
          <ac:spMkLst>
            <pc:docMk/>
            <pc:sldMk cId="3973081514" sldId="290"/>
            <ac:spMk id="6" creationId="{25A2DE51-E4A3-0804-3876-D04D38515597}"/>
          </ac:spMkLst>
        </pc:spChg>
        <pc:spChg chg="add mod">
          <ac:chgData name="Jon Bennett" userId="f08bf36d-aba7-40c1-b6fc-baa856c3acbf" providerId="ADAL" clId="{EABEEC7E-27AE-46CE-AA87-F6988CE7844D}" dt="2025-02-05T15:45:20.769" v="286" actId="1076"/>
          <ac:spMkLst>
            <pc:docMk/>
            <pc:sldMk cId="3973081514" sldId="290"/>
            <ac:spMk id="7" creationId="{3AC0CA9C-2BE3-5933-6CD2-0F704C232553}"/>
          </ac:spMkLst>
        </pc:spChg>
        <pc:spChg chg="add mod">
          <ac:chgData name="Jon Bennett" userId="f08bf36d-aba7-40c1-b6fc-baa856c3acbf" providerId="ADAL" clId="{EABEEC7E-27AE-46CE-AA87-F6988CE7844D}" dt="2025-02-06T13:03:46.621" v="428" actId="20577"/>
          <ac:spMkLst>
            <pc:docMk/>
            <pc:sldMk cId="3973081514" sldId="290"/>
            <ac:spMk id="8" creationId="{F817148A-F69E-91A6-721F-684C38AB4911}"/>
          </ac:spMkLst>
        </pc:spChg>
        <pc:spChg chg="add mod">
          <ac:chgData name="Jon Bennett" userId="f08bf36d-aba7-40c1-b6fc-baa856c3acbf" providerId="ADAL" clId="{EABEEC7E-27AE-46CE-AA87-F6988CE7844D}" dt="2025-02-05T15:46:39.424" v="340" actId="1076"/>
          <ac:spMkLst>
            <pc:docMk/>
            <pc:sldMk cId="3973081514" sldId="290"/>
            <ac:spMk id="9" creationId="{7BD9C6D0-BCB6-132C-9B61-8BCA42081F9E}"/>
          </ac:spMkLst>
        </pc:spChg>
        <pc:spChg chg="add mod">
          <ac:chgData name="Jon Bennett" userId="f08bf36d-aba7-40c1-b6fc-baa856c3acbf" providerId="ADAL" clId="{EABEEC7E-27AE-46CE-AA87-F6988CE7844D}" dt="2025-02-06T13:07:14.425" v="429" actId="20577"/>
          <ac:spMkLst>
            <pc:docMk/>
            <pc:sldMk cId="3973081514" sldId="290"/>
            <ac:spMk id="10" creationId="{6D66CD53-7400-DFD0-6F6D-18A8CB318984}"/>
          </ac:spMkLst>
        </pc:spChg>
        <pc:spChg chg="mod">
          <ac:chgData name="Jon Bennett" userId="f08bf36d-aba7-40c1-b6fc-baa856c3acbf" providerId="ADAL" clId="{EABEEC7E-27AE-46CE-AA87-F6988CE7844D}" dt="2025-02-05T15:51:26.762" v="421" actId="20577"/>
          <ac:spMkLst>
            <pc:docMk/>
            <pc:sldMk cId="3973081514" sldId="290"/>
            <ac:spMk id="11" creationId="{16E5DF13-DF94-A939-1806-70A0EE24A871}"/>
          </ac:spMkLst>
        </pc:spChg>
        <pc:spChg chg="mod">
          <ac:chgData name="Jon Bennett" userId="f08bf36d-aba7-40c1-b6fc-baa856c3acbf" providerId="ADAL" clId="{EABEEC7E-27AE-46CE-AA87-F6988CE7844D}" dt="2025-02-05T15:44:52.585" v="277" actId="1076"/>
          <ac:spMkLst>
            <pc:docMk/>
            <pc:sldMk cId="3973081514" sldId="290"/>
            <ac:spMk id="12" creationId="{D144BFCB-E674-7992-80DE-E1E5B5C91514}"/>
          </ac:spMkLst>
        </pc:spChg>
        <pc:spChg chg="add mod">
          <ac:chgData name="Jon Bennett" userId="f08bf36d-aba7-40c1-b6fc-baa856c3acbf" providerId="ADAL" clId="{EABEEC7E-27AE-46CE-AA87-F6988CE7844D}" dt="2025-02-05T15:47:17.772" v="370" actId="14100"/>
          <ac:spMkLst>
            <pc:docMk/>
            <pc:sldMk cId="3973081514" sldId="290"/>
            <ac:spMk id="13" creationId="{20013400-CCB2-95A5-D391-192C05FE8E07}"/>
          </ac:spMkLst>
        </pc:spChg>
        <pc:spChg chg="mod">
          <ac:chgData name="Jon Bennett" userId="f08bf36d-aba7-40c1-b6fc-baa856c3acbf" providerId="ADAL" clId="{EABEEC7E-27AE-46CE-AA87-F6988CE7844D}" dt="2025-02-05T15:44:52.585" v="277" actId="1076"/>
          <ac:spMkLst>
            <pc:docMk/>
            <pc:sldMk cId="3973081514" sldId="290"/>
            <ac:spMk id="14" creationId="{36305634-12F5-1112-5579-4ABE66A4C96D}"/>
          </ac:spMkLst>
        </pc:spChg>
        <pc:spChg chg="mod">
          <ac:chgData name="Jon Bennett" userId="f08bf36d-aba7-40c1-b6fc-baa856c3acbf" providerId="ADAL" clId="{EABEEC7E-27AE-46CE-AA87-F6988CE7844D}" dt="2025-02-06T13:09:48.434" v="440" actId="20577"/>
          <ac:spMkLst>
            <pc:docMk/>
            <pc:sldMk cId="3973081514" sldId="290"/>
            <ac:spMk id="18" creationId="{DB5A790F-944C-4A8B-303C-737ED200A68A}"/>
          </ac:spMkLst>
        </pc:spChg>
        <pc:spChg chg="mod">
          <ac:chgData name="Jon Bennett" userId="f08bf36d-aba7-40c1-b6fc-baa856c3acbf" providerId="ADAL" clId="{EABEEC7E-27AE-46CE-AA87-F6988CE7844D}" dt="2025-02-05T15:44:52.585" v="277" actId="1076"/>
          <ac:spMkLst>
            <pc:docMk/>
            <pc:sldMk cId="3973081514" sldId="290"/>
            <ac:spMk id="20" creationId="{F9BFEE32-4993-FF20-4ADD-124739FF34CC}"/>
          </ac:spMkLst>
        </pc:spChg>
        <pc:spChg chg="mod">
          <ac:chgData name="Jon Bennett" userId="f08bf36d-aba7-40c1-b6fc-baa856c3acbf" providerId="ADAL" clId="{EABEEC7E-27AE-46CE-AA87-F6988CE7844D}" dt="2025-02-05T15:44:55.576" v="278" actId="14100"/>
          <ac:spMkLst>
            <pc:docMk/>
            <pc:sldMk cId="3973081514" sldId="290"/>
            <ac:spMk id="24" creationId="{ED7CEA4B-0483-1EEE-EB61-FB5F0107797F}"/>
          </ac:spMkLst>
        </pc:spChg>
        <pc:spChg chg="mod">
          <ac:chgData name="Jon Bennett" userId="f08bf36d-aba7-40c1-b6fc-baa856c3acbf" providerId="ADAL" clId="{EABEEC7E-27AE-46CE-AA87-F6988CE7844D}" dt="2025-02-05T15:51:35.229" v="422" actId="14100"/>
          <ac:spMkLst>
            <pc:docMk/>
            <pc:sldMk cId="3973081514" sldId="290"/>
            <ac:spMk id="25" creationId="{929A94A0-20FB-3E92-2EFF-48F439C07948}"/>
          </ac:spMkLst>
        </pc:spChg>
        <pc:spChg chg="mod">
          <ac:chgData name="Jon Bennett" userId="f08bf36d-aba7-40c1-b6fc-baa856c3acbf" providerId="ADAL" clId="{EABEEC7E-27AE-46CE-AA87-F6988CE7844D}" dt="2025-02-05T15:44:06.263" v="266" actId="1076"/>
          <ac:spMkLst>
            <pc:docMk/>
            <pc:sldMk cId="3973081514" sldId="290"/>
            <ac:spMk id="30" creationId="{9DC31C4A-8D9E-3BDB-19E1-D30591A1A5F2}"/>
          </ac:spMkLst>
        </pc:spChg>
        <pc:spChg chg="mod">
          <ac:chgData name="Jon Bennett" userId="f08bf36d-aba7-40c1-b6fc-baa856c3acbf" providerId="ADAL" clId="{EABEEC7E-27AE-46CE-AA87-F6988CE7844D}" dt="2025-02-05T15:44:52.585" v="277" actId="1076"/>
          <ac:spMkLst>
            <pc:docMk/>
            <pc:sldMk cId="3973081514" sldId="290"/>
            <ac:spMk id="31" creationId="{6690C43F-B5DC-D2F9-ED22-24014C9FF08C}"/>
          </ac:spMkLst>
        </pc:spChg>
        <pc:spChg chg="del mod">
          <ac:chgData name="Jon Bennett" userId="f08bf36d-aba7-40c1-b6fc-baa856c3acbf" providerId="ADAL" clId="{EABEEC7E-27AE-46CE-AA87-F6988CE7844D}" dt="2025-02-06T13:09:51.208" v="441" actId="478"/>
          <ac:spMkLst>
            <pc:docMk/>
            <pc:sldMk cId="3973081514" sldId="290"/>
            <ac:spMk id="33" creationId="{52EE6C18-9B27-9E8E-6D31-6C73E688C902}"/>
          </ac:spMkLst>
        </pc:spChg>
      </pc:sldChg>
      <pc:sldChg chg="addSp delSp modSp mod">
        <pc:chgData name="Jon Bennett" userId="f08bf36d-aba7-40c1-b6fc-baa856c3acbf" providerId="ADAL" clId="{EABEEC7E-27AE-46CE-AA87-F6988CE7844D}" dt="2025-02-04T10:01:11.747" v="146" actId="1076"/>
        <pc:sldMkLst>
          <pc:docMk/>
          <pc:sldMk cId="1072605819" sldId="296"/>
        </pc:sldMkLst>
      </pc:sldChg>
    </pc:docChg>
  </pc:docChgLst>
  <pc:docChgLst>
    <pc:chgData name="Hemanth Devaraju" userId="f4721968-c871-481d-ac26-d1a3c9426ea0" providerId="ADAL" clId="{46F91551-37ED-4839-9F81-7DB07B334C09}"/>
    <pc:docChg chg="undo redo custSel modSld">
      <pc:chgData name="Hemanth Devaraju" userId="f4721968-c871-481d-ac26-d1a3c9426ea0" providerId="ADAL" clId="{46F91551-37ED-4839-9F81-7DB07B334C09}" dt="2025-01-10T01:18:43.681" v="1294" actId="1076"/>
      <pc:docMkLst>
        <pc:docMk/>
      </pc:docMkLst>
      <pc:sldChg chg="delSp modSp mod">
        <pc:chgData name="Hemanth Devaraju" userId="f4721968-c871-481d-ac26-d1a3c9426ea0" providerId="ADAL" clId="{46F91551-37ED-4839-9F81-7DB07B334C09}" dt="2025-01-10T00:49:01.555" v="993" actId="478"/>
        <pc:sldMkLst>
          <pc:docMk/>
          <pc:sldMk cId="992006725" sldId="258"/>
        </pc:sldMkLst>
      </pc:sldChg>
      <pc:sldChg chg="addSp delSp modSp mod">
        <pc:chgData name="Hemanth Devaraju" userId="f4721968-c871-481d-ac26-d1a3c9426ea0" providerId="ADAL" clId="{46F91551-37ED-4839-9F81-7DB07B334C09}" dt="2025-01-10T01:08:41.789" v="1272" actId="1076"/>
        <pc:sldMkLst>
          <pc:docMk/>
          <pc:sldMk cId="1573368600" sldId="263"/>
        </pc:sldMkLst>
      </pc:sldChg>
      <pc:sldChg chg="addSp delSp modSp mod">
        <pc:chgData name="Hemanth Devaraju" userId="f4721968-c871-481d-ac26-d1a3c9426ea0" providerId="ADAL" clId="{46F91551-37ED-4839-9F81-7DB07B334C09}" dt="2025-01-10T01:18:43.681" v="1294" actId="1076"/>
        <pc:sldMkLst>
          <pc:docMk/>
          <pc:sldMk cId="1138799537" sldId="268"/>
        </pc:sldMkLst>
        <pc:spChg chg="add mod">
          <ac:chgData name="Hemanth Devaraju" userId="f4721968-c871-481d-ac26-d1a3c9426ea0" providerId="ADAL" clId="{46F91551-37ED-4839-9F81-7DB07B334C09}" dt="2025-01-10T01:18:29.617" v="1292" actId="14100"/>
          <ac:spMkLst>
            <pc:docMk/>
            <pc:sldMk cId="1138799537" sldId="268"/>
            <ac:spMk id="3" creationId="{55D6EE85-A9BA-8C28-A926-D2CFCCA107FF}"/>
          </ac:spMkLst>
        </pc:spChg>
        <pc:spChg chg="add mod">
          <ac:chgData name="Hemanth Devaraju" userId="f4721968-c871-481d-ac26-d1a3c9426ea0" providerId="ADAL" clId="{46F91551-37ED-4839-9F81-7DB07B334C09}" dt="2025-01-10T01:17:56.828" v="1288" actId="1076"/>
          <ac:spMkLst>
            <pc:docMk/>
            <pc:sldMk cId="1138799537" sldId="268"/>
            <ac:spMk id="4" creationId="{425D13EB-AF29-995E-291F-764659BFDAED}"/>
          </ac:spMkLst>
        </pc:spChg>
        <pc:spChg chg="add mod">
          <ac:chgData name="Hemanth Devaraju" userId="f4721968-c871-481d-ac26-d1a3c9426ea0" providerId="ADAL" clId="{46F91551-37ED-4839-9F81-7DB07B334C09}" dt="2025-01-10T01:17:56.828" v="1288" actId="1076"/>
          <ac:spMkLst>
            <pc:docMk/>
            <pc:sldMk cId="1138799537" sldId="268"/>
            <ac:spMk id="7" creationId="{8EA0F6D5-1C51-D87C-348B-4E867EBC16B7}"/>
          </ac:spMkLst>
        </pc:spChg>
        <pc:spChg chg="add mod">
          <ac:chgData name="Hemanth Devaraju" userId="f4721968-c871-481d-ac26-d1a3c9426ea0" providerId="ADAL" clId="{46F91551-37ED-4839-9F81-7DB07B334C09}" dt="2025-01-10T01:18:43.681" v="1294" actId="1076"/>
          <ac:spMkLst>
            <pc:docMk/>
            <pc:sldMk cId="1138799537" sldId="268"/>
            <ac:spMk id="8" creationId="{102DD2C8-71B6-CFBB-8A0B-F9EE873F2F52}"/>
          </ac:spMkLst>
        </pc:spChg>
        <pc:spChg chg="add mod">
          <ac:chgData name="Hemanth Devaraju" userId="f4721968-c871-481d-ac26-d1a3c9426ea0" providerId="ADAL" clId="{46F91551-37ED-4839-9F81-7DB07B334C09}" dt="2025-01-10T01:17:56.828" v="1288" actId="1076"/>
          <ac:spMkLst>
            <pc:docMk/>
            <pc:sldMk cId="1138799537" sldId="268"/>
            <ac:spMk id="9" creationId="{8F81A225-F662-8161-05B6-3F76CC1B0827}"/>
          </ac:spMkLst>
        </pc:spChg>
        <pc:spChg chg="add mod">
          <ac:chgData name="Hemanth Devaraju" userId="f4721968-c871-481d-ac26-d1a3c9426ea0" providerId="ADAL" clId="{46F91551-37ED-4839-9F81-7DB07B334C09}" dt="2025-01-10T01:17:56.828" v="1288" actId="1076"/>
          <ac:spMkLst>
            <pc:docMk/>
            <pc:sldMk cId="1138799537" sldId="268"/>
            <ac:spMk id="10" creationId="{57F68571-AC73-3F38-89AC-3CA6E09F4091}"/>
          </ac:spMkLst>
        </pc:spChg>
        <pc:spChg chg="add mod">
          <ac:chgData name="Hemanth Devaraju" userId="f4721968-c871-481d-ac26-d1a3c9426ea0" providerId="ADAL" clId="{46F91551-37ED-4839-9F81-7DB07B334C09}" dt="2025-01-10T00:37:51.079" v="808" actId="20577"/>
          <ac:spMkLst>
            <pc:docMk/>
            <pc:sldMk cId="1138799537" sldId="268"/>
            <ac:spMk id="11" creationId="{9A7FF3D1-B018-D206-6654-47315FDD97C1}"/>
          </ac:spMkLst>
        </pc:spChg>
      </pc:sldChg>
    </pc:docChg>
  </pc:docChgLst>
  <pc:docChgLst>
    <pc:chgData name="Saket Prasad" userId="S::saket.prasad1@brillio.com::698c518c-6d6c-4827-87cb-6a92b9809cc4" providerId="AD" clId="Web-{C1FD7441-A056-579F-2CB2-7BA771650F3D}"/>
    <pc:docChg chg="modSld">
      <pc:chgData name="Saket Prasad" userId="S::saket.prasad1@brillio.com::698c518c-6d6c-4827-87cb-6a92b9809cc4" providerId="AD" clId="Web-{C1FD7441-A056-579F-2CB2-7BA771650F3D}" dt="2025-01-13T10:00:41.590" v="64"/>
      <pc:docMkLst>
        <pc:docMk/>
      </pc:docMkLst>
      <pc:sldChg chg="addSp delSp modSp addAnim delAnim">
        <pc:chgData name="Saket Prasad" userId="S::saket.prasad1@brillio.com::698c518c-6d6c-4827-87cb-6a92b9809cc4" providerId="AD" clId="Web-{C1FD7441-A056-579F-2CB2-7BA771650F3D}" dt="2025-01-13T10:00:41.590" v="64"/>
        <pc:sldMkLst>
          <pc:docMk/>
          <pc:sldMk cId="1889066921" sldId="271"/>
        </pc:sldMkLst>
      </pc:sldChg>
    </pc:docChg>
  </pc:docChgLst>
  <pc:docChgLst>
    <pc:chgData name="Siddhi Paliwal" userId="3ef3921d-16b8-4854-8920-f0b2bd004b9f" providerId="ADAL" clId="{5A4E854C-3520-4148-9A42-EFCEE9920127}"/>
    <pc:docChg chg="undo custSel addSld delSld modSld sldOrd modMainMaster">
      <pc:chgData name="Siddhi Paliwal" userId="3ef3921d-16b8-4854-8920-f0b2bd004b9f" providerId="ADAL" clId="{5A4E854C-3520-4148-9A42-EFCEE9920127}" dt="2025-01-16T10:08:39.712" v="2750" actId="1036"/>
      <pc:docMkLst>
        <pc:docMk/>
      </pc:docMkLst>
      <pc:sldChg chg="modSp del mod">
        <pc:chgData name="Siddhi Paliwal" userId="3ef3921d-16b8-4854-8920-f0b2bd004b9f" providerId="ADAL" clId="{5A4E854C-3520-4148-9A42-EFCEE9920127}" dt="2025-01-13T15:17:50.792" v="1961" actId="2696"/>
        <pc:sldMkLst>
          <pc:docMk/>
          <pc:sldMk cId="2831883595" sldId="256"/>
        </pc:sldMkLst>
      </pc:sldChg>
      <pc:sldChg chg="modSp mod">
        <pc:chgData name="Siddhi Paliwal" userId="3ef3921d-16b8-4854-8920-f0b2bd004b9f" providerId="ADAL" clId="{5A4E854C-3520-4148-9A42-EFCEE9920127}" dt="2025-01-16T10:08:39.712" v="2750" actId="1036"/>
        <pc:sldMkLst>
          <pc:docMk/>
          <pc:sldMk cId="3021614010" sldId="256"/>
        </pc:sldMkLst>
        <pc:spChg chg="mod">
          <ac:chgData name="Siddhi Paliwal" userId="3ef3921d-16b8-4854-8920-f0b2bd004b9f" providerId="ADAL" clId="{5A4E854C-3520-4148-9A42-EFCEE9920127}" dt="2025-01-16T10:08:14.911" v="2742" actId="2085"/>
          <ac:spMkLst>
            <pc:docMk/>
            <pc:sldMk cId="3021614010" sldId="256"/>
            <ac:spMk id="18" creationId="{BF36271B-6F66-77D5-1827-BC35DBC674DA}"/>
          </ac:spMkLst>
        </pc:spChg>
        <pc:spChg chg="mod">
          <ac:chgData name="Siddhi Paliwal" userId="3ef3921d-16b8-4854-8920-f0b2bd004b9f" providerId="ADAL" clId="{5A4E854C-3520-4148-9A42-EFCEE9920127}" dt="2025-01-16T10:08:06.611" v="2740" actId="2085"/>
          <ac:spMkLst>
            <pc:docMk/>
            <pc:sldMk cId="3021614010" sldId="256"/>
            <ac:spMk id="24" creationId="{FF2534E6-77A4-3902-27D3-91C5E784BA75}"/>
          </ac:spMkLst>
        </pc:spChg>
        <pc:spChg chg="mod">
          <ac:chgData name="Siddhi Paliwal" userId="3ef3921d-16b8-4854-8920-f0b2bd004b9f" providerId="ADAL" clId="{5A4E854C-3520-4148-9A42-EFCEE9920127}" dt="2025-01-16T10:00:04.256" v="2738" actId="2085"/>
          <ac:spMkLst>
            <pc:docMk/>
            <pc:sldMk cId="3021614010" sldId="256"/>
            <ac:spMk id="32" creationId="{804DDC85-74E8-E571-C5CE-7D0915D51A5D}"/>
          </ac:spMkLst>
        </pc:spChg>
        <pc:spChg chg="mod">
          <ac:chgData name="Siddhi Paliwal" userId="3ef3921d-16b8-4854-8920-f0b2bd004b9f" providerId="ADAL" clId="{5A4E854C-3520-4148-9A42-EFCEE9920127}" dt="2025-01-16T10:08:39.712" v="2750" actId="1036"/>
          <ac:spMkLst>
            <pc:docMk/>
            <pc:sldMk cId="3021614010" sldId="256"/>
            <ac:spMk id="33" creationId="{A87F4560-699D-057B-8275-288047A32D9E}"/>
          </ac:spMkLst>
        </pc:spChg>
        <pc:spChg chg="mod">
          <ac:chgData name="Siddhi Paliwal" userId="3ef3921d-16b8-4854-8920-f0b2bd004b9f" providerId="ADAL" clId="{5A4E854C-3520-4148-9A42-EFCEE9920127}" dt="2025-01-16T10:08:23.865" v="2744" actId="2085"/>
          <ac:spMkLst>
            <pc:docMk/>
            <pc:sldMk cId="3021614010" sldId="256"/>
            <ac:spMk id="55" creationId="{DC68061B-270F-FA2B-338B-B62C62C6ECC1}"/>
          </ac:spMkLst>
        </pc:spChg>
      </pc:sldChg>
      <pc:sldChg chg="del">
        <pc:chgData name="Siddhi Paliwal" userId="3ef3921d-16b8-4854-8920-f0b2bd004b9f" providerId="ADAL" clId="{5A4E854C-3520-4148-9A42-EFCEE9920127}" dt="2025-01-13T14:34:38.114" v="1507" actId="2696"/>
        <pc:sldMkLst>
          <pc:docMk/>
          <pc:sldMk cId="2378481855" sldId="257"/>
        </pc:sldMkLst>
      </pc:sldChg>
      <pc:sldChg chg="addSp delSp modSp add mod modClrScheme chgLayout">
        <pc:chgData name="Siddhi Paliwal" userId="3ef3921d-16b8-4854-8920-f0b2bd004b9f" providerId="ADAL" clId="{5A4E854C-3520-4148-9A42-EFCEE9920127}" dt="2025-01-13T13:24:27.202" v="1192" actId="478"/>
        <pc:sldMkLst>
          <pc:docMk/>
          <pc:sldMk cId="205159607" sldId="258"/>
        </pc:sldMkLst>
      </pc:sldChg>
      <pc:sldChg chg="modSp del mod modClrScheme chgLayout">
        <pc:chgData name="Siddhi Paliwal" userId="3ef3921d-16b8-4854-8920-f0b2bd004b9f" providerId="ADAL" clId="{5A4E854C-3520-4148-9A42-EFCEE9920127}" dt="2025-01-13T12:40:57.034" v="884" actId="2696"/>
        <pc:sldMkLst>
          <pc:docMk/>
          <pc:sldMk cId="992006725" sldId="258"/>
        </pc:sldMkLst>
      </pc:sldChg>
      <pc:sldChg chg="modSp add mod ord">
        <pc:chgData name="Siddhi Paliwal" userId="3ef3921d-16b8-4854-8920-f0b2bd004b9f" providerId="ADAL" clId="{5A4E854C-3520-4148-9A42-EFCEE9920127}" dt="2025-01-13T15:09:08.800" v="1880" actId="20577"/>
        <pc:sldMkLst>
          <pc:docMk/>
          <pc:sldMk cId="1593385419" sldId="260"/>
        </pc:sldMkLst>
        <pc:spChg chg="mod">
          <ac:chgData name="Siddhi Paliwal" userId="3ef3921d-16b8-4854-8920-f0b2bd004b9f" providerId="ADAL" clId="{5A4E854C-3520-4148-9A42-EFCEE9920127}" dt="2025-01-13T15:09:08.800" v="1880" actId="20577"/>
          <ac:spMkLst>
            <pc:docMk/>
            <pc:sldMk cId="1593385419" sldId="260"/>
            <ac:spMk id="19" creationId="{5EF01094-171F-A251-08EB-ADF4056E0AC4}"/>
          </ac:spMkLst>
        </pc:spChg>
      </pc:sldChg>
      <pc:sldChg chg="addSp delSp modSp mod modClrScheme chgLayout">
        <pc:chgData name="Siddhi Paliwal" userId="3ef3921d-16b8-4854-8920-f0b2bd004b9f" providerId="ADAL" clId="{5A4E854C-3520-4148-9A42-EFCEE9920127}" dt="2025-01-13T13:37:23.174" v="1295" actId="478"/>
        <pc:sldMkLst>
          <pc:docMk/>
          <pc:sldMk cId="3659709379" sldId="260"/>
        </pc:sldMkLst>
      </pc:sldChg>
      <pc:sldChg chg="modSp add mod ord">
        <pc:chgData name="Siddhi Paliwal" userId="3ef3921d-16b8-4854-8920-f0b2bd004b9f" providerId="ADAL" clId="{5A4E854C-3520-4148-9A42-EFCEE9920127}" dt="2025-01-13T15:10:03.143" v="1894" actId="20577"/>
        <pc:sldMkLst>
          <pc:docMk/>
          <pc:sldMk cId="3438439602" sldId="261"/>
        </pc:sldMkLst>
        <pc:spChg chg="mod">
          <ac:chgData name="Siddhi Paliwal" userId="3ef3921d-16b8-4854-8920-f0b2bd004b9f" providerId="ADAL" clId="{5A4E854C-3520-4148-9A42-EFCEE9920127}" dt="2025-01-13T15:10:03.143" v="1894" actId="20577"/>
          <ac:spMkLst>
            <pc:docMk/>
            <pc:sldMk cId="3438439602" sldId="261"/>
            <ac:spMk id="19" creationId="{5EF01094-171F-A251-08EB-ADF4056E0AC4}"/>
          </ac:spMkLst>
        </pc:spChg>
      </pc:sldChg>
      <pc:sldChg chg="delSp modSp add mod">
        <pc:chgData name="Siddhi Paliwal" userId="3ef3921d-16b8-4854-8920-f0b2bd004b9f" providerId="ADAL" clId="{5A4E854C-3520-4148-9A42-EFCEE9920127}" dt="2025-01-16T08:45:00.394" v="2282" actId="20577"/>
        <pc:sldMkLst>
          <pc:docMk/>
          <pc:sldMk cId="3112683689" sldId="262"/>
        </pc:sldMkLst>
        <pc:spChg chg="mod">
          <ac:chgData name="Siddhi Paliwal" userId="3ef3921d-16b8-4854-8920-f0b2bd004b9f" providerId="ADAL" clId="{5A4E854C-3520-4148-9A42-EFCEE9920127}" dt="2025-01-16T08:44:44.739" v="2269" actId="948"/>
          <ac:spMkLst>
            <pc:docMk/>
            <pc:sldMk cId="3112683689" sldId="262"/>
            <ac:spMk id="3" creationId="{6FAF2BE4-9C90-C04B-5F78-BBBDE63578DE}"/>
          </ac:spMkLst>
        </pc:spChg>
        <pc:spChg chg="mod">
          <ac:chgData name="Siddhi Paliwal" userId="3ef3921d-16b8-4854-8920-f0b2bd004b9f" providerId="ADAL" clId="{5A4E854C-3520-4148-9A42-EFCEE9920127}" dt="2025-01-16T08:45:00.394" v="2282" actId="20577"/>
          <ac:spMkLst>
            <pc:docMk/>
            <pc:sldMk cId="3112683689" sldId="262"/>
            <ac:spMk id="9" creationId="{ABF5E307-C06B-4071-D5A1-90C0454A7B01}"/>
          </ac:spMkLst>
        </pc:spChg>
      </pc:sldChg>
      <pc:sldChg chg="addSp delSp modSp del mod modClrScheme chgLayout">
        <pc:chgData name="Siddhi Paliwal" userId="3ef3921d-16b8-4854-8920-f0b2bd004b9f" providerId="ADAL" clId="{5A4E854C-3520-4148-9A42-EFCEE9920127}" dt="2025-01-13T12:24:05.356" v="752" actId="2696"/>
        <pc:sldMkLst>
          <pc:docMk/>
          <pc:sldMk cId="1573368600" sldId="263"/>
        </pc:sldMkLst>
      </pc:sldChg>
      <pc:sldChg chg="addSp delSp modSp add mod modClrScheme chgLayout">
        <pc:chgData name="Siddhi Paliwal" userId="3ef3921d-16b8-4854-8920-f0b2bd004b9f" providerId="ADAL" clId="{5A4E854C-3520-4148-9A42-EFCEE9920127}" dt="2025-01-16T07:25:40.743" v="2153" actId="14100"/>
        <pc:sldMkLst>
          <pc:docMk/>
          <pc:sldMk cId="1780373343" sldId="263"/>
        </pc:sldMkLst>
      </pc:sldChg>
      <pc:sldChg chg="add del">
        <pc:chgData name="Siddhi Paliwal" userId="3ef3921d-16b8-4854-8920-f0b2bd004b9f" providerId="ADAL" clId="{5A4E854C-3520-4148-9A42-EFCEE9920127}" dt="2025-01-13T15:30:58.055" v="2027" actId="2696"/>
        <pc:sldMkLst>
          <pc:docMk/>
          <pc:sldMk cId="225245726" sldId="264"/>
        </pc:sldMkLst>
      </pc:sldChg>
      <pc:sldChg chg="modSp add del mod ord">
        <pc:chgData name="Siddhi Paliwal" userId="3ef3921d-16b8-4854-8920-f0b2bd004b9f" providerId="ADAL" clId="{5A4E854C-3520-4148-9A42-EFCEE9920127}" dt="2025-01-13T13:50:39.727" v="1460" actId="2696"/>
        <pc:sldMkLst>
          <pc:docMk/>
          <pc:sldMk cId="2982532342" sldId="264"/>
        </pc:sldMkLst>
      </pc:sldChg>
      <pc:sldChg chg="del">
        <pc:chgData name="Siddhi Paliwal" userId="3ef3921d-16b8-4854-8920-f0b2bd004b9f" providerId="ADAL" clId="{5A4E854C-3520-4148-9A42-EFCEE9920127}" dt="2025-01-13T11:23:19.998" v="433" actId="2696"/>
        <pc:sldMkLst>
          <pc:docMk/>
          <pc:sldMk cId="3257369342" sldId="264"/>
        </pc:sldMkLst>
      </pc:sldChg>
      <pc:sldChg chg="addSp delSp modSp add mod modClrScheme chgLayout">
        <pc:chgData name="Siddhi Paliwal" userId="3ef3921d-16b8-4854-8920-f0b2bd004b9f" providerId="ADAL" clId="{5A4E854C-3520-4148-9A42-EFCEE9920127}" dt="2025-01-13T15:33:32.805" v="2040" actId="207"/>
        <pc:sldMkLst>
          <pc:docMk/>
          <pc:sldMk cId="4115846931" sldId="264"/>
        </pc:sldMkLst>
        <pc:spChg chg="mod">
          <ac:chgData name="Siddhi Paliwal" userId="3ef3921d-16b8-4854-8920-f0b2bd004b9f" providerId="ADAL" clId="{5A4E854C-3520-4148-9A42-EFCEE9920127}" dt="2025-01-13T15:33:13.306" v="2035" actId="207"/>
          <ac:spMkLst>
            <pc:docMk/>
            <pc:sldMk cId="4115846931" sldId="264"/>
            <ac:spMk id="4" creationId="{5C2D383C-2C22-44F5-73BB-58BB19319C2F}"/>
          </ac:spMkLst>
        </pc:spChg>
        <pc:spChg chg="mod">
          <ac:chgData name="Siddhi Paliwal" userId="3ef3921d-16b8-4854-8920-f0b2bd004b9f" providerId="ADAL" clId="{5A4E854C-3520-4148-9A42-EFCEE9920127}" dt="2025-01-13T15:33:13.306" v="2035" actId="207"/>
          <ac:spMkLst>
            <pc:docMk/>
            <pc:sldMk cId="4115846931" sldId="264"/>
            <ac:spMk id="9" creationId="{2FB269F9-C8B8-0C00-EC47-F11B47CE0BB4}"/>
          </ac:spMkLst>
        </pc:spChg>
        <pc:spChg chg="mod">
          <ac:chgData name="Siddhi Paliwal" userId="3ef3921d-16b8-4854-8920-f0b2bd004b9f" providerId="ADAL" clId="{5A4E854C-3520-4148-9A42-EFCEE9920127}" dt="2025-01-13T15:33:13.306" v="2035" actId="207"/>
          <ac:spMkLst>
            <pc:docMk/>
            <pc:sldMk cId="4115846931" sldId="264"/>
            <ac:spMk id="11" creationId="{593D77C9-4CFC-959E-98DB-C958D8BA67B6}"/>
          </ac:spMkLst>
        </pc:spChg>
        <pc:spChg chg="mod">
          <ac:chgData name="Siddhi Paliwal" userId="3ef3921d-16b8-4854-8920-f0b2bd004b9f" providerId="ADAL" clId="{5A4E854C-3520-4148-9A42-EFCEE9920127}" dt="2025-01-13T15:33:13.306" v="2035" actId="207"/>
          <ac:spMkLst>
            <pc:docMk/>
            <pc:sldMk cId="4115846931" sldId="264"/>
            <ac:spMk id="12" creationId="{F1CD3BE5-5C75-E865-0DA6-F9BC00269989}"/>
          </ac:spMkLst>
        </pc:spChg>
        <pc:spChg chg="add del mod">
          <ac:chgData name="Siddhi Paliwal" userId="3ef3921d-16b8-4854-8920-f0b2bd004b9f" providerId="ADAL" clId="{5A4E854C-3520-4148-9A42-EFCEE9920127}" dt="2025-01-13T15:33:23.535" v="2038" actId="478"/>
          <ac:spMkLst>
            <pc:docMk/>
            <pc:sldMk cId="4115846931" sldId="264"/>
            <ac:spMk id="19" creationId="{6C3E34AA-1072-7B7D-0C02-05BDBF9018F8}"/>
          </ac:spMkLst>
        </pc:spChg>
        <pc:spChg chg="mod">
          <ac:chgData name="Siddhi Paliwal" userId="3ef3921d-16b8-4854-8920-f0b2bd004b9f" providerId="ADAL" clId="{5A4E854C-3520-4148-9A42-EFCEE9920127}" dt="2025-01-13T15:33:13.306" v="2035" actId="207"/>
          <ac:spMkLst>
            <pc:docMk/>
            <pc:sldMk cId="4115846931" sldId="264"/>
            <ac:spMk id="32" creationId="{C30DE321-4FF6-5AEC-3C7B-FC30650AFE5D}"/>
          </ac:spMkLst>
        </pc:spChg>
        <pc:spChg chg="mod">
          <ac:chgData name="Siddhi Paliwal" userId="3ef3921d-16b8-4854-8920-f0b2bd004b9f" providerId="ADAL" clId="{5A4E854C-3520-4148-9A42-EFCEE9920127}" dt="2025-01-13T15:33:13.306" v="2035" actId="207"/>
          <ac:spMkLst>
            <pc:docMk/>
            <pc:sldMk cId="4115846931" sldId="264"/>
            <ac:spMk id="33" creationId="{57660CAA-DC76-FCFB-EFAF-2454B7D895EA}"/>
          </ac:spMkLst>
        </pc:spChg>
        <pc:spChg chg="mod">
          <ac:chgData name="Siddhi Paliwal" userId="3ef3921d-16b8-4854-8920-f0b2bd004b9f" providerId="ADAL" clId="{5A4E854C-3520-4148-9A42-EFCEE9920127}" dt="2025-01-13T15:33:13.306" v="2035" actId="207"/>
          <ac:spMkLst>
            <pc:docMk/>
            <pc:sldMk cId="4115846931" sldId="264"/>
            <ac:spMk id="34" creationId="{0AA99616-D723-A50C-09EC-FC3560AF88DB}"/>
          </ac:spMkLst>
        </pc:spChg>
        <pc:spChg chg="mod">
          <ac:chgData name="Siddhi Paliwal" userId="3ef3921d-16b8-4854-8920-f0b2bd004b9f" providerId="ADAL" clId="{5A4E854C-3520-4148-9A42-EFCEE9920127}" dt="2025-01-13T15:33:13.306" v="2035" actId="207"/>
          <ac:spMkLst>
            <pc:docMk/>
            <pc:sldMk cId="4115846931" sldId="264"/>
            <ac:spMk id="35" creationId="{19C9035D-C963-A324-C725-A7CB29044848}"/>
          </ac:spMkLst>
        </pc:spChg>
        <pc:spChg chg="mod">
          <ac:chgData name="Siddhi Paliwal" userId="3ef3921d-16b8-4854-8920-f0b2bd004b9f" providerId="ADAL" clId="{5A4E854C-3520-4148-9A42-EFCEE9920127}" dt="2025-01-13T15:33:13.306" v="2035" actId="207"/>
          <ac:spMkLst>
            <pc:docMk/>
            <pc:sldMk cId="4115846931" sldId="264"/>
            <ac:spMk id="36" creationId="{D611A442-5C6B-5606-6F6A-62CCD4D6976D}"/>
          </ac:spMkLst>
        </pc:spChg>
        <pc:spChg chg="mod">
          <ac:chgData name="Siddhi Paliwal" userId="3ef3921d-16b8-4854-8920-f0b2bd004b9f" providerId="ADAL" clId="{5A4E854C-3520-4148-9A42-EFCEE9920127}" dt="2025-01-13T15:33:13.306" v="2035" actId="207"/>
          <ac:spMkLst>
            <pc:docMk/>
            <pc:sldMk cId="4115846931" sldId="264"/>
            <ac:spMk id="47" creationId="{E7DF489C-7A35-5C65-0A49-4B8ABCAFE33E}"/>
          </ac:spMkLst>
        </pc:spChg>
        <pc:spChg chg="mod">
          <ac:chgData name="Siddhi Paliwal" userId="3ef3921d-16b8-4854-8920-f0b2bd004b9f" providerId="ADAL" clId="{5A4E854C-3520-4148-9A42-EFCEE9920127}" dt="2025-01-13T15:33:13.306" v="2035" actId="207"/>
          <ac:spMkLst>
            <pc:docMk/>
            <pc:sldMk cId="4115846931" sldId="264"/>
            <ac:spMk id="48" creationId="{19DD2E37-C2FD-2E63-5DD6-AAD2139F05B1}"/>
          </ac:spMkLst>
        </pc:spChg>
        <pc:spChg chg="mod">
          <ac:chgData name="Siddhi Paliwal" userId="3ef3921d-16b8-4854-8920-f0b2bd004b9f" providerId="ADAL" clId="{5A4E854C-3520-4148-9A42-EFCEE9920127}" dt="2025-01-13T15:33:13.306" v="2035" actId="207"/>
          <ac:spMkLst>
            <pc:docMk/>
            <pc:sldMk cId="4115846931" sldId="264"/>
            <ac:spMk id="49" creationId="{4D9AAAB8-B9F9-E11B-9583-EA84E3F4C7C5}"/>
          </ac:spMkLst>
        </pc:spChg>
        <pc:spChg chg="mod">
          <ac:chgData name="Siddhi Paliwal" userId="3ef3921d-16b8-4854-8920-f0b2bd004b9f" providerId="ADAL" clId="{5A4E854C-3520-4148-9A42-EFCEE9920127}" dt="2025-01-13T15:33:13.306" v="2035" actId="207"/>
          <ac:spMkLst>
            <pc:docMk/>
            <pc:sldMk cId="4115846931" sldId="264"/>
            <ac:spMk id="50" creationId="{9889FE5C-A382-D5F1-665E-7DB186A9D571}"/>
          </ac:spMkLst>
        </pc:spChg>
        <pc:spChg chg="mod">
          <ac:chgData name="Siddhi Paliwal" userId="3ef3921d-16b8-4854-8920-f0b2bd004b9f" providerId="ADAL" clId="{5A4E854C-3520-4148-9A42-EFCEE9920127}" dt="2025-01-13T15:33:13.306" v="2035" actId="207"/>
          <ac:spMkLst>
            <pc:docMk/>
            <pc:sldMk cId="4115846931" sldId="264"/>
            <ac:spMk id="61" creationId="{F1FDB2B0-176F-8515-1AC9-20ABDF3D143A}"/>
          </ac:spMkLst>
        </pc:spChg>
        <pc:spChg chg="mod">
          <ac:chgData name="Siddhi Paliwal" userId="3ef3921d-16b8-4854-8920-f0b2bd004b9f" providerId="ADAL" clId="{5A4E854C-3520-4148-9A42-EFCEE9920127}" dt="2025-01-13T15:33:13.306" v="2035" actId="207"/>
          <ac:spMkLst>
            <pc:docMk/>
            <pc:sldMk cId="4115846931" sldId="264"/>
            <ac:spMk id="62" creationId="{ADEA09FF-00F0-40E2-2CA0-8A621884EC51}"/>
          </ac:spMkLst>
        </pc:spChg>
        <pc:spChg chg="mod">
          <ac:chgData name="Siddhi Paliwal" userId="3ef3921d-16b8-4854-8920-f0b2bd004b9f" providerId="ADAL" clId="{5A4E854C-3520-4148-9A42-EFCEE9920127}" dt="2025-01-13T15:33:13.306" v="2035" actId="207"/>
          <ac:spMkLst>
            <pc:docMk/>
            <pc:sldMk cId="4115846931" sldId="264"/>
            <ac:spMk id="63" creationId="{E7D888DA-BB56-9470-D959-E61D683CE8B3}"/>
          </ac:spMkLst>
        </pc:spChg>
        <pc:spChg chg="mod">
          <ac:chgData name="Siddhi Paliwal" userId="3ef3921d-16b8-4854-8920-f0b2bd004b9f" providerId="ADAL" clId="{5A4E854C-3520-4148-9A42-EFCEE9920127}" dt="2025-01-13T15:33:13.306" v="2035" actId="207"/>
          <ac:spMkLst>
            <pc:docMk/>
            <pc:sldMk cId="4115846931" sldId="264"/>
            <ac:spMk id="65" creationId="{969D9162-E770-C18B-5B6F-00F74FDB67E6}"/>
          </ac:spMkLst>
        </pc:spChg>
        <pc:spChg chg="mod">
          <ac:chgData name="Siddhi Paliwal" userId="3ef3921d-16b8-4854-8920-f0b2bd004b9f" providerId="ADAL" clId="{5A4E854C-3520-4148-9A42-EFCEE9920127}" dt="2025-01-13T15:33:13.306" v="2035" actId="207"/>
          <ac:spMkLst>
            <pc:docMk/>
            <pc:sldMk cId="4115846931" sldId="264"/>
            <ac:spMk id="67" creationId="{EF94EFC7-EB58-6033-C313-97E30F4B53E0}"/>
          </ac:spMkLst>
        </pc:spChg>
        <pc:spChg chg="mod">
          <ac:chgData name="Siddhi Paliwal" userId="3ef3921d-16b8-4854-8920-f0b2bd004b9f" providerId="ADAL" clId="{5A4E854C-3520-4148-9A42-EFCEE9920127}" dt="2025-01-13T15:33:13.306" v="2035" actId="207"/>
          <ac:spMkLst>
            <pc:docMk/>
            <pc:sldMk cId="4115846931" sldId="264"/>
            <ac:spMk id="69" creationId="{0E8007CF-6B34-24FD-CA4B-E208FA71E555}"/>
          </ac:spMkLst>
        </pc:spChg>
        <pc:picChg chg="mod">
          <ac:chgData name="Siddhi Paliwal" userId="3ef3921d-16b8-4854-8920-f0b2bd004b9f" providerId="ADAL" clId="{5A4E854C-3520-4148-9A42-EFCEE9920127}" dt="2025-01-13T15:33:32.805" v="2040" actId="207"/>
          <ac:picMkLst>
            <pc:docMk/>
            <pc:sldMk cId="4115846931" sldId="264"/>
            <ac:picMk id="46" creationId="{CAAA7B9F-761B-45C8-B3C8-89B757A398B7}"/>
          </ac:picMkLst>
        </pc:picChg>
      </pc:sldChg>
      <pc:sldChg chg="del">
        <pc:chgData name="Siddhi Paliwal" userId="3ef3921d-16b8-4854-8920-f0b2bd004b9f" providerId="ADAL" clId="{5A4E854C-3520-4148-9A42-EFCEE9920127}" dt="2025-01-13T15:03:59.391" v="1718" actId="2696"/>
        <pc:sldMkLst>
          <pc:docMk/>
          <pc:sldMk cId="2384182653" sldId="265"/>
        </pc:sldMkLst>
      </pc:sldChg>
      <pc:sldChg chg="add">
        <pc:chgData name="Siddhi Paliwal" userId="3ef3921d-16b8-4854-8920-f0b2bd004b9f" providerId="ADAL" clId="{5A4E854C-3520-4148-9A42-EFCEE9920127}" dt="2025-01-13T15:04:08.007" v="1719"/>
        <pc:sldMkLst>
          <pc:docMk/>
          <pc:sldMk cId="3405252415" sldId="265"/>
        </pc:sldMkLst>
      </pc:sldChg>
      <pc:sldChg chg="delSp modSp add mod">
        <pc:chgData name="Siddhi Paliwal" userId="3ef3921d-16b8-4854-8920-f0b2bd004b9f" providerId="ADAL" clId="{5A4E854C-3520-4148-9A42-EFCEE9920127}" dt="2025-01-13T15:10:28.146" v="1907" actId="478"/>
        <pc:sldMkLst>
          <pc:docMk/>
          <pc:sldMk cId="3070032568" sldId="266"/>
        </pc:sldMkLst>
        <pc:spChg chg="mod">
          <ac:chgData name="Siddhi Paliwal" userId="3ef3921d-16b8-4854-8920-f0b2bd004b9f" providerId="ADAL" clId="{5A4E854C-3520-4148-9A42-EFCEE9920127}" dt="2025-01-13T15:10:24.804" v="1906" actId="20577"/>
          <ac:spMkLst>
            <pc:docMk/>
            <pc:sldMk cId="3070032568" sldId="266"/>
            <ac:spMk id="19" creationId="{5EF01094-171F-A251-08EB-ADF4056E0AC4}"/>
          </ac:spMkLst>
        </pc:spChg>
      </pc:sldChg>
      <pc:sldChg chg="addSp delSp modSp mod modClrScheme chgLayout">
        <pc:chgData name="Siddhi Paliwal" userId="3ef3921d-16b8-4854-8920-f0b2bd004b9f" providerId="ADAL" clId="{5A4E854C-3520-4148-9A42-EFCEE9920127}" dt="2025-01-13T13:35:16.519" v="1249" actId="14100"/>
        <pc:sldMkLst>
          <pc:docMk/>
          <pc:sldMk cId="1138799537" sldId="268"/>
        </pc:sldMkLst>
        <pc:spChg chg="mod">
          <ac:chgData name="Siddhi Paliwal" userId="3ef3921d-16b8-4854-8920-f0b2bd004b9f" providerId="ADAL" clId="{5A4E854C-3520-4148-9A42-EFCEE9920127}" dt="2025-01-13T13:35:16.519" v="1249" actId="14100"/>
          <ac:spMkLst>
            <pc:docMk/>
            <pc:sldMk cId="1138799537" sldId="268"/>
            <ac:spMk id="3" creationId="{55D6EE85-A9BA-8C28-A926-D2CFCCA107FF}"/>
          </ac:spMkLst>
        </pc:spChg>
        <pc:spChg chg="mod">
          <ac:chgData name="Siddhi Paliwal" userId="3ef3921d-16b8-4854-8920-f0b2bd004b9f" providerId="ADAL" clId="{5A4E854C-3520-4148-9A42-EFCEE9920127}" dt="2025-01-13T13:33:51.117" v="1242" actId="207"/>
          <ac:spMkLst>
            <pc:docMk/>
            <pc:sldMk cId="1138799537" sldId="268"/>
            <ac:spMk id="4" creationId="{425D13EB-AF29-995E-291F-764659BFDAED}"/>
          </ac:spMkLst>
        </pc:spChg>
        <pc:spChg chg="mod">
          <ac:chgData name="Siddhi Paliwal" userId="3ef3921d-16b8-4854-8920-f0b2bd004b9f" providerId="ADAL" clId="{5A4E854C-3520-4148-9A42-EFCEE9920127}" dt="2025-01-13T13:34:39.518" v="1246" actId="207"/>
          <ac:spMkLst>
            <pc:docMk/>
            <pc:sldMk cId="1138799537" sldId="268"/>
            <ac:spMk id="7" creationId="{8EA0F6D5-1C51-D87C-348B-4E867EBC16B7}"/>
          </ac:spMkLst>
        </pc:spChg>
        <pc:spChg chg="mod">
          <ac:chgData name="Siddhi Paliwal" userId="3ef3921d-16b8-4854-8920-f0b2bd004b9f" providerId="ADAL" clId="{5A4E854C-3520-4148-9A42-EFCEE9920127}" dt="2025-01-13T13:33:51.117" v="1242" actId="207"/>
          <ac:spMkLst>
            <pc:docMk/>
            <pc:sldMk cId="1138799537" sldId="268"/>
            <ac:spMk id="9" creationId="{8F81A225-F662-8161-05B6-3F76CC1B0827}"/>
          </ac:spMkLst>
        </pc:spChg>
        <pc:spChg chg="mod">
          <ac:chgData name="Siddhi Paliwal" userId="3ef3921d-16b8-4854-8920-f0b2bd004b9f" providerId="ADAL" clId="{5A4E854C-3520-4148-9A42-EFCEE9920127}" dt="2025-01-13T13:34:52.118" v="1248" actId="207"/>
          <ac:spMkLst>
            <pc:docMk/>
            <pc:sldMk cId="1138799537" sldId="268"/>
            <ac:spMk id="10" creationId="{57F68571-AC73-3F38-89AC-3CA6E09F4091}"/>
          </ac:spMkLst>
        </pc:spChg>
        <pc:spChg chg="mod">
          <ac:chgData name="Siddhi Paliwal" userId="3ef3921d-16b8-4854-8920-f0b2bd004b9f" providerId="ADAL" clId="{5A4E854C-3520-4148-9A42-EFCEE9920127}" dt="2025-01-13T13:27:49.846" v="1215" actId="255"/>
          <ac:spMkLst>
            <pc:docMk/>
            <pc:sldMk cId="1138799537" sldId="268"/>
            <ac:spMk id="11" creationId="{9A7FF3D1-B018-D206-6654-47315FDD97C1}"/>
          </ac:spMkLst>
        </pc:spChg>
        <pc:spChg chg="add mod">
          <ac:chgData name="Siddhi Paliwal" userId="3ef3921d-16b8-4854-8920-f0b2bd004b9f" providerId="ADAL" clId="{5A4E854C-3520-4148-9A42-EFCEE9920127}" dt="2025-01-13T13:25:05.819" v="1206"/>
          <ac:spMkLst>
            <pc:docMk/>
            <pc:sldMk cId="1138799537" sldId="268"/>
            <ac:spMk id="14" creationId="{4A7CC34D-2475-594A-90FC-1369C97B65FA}"/>
          </ac:spMkLst>
        </pc:spChg>
      </pc:sldChg>
      <pc:sldChg chg="modSp add mod ord">
        <pc:chgData name="Siddhi Paliwal" userId="3ef3921d-16b8-4854-8920-f0b2bd004b9f" providerId="ADAL" clId="{5A4E854C-3520-4148-9A42-EFCEE9920127}" dt="2025-01-13T15:11:10.697" v="1932" actId="20577"/>
        <pc:sldMkLst>
          <pc:docMk/>
          <pc:sldMk cId="2384130812" sldId="269"/>
        </pc:sldMkLst>
        <pc:spChg chg="mod">
          <ac:chgData name="Siddhi Paliwal" userId="3ef3921d-16b8-4854-8920-f0b2bd004b9f" providerId="ADAL" clId="{5A4E854C-3520-4148-9A42-EFCEE9920127}" dt="2025-01-13T15:10:55.713" v="1917" actId="20577"/>
          <ac:spMkLst>
            <pc:docMk/>
            <pc:sldMk cId="2384130812" sldId="269"/>
            <ac:spMk id="3" creationId="{7C27CB6B-D79E-6EEC-F537-2F24CEBB6DA5}"/>
          </ac:spMkLst>
        </pc:spChg>
        <pc:spChg chg="mod">
          <ac:chgData name="Siddhi Paliwal" userId="3ef3921d-16b8-4854-8920-f0b2bd004b9f" providerId="ADAL" clId="{5A4E854C-3520-4148-9A42-EFCEE9920127}" dt="2025-01-13T15:11:10.697" v="1932" actId="20577"/>
          <ac:spMkLst>
            <pc:docMk/>
            <pc:sldMk cId="2384130812" sldId="269"/>
            <ac:spMk id="19" creationId="{5EF01094-171F-A251-08EB-ADF4056E0AC4}"/>
          </ac:spMkLst>
        </pc:spChg>
      </pc:sldChg>
      <pc:sldChg chg="del">
        <pc:chgData name="Siddhi Paliwal" userId="3ef3921d-16b8-4854-8920-f0b2bd004b9f" providerId="ADAL" clId="{5A4E854C-3520-4148-9A42-EFCEE9920127}" dt="2025-01-13T14:41:58.876" v="1570" actId="2696"/>
        <pc:sldMkLst>
          <pc:docMk/>
          <pc:sldMk cId="1889066921" sldId="271"/>
        </pc:sldMkLst>
      </pc:sldChg>
      <pc:sldChg chg="addSp delSp modSp add mod modClrScheme chgLayout">
        <pc:chgData name="Siddhi Paliwal" userId="3ef3921d-16b8-4854-8920-f0b2bd004b9f" providerId="ADAL" clId="{5A4E854C-3520-4148-9A42-EFCEE9920127}" dt="2025-01-13T14:56:26.322" v="1683" actId="478"/>
        <pc:sldMkLst>
          <pc:docMk/>
          <pc:sldMk cId="2723152668" sldId="271"/>
        </pc:sldMkLst>
      </pc:sldChg>
      <pc:sldChg chg="add del">
        <pc:chgData name="Siddhi Paliwal" userId="3ef3921d-16b8-4854-8920-f0b2bd004b9f" providerId="ADAL" clId="{5A4E854C-3520-4148-9A42-EFCEE9920127}" dt="2025-01-13T10:41:14.737" v="203" actId="2696"/>
        <pc:sldMkLst>
          <pc:docMk/>
          <pc:sldMk cId="1617272910" sldId="272"/>
        </pc:sldMkLst>
      </pc:sldChg>
      <pc:sldChg chg="addSp delSp modSp add mod ord setBg modClrScheme chgLayout">
        <pc:chgData name="Siddhi Paliwal" userId="3ef3921d-16b8-4854-8920-f0b2bd004b9f" providerId="ADAL" clId="{5A4E854C-3520-4148-9A42-EFCEE9920127}" dt="2025-01-13T13:46:26.970" v="1422" actId="478"/>
        <pc:sldMkLst>
          <pc:docMk/>
          <pc:sldMk cId="1872428722" sldId="272"/>
        </pc:sldMkLst>
        <pc:spChg chg="mod">
          <ac:chgData name="Siddhi Paliwal" userId="3ef3921d-16b8-4854-8920-f0b2bd004b9f" providerId="ADAL" clId="{5A4E854C-3520-4148-9A42-EFCEE9920127}" dt="2025-01-13T11:06:23.564" v="375" actId="20577"/>
          <ac:spMkLst>
            <pc:docMk/>
            <pc:sldMk cId="1872428722" sldId="272"/>
            <ac:spMk id="3" creationId="{7C27CB6B-D79E-6EEC-F537-2F24CEBB6DA5}"/>
          </ac:spMkLst>
        </pc:spChg>
        <pc:spChg chg="mod">
          <ac:chgData name="Siddhi Paliwal" userId="3ef3921d-16b8-4854-8920-f0b2bd004b9f" providerId="ADAL" clId="{5A4E854C-3520-4148-9A42-EFCEE9920127}" dt="2025-01-13T11:06:00.622" v="354" actId="207"/>
          <ac:spMkLst>
            <pc:docMk/>
            <pc:sldMk cId="1872428722" sldId="272"/>
            <ac:spMk id="4" creationId="{A3054D3E-AFDC-5E24-2B2D-47B90C063CFF}"/>
          </ac:spMkLst>
        </pc:spChg>
        <pc:spChg chg="mod">
          <ac:chgData name="Siddhi Paliwal" userId="3ef3921d-16b8-4854-8920-f0b2bd004b9f" providerId="ADAL" clId="{5A4E854C-3520-4148-9A42-EFCEE9920127}" dt="2025-01-13T13:46:13.351" v="1417" actId="167"/>
          <ac:spMkLst>
            <pc:docMk/>
            <pc:sldMk cId="1872428722" sldId="272"/>
            <ac:spMk id="5" creationId="{8CB24D54-95AA-44F4-86D6-4D715ADC2F46}"/>
          </ac:spMkLst>
        </pc:spChg>
        <pc:spChg chg="mod">
          <ac:chgData name="Siddhi Paliwal" userId="3ef3921d-16b8-4854-8920-f0b2bd004b9f" providerId="ADAL" clId="{5A4E854C-3520-4148-9A42-EFCEE9920127}" dt="2025-01-13T11:06:00.622" v="354" actId="207"/>
          <ac:spMkLst>
            <pc:docMk/>
            <pc:sldMk cId="1872428722" sldId="272"/>
            <ac:spMk id="7" creationId="{35D9EC18-52D7-1242-1962-3E7B00BB34C1}"/>
          </ac:spMkLst>
        </pc:spChg>
        <pc:spChg chg="mod">
          <ac:chgData name="Siddhi Paliwal" userId="3ef3921d-16b8-4854-8920-f0b2bd004b9f" providerId="ADAL" clId="{5A4E854C-3520-4148-9A42-EFCEE9920127}" dt="2025-01-13T13:43:18.366" v="1308" actId="207"/>
          <ac:spMkLst>
            <pc:docMk/>
            <pc:sldMk cId="1872428722" sldId="272"/>
            <ac:spMk id="9" creationId="{72A1062C-0B98-F532-F5A3-76A042EBC0E8}"/>
          </ac:spMkLst>
        </pc:spChg>
        <pc:spChg chg="mod">
          <ac:chgData name="Siddhi Paliwal" userId="3ef3921d-16b8-4854-8920-f0b2bd004b9f" providerId="ADAL" clId="{5A4E854C-3520-4148-9A42-EFCEE9920127}" dt="2025-01-13T13:42:15.613" v="1304" actId="207"/>
          <ac:spMkLst>
            <pc:docMk/>
            <pc:sldMk cId="1872428722" sldId="272"/>
            <ac:spMk id="11" creationId="{4DF501FB-DEAA-FAAA-F25B-DBA14ADD082A}"/>
          </ac:spMkLst>
        </pc:spChg>
        <pc:spChg chg="mod">
          <ac:chgData name="Siddhi Paliwal" userId="3ef3921d-16b8-4854-8920-f0b2bd004b9f" providerId="ADAL" clId="{5A4E854C-3520-4148-9A42-EFCEE9920127}" dt="2025-01-13T13:46:19.722" v="1421" actId="207"/>
          <ac:spMkLst>
            <pc:docMk/>
            <pc:sldMk cId="1872428722" sldId="272"/>
            <ac:spMk id="14" creationId="{F1A5EB4F-E5AD-37BE-1DFB-9B8B8F69CB99}"/>
          </ac:spMkLst>
        </pc:spChg>
        <pc:spChg chg="add mod">
          <ac:chgData name="Siddhi Paliwal" userId="3ef3921d-16b8-4854-8920-f0b2bd004b9f" providerId="ADAL" clId="{5A4E854C-3520-4148-9A42-EFCEE9920127}" dt="2025-01-13T13:43:26.919" v="1309" actId="207"/>
          <ac:spMkLst>
            <pc:docMk/>
            <pc:sldMk cId="1872428722" sldId="272"/>
            <ac:spMk id="19" creationId="{5EF01094-171F-A251-08EB-ADF4056E0AC4}"/>
          </ac:spMkLst>
        </pc:spChg>
        <pc:spChg chg="add mod">
          <ac:chgData name="Siddhi Paliwal" userId="3ef3921d-16b8-4854-8920-f0b2bd004b9f" providerId="ADAL" clId="{5A4E854C-3520-4148-9A42-EFCEE9920127}" dt="2025-01-13T13:42:38.715" v="1307" actId="207"/>
          <ac:spMkLst>
            <pc:docMk/>
            <pc:sldMk cId="1872428722" sldId="272"/>
            <ac:spMk id="20" creationId="{535FDA9C-4478-E382-4A25-BFA1FAE0D8E5}"/>
          </ac:spMkLst>
        </pc:spChg>
        <pc:picChg chg="mod">
          <ac:chgData name="Siddhi Paliwal" userId="3ef3921d-16b8-4854-8920-f0b2bd004b9f" providerId="ADAL" clId="{5A4E854C-3520-4148-9A42-EFCEE9920127}" dt="2025-01-13T13:44:18.817" v="1383" actId="207"/>
          <ac:picMkLst>
            <pc:docMk/>
            <pc:sldMk cId="1872428722" sldId="272"/>
            <ac:picMk id="12" creationId="{156D23D3-B5C7-882F-69FA-17C1FF3A9862}"/>
          </ac:picMkLst>
        </pc:picChg>
      </pc:sldChg>
      <pc:sldChg chg="addSp delSp modSp mod modClrScheme chgLayout">
        <pc:chgData name="Siddhi Paliwal" userId="3ef3921d-16b8-4854-8920-f0b2bd004b9f" providerId="ADAL" clId="{5A4E854C-3520-4148-9A42-EFCEE9920127}" dt="2025-01-13T12:11:12.359" v="615" actId="207"/>
        <pc:sldMkLst>
          <pc:docMk/>
          <pc:sldMk cId="3853684040" sldId="273"/>
        </pc:sldMkLst>
      </pc:sldChg>
      <pc:sldChg chg="addSp delSp modSp add mod modClrScheme chgLayout">
        <pc:chgData name="Siddhi Paliwal" userId="3ef3921d-16b8-4854-8920-f0b2bd004b9f" providerId="ADAL" clId="{5A4E854C-3520-4148-9A42-EFCEE9920127}" dt="2025-01-13T15:35:16.308" v="2048" actId="207"/>
        <pc:sldMkLst>
          <pc:docMk/>
          <pc:sldMk cId="1966794365" sldId="274"/>
        </pc:sldMkLst>
        <pc:spChg chg="mod">
          <ac:chgData name="Siddhi Paliwal" userId="3ef3921d-16b8-4854-8920-f0b2bd004b9f" providerId="ADAL" clId="{5A4E854C-3520-4148-9A42-EFCEE9920127}" dt="2025-01-13T15:35:16.308" v="2048" actId="207"/>
          <ac:spMkLst>
            <pc:docMk/>
            <pc:sldMk cId="1966794365" sldId="274"/>
            <ac:spMk id="4" creationId="{D5F8A4ED-C55F-2892-EB14-4EC5528018CD}"/>
          </ac:spMkLst>
        </pc:spChg>
        <pc:spChg chg="mod">
          <ac:chgData name="Siddhi Paliwal" userId="3ef3921d-16b8-4854-8920-f0b2bd004b9f" providerId="ADAL" clId="{5A4E854C-3520-4148-9A42-EFCEE9920127}" dt="2025-01-13T15:35:16.308" v="2048" actId="207"/>
          <ac:spMkLst>
            <pc:docMk/>
            <pc:sldMk cId="1966794365" sldId="274"/>
            <ac:spMk id="12" creationId="{38F94A4B-AD34-5987-6DD7-BCA5FAD9744E}"/>
          </ac:spMkLst>
        </pc:spChg>
        <pc:spChg chg="mod">
          <ac:chgData name="Siddhi Paliwal" userId="3ef3921d-16b8-4854-8920-f0b2bd004b9f" providerId="ADAL" clId="{5A4E854C-3520-4148-9A42-EFCEE9920127}" dt="2025-01-13T15:35:16.308" v="2048" actId="207"/>
          <ac:spMkLst>
            <pc:docMk/>
            <pc:sldMk cId="1966794365" sldId="274"/>
            <ac:spMk id="21" creationId="{CDA35DA0-D2C5-D2D1-490C-B58153975EF9}"/>
          </ac:spMkLst>
        </pc:spChg>
        <pc:spChg chg="mod">
          <ac:chgData name="Siddhi Paliwal" userId="3ef3921d-16b8-4854-8920-f0b2bd004b9f" providerId="ADAL" clId="{5A4E854C-3520-4148-9A42-EFCEE9920127}" dt="2025-01-13T15:35:16.308" v="2048" actId="207"/>
          <ac:spMkLst>
            <pc:docMk/>
            <pc:sldMk cId="1966794365" sldId="274"/>
            <ac:spMk id="22" creationId="{ACF8F051-BA2D-89A7-6258-C1B4C9C002F3}"/>
          </ac:spMkLst>
        </pc:spChg>
        <pc:spChg chg="mod">
          <ac:chgData name="Siddhi Paliwal" userId="3ef3921d-16b8-4854-8920-f0b2bd004b9f" providerId="ADAL" clId="{5A4E854C-3520-4148-9A42-EFCEE9920127}" dt="2025-01-13T15:35:16.308" v="2048" actId="207"/>
          <ac:spMkLst>
            <pc:docMk/>
            <pc:sldMk cId="1966794365" sldId="274"/>
            <ac:spMk id="23" creationId="{0370CEC6-AA83-0EFE-B2CD-E3C0B2A27080}"/>
          </ac:spMkLst>
        </pc:spChg>
        <pc:spChg chg="mod">
          <ac:chgData name="Siddhi Paliwal" userId="3ef3921d-16b8-4854-8920-f0b2bd004b9f" providerId="ADAL" clId="{5A4E854C-3520-4148-9A42-EFCEE9920127}" dt="2025-01-13T15:35:16.308" v="2048" actId="207"/>
          <ac:spMkLst>
            <pc:docMk/>
            <pc:sldMk cId="1966794365" sldId="274"/>
            <ac:spMk id="24" creationId="{827CB57C-45A6-807C-173A-F99DB71A1217}"/>
          </ac:spMkLst>
        </pc:spChg>
        <pc:spChg chg="mod">
          <ac:chgData name="Siddhi Paliwal" userId="3ef3921d-16b8-4854-8920-f0b2bd004b9f" providerId="ADAL" clId="{5A4E854C-3520-4148-9A42-EFCEE9920127}" dt="2025-01-13T15:35:16.308" v="2048" actId="207"/>
          <ac:spMkLst>
            <pc:docMk/>
            <pc:sldMk cId="1966794365" sldId="274"/>
            <ac:spMk id="25" creationId="{D608E2A1-1716-240B-117A-2C4B18552481}"/>
          </ac:spMkLst>
        </pc:spChg>
        <pc:spChg chg="mod">
          <ac:chgData name="Siddhi Paliwal" userId="3ef3921d-16b8-4854-8920-f0b2bd004b9f" providerId="ADAL" clId="{5A4E854C-3520-4148-9A42-EFCEE9920127}" dt="2025-01-13T15:35:16.308" v="2048" actId="207"/>
          <ac:spMkLst>
            <pc:docMk/>
            <pc:sldMk cId="1966794365" sldId="274"/>
            <ac:spMk id="26" creationId="{DED86054-4E04-9159-F465-FF095E05377B}"/>
          </ac:spMkLst>
        </pc:spChg>
        <pc:spChg chg="mod">
          <ac:chgData name="Siddhi Paliwal" userId="3ef3921d-16b8-4854-8920-f0b2bd004b9f" providerId="ADAL" clId="{5A4E854C-3520-4148-9A42-EFCEE9920127}" dt="2025-01-13T15:35:16.308" v="2048" actId="207"/>
          <ac:spMkLst>
            <pc:docMk/>
            <pc:sldMk cId="1966794365" sldId="274"/>
            <ac:spMk id="27" creationId="{C4DBE9C9-9077-A1D5-194E-4BD226FD63BB}"/>
          </ac:spMkLst>
        </pc:spChg>
        <pc:spChg chg="mod">
          <ac:chgData name="Siddhi Paliwal" userId="3ef3921d-16b8-4854-8920-f0b2bd004b9f" providerId="ADAL" clId="{5A4E854C-3520-4148-9A42-EFCEE9920127}" dt="2025-01-13T15:35:16.308" v="2048" actId="207"/>
          <ac:spMkLst>
            <pc:docMk/>
            <pc:sldMk cId="1966794365" sldId="274"/>
            <ac:spMk id="29" creationId="{621835A1-2F02-61BD-4212-A9A462834333}"/>
          </ac:spMkLst>
        </pc:spChg>
        <pc:spChg chg="mod">
          <ac:chgData name="Siddhi Paliwal" userId="3ef3921d-16b8-4854-8920-f0b2bd004b9f" providerId="ADAL" clId="{5A4E854C-3520-4148-9A42-EFCEE9920127}" dt="2025-01-13T15:35:16.308" v="2048" actId="207"/>
          <ac:spMkLst>
            <pc:docMk/>
            <pc:sldMk cId="1966794365" sldId="274"/>
            <ac:spMk id="30" creationId="{DE89EEB4-5ED1-68BC-7E47-25EFD20ECAEA}"/>
          </ac:spMkLst>
        </pc:spChg>
        <pc:spChg chg="mod">
          <ac:chgData name="Siddhi Paliwal" userId="3ef3921d-16b8-4854-8920-f0b2bd004b9f" providerId="ADAL" clId="{5A4E854C-3520-4148-9A42-EFCEE9920127}" dt="2025-01-13T15:35:16.308" v="2048" actId="207"/>
          <ac:spMkLst>
            <pc:docMk/>
            <pc:sldMk cId="1966794365" sldId="274"/>
            <ac:spMk id="31" creationId="{1776328D-A3C4-916B-D320-EB67BD78F093}"/>
          </ac:spMkLst>
        </pc:spChg>
        <pc:spChg chg="mod">
          <ac:chgData name="Siddhi Paliwal" userId="3ef3921d-16b8-4854-8920-f0b2bd004b9f" providerId="ADAL" clId="{5A4E854C-3520-4148-9A42-EFCEE9920127}" dt="2025-01-13T15:35:16.308" v="2048" actId="207"/>
          <ac:spMkLst>
            <pc:docMk/>
            <pc:sldMk cId="1966794365" sldId="274"/>
            <ac:spMk id="32" creationId="{37637B82-C772-0932-085E-71A188BCB1F8}"/>
          </ac:spMkLst>
        </pc:spChg>
        <pc:spChg chg="mod">
          <ac:chgData name="Siddhi Paliwal" userId="3ef3921d-16b8-4854-8920-f0b2bd004b9f" providerId="ADAL" clId="{5A4E854C-3520-4148-9A42-EFCEE9920127}" dt="2025-01-13T15:35:16.308" v="2048" actId="207"/>
          <ac:spMkLst>
            <pc:docMk/>
            <pc:sldMk cId="1966794365" sldId="274"/>
            <ac:spMk id="33" creationId="{9A6DC08B-883F-8679-7FCA-B00363523EA7}"/>
          </ac:spMkLst>
        </pc:spChg>
        <pc:spChg chg="mod">
          <ac:chgData name="Siddhi Paliwal" userId="3ef3921d-16b8-4854-8920-f0b2bd004b9f" providerId="ADAL" clId="{5A4E854C-3520-4148-9A42-EFCEE9920127}" dt="2025-01-13T15:35:16.308" v="2048" actId="207"/>
          <ac:spMkLst>
            <pc:docMk/>
            <pc:sldMk cId="1966794365" sldId="274"/>
            <ac:spMk id="34" creationId="{EA266E6F-17A3-912A-FB9D-85F4B4B7370C}"/>
          </ac:spMkLst>
        </pc:spChg>
        <pc:picChg chg="mod">
          <ac:chgData name="Siddhi Paliwal" userId="3ef3921d-16b8-4854-8920-f0b2bd004b9f" providerId="ADAL" clId="{5A4E854C-3520-4148-9A42-EFCEE9920127}" dt="2025-01-13T15:34:53.406" v="2045" actId="207"/>
          <ac:picMkLst>
            <pc:docMk/>
            <pc:sldMk cId="1966794365" sldId="274"/>
            <ac:picMk id="28" creationId="{2DA11884-76CF-5F19-AE08-103C7C879AB8}"/>
          </ac:picMkLst>
        </pc:picChg>
      </pc:sldChg>
      <pc:sldChg chg="add del setBg">
        <pc:chgData name="Siddhi Paliwal" userId="3ef3921d-16b8-4854-8920-f0b2bd004b9f" providerId="ADAL" clId="{5A4E854C-3520-4148-9A42-EFCEE9920127}" dt="2025-01-13T10:34:53.626" v="132"/>
        <pc:sldMkLst>
          <pc:docMk/>
          <pc:sldMk cId="559118525" sldId="275"/>
        </pc:sldMkLst>
      </pc:sldChg>
      <pc:sldChg chg="addSp delSp modSp add mod modClrScheme chgLayout">
        <pc:chgData name="Siddhi Paliwal" userId="3ef3921d-16b8-4854-8920-f0b2bd004b9f" providerId="ADAL" clId="{5A4E854C-3520-4148-9A42-EFCEE9920127}" dt="2025-01-13T15:47:41.669" v="2151" actId="1076"/>
        <pc:sldMkLst>
          <pc:docMk/>
          <pc:sldMk cId="1822844449" sldId="275"/>
        </pc:sldMkLst>
        <pc:spChg chg="mod">
          <ac:chgData name="Siddhi Paliwal" userId="3ef3921d-16b8-4854-8920-f0b2bd004b9f" providerId="ADAL" clId="{5A4E854C-3520-4148-9A42-EFCEE9920127}" dt="2025-01-13T15:47:21.563" v="2149" actId="554"/>
          <ac:spMkLst>
            <pc:docMk/>
            <pc:sldMk cId="1822844449" sldId="275"/>
            <ac:spMk id="2" creationId="{909D2199-2EB2-7986-C244-72BA1B5E708B}"/>
          </ac:spMkLst>
        </pc:spChg>
        <pc:spChg chg="mod">
          <ac:chgData name="Siddhi Paliwal" userId="3ef3921d-16b8-4854-8920-f0b2bd004b9f" providerId="ADAL" clId="{5A4E854C-3520-4148-9A42-EFCEE9920127}" dt="2025-01-13T15:47:37.514" v="2150" actId="1076"/>
          <ac:spMkLst>
            <pc:docMk/>
            <pc:sldMk cId="1822844449" sldId="275"/>
            <ac:spMk id="3" creationId="{F0B2CF3E-D7E0-C7DD-3BF6-322441046ADF}"/>
          </ac:spMkLst>
        </pc:spChg>
        <pc:spChg chg="mod">
          <ac:chgData name="Siddhi Paliwal" userId="3ef3921d-16b8-4854-8920-f0b2bd004b9f" providerId="ADAL" clId="{5A4E854C-3520-4148-9A42-EFCEE9920127}" dt="2025-01-13T15:42:03.058" v="2106" actId="2711"/>
          <ac:spMkLst>
            <pc:docMk/>
            <pc:sldMk cId="1822844449" sldId="275"/>
            <ac:spMk id="5" creationId="{F095116F-38D9-965D-2BB6-7BFD992D2019}"/>
          </ac:spMkLst>
        </pc:spChg>
        <pc:spChg chg="mod">
          <ac:chgData name="Siddhi Paliwal" userId="3ef3921d-16b8-4854-8920-f0b2bd004b9f" providerId="ADAL" clId="{5A4E854C-3520-4148-9A42-EFCEE9920127}" dt="2025-01-13T15:45:26.812" v="2137" actId="120"/>
          <ac:spMkLst>
            <pc:docMk/>
            <pc:sldMk cId="1822844449" sldId="275"/>
            <ac:spMk id="6" creationId="{DD45DE8E-310A-DFB4-08DD-B8246E22BD41}"/>
          </ac:spMkLst>
        </pc:spChg>
        <pc:spChg chg="mod">
          <ac:chgData name="Siddhi Paliwal" userId="3ef3921d-16b8-4854-8920-f0b2bd004b9f" providerId="ADAL" clId="{5A4E854C-3520-4148-9A42-EFCEE9920127}" dt="2025-01-13T15:47:37.514" v="2150" actId="1076"/>
          <ac:spMkLst>
            <pc:docMk/>
            <pc:sldMk cId="1822844449" sldId="275"/>
            <ac:spMk id="7" creationId="{26AEDE78-3A84-D3BB-9C45-C3FAC0F57A51}"/>
          </ac:spMkLst>
        </pc:spChg>
        <pc:spChg chg="mod">
          <ac:chgData name="Siddhi Paliwal" userId="3ef3921d-16b8-4854-8920-f0b2bd004b9f" providerId="ADAL" clId="{5A4E854C-3520-4148-9A42-EFCEE9920127}" dt="2025-01-13T15:47:21.563" v="2149" actId="554"/>
          <ac:spMkLst>
            <pc:docMk/>
            <pc:sldMk cId="1822844449" sldId="275"/>
            <ac:spMk id="9" creationId="{3BF09C02-CB78-CBA8-C197-C48935F87E48}"/>
          </ac:spMkLst>
        </pc:spChg>
        <pc:spChg chg="mod">
          <ac:chgData name="Siddhi Paliwal" userId="3ef3921d-16b8-4854-8920-f0b2bd004b9f" providerId="ADAL" clId="{5A4E854C-3520-4148-9A42-EFCEE9920127}" dt="2025-01-13T15:45:26.812" v="2137" actId="120"/>
          <ac:spMkLst>
            <pc:docMk/>
            <pc:sldMk cId="1822844449" sldId="275"/>
            <ac:spMk id="11" creationId="{1494ADAC-D798-EF39-C85F-0A39A236AE87}"/>
          </ac:spMkLst>
        </pc:spChg>
        <pc:spChg chg="mod">
          <ac:chgData name="Siddhi Paliwal" userId="3ef3921d-16b8-4854-8920-f0b2bd004b9f" providerId="ADAL" clId="{5A4E854C-3520-4148-9A42-EFCEE9920127}" dt="2025-01-13T15:45:26.812" v="2137" actId="120"/>
          <ac:spMkLst>
            <pc:docMk/>
            <pc:sldMk cId="1822844449" sldId="275"/>
            <ac:spMk id="12" creationId="{4259BAF4-C581-668D-E258-F8325FCDCB5B}"/>
          </ac:spMkLst>
        </pc:spChg>
        <pc:spChg chg="mod">
          <ac:chgData name="Siddhi Paliwal" userId="3ef3921d-16b8-4854-8920-f0b2bd004b9f" providerId="ADAL" clId="{5A4E854C-3520-4148-9A42-EFCEE9920127}" dt="2025-01-13T15:45:12.112" v="2136" actId="14861"/>
          <ac:spMkLst>
            <pc:docMk/>
            <pc:sldMk cId="1822844449" sldId="275"/>
            <ac:spMk id="13" creationId="{AFD1E2DD-EC59-B1DD-CAD4-D987470DD0F2}"/>
          </ac:spMkLst>
        </pc:spChg>
        <pc:spChg chg="mod">
          <ac:chgData name="Siddhi Paliwal" userId="3ef3921d-16b8-4854-8920-f0b2bd004b9f" providerId="ADAL" clId="{5A4E854C-3520-4148-9A42-EFCEE9920127}" dt="2025-01-13T15:45:26.812" v="2137" actId="120"/>
          <ac:spMkLst>
            <pc:docMk/>
            <pc:sldMk cId="1822844449" sldId="275"/>
            <ac:spMk id="15" creationId="{5E5F0D7F-1811-226C-8F39-E09D11563405}"/>
          </ac:spMkLst>
        </pc:spChg>
        <pc:spChg chg="mod">
          <ac:chgData name="Siddhi Paliwal" userId="3ef3921d-16b8-4854-8920-f0b2bd004b9f" providerId="ADAL" clId="{5A4E854C-3520-4148-9A42-EFCEE9920127}" dt="2025-01-13T15:44:52.665" v="2135" actId="6559"/>
          <ac:spMkLst>
            <pc:docMk/>
            <pc:sldMk cId="1822844449" sldId="275"/>
            <ac:spMk id="16" creationId="{85AE2BD0-6AC2-BE1E-7761-56DDB0D54041}"/>
          </ac:spMkLst>
        </pc:spChg>
        <pc:spChg chg="mod">
          <ac:chgData name="Siddhi Paliwal" userId="3ef3921d-16b8-4854-8920-f0b2bd004b9f" providerId="ADAL" clId="{5A4E854C-3520-4148-9A42-EFCEE9920127}" dt="2025-01-13T15:45:12.112" v="2136" actId="14861"/>
          <ac:spMkLst>
            <pc:docMk/>
            <pc:sldMk cId="1822844449" sldId="275"/>
            <ac:spMk id="22" creationId="{8E4B56EF-9316-60E8-6A6B-7076469139DA}"/>
          </ac:spMkLst>
        </pc:spChg>
        <pc:spChg chg="mod">
          <ac:chgData name="Siddhi Paliwal" userId="3ef3921d-16b8-4854-8920-f0b2bd004b9f" providerId="ADAL" clId="{5A4E854C-3520-4148-9A42-EFCEE9920127}" dt="2025-01-13T15:44:52.665" v="2135" actId="6559"/>
          <ac:spMkLst>
            <pc:docMk/>
            <pc:sldMk cId="1822844449" sldId="275"/>
            <ac:spMk id="23" creationId="{23616F66-E4FD-7A55-D3BD-54431A292693}"/>
          </ac:spMkLst>
        </pc:spChg>
        <pc:spChg chg="add mod">
          <ac:chgData name="Siddhi Paliwal" userId="3ef3921d-16b8-4854-8920-f0b2bd004b9f" providerId="ADAL" clId="{5A4E854C-3520-4148-9A42-EFCEE9920127}" dt="2025-01-13T15:45:57.533" v="2140" actId="167"/>
          <ac:spMkLst>
            <pc:docMk/>
            <pc:sldMk cId="1822844449" sldId="275"/>
            <ac:spMk id="24" creationId="{9FBB3702-917D-F0D7-CCD7-BF465496AB9D}"/>
          </ac:spMkLst>
        </pc:spChg>
        <pc:spChg chg="mod">
          <ac:chgData name="Siddhi Paliwal" userId="3ef3921d-16b8-4854-8920-f0b2bd004b9f" providerId="ADAL" clId="{5A4E854C-3520-4148-9A42-EFCEE9920127}" dt="2025-01-13T15:47:21.563" v="2149" actId="554"/>
          <ac:spMkLst>
            <pc:docMk/>
            <pc:sldMk cId="1822844449" sldId="275"/>
            <ac:spMk id="27" creationId="{EA25AAEC-7E7F-8C51-710D-DBFDC82BCFAB}"/>
          </ac:spMkLst>
        </pc:spChg>
        <pc:spChg chg="mod">
          <ac:chgData name="Siddhi Paliwal" userId="3ef3921d-16b8-4854-8920-f0b2bd004b9f" providerId="ADAL" clId="{5A4E854C-3520-4148-9A42-EFCEE9920127}" dt="2025-01-13T15:47:37.514" v="2150" actId="1076"/>
          <ac:spMkLst>
            <pc:docMk/>
            <pc:sldMk cId="1822844449" sldId="275"/>
            <ac:spMk id="29" creationId="{C0C925A9-0199-54B3-B3DF-8A86ABFFCD71}"/>
          </ac:spMkLst>
        </pc:spChg>
        <pc:spChg chg="mod">
          <ac:chgData name="Siddhi Paliwal" userId="3ef3921d-16b8-4854-8920-f0b2bd004b9f" providerId="ADAL" clId="{5A4E854C-3520-4148-9A42-EFCEE9920127}" dt="2025-01-13T15:45:12.112" v="2136" actId="14861"/>
          <ac:spMkLst>
            <pc:docMk/>
            <pc:sldMk cId="1822844449" sldId="275"/>
            <ac:spMk id="30" creationId="{573FC98C-D66D-0512-6181-1E79BA44C027}"/>
          </ac:spMkLst>
        </pc:spChg>
        <pc:spChg chg="mod">
          <ac:chgData name="Siddhi Paliwal" userId="3ef3921d-16b8-4854-8920-f0b2bd004b9f" providerId="ADAL" clId="{5A4E854C-3520-4148-9A42-EFCEE9920127}" dt="2025-01-13T15:44:52.665" v="2135" actId="6559"/>
          <ac:spMkLst>
            <pc:docMk/>
            <pc:sldMk cId="1822844449" sldId="275"/>
            <ac:spMk id="55" creationId="{6DF40141-C73B-33B8-4166-B7C609D3564C}"/>
          </ac:spMkLst>
        </pc:spChg>
        <pc:spChg chg="mod">
          <ac:chgData name="Siddhi Paliwal" userId="3ef3921d-16b8-4854-8920-f0b2bd004b9f" providerId="ADAL" clId="{5A4E854C-3520-4148-9A42-EFCEE9920127}" dt="2025-01-13T15:44:52.665" v="2135" actId="6559"/>
          <ac:spMkLst>
            <pc:docMk/>
            <pc:sldMk cId="1822844449" sldId="275"/>
            <ac:spMk id="56" creationId="{16B07985-526E-E2D4-2A8A-88CDA132DCD1}"/>
          </ac:spMkLst>
        </pc:spChg>
        <pc:spChg chg="mod">
          <ac:chgData name="Siddhi Paliwal" userId="3ef3921d-16b8-4854-8920-f0b2bd004b9f" providerId="ADAL" clId="{5A4E854C-3520-4148-9A42-EFCEE9920127}" dt="2025-01-13T15:44:52.665" v="2135" actId="6559"/>
          <ac:spMkLst>
            <pc:docMk/>
            <pc:sldMk cId="1822844449" sldId="275"/>
            <ac:spMk id="84" creationId="{35987D97-3554-1AD8-8316-3C93FF49BD0A}"/>
          </ac:spMkLst>
        </pc:spChg>
        <pc:spChg chg="mod">
          <ac:chgData name="Siddhi Paliwal" userId="3ef3921d-16b8-4854-8920-f0b2bd004b9f" providerId="ADAL" clId="{5A4E854C-3520-4148-9A42-EFCEE9920127}" dt="2025-01-13T15:47:37.514" v="2150" actId="1076"/>
          <ac:spMkLst>
            <pc:docMk/>
            <pc:sldMk cId="1822844449" sldId="275"/>
            <ac:spMk id="85" creationId="{90B8E9C0-5FCB-2170-52C5-1BC3ADBA4DC7}"/>
          </ac:spMkLst>
        </pc:spChg>
        <pc:spChg chg="mod">
          <ac:chgData name="Siddhi Paliwal" userId="3ef3921d-16b8-4854-8920-f0b2bd004b9f" providerId="ADAL" clId="{5A4E854C-3520-4148-9A42-EFCEE9920127}" dt="2025-01-13T15:47:41.669" v="2151" actId="1076"/>
          <ac:spMkLst>
            <pc:docMk/>
            <pc:sldMk cId="1822844449" sldId="275"/>
            <ac:spMk id="88" creationId="{24C41218-2679-9EDF-BD73-87AABD7B41F2}"/>
          </ac:spMkLst>
        </pc:spChg>
        <pc:spChg chg="mod">
          <ac:chgData name="Siddhi Paliwal" userId="3ef3921d-16b8-4854-8920-f0b2bd004b9f" providerId="ADAL" clId="{5A4E854C-3520-4148-9A42-EFCEE9920127}" dt="2025-01-13T15:46:40.012" v="2147" actId="1076"/>
          <ac:spMkLst>
            <pc:docMk/>
            <pc:sldMk cId="1822844449" sldId="275"/>
            <ac:spMk id="89" creationId="{FB76EEA4-D2F9-523C-2737-3DA8F3BA6CE5}"/>
          </ac:spMkLst>
        </pc:spChg>
        <pc:spChg chg="mod">
          <ac:chgData name="Siddhi Paliwal" userId="3ef3921d-16b8-4854-8920-f0b2bd004b9f" providerId="ADAL" clId="{5A4E854C-3520-4148-9A42-EFCEE9920127}" dt="2025-01-13T15:44:52.665" v="2135" actId="6559"/>
          <ac:spMkLst>
            <pc:docMk/>
            <pc:sldMk cId="1822844449" sldId="275"/>
            <ac:spMk id="95" creationId="{9EB3095B-1F84-3AB8-F6C5-624C89460048}"/>
          </ac:spMkLst>
        </pc:spChg>
        <pc:spChg chg="mod">
          <ac:chgData name="Siddhi Paliwal" userId="3ef3921d-16b8-4854-8920-f0b2bd004b9f" providerId="ADAL" clId="{5A4E854C-3520-4148-9A42-EFCEE9920127}" dt="2025-01-13T15:46:07.362" v="2141" actId="207"/>
          <ac:spMkLst>
            <pc:docMk/>
            <pc:sldMk cId="1822844449" sldId="275"/>
            <ac:spMk id="100" creationId="{6F976E52-C83F-CCEF-AACD-450488B525AD}"/>
          </ac:spMkLst>
        </pc:spChg>
        <pc:picChg chg="mod">
          <ac:chgData name="Siddhi Paliwal" userId="3ef3921d-16b8-4854-8920-f0b2bd004b9f" providerId="ADAL" clId="{5A4E854C-3520-4148-9A42-EFCEE9920127}" dt="2025-01-13T15:42:03.058" v="2106" actId="2711"/>
          <ac:picMkLst>
            <pc:docMk/>
            <pc:sldMk cId="1822844449" sldId="275"/>
            <ac:picMk id="4" creationId="{C445A65C-7DD4-D0BE-BF27-D985A69D7AFE}"/>
          </ac:picMkLst>
        </pc:picChg>
        <pc:picChg chg="mod">
          <ac:chgData name="Siddhi Paliwal" userId="3ef3921d-16b8-4854-8920-f0b2bd004b9f" providerId="ADAL" clId="{5A4E854C-3520-4148-9A42-EFCEE9920127}" dt="2025-01-13T15:44:52.665" v="2135" actId="6559"/>
          <ac:picMkLst>
            <pc:docMk/>
            <pc:sldMk cId="1822844449" sldId="275"/>
            <ac:picMk id="14" creationId="{B18A6E02-9070-7AFB-CD8A-FDF9F9D7EDF1}"/>
          </ac:picMkLst>
        </pc:picChg>
        <pc:picChg chg="mod">
          <ac:chgData name="Siddhi Paliwal" userId="3ef3921d-16b8-4854-8920-f0b2bd004b9f" providerId="ADAL" clId="{5A4E854C-3520-4148-9A42-EFCEE9920127}" dt="2025-01-13T15:44:52.665" v="2135" actId="6559"/>
          <ac:picMkLst>
            <pc:docMk/>
            <pc:sldMk cId="1822844449" sldId="275"/>
            <ac:picMk id="21" creationId="{85C9A9CF-BA06-7C1A-A533-BE7E0EE92EE2}"/>
          </ac:picMkLst>
        </pc:picChg>
        <pc:picChg chg="mod">
          <ac:chgData name="Siddhi Paliwal" userId="3ef3921d-16b8-4854-8920-f0b2bd004b9f" providerId="ADAL" clId="{5A4E854C-3520-4148-9A42-EFCEE9920127}" dt="2025-01-13T15:44:52.665" v="2135" actId="6559"/>
          <ac:picMkLst>
            <pc:docMk/>
            <pc:sldMk cId="1822844449" sldId="275"/>
            <ac:picMk id="39" creationId="{626ACEC4-D08A-A24F-A3E5-B4E061F01D29}"/>
          </ac:picMkLst>
        </pc:picChg>
        <pc:picChg chg="mod">
          <ac:chgData name="Siddhi Paliwal" userId="3ef3921d-16b8-4854-8920-f0b2bd004b9f" providerId="ADAL" clId="{5A4E854C-3520-4148-9A42-EFCEE9920127}" dt="2025-01-13T15:44:52.665" v="2135" actId="6559"/>
          <ac:picMkLst>
            <pc:docMk/>
            <pc:sldMk cId="1822844449" sldId="275"/>
            <ac:picMk id="5122" creationId="{CD2E1350-34ED-E200-FC29-24D795FAD04C}"/>
          </ac:picMkLst>
        </pc:picChg>
        <pc:cxnChg chg="mod">
          <ac:chgData name="Siddhi Paliwal" userId="3ef3921d-16b8-4854-8920-f0b2bd004b9f" providerId="ADAL" clId="{5A4E854C-3520-4148-9A42-EFCEE9920127}" dt="2025-01-13T15:46:25.924" v="2145" actId="692"/>
          <ac:cxnSpMkLst>
            <pc:docMk/>
            <pc:sldMk cId="1822844449" sldId="275"/>
            <ac:cxnSpMk id="10" creationId="{4C09EB54-73AD-0395-1F37-04FD26171FB9}"/>
          </ac:cxnSpMkLst>
        </pc:cxnChg>
        <pc:cxnChg chg="mod">
          <ac:chgData name="Siddhi Paliwal" userId="3ef3921d-16b8-4854-8920-f0b2bd004b9f" providerId="ADAL" clId="{5A4E854C-3520-4148-9A42-EFCEE9920127}" dt="2025-01-13T15:44:52.665" v="2135" actId="6559"/>
          <ac:cxnSpMkLst>
            <pc:docMk/>
            <pc:sldMk cId="1822844449" sldId="275"/>
            <ac:cxnSpMk id="19" creationId="{1EA660D7-0B7B-699D-73AF-98CDB7497E72}"/>
          </ac:cxnSpMkLst>
        </pc:cxnChg>
        <pc:cxnChg chg="mod">
          <ac:chgData name="Siddhi Paliwal" userId="3ef3921d-16b8-4854-8920-f0b2bd004b9f" providerId="ADAL" clId="{5A4E854C-3520-4148-9A42-EFCEE9920127}" dt="2025-01-13T15:47:41.669" v="2151" actId="1076"/>
          <ac:cxnSpMkLst>
            <pc:docMk/>
            <pc:sldMk cId="1822844449" sldId="275"/>
            <ac:cxnSpMk id="86" creationId="{8B03C7C5-444B-1008-3647-26982B1A8900}"/>
          </ac:cxnSpMkLst>
        </pc:cxnChg>
        <pc:cxnChg chg="mod">
          <ac:chgData name="Siddhi Paliwal" userId="3ef3921d-16b8-4854-8920-f0b2bd004b9f" providerId="ADAL" clId="{5A4E854C-3520-4148-9A42-EFCEE9920127}" dt="2025-01-13T15:46:31.512" v="2146" actId="14100"/>
          <ac:cxnSpMkLst>
            <pc:docMk/>
            <pc:sldMk cId="1822844449" sldId="275"/>
            <ac:cxnSpMk id="113" creationId="{9334C443-9A26-6118-BA36-DEB06F66ABEE}"/>
          </ac:cxnSpMkLst>
        </pc:cxnChg>
      </pc:sldChg>
      <pc:sldChg chg="delSp modSp add del mod setBg">
        <pc:chgData name="Siddhi Paliwal" userId="3ef3921d-16b8-4854-8920-f0b2bd004b9f" providerId="ADAL" clId="{5A4E854C-3520-4148-9A42-EFCEE9920127}" dt="2025-01-13T10:43:06.035" v="210" actId="2696"/>
        <pc:sldMkLst>
          <pc:docMk/>
          <pc:sldMk cId="2003173064" sldId="275"/>
        </pc:sldMkLst>
      </pc:sldChg>
      <pc:sldChg chg="modSp add mod ord">
        <pc:chgData name="Siddhi Paliwal" userId="3ef3921d-16b8-4854-8920-f0b2bd004b9f" providerId="ADAL" clId="{5A4E854C-3520-4148-9A42-EFCEE9920127}" dt="2025-01-13T13:50:34.375" v="1459"/>
        <pc:sldMkLst>
          <pc:docMk/>
          <pc:sldMk cId="262660124" sldId="277"/>
        </pc:sldMkLst>
      </pc:sldChg>
      <pc:sldChg chg="modSp add del mod">
        <pc:chgData name="Siddhi Paliwal" userId="3ef3921d-16b8-4854-8920-f0b2bd004b9f" providerId="ADAL" clId="{5A4E854C-3520-4148-9A42-EFCEE9920127}" dt="2025-01-13T11:22:54.445" v="428" actId="2696"/>
        <pc:sldMkLst>
          <pc:docMk/>
          <pc:sldMk cId="3508105301" sldId="277"/>
        </pc:sldMkLst>
      </pc:sldChg>
      <pc:sldChg chg="modSp add del mod ord">
        <pc:chgData name="Siddhi Paliwal" userId="3ef3921d-16b8-4854-8920-f0b2bd004b9f" providerId="ADAL" clId="{5A4E854C-3520-4148-9A42-EFCEE9920127}" dt="2025-01-13T13:49:16.925" v="1452" actId="2696"/>
        <pc:sldMkLst>
          <pc:docMk/>
          <pc:sldMk cId="3841877448" sldId="277"/>
        </pc:sldMkLst>
      </pc:sldChg>
      <pc:sldChg chg="modSp add mod ord">
        <pc:chgData name="Siddhi Paliwal" userId="3ef3921d-16b8-4854-8920-f0b2bd004b9f" providerId="ADAL" clId="{5A4E854C-3520-4148-9A42-EFCEE9920127}" dt="2025-01-13T13:49:31.274" v="1455" actId="20577"/>
        <pc:sldMkLst>
          <pc:docMk/>
          <pc:sldMk cId="1240683963" sldId="278"/>
        </pc:sldMkLst>
        <pc:spChg chg="mod">
          <ac:chgData name="Siddhi Paliwal" userId="3ef3921d-16b8-4854-8920-f0b2bd004b9f" providerId="ADAL" clId="{5A4E854C-3520-4148-9A42-EFCEE9920127}" dt="2025-01-13T13:49:31.274" v="1455" actId="20577"/>
          <ac:spMkLst>
            <pc:docMk/>
            <pc:sldMk cId="1240683963" sldId="278"/>
            <ac:spMk id="19" creationId="{5EF01094-171F-A251-08EB-ADF4056E0AC4}"/>
          </ac:spMkLst>
        </pc:spChg>
      </pc:sldChg>
      <pc:sldChg chg="add">
        <pc:chgData name="Siddhi Paliwal" userId="3ef3921d-16b8-4854-8920-f0b2bd004b9f" providerId="ADAL" clId="{5A4E854C-3520-4148-9A42-EFCEE9920127}" dt="2025-01-13T11:22:16.918" v="424"/>
        <pc:sldMkLst>
          <pc:docMk/>
          <pc:sldMk cId="2416718634" sldId="278"/>
        </pc:sldMkLst>
      </pc:sldChg>
      <pc:sldChg chg="modSp add del mod">
        <pc:chgData name="Siddhi Paliwal" userId="3ef3921d-16b8-4854-8920-f0b2bd004b9f" providerId="ADAL" clId="{5A4E854C-3520-4148-9A42-EFCEE9920127}" dt="2025-01-13T13:48:29.385" v="1448" actId="2696"/>
        <pc:sldMkLst>
          <pc:docMk/>
          <pc:sldMk cId="2926009089" sldId="278"/>
        </pc:sldMkLst>
      </pc:sldChg>
      <pc:sldChg chg="modSp add del mod">
        <pc:chgData name="Siddhi Paliwal" userId="3ef3921d-16b8-4854-8920-f0b2bd004b9f" providerId="ADAL" clId="{5A4E854C-3520-4148-9A42-EFCEE9920127}" dt="2025-01-13T11:22:15.481" v="423"/>
        <pc:sldMkLst>
          <pc:docMk/>
          <pc:sldMk cId="3975039589" sldId="278"/>
        </pc:sldMkLst>
      </pc:sldChg>
      <pc:sldChg chg="addSp delSp modSp add mod modClrScheme chgLayout">
        <pc:chgData name="Siddhi Paliwal" userId="3ef3921d-16b8-4854-8920-f0b2bd004b9f" providerId="ADAL" clId="{5A4E854C-3520-4148-9A42-EFCEE9920127}" dt="2025-01-16T09:23:48.193" v="2585" actId="207"/>
        <pc:sldMkLst>
          <pc:docMk/>
          <pc:sldMk cId="1558660824" sldId="279"/>
        </pc:sldMkLst>
        <pc:spChg chg="mod">
          <ac:chgData name="Siddhi Paliwal" userId="3ef3921d-16b8-4854-8920-f0b2bd004b9f" providerId="ADAL" clId="{5A4E854C-3520-4148-9A42-EFCEE9920127}" dt="2025-01-13T15:17:17.888" v="1958" actId="14100"/>
          <ac:spMkLst>
            <pc:docMk/>
            <pc:sldMk cId="1558660824" sldId="279"/>
            <ac:spMk id="41" creationId="{FB2FA278-E586-02D6-83E5-8335369662F7}"/>
          </ac:spMkLst>
        </pc:spChg>
        <pc:spChg chg="mod">
          <ac:chgData name="Siddhi Paliwal" userId="3ef3921d-16b8-4854-8920-f0b2bd004b9f" providerId="ADAL" clId="{5A4E854C-3520-4148-9A42-EFCEE9920127}" dt="2025-01-16T09:23:48.193" v="2585" actId="207"/>
          <ac:spMkLst>
            <pc:docMk/>
            <pc:sldMk cId="1558660824" sldId="279"/>
            <ac:spMk id="62" creationId="{6984CE9B-8636-4AF8-3158-F18275C9FEFE}"/>
          </ac:spMkLst>
        </pc:spChg>
        <pc:spChg chg="mod">
          <ac:chgData name="Siddhi Paliwal" userId="3ef3921d-16b8-4854-8920-f0b2bd004b9f" providerId="ADAL" clId="{5A4E854C-3520-4148-9A42-EFCEE9920127}" dt="2025-01-16T09:23:48.193" v="2585" actId="207"/>
          <ac:spMkLst>
            <pc:docMk/>
            <pc:sldMk cId="1558660824" sldId="279"/>
            <ac:spMk id="90" creationId="{52D7B06A-0FAB-2E1D-C6AC-346FF985A6EC}"/>
          </ac:spMkLst>
        </pc:spChg>
        <pc:spChg chg="mod">
          <ac:chgData name="Siddhi Paliwal" userId="3ef3921d-16b8-4854-8920-f0b2bd004b9f" providerId="ADAL" clId="{5A4E854C-3520-4148-9A42-EFCEE9920127}" dt="2025-01-16T09:23:48.193" v="2585" actId="207"/>
          <ac:spMkLst>
            <pc:docMk/>
            <pc:sldMk cId="1558660824" sldId="279"/>
            <ac:spMk id="91" creationId="{D7E2CE57-49C2-A768-9AF2-E22D93C55197}"/>
          </ac:spMkLst>
        </pc:spChg>
        <pc:spChg chg="mod">
          <ac:chgData name="Siddhi Paliwal" userId="3ef3921d-16b8-4854-8920-f0b2bd004b9f" providerId="ADAL" clId="{5A4E854C-3520-4148-9A42-EFCEE9920127}" dt="2025-01-16T09:23:48.193" v="2585" actId="207"/>
          <ac:spMkLst>
            <pc:docMk/>
            <pc:sldMk cId="1558660824" sldId="279"/>
            <ac:spMk id="94" creationId="{DE966185-A8D7-9B57-D670-C16AEC6314B9}"/>
          </ac:spMkLst>
        </pc:spChg>
        <pc:cxnChg chg="mod">
          <ac:chgData name="Siddhi Paliwal" userId="3ef3921d-16b8-4854-8920-f0b2bd004b9f" providerId="ADAL" clId="{5A4E854C-3520-4148-9A42-EFCEE9920127}" dt="2025-01-13T15:19:55.593" v="1971" actId="692"/>
          <ac:cxnSpMkLst>
            <pc:docMk/>
            <pc:sldMk cId="1558660824" sldId="279"/>
            <ac:cxnSpMk id="14" creationId="{D48B9D95-3E9F-5887-7F25-2CFD1FE8BA68}"/>
          </ac:cxnSpMkLst>
        </pc:cxnChg>
        <pc:cxnChg chg="mod">
          <ac:chgData name="Siddhi Paliwal" userId="3ef3921d-16b8-4854-8920-f0b2bd004b9f" providerId="ADAL" clId="{5A4E854C-3520-4148-9A42-EFCEE9920127}" dt="2025-01-13T15:17:41.290" v="1960" actId="1076"/>
          <ac:cxnSpMkLst>
            <pc:docMk/>
            <pc:sldMk cId="1558660824" sldId="279"/>
            <ac:cxnSpMk id="31" creationId="{D5F2E1BA-A619-E17E-1544-5852E47B9655}"/>
          </ac:cxnSpMkLst>
        </pc:cxnChg>
        <pc:cxnChg chg="mod">
          <ac:chgData name="Siddhi Paliwal" userId="3ef3921d-16b8-4854-8920-f0b2bd004b9f" providerId="ADAL" clId="{5A4E854C-3520-4148-9A42-EFCEE9920127}" dt="2025-01-13T15:19:55.593" v="1971" actId="692"/>
          <ac:cxnSpMkLst>
            <pc:docMk/>
            <pc:sldMk cId="1558660824" sldId="279"/>
            <ac:cxnSpMk id="103" creationId="{6E5379E8-9A62-05DD-A930-31BB63A81240}"/>
          </ac:cxnSpMkLst>
        </pc:cxnChg>
        <pc:cxnChg chg="mod">
          <ac:chgData name="Siddhi Paliwal" userId="3ef3921d-16b8-4854-8920-f0b2bd004b9f" providerId="ADAL" clId="{5A4E854C-3520-4148-9A42-EFCEE9920127}" dt="2025-01-13T15:19:55.593" v="1971" actId="692"/>
          <ac:cxnSpMkLst>
            <pc:docMk/>
            <pc:sldMk cId="1558660824" sldId="279"/>
            <ac:cxnSpMk id="105" creationId="{3FE2D831-109B-321A-1F33-E0E26DC45164}"/>
          </ac:cxnSpMkLst>
        </pc:cxnChg>
      </pc:sldChg>
      <pc:sldChg chg="modSp add del mod ord">
        <pc:chgData name="Siddhi Paliwal" userId="3ef3921d-16b8-4854-8920-f0b2bd004b9f" providerId="ADAL" clId="{5A4E854C-3520-4148-9A42-EFCEE9920127}" dt="2025-01-13T15:09:38.698" v="1881" actId="2696"/>
        <pc:sldMkLst>
          <pc:docMk/>
          <pc:sldMk cId="1854767376" sldId="279"/>
        </pc:sldMkLst>
      </pc:sldChg>
      <pc:sldChg chg="del">
        <pc:chgData name="Siddhi Paliwal" userId="3ef3921d-16b8-4854-8920-f0b2bd004b9f" providerId="ADAL" clId="{5A4E854C-3520-4148-9A42-EFCEE9920127}" dt="2025-01-13T11:23:22.096" v="434" actId="2696"/>
        <pc:sldMkLst>
          <pc:docMk/>
          <pc:sldMk cId="2416718634" sldId="279"/>
        </pc:sldMkLst>
      </pc:sldChg>
      <pc:sldChg chg="modSp add del mod ord">
        <pc:chgData name="Siddhi Paliwal" userId="3ef3921d-16b8-4854-8920-f0b2bd004b9f" providerId="ADAL" clId="{5A4E854C-3520-4148-9A42-EFCEE9920127}" dt="2025-01-13T15:10:08.698" v="1895" actId="2696"/>
        <pc:sldMkLst>
          <pc:docMk/>
          <pc:sldMk cId="3049123225" sldId="280"/>
        </pc:sldMkLst>
      </pc:sldChg>
      <pc:sldChg chg="modSp add del mod ord">
        <pc:chgData name="Siddhi Paliwal" userId="3ef3921d-16b8-4854-8920-f0b2bd004b9f" providerId="ADAL" clId="{5A4E854C-3520-4148-9A42-EFCEE9920127}" dt="2025-01-13T15:11:16.391" v="1933" actId="2696"/>
        <pc:sldMkLst>
          <pc:docMk/>
          <pc:sldMk cId="2979574632" sldId="281"/>
        </pc:sldMkLst>
      </pc:sldChg>
      <pc:sldChg chg="addSp delSp modSp mod">
        <pc:chgData name="Siddhi Paliwal" userId="3ef3921d-16b8-4854-8920-f0b2bd004b9f" providerId="ADAL" clId="{5A4E854C-3520-4148-9A42-EFCEE9920127}" dt="2025-01-16T09:19:01.145" v="2566" actId="408"/>
        <pc:sldMkLst>
          <pc:docMk/>
          <pc:sldMk cId="3196026138" sldId="281"/>
        </pc:sldMkLst>
        <pc:spChg chg="add mod">
          <ac:chgData name="Siddhi Paliwal" userId="3ef3921d-16b8-4854-8920-f0b2bd004b9f" providerId="ADAL" clId="{5A4E854C-3520-4148-9A42-EFCEE9920127}" dt="2025-01-16T09:17:45.085" v="2558" actId="207"/>
          <ac:spMkLst>
            <pc:docMk/>
            <pc:sldMk cId="3196026138" sldId="281"/>
            <ac:spMk id="9" creationId="{7E6329D2-4067-C2AF-8559-0956A6386903}"/>
          </ac:spMkLst>
        </pc:spChg>
        <pc:spChg chg="mod">
          <ac:chgData name="Siddhi Paliwal" userId="3ef3921d-16b8-4854-8920-f0b2bd004b9f" providerId="ADAL" clId="{5A4E854C-3520-4148-9A42-EFCEE9920127}" dt="2025-01-16T09:17:10.792" v="2553" actId="14100"/>
          <ac:spMkLst>
            <pc:docMk/>
            <pc:sldMk cId="3196026138" sldId="281"/>
            <ac:spMk id="21" creationId="{03678DDC-D745-0992-B13E-7385348A3B7A}"/>
          </ac:spMkLst>
        </pc:spChg>
        <pc:spChg chg="mod">
          <ac:chgData name="Siddhi Paliwal" userId="3ef3921d-16b8-4854-8920-f0b2bd004b9f" providerId="ADAL" clId="{5A4E854C-3520-4148-9A42-EFCEE9920127}" dt="2025-01-16T09:18:22.085" v="2564" actId="14100"/>
          <ac:spMkLst>
            <pc:docMk/>
            <pc:sldMk cId="3196026138" sldId="281"/>
            <ac:spMk id="32" creationId="{E0ED5684-0931-064D-6025-1D32FC3552A5}"/>
          </ac:spMkLst>
        </pc:spChg>
        <pc:spChg chg="mod">
          <ac:chgData name="Siddhi Paliwal" userId="3ef3921d-16b8-4854-8920-f0b2bd004b9f" providerId="ADAL" clId="{5A4E854C-3520-4148-9A42-EFCEE9920127}" dt="2025-01-16T09:18:10.892" v="2562" actId="14100"/>
          <ac:spMkLst>
            <pc:docMk/>
            <pc:sldMk cId="3196026138" sldId="281"/>
            <ac:spMk id="34" creationId="{84C7E935-ECDB-70A3-5F11-2723050F71BC}"/>
          </ac:spMkLst>
        </pc:spChg>
        <pc:spChg chg="mod">
          <ac:chgData name="Siddhi Paliwal" userId="3ef3921d-16b8-4854-8920-f0b2bd004b9f" providerId="ADAL" clId="{5A4E854C-3520-4148-9A42-EFCEE9920127}" dt="2025-01-16T09:19:01.145" v="2566" actId="408"/>
          <ac:spMkLst>
            <pc:docMk/>
            <pc:sldMk cId="3196026138" sldId="281"/>
            <ac:spMk id="44" creationId="{383EFA6F-5471-925E-DAF1-94EC94D3E147}"/>
          </ac:spMkLst>
        </pc:spChg>
        <pc:spChg chg="mod">
          <ac:chgData name="Siddhi Paliwal" userId="3ef3921d-16b8-4854-8920-f0b2bd004b9f" providerId="ADAL" clId="{5A4E854C-3520-4148-9A42-EFCEE9920127}" dt="2025-01-16T09:19:01.145" v="2566" actId="408"/>
          <ac:spMkLst>
            <pc:docMk/>
            <pc:sldMk cId="3196026138" sldId="281"/>
            <ac:spMk id="46" creationId="{3A16600B-A182-98A6-BCB1-7E42BF073B4C}"/>
          </ac:spMkLst>
        </pc:spChg>
        <pc:spChg chg="mod">
          <ac:chgData name="Siddhi Paliwal" userId="3ef3921d-16b8-4854-8920-f0b2bd004b9f" providerId="ADAL" clId="{5A4E854C-3520-4148-9A42-EFCEE9920127}" dt="2025-01-16T09:19:01.145" v="2566" actId="408"/>
          <ac:spMkLst>
            <pc:docMk/>
            <pc:sldMk cId="3196026138" sldId="281"/>
            <ac:spMk id="47" creationId="{1D180C6A-78E9-A3C2-A240-323A13303654}"/>
          </ac:spMkLst>
        </pc:spChg>
        <pc:spChg chg="mod">
          <ac:chgData name="Siddhi Paliwal" userId="3ef3921d-16b8-4854-8920-f0b2bd004b9f" providerId="ADAL" clId="{5A4E854C-3520-4148-9A42-EFCEE9920127}" dt="2025-01-16T09:19:01.145" v="2566" actId="408"/>
          <ac:spMkLst>
            <pc:docMk/>
            <pc:sldMk cId="3196026138" sldId="281"/>
            <ac:spMk id="48" creationId="{51FD8BBB-A9D3-7653-8D79-0C125497C05E}"/>
          </ac:spMkLst>
        </pc:spChg>
      </pc:sldChg>
      <pc:sldChg chg="delSp add del mod">
        <pc:chgData name="Siddhi Paliwal" userId="3ef3921d-16b8-4854-8920-f0b2bd004b9f" providerId="ADAL" clId="{5A4E854C-3520-4148-9A42-EFCEE9920127}" dt="2025-01-13T13:47:57.277" v="1429" actId="2696"/>
        <pc:sldMkLst>
          <pc:docMk/>
          <pc:sldMk cId="489583934" sldId="282"/>
        </pc:sldMkLst>
      </pc:sldChg>
      <pc:sldChg chg="modSp add mod ord setBg">
        <pc:chgData name="Siddhi Paliwal" userId="3ef3921d-16b8-4854-8920-f0b2bd004b9f" providerId="ADAL" clId="{5A4E854C-3520-4148-9A42-EFCEE9920127}" dt="2025-01-13T11:30:13.856" v="538" actId="20578"/>
        <pc:sldMkLst>
          <pc:docMk/>
          <pc:sldMk cId="3408441189" sldId="282"/>
        </pc:sldMkLst>
      </pc:sldChg>
      <pc:sldChg chg="modSp add mod">
        <pc:chgData name="Siddhi Paliwal" userId="3ef3921d-16b8-4854-8920-f0b2bd004b9f" providerId="ADAL" clId="{5A4E854C-3520-4148-9A42-EFCEE9920127}" dt="2025-01-13T13:48:15.315" v="1447" actId="20577"/>
        <pc:sldMkLst>
          <pc:docMk/>
          <pc:sldMk cId="3753633270" sldId="282"/>
        </pc:sldMkLst>
        <pc:spChg chg="mod">
          <ac:chgData name="Siddhi Paliwal" userId="3ef3921d-16b8-4854-8920-f0b2bd004b9f" providerId="ADAL" clId="{5A4E854C-3520-4148-9A42-EFCEE9920127}" dt="2025-01-13T13:48:15.315" v="1447" actId="20577"/>
          <ac:spMkLst>
            <pc:docMk/>
            <pc:sldMk cId="3753633270" sldId="282"/>
            <ac:spMk id="19" creationId="{5EF01094-171F-A251-08EB-ADF4056E0AC4}"/>
          </ac:spMkLst>
        </pc:spChg>
      </pc:sldChg>
      <pc:sldChg chg="addSp delSp modSp add mod modClrScheme chgLayout">
        <pc:chgData name="Siddhi Paliwal" userId="3ef3921d-16b8-4854-8920-f0b2bd004b9f" providerId="ADAL" clId="{5A4E854C-3520-4148-9A42-EFCEE9920127}" dt="2025-01-13T12:23:24.503" v="751" actId="1036"/>
        <pc:sldMkLst>
          <pc:docMk/>
          <pc:sldMk cId="2453782732" sldId="283"/>
        </pc:sldMkLst>
      </pc:sldChg>
      <pc:sldChg chg="new del">
        <pc:chgData name="Siddhi Paliwal" userId="3ef3921d-16b8-4854-8920-f0b2bd004b9f" providerId="ADAL" clId="{5A4E854C-3520-4148-9A42-EFCEE9920127}" dt="2025-01-13T12:06:48.777" v="579" actId="2696"/>
        <pc:sldMkLst>
          <pc:docMk/>
          <pc:sldMk cId="4044963611" sldId="283"/>
        </pc:sldMkLst>
      </pc:sldChg>
      <pc:sldChg chg="addSp delSp modSp add del mod modClrScheme chgLayout">
        <pc:chgData name="Siddhi Paliwal" userId="3ef3921d-16b8-4854-8920-f0b2bd004b9f" providerId="ADAL" clId="{5A4E854C-3520-4148-9A42-EFCEE9920127}" dt="2025-01-16T08:45:11.612" v="2283" actId="2696"/>
        <pc:sldMkLst>
          <pc:docMk/>
          <pc:sldMk cId="595150051" sldId="284"/>
        </pc:sldMkLst>
      </pc:sldChg>
      <pc:sldChg chg="new del">
        <pc:chgData name="Siddhi Paliwal" userId="3ef3921d-16b8-4854-8920-f0b2bd004b9f" providerId="ADAL" clId="{5A4E854C-3520-4148-9A42-EFCEE9920127}" dt="2025-01-13T13:58:58.563" v="1463" actId="2696"/>
        <pc:sldMkLst>
          <pc:docMk/>
          <pc:sldMk cId="1258125441" sldId="285"/>
        </pc:sldMkLst>
      </pc:sldChg>
      <pc:sldChg chg="addSp delSp modSp add mod modClrScheme chgLayout">
        <pc:chgData name="Siddhi Paliwal" userId="3ef3921d-16b8-4854-8920-f0b2bd004b9f" providerId="ADAL" clId="{5A4E854C-3520-4148-9A42-EFCEE9920127}" dt="2025-01-13T14:41:46.474" v="1569" actId="1076"/>
        <pc:sldMkLst>
          <pc:docMk/>
          <pc:sldMk cId="2233467875" sldId="285"/>
        </pc:sldMkLst>
        <pc:spChg chg="add mod">
          <ac:chgData name="Siddhi Paliwal" userId="3ef3921d-16b8-4854-8920-f0b2bd004b9f" providerId="ADAL" clId="{5A4E854C-3520-4148-9A42-EFCEE9920127}" dt="2025-01-13T14:37:55.390" v="1543"/>
          <ac:spMkLst>
            <pc:docMk/>
            <pc:sldMk cId="2233467875" sldId="285"/>
            <ac:spMk id="11" creationId="{4B105FCD-2FD3-8A01-EB65-0B4B343BDA6A}"/>
          </ac:spMkLst>
        </pc:spChg>
      </pc:sldChg>
      <pc:sldChg chg="del">
        <pc:chgData name="Siddhi Paliwal" userId="3ef3921d-16b8-4854-8920-f0b2bd004b9f" providerId="ADAL" clId="{5A4E854C-3520-4148-9A42-EFCEE9920127}" dt="2025-01-13T15:10:38.998" v="1908" actId="2696"/>
        <pc:sldMkLst>
          <pc:docMk/>
          <pc:sldMk cId="410978724" sldId="286"/>
        </pc:sldMkLst>
      </pc:sldChg>
      <pc:sldChg chg="modSp mod">
        <pc:chgData name="Siddhi Paliwal" userId="3ef3921d-16b8-4854-8920-f0b2bd004b9f" providerId="ADAL" clId="{5A4E854C-3520-4148-9A42-EFCEE9920127}" dt="2025-01-16T08:34:05.294" v="2250" actId="207"/>
        <pc:sldMkLst>
          <pc:docMk/>
          <pc:sldMk cId="2161039759" sldId="286"/>
        </pc:sldMkLst>
      </pc:sldChg>
      <pc:sldChg chg="addSp delSp modSp mod">
        <pc:chgData name="Siddhi Paliwal" userId="3ef3921d-16b8-4854-8920-f0b2bd004b9f" providerId="ADAL" clId="{5A4E854C-3520-4148-9A42-EFCEE9920127}" dt="2025-01-16T09:06:17.206" v="2490" actId="1076"/>
        <pc:sldMkLst>
          <pc:docMk/>
          <pc:sldMk cId="3071321685" sldId="288"/>
        </pc:sldMkLst>
      </pc:sldChg>
      <pc:sldChg chg="delSp modSp mod">
        <pc:chgData name="Siddhi Paliwal" userId="3ef3921d-16b8-4854-8920-f0b2bd004b9f" providerId="ADAL" clId="{5A4E854C-3520-4148-9A42-EFCEE9920127}" dt="2025-01-16T09:08:26.401" v="2497" actId="478"/>
        <pc:sldMkLst>
          <pc:docMk/>
          <pc:sldMk cId="3973081514" sldId="290"/>
        </pc:sldMkLst>
        <pc:spChg chg="mod">
          <ac:chgData name="Siddhi Paliwal" userId="3ef3921d-16b8-4854-8920-f0b2bd004b9f" providerId="ADAL" clId="{5A4E854C-3520-4148-9A42-EFCEE9920127}" dt="2025-01-16T09:07:00.656" v="2496" actId="14100"/>
          <ac:spMkLst>
            <pc:docMk/>
            <pc:sldMk cId="3973081514" sldId="290"/>
            <ac:spMk id="24" creationId="{ED7CEA4B-0483-1EEE-EB61-FB5F0107797F}"/>
          </ac:spMkLst>
        </pc:spChg>
        <pc:spChg chg="mod">
          <ac:chgData name="Siddhi Paliwal" userId="3ef3921d-16b8-4854-8920-f0b2bd004b9f" providerId="ADAL" clId="{5A4E854C-3520-4148-9A42-EFCEE9920127}" dt="2025-01-16T09:06:56.806" v="2495" actId="14100"/>
          <ac:spMkLst>
            <pc:docMk/>
            <pc:sldMk cId="3973081514" sldId="290"/>
            <ac:spMk id="25" creationId="{929A94A0-20FB-3E92-2EFF-48F439C07948}"/>
          </ac:spMkLst>
        </pc:spChg>
      </pc:sldChg>
      <pc:sldChg chg="modSp mod">
        <pc:chgData name="Siddhi Paliwal" userId="3ef3921d-16b8-4854-8920-f0b2bd004b9f" providerId="ADAL" clId="{5A4E854C-3520-4148-9A42-EFCEE9920127}" dt="2025-01-16T09:27:23.079" v="2603" actId="1036"/>
        <pc:sldMkLst>
          <pc:docMk/>
          <pc:sldMk cId="1672098358" sldId="291"/>
        </pc:sldMkLst>
      </pc:sldChg>
      <pc:sldChg chg="addSp delSp modSp mod">
        <pc:chgData name="Siddhi Paliwal" userId="3ef3921d-16b8-4854-8920-f0b2bd004b9f" providerId="ADAL" clId="{5A4E854C-3520-4148-9A42-EFCEE9920127}" dt="2025-01-16T09:32:19.100" v="2622" actId="14100"/>
        <pc:sldMkLst>
          <pc:docMk/>
          <pc:sldMk cId="1710977659" sldId="292"/>
        </pc:sldMkLst>
      </pc:sldChg>
      <pc:sldChg chg="addSp delSp modSp mod">
        <pc:chgData name="Siddhi Paliwal" userId="3ef3921d-16b8-4854-8920-f0b2bd004b9f" providerId="ADAL" clId="{5A4E854C-3520-4148-9A42-EFCEE9920127}" dt="2025-01-16T09:59:13.561" v="2734" actId="478"/>
        <pc:sldMkLst>
          <pc:docMk/>
          <pc:sldMk cId="3320606156" sldId="293"/>
        </pc:sldMkLst>
      </pc:sldChg>
      <pc:sldChg chg="addSp delSp modSp mod">
        <pc:chgData name="Siddhi Paliwal" userId="3ef3921d-16b8-4854-8920-f0b2bd004b9f" providerId="ADAL" clId="{5A4E854C-3520-4148-9A42-EFCEE9920127}" dt="2025-01-16T09:21:50.498" v="2576" actId="1076"/>
        <pc:sldMkLst>
          <pc:docMk/>
          <pc:sldMk cId="4130976296" sldId="294"/>
        </pc:sldMkLst>
        <pc:spChg chg="mod">
          <ac:chgData name="Siddhi Paliwal" userId="3ef3921d-16b8-4854-8920-f0b2bd004b9f" providerId="ADAL" clId="{5A4E854C-3520-4148-9A42-EFCEE9920127}" dt="2025-01-16T09:21:50.498" v="2576" actId="1076"/>
          <ac:spMkLst>
            <pc:docMk/>
            <pc:sldMk cId="4130976296" sldId="294"/>
            <ac:spMk id="3" creationId="{B67A4B8E-D5B3-145A-55D7-1A6567367573}"/>
          </ac:spMkLst>
        </pc:spChg>
        <pc:spChg chg="mod">
          <ac:chgData name="Siddhi Paliwal" userId="3ef3921d-16b8-4854-8920-f0b2bd004b9f" providerId="ADAL" clId="{5A4E854C-3520-4148-9A42-EFCEE9920127}" dt="2025-01-16T09:19:49.035" v="2568" actId="255"/>
          <ac:spMkLst>
            <pc:docMk/>
            <pc:sldMk cId="4130976296" sldId="294"/>
            <ac:spMk id="8" creationId="{03C51EBB-8216-6AD9-5EDC-3C0AD11F29E8}"/>
          </ac:spMkLst>
        </pc:spChg>
        <pc:spChg chg="mod">
          <ac:chgData name="Siddhi Paliwal" userId="3ef3921d-16b8-4854-8920-f0b2bd004b9f" providerId="ADAL" clId="{5A4E854C-3520-4148-9A42-EFCEE9920127}" dt="2025-01-16T09:21:50.498" v="2576" actId="1076"/>
          <ac:spMkLst>
            <pc:docMk/>
            <pc:sldMk cId="4130976296" sldId="294"/>
            <ac:spMk id="11" creationId="{F5897C84-3224-D7DA-916D-204D9F02FCAD}"/>
          </ac:spMkLst>
        </pc:spChg>
        <pc:spChg chg="mod">
          <ac:chgData name="Siddhi Paliwal" userId="3ef3921d-16b8-4854-8920-f0b2bd004b9f" providerId="ADAL" clId="{5A4E854C-3520-4148-9A42-EFCEE9920127}" dt="2025-01-16T09:21:50.498" v="2576" actId="1076"/>
          <ac:spMkLst>
            <pc:docMk/>
            <pc:sldMk cId="4130976296" sldId="294"/>
            <ac:spMk id="12" creationId="{9FE5147F-C9CE-16A7-5E0D-56ED85F6CB1E}"/>
          </ac:spMkLst>
        </pc:spChg>
        <pc:spChg chg="mod">
          <ac:chgData name="Siddhi Paliwal" userId="3ef3921d-16b8-4854-8920-f0b2bd004b9f" providerId="ADAL" clId="{5A4E854C-3520-4148-9A42-EFCEE9920127}" dt="2025-01-16T09:21:50.498" v="2576" actId="1076"/>
          <ac:spMkLst>
            <pc:docMk/>
            <pc:sldMk cId="4130976296" sldId="294"/>
            <ac:spMk id="20" creationId="{1CA8E8A2-2FAE-C56C-9FE8-53AC7AD865A5}"/>
          </ac:spMkLst>
        </pc:spChg>
        <pc:spChg chg="mod">
          <ac:chgData name="Siddhi Paliwal" userId="3ef3921d-16b8-4854-8920-f0b2bd004b9f" providerId="ADAL" clId="{5A4E854C-3520-4148-9A42-EFCEE9920127}" dt="2025-01-16T09:21:50.498" v="2576" actId="1076"/>
          <ac:spMkLst>
            <pc:docMk/>
            <pc:sldMk cId="4130976296" sldId="294"/>
            <ac:spMk id="21" creationId="{A22A89F4-6DD2-5D3E-F21F-A9C4EB70F066}"/>
          </ac:spMkLst>
        </pc:spChg>
        <pc:spChg chg="mod">
          <ac:chgData name="Siddhi Paliwal" userId="3ef3921d-16b8-4854-8920-f0b2bd004b9f" providerId="ADAL" clId="{5A4E854C-3520-4148-9A42-EFCEE9920127}" dt="2025-01-16T09:21:50.498" v="2576" actId="1076"/>
          <ac:spMkLst>
            <pc:docMk/>
            <pc:sldMk cId="4130976296" sldId="294"/>
            <ac:spMk id="24" creationId="{03AACF92-4F31-3FA5-776C-C4DA790B55F2}"/>
          </ac:spMkLst>
        </pc:spChg>
        <pc:cxnChg chg="add mod">
          <ac:chgData name="Siddhi Paliwal" userId="3ef3921d-16b8-4854-8920-f0b2bd004b9f" providerId="ADAL" clId="{5A4E854C-3520-4148-9A42-EFCEE9920127}" dt="2025-01-16T09:21:50.498" v="2576" actId="1076"/>
          <ac:cxnSpMkLst>
            <pc:docMk/>
            <pc:sldMk cId="4130976296" sldId="294"/>
            <ac:cxnSpMk id="9" creationId="{50F040CE-03FD-B16A-D161-59579DF5DB59}"/>
          </ac:cxnSpMkLst>
        </pc:cxnChg>
        <pc:cxnChg chg="mod">
          <ac:chgData name="Siddhi Paliwal" userId="3ef3921d-16b8-4854-8920-f0b2bd004b9f" providerId="ADAL" clId="{5A4E854C-3520-4148-9A42-EFCEE9920127}" dt="2025-01-16T09:21:50.498" v="2576" actId="1076"/>
          <ac:cxnSpMkLst>
            <pc:docMk/>
            <pc:sldMk cId="4130976296" sldId="294"/>
            <ac:cxnSpMk id="17" creationId="{E61EA63D-48BC-D7ED-8443-8CE763FA3BED}"/>
          </ac:cxnSpMkLst>
        </pc:cxnChg>
      </pc:sldChg>
      <pc:sldChg chg="modSp mod">
        <pc:chgData name="Siddhi Paliwal" userId="3ef3921d-16b8-4854-8920-f0b2bd004b9f" providerId="ADAL" clId="{5A4E854C-3520-4148-9A42-EFCEE9920127}" dt="2025-01-16T09:15:54.731" v="2529" actId="1076"/>
        <pc:sldMkLst>
          <pc:docMk/>
          <pc:sldMk cId="2608621991" sldId="295"/>
        </pc:sldMkLst>
        <pc:spChg chg="mod">
          <ac:chgData name="Siddhi Paliwal" userId="3ef3921d-16b8-4854-8920-f0b2bd004b9f" providerId="ADAL" clId="{5A4E854C-3520-4148-9A42-EFCEE9920127}" dt="2025-01-16T09:15:54.731" v="2529" actId="1076"/>
          <ac:spMkLst>
            <pc:docMk/>
            <pc:sldMk cId="2608621991" sldId="295"/>
            <ac:spMk id="26" creationId="{34339D16-4012-0372-7856-3D61BBE3B7C2}"/>
          </ac:spMkLst>
        </pc:spChg>
        <pc:spChg chg="mod">
          <ac:chgData name="Siddhi Paliwal" userId="3ef3921d-16b8-4854-8920-f0b2bd004b9f" providerId="ADAL" clId="{5A4E854C-3520-4148-9A42-EFCEE9920127}" dt="2025-01-16T09:15:54.731" v="2529" actId="1076"/>
          <ac:spMkLst>
            <pc:docMk/>
            <pc:sldMk cId="2608621991" sldId="295"/>
            <ac:spMk id="27" creationId="{8DE4C2CE-5AED-5A84-5410-B99EC8EE377A}"/>
          </ac:spMkLst>
        </pc:spChg>
        <pc:spChg chg="mod">
          <ac:chgData name="Siddhi Paliwal" userId="3ef3921d-16b8-4854-8920-f0b2bd004b9f" providerId="ADAL" clId="{5A4E854C-3520-4148-9A42-EFCEE9920127}" dt="2025-01-16T09:15:47.181" v="2528" actId="1076"/>
          <ac:spMkLst>
            <pc:docMk/>
            <pc:sldMk cId="2608621991" sldId="295"/>
            <ac:spMk id="28" creationId="{892D9073-0029-A352-5EFF-F85C0C92A2ED}"/>
          </ac:spMkLst>
        </pc:spChg>
        <pc:spChg chg="mod">
          <ac:chgData name="Siddhi Paliwal" userId="3ef3921d-16b8-4854-8920-f0b2bd004b9f" providerId="ADAL" clId="{5A4E854C-3520-4148-9A42-EFCEE9920127}" dt="2025-01-16T09:15:34.881" v="2527" actId="207"/>
          <ac:spMkLst>
            <pc:docMk/>
            <pc:sldMk cId="2608621991" sldId="295"/>
            <ac:spMk id="29" creationId="{940C9A9E-71F1-6AFD-8014-245636AC494D}"/>
          </ac:spMkLst>
        </pc:spChg>
        <pc:spChg chg="mod">
          <ac:chgData name="Siddhi Paliwal" userId="3ef3921d-16b8-4854-8920-f0b2bd004b9f" providerId="ADAL" clId="{5A4E854C-3520-4148-9A42-EFCEE9920127}" dt="2025-01-16T09:15:47.181" v="2528" actId="1076"/>
          <ac:spMkLst>
            <pc:docMk/>
            <pc:sldMk cId="2608621991" sldId="295"/>
            <ac:spMk id="36" creationId="{FA70E85A-429B-A2CE-98B8-EDE226921FAC}"/>
          </ac:spMkLst>
        </pc:spChg>
        <pc:spChg chg="mod">
          <ac:chgData name="Siddhi Paliwal" userId="3ef3921d-16b8-4854-8920-f0b2bd004b9f" providerId="ADAL" clId="{5A4E854C-3520-4148-9A42-EFCEE9920127}" dt="2025-01-16T09:15:47.181" v="2528" actId="1076"/>
          <ac:spMkLst>
            <pc:docMk/>
            <pc:sldMk cId="2608621991" sldId="295"/>
            <ac:spMk id="37" creationId="{C96C1D46-DB9E-836A-E0E5-2BDC4EB670EB}"/>
          </ac:spMkLst>
        </pc:spChg>
        <pc:cxnChg chg="mod">
          <ac:chgData name="Siddhi Paliwal" userId="3ef3921d-16b8-4854-8920-f0b2bd004b9f" providerId="ADAL" clId="{5A4E854C-3520-4148-9A42-EFCEE9920127}" dt="2025-01-16T09:14:55.879" v="2526" actId="692"/>
          <ac:cxnSpMkLst>
            <pc:docMk/>
            <pc:sldMk cId="2608621991" sldId="295"/>
            <ac:cxnSpMk id="30" creationId="{67885D1D-6E54-1B40-ECC0-D599EA847112}"/>
          </ac:cxnSpMkLst>
        </pc:cxnChg>
        <pc:cxnChg chg="mod">
          <ac:chgData name="Siddhi Paliwal" userId="3ef3921d-16b8-4854-8920-f0b2bd004b9f" providerId="ADAL" clId="{5A4E854C-3520-4148-9A42-EFCEE9920127}" dt="2025-01-16T09:14:55.879" v="2526" actId="692"/>
          <ac:cxnSpMkLst>
            <pc:docMk/>
            <pc:sldMk cId="2608621991" sldId="295"/>
            <ac:cxnSpMk id="38" creationId="{EA745BCC-D72A-11E5-BBBD-CB043BBB9A29}"/>
          </ac:cxnSpMkLst>
        </pc:cxnChg>
        <pc:cxnChg chg="mod">
          <ac:chgData name="Siddhi Paliwal" userId="3ef3921d-16b8-4854-8920-f0b2bd004b9f" providerId="ADAL" clId="{5A4E854C-3520-4148-9A42-EFCEE9920127}" dt="2025-01-16T09:14:55.879" v="2526" actId="692"/>
          <ac:cxnSpMkLst>
            <pc:docMk/>
            <pc:sldMk cId="2608621991" sldId="295"/>
            <ac:cxnSpMk id="39" creationId="{0EB7233B-6FE7-B235-6926-F57E49372BA6}"/>
          </ac:cxnSpMkLst>
        </pc:cxnChg>
      </pc:sldChg>
      <pc:sldChg chg="delSp modSp mod">
        <pc:chgData name="Siddhi Paliwal" userId="3ef3921d-16b8-4854-8920-f0b2bd004b9f" providerId="ADAL" clId="{5A4E854C-3520-4148-9A42-EFCEE9920127}" dt="2025-01-16T08:51:04.005" v="2303" actId="1076"/>
        <pc:sldMkLst>
          <pc:docMk/>
          <pc:sldMk cId="1072605819" sldId="296"/>
        </pc:sldMkLst>
      </pc:sldChg>
      <pc:sldChg chg="addSp delSp modSp add mod setBg">
        <pc:chgData name="Siddhi Paliwal" userId="3ef3921d-16b8-4854-8920-f0b2bd004b9f" providerId="ADAL" clId="{5A4E854C-3520-4148-9A42-EFCEE9920127}" dt="2025-01-13T13:47:09.886" v="1428" actId="167"/>
        <pc:sldMkLst>
          <pc:docMk/>
          <pc:sldMk cId="1973319100" sldId="304"/>
        </pc:sldMkLst>
        <pc:spChg chg="mod">
          <ac:chgData name="Siddhi Paliwal" userId="3ef3921d-16b8-4854-8920-f0b2bd004b9f" providerId="ADAL" clId="{5A4E854C-3520-4148-9A42-EFCEE9920127}" dt="2025-01-13T11:03:12.909" v="341" actId="207"/>
          <ac:spMkLst>
            <pc:docMk/>
            <pc:sldMk cId="1973319100" sldId="304"/>
            <ac:spMk id="3" creationId="{48BA4181-6908-D503-D93C-19EAC9E3E86C}"/>
          </ac:spMkLst>
        </pc:spChg>
        <pc:spChg chg="mod">
          <ac:chgData name="Siddhi Paliwal" userId="3ef3921d-16b8-4854-8920-f0b2bd004b9f" providerId="ADAL" clId="{5A4E854C-3520-4148-9A42-EFCEE9920127}" dt="2025-01-13T11:02:46.959" v="339" actId="207"/>
          <ac:spMkLst>
            <pc:docMk/>
            <pc:sldMk cId="1973319100" sldId="304"/>
            <ac:spMk id="7" creationId="{69FF7FAD-28EF-4189-AFA5-65FE2D171B59}"/>
          </ac:spMkLst>
        </pc:spChg>
        <pc:spChg chg="mod">
          <ac:chgData name="Siddhi Paliwal" userId="3ef3921d-16b8-4854-8920-f0b2bd004b9f" providerId="ADAL" clId="{5A4E854C-3520-4148-9A42-EFCEE9920127}" dt="2025-01-13T11:02:46.959" v="339" actId="207"/>
          <ac:spMkLst>
            <pc:docMk/>
            <pc:sldMk cId="1973319100" sldId="304"/>
            <ac:spMk id="8" creationId="{1D945261-F3C3-B16E-61B6-A202C5D3E186}"/>
          </ac:spMkLst>
        </pc:spChg>
        <pc:spChg chg="add mod">
          <ac:chgData name="Siddhi Paliwal" userId="3ef3921d-16b8-4854-8920-f0b2bd004b9f" providerId="ADAL" clId="{5A4E854C-3520-4148-9A42-EFCEE9920127}" dt="2025-01-13T13:47:09.886" v="1428" actId="167"/>
          <ac:spMkLst>
            <pc:docMk/>
            <pc:sldMk cId="1973319100" sldId="304"/>
            <ac:spMk id="9" creationId="{6BC28DEE-D3DF-C912-030F-F2F595B9F485}"/>
          </ac:spMkLst>
        </pc:spChg>
        <pc:spChg chg="mod">
          <ac:chgData name="Siddhi Paliwal" userId="3ef3921d-16b8-4854-8920-f0b2bd004b9f" providerId="ADAL" clId="{5A4E854C-3520-4148-9A42-EFCEE9920127}" dt="2025-01-13T10:50:01.498" v="212" actId="14100"/>
          <ac:spMkLst>
            <pc:docMk/>
            <pc:sldMk cId="1973319100" sldId="304"/>
            <ac:spMk id="11" creationId="{E1D12904-963B-F563-F943-1497AF795BBB}"/>
          </ac:spMkLst>
        </pc:spChg>
        <pc:spChg chg="mod">
          <ac:chgData name="Siddhi Paliwal" userId="3ef3921d-16b8-4854-8920-f0b2bd004b9f" providerId="ADAL" clId="{5A4E854C-3520-4148-9A42-EFCEE9920127}" dt="2025-01-13T11:04:23.020" v="349" actId="692"/>
          <ac:spMkLst>
            <pc:docMk/>
            <pc:sldMk cId="1973319100" sldId="304"/>
            <ac:spMk id="25" creationId="{52779325-7050-3FA6-21EF-E3E82D532189}"/>
          </ac:spMkLst>
        </pc:spChg>
        <pc:spChg chg="mod">
          <ac:chgData name="Siddhi Paliwal" userId="3ef3921d-16b8-4854-8920-f0b2bd004b9f" providerId="ADAL" clId="{5A4E854C-3520-4148-9A42-EFCEE9920127}" dt="2025-01-13T11:02:46.959" v="339" actId="207"/>
          <ac:spMkLst>
            <pc:docMk/>
            <pc:sldMk cId="1973319100" sldId="304"/>
            <ac:spMk id="26" creationId="{24D3AD8E-DDA5-F4A4-305C-BB061515DE2C}"/>
          </ac:spMkLst>
        </pc:spChg>
        <pc:spChg chg="mod">
          <ac:chgData name="Siddhi Paliwal" userId="3ef3921d-16b8-4854-8920-f0b2bd004b9f" providerId="ADAL" clId="{5A4E854C-3520-4148-9A42-EFCEE9920127}" dt="2025-01-13T11:02:46.959" v="339" actId="207"/>
          <ac:spMkLst>
            <pc:docMk/>
            <pc:sldMk cId="1973319100" sldId="304"/>
            <ac:spMk id="27" creationId="{7C4A340A-4456-9F48-ED37-1726F9335D04}"/>
          </ac:spMkLst>
        </pc:spChg>
        <pc:spChg chg="mod">
          <ac:chgData name="Siddhi Paliwal" userId="3ef3921d-16b8-4854-8920-f0b2bd004b9f" providerId="ADAL" clId="{5A4E854C-3520-4148-9A42-EFCEE9920127}" dt="2025-01-13T11:03:12.909" v="341" actId="207"/>
          <ac:spMkLst>
            <pc:docMk/>
            <pc:sldMk cId="1973319100" sldId="304"/>
            <ac:spMk id="41" creationId="{E377AD59-4B5F-2B31-81A5-F0AB10C85DAF}"/>
          </ac:spMkLst>
        </pc:spChg>
        <pc:spChg chg="mod">
          <ac:chgData name="Siddhi Paliwal" userId="3ef3921d-16b8-4854-8920-f0b2bd004b9f" providerId="ADAL" clId="{5A4E854C-3520-4148-9A42-EFCEE9920127}" dt="2025-01-13T11:02:46.959" v="339" actId="207"/>
          <ac:spMkLst>
            <pc:docMk/>
            <pc:sldMk cId="1973319100" sldId="304"/>
            <ac:spMk id="42" creationId="{DD315037-ABCC-BCAE-091C-727D636C003B}"/>
          </ac:spMkLst>
        </pc:spChg>
        <pc:spChg chg="mod">
          <ac:chgData name="Siddhi Paliwal" userId="3ef3921d-16b8-4854-8920-f0b2bd004b9f" providerId="ADAL" clId="{5A4E854C-3520-4148-9A42-EFCEE9920127}" dt="2025-01-13T11:02:46.959" v="339" actId="207"/>
          <ac:spMkLst>
            <pc:docMk/>
            <pc:sldMk cId="1973319100" sldId="304"/>
            <ac:spMk id="43" creationId="{63E4EF0C-716A-6415-5340-570F154745F7}"/>
          </ac:spMkLst>
        </pc:spChg>
        <pc:spChg chg="mod">
          <ac:chgData name="Siddhi Paliwal" userId="3ef3921d-16b8-4854-8920-f0b2bd004b9f" providerId="ADAL" clId="{5A4E854C-3520-4148-9A42-EFCEE9920127}" dt="2025-01-13T11:03:12.909" v="341" actId="207"/>
          <ac:spMkLst>
            <pc:docMk/>
            <pc:sldMk cId="1973319100" sldId="304"/>
            <ac:spMk id="47" creationId="{AAF40037-0999-524F-99F7-295CCE17B1FF}"/>
          </ac:spMkLst>
        </pc:spChg>
        <pc:spChg chg="mod">
          <ac:chgData name="Siddhi Paliwal" userId="3ef3921d-16b8-4854-8920-f0b2bd004b9f" providerId="ADAL" clId="{5A4E854C-3520-4148-9A42-EFCEE9920127}" dt="2025-01-13T11:02:46.959" v="339" actId="207"/>
          <ac:spMkLst>
            <pc:docMk/>
            <pc:sldMk cId="1973319100" sldId="304"/>
            <ac:spMk id="48" creationId="{498D38FF-499A-517F-4E28-021F094889B2}"/>
          </ac:spMkLst>
        </pc:spChg>
        <pc:spChg chg="mod">
          <ac:chgData name="Siddhi Paliwal" userId="3ef3921d-16b8-4854-8920-f0b2bd004b9f" providerId="ADAL" clId="{5A4E854C-3520-4148-9A42-EFCEE9920127}" dt="2025-01-13T11:02:46.959" v="339" actId="207"/>
          <ac:spMkLst>
            <pc:docMk/>
            <pc:sldMk cId="1973319100" sldId="304"/>
            <ac:spMk id="49" creationId="{9FE71238-FC4B-1124-C524-96D44E637B35}"/>
          </ac:spMkLst>
        </pc:spChg>
        <pc:spChg chg="mod">
          <ac:chgData name="Siddhi Paliwal" userId="3ef3921d-16b8-4854-8920-f0b2bd004b9f" providerId="ADAL" clId="{5A4E854C-3520-4148-9A42-EFCEE9920127}" dt="2025-01-13T11:03:12.909" v="341" actId="207"/>
          <ac:spMkLst>
            <pc:docMk/>
            <pc:sldMk cId="1973319100" sldId="304"/>
            <ac:spMk id="53" creationId="{14346B25-6221-775A-DBAF-1F8AF687783F}"/>
          </ac:spMkLst>
        </pc:spChg>
        <pc:spChg chg="mod">
          <ac:chgData name="Siddhi Paliwal" userId="3ef3921d-16b8-4854-8920-f0b2bd004b9f" providerId="ADAL" clId="{5A4E854C-3520-4148-9A42-EFCEE9920127}" dt="2025-01-13T11:02:46.959" v="339" actId="207"/>
          <ac:spMkLst>
            <pc:docMk/>
            <pc:sldMk cId="1973319100" sldId="304"/>
            <ac:spMk id="54" creationId="{326668AB-25BE-728B-7AB2-13FDD53F2B45}"/>
          </ac:spMkLst>
        </pc:spChg>
        <pc:spChg chg="mod">
          <ac:chgData name="Siddhi Paliwal" userId="3ef3921d-16b8-4854-8920-f0b2bd004b9f" providerId="ADAL" clId="{5A4E854C-3520-4148-9A42-EFCEE9920127}" dt="2025-01-13T11:02:46.959" v="339" actId="207"/>
          <ac:spMkLst>
            <pc:docMk/>
            <pc:sldMk cId="1973319100" sldId="304"/>
            <ac:spMk id="55" creationId="{61956FCE-65FC-A7B8-AC88-3B3AE3DCD992}"/>
          </ac:spMkLst>
        </pc:spChg>
        <pc:picChg chg="mod">
          <ac:chgData name="Siddhi Paliwal" userId="3ef3921d-16b8-4854-8920-f0b2bd004b9f" providerId="ADAL" clId="{5A4E854C-3520-4148-9A42-EFCEE9920127}" dt="2025-01-13T10:51:15.996" v="213" actId="207"/>
          <ac:picMkLst>
            <pc:docMk/>
            <pc:sldMk cId="1973319100" sldId="304"/>
            <ac:picMk id="12" creationId="{894102BB-44C3-7C78-CDB4-2767F92B6E83}"/>
          </ac:picMkLst>
        </pc:picChg>
      </pc:sldChg>
      <pc:sldChg chg="del">
        <pc:chgData name="Siddhi Paliwal" userId="3ef3921d-16b8-4854-8920-f0b2bd004b9f" providerId="ADAL" clId="{5A4E854C-3520-4148-9A42-EFCEE9920127}" dt="2025-01-13T15:47:47.066" v="2152" actId="2696"/>
        <pc:sldMkLst>
          <pc:docMk/>
          <pc:sldMk cId="3020431215" sldId="320"/>
        </pc:sldMkLst>
      </pc:sldChg>
      <pc:sldChg chg="addSp delSp modSp add mod ord setBg">
        <pc:chgData name="Siddhi Paliwal" userId="3ef3921d-16b8-4854-8920-f0b2bd004b9f" providerId="ADAL" clId="{5A4E854C-3520-4148-9A42-EFCEE9920127}" dt="2025-01-13T11:04:52.971" v="352" actId="20578"/>
        <pc:sldMkLst>
          <pc:docMk/>
          <pc:sldMk cId="1355119565" sldId="322"/>
        </pc:sldMkLst>
        <pc:spChg chg="mod">
          <ac:chgData name="Siddhi Paliwal" userId="3ef3921d-16b8-4854-8920-f0b2bd004b9f" providerId="ADAL" clId="{5A4E854C-3520-4148-9A42-EFCEE9920127}" dt="2025-01-13T10:20:11.651" v="75" actId="14100"/>
          <ac:spMkLst>
            <pc:docMk/>
            <pc:sldMk cId="1355119565" sldId="322"/>
            <ac:spMk id="17" creationId="{039A7907-C16A-896E-495A-31032F78256E}"/>
          </ac:spMkLst>
        </pc:spChg>
        <pc:spChg chg="mod">
          <ac:chgData name="Siddhi Paliwal" userId="3ef3921d-16b8-4854-8920-f0b2bd004b9f" providerId="ADAL" clId="{5A4E854C-3520-4148-9A42-EFCEE9920127}" dt="2025-01-13T10:17:37.026" v="61" actId="20577"/>
          <ac:spMkLst>
            <pc:docMk/>
            <pc:sldMk cId="1355119565" sldId="322"/>
            <ac:spMk id="18" creationId="{FED60B5D-7BDA-DBBE-DA05-825C879AF416}"/>
          </ac:spMkLst>
        </pc:spChg>
        <pc:spChg chg="add mod">
          <ac:chgData name="Siddhi Paliwal" userId="3ef3921d-16b8-4854-8920-f0b2bd004b9f" providerId="ADAL" clId="{5A4E854C-3520-4148-9A42-EFCEE9920127}" dt="2025-01-13T10:39:14.046" v="158" actId="167"/>
          <ac:spMkLst>
            <pc:docMk/>
            <pc:sldMk cId="1355119565" sldId="322"/>
            <ac:spMk id="22" creationId="{850BB2C2-CE21-3F9D-9B96-D7CCEB896877}"/>
          </ac:spMkLst>
        </pc:spChg>
        <pc:spChg chg="mod">
          <ac:chgData name="Siddhi Paliwal" userId="3ef3921d-16b8-4854-8920-f0b2bd004b9f" providerId="ADAL" clId="{5A4E854C-3520-4148-9A42-EFCEE9920127}" dt="2025-01-13T10:17:45.288" v="62" actId="207"/>
          <ac:spMkLst>
            <pc:docMk/>
            <pc:sldMk cId="1355119565" sldId="322"/>
            <ac:spMk id="28" creationId="{AAEB6FB8-9077-E40D-74FA-6ED911764842}"/>
          </ac:spMkLst>
        </pc:spChg>
        <pc:spChg chg="mod">
          <ac:chgData name="Siddhi Paliwal" userId="3ef3921d-16b8-4854-8920-f0b2bd004b9f" providerId="ADAL" clId="{5A4E854C-3520-4148-9A42-EFCEE9920127}" dt="2025-01-13T10:40:13.969" v="195" actId="1037"/>
          <ac:spMkLst>
            <pc:docMk/>
            <pc:sldMk cId="1355119565" sldId="322"/>
            <ac:spMk id="31" creationId="{DCB8917B-8969-6A26-00E1-B655B2EBCBE9}"/>
          </ac:spMkLst>
        </pc:spChg>
        <pc:spChg chg="add mod">
          <ac:chgData name="Siddhi Paliwal" userId="3ef3921d-16b8-4854-8920-f0b2bd004b9f" providerId="ADAL" clId="{5A4E854C-3520-4148-9A42-EFCEE9920127}" dt="2025-01-13T10:40:56.771" v="202" actId="34135"/>
          <ac:spMkLst>
            <pc:docMk/>
            <pc:sldMk cId="1355119565" sldId="322"/>
            <ac:spMk id="32" creationId="{4837EE1A-89FC-BB56-9652-5C799EE43D3B}"/>
          </ac:spMkLst>
        </pc:spChg>
        <pc:picChg chg="add mod">
          <ac:chgData name="Siddhi Paliwal" userId="3ef3921d-16b8-4854-8920-f0b2bd004b9f" providerId="ADAL" clId="{5A4E854C-3520-4148-9A42-EFCEE9920127}" dt="2025-01-13T10:20:04.901" v="74" actId="1038"/>
          <ac:picMkLst>
            <pc:docMk/>
            <pc:sldMk cId="1355119565" sldId="322"/>
            <ac:picMk id="3" creationId="{315ABAF6-BB8B-8FFD-0774-1D6DF17C259C}"/>
          </ac:picMkLst>
        </pc:picChg>
        <pc:picChg chg="add del mod">
          <ac:chgData name="Siddhi Paliwal" userId="3ef3921d-16b8-4854-8920-f0b2bd004b9f" providerId="ADAL" clId="{5A4E854C-3520-4148-9A42-EFCEE9920127}" dt="2025-01-13T10:42:38.934" v="207" actId="14100"/>
          <ac:picMkLst>
            <pc:docMk/>
            <pc:sldMk cId="1355119565" sldId="322"/>
            <ac:picMk id="12" creationId="{9212D643-F1F3-4F57-081A-988FA7FB9567}"/>
          </ac:picMkLst>
        </pc:picChg>
      </pc:sldChg>
      <pc:sldChg chg="addSp delSp modSp del mod modClrScheme chgLayout">
        <pc:chgData name="Siddhi Paliwal" userId="3ef3921d-16b8-4854-8920-f0b2bd004b9f" providerId="ADAL" clId="{5A4E854C-3520-4148-9A42-EFCEE9920127}" dt="2025-01-13T15:34:06.608" v="2041" actId="2696"/>
        <pc:sldMkLst>
          <pc:docMk/>
          <pc:sldMk cId="2616118139" sldId="896"/>
        </pc:sldMkLst>
      </pc:sldChg>
      <pc:sldChg chg="addSp delSp modSp mod modClrScheme chgLayout">
        <pc:chgData name="Siddhi Paliwal" userId="3ef3921d-16b8-4854-8920-f0b2bd004b9f" providerId="ADAL" clId="{5A4E854C-3520-4148-9A42-EFCEE9920127}" dt="2025-01-13T15:39:18.514" v="2096" actId="207"/>
        <pc:sldMkLst>
          <pc:docMk/>
          <pc:sldMk cId="817991974" sldId="897"/>
        </pc:sldMkLst>
        <pc:spChg chg="mod">
          <ac:chgData name="Siddhi Paliwal" userId="3ef3921d-16b8-4854-8920-f0b2bd004b9f" providerId="ADAL" clId="{5A4E854C-3520-4148-9A42-EFCEE9920127}" dt="2025-01-13T15:39:18.514" v="2096" actId="207"/>
          <ac:spMkLst>
            <pc:docMk/>
            <pc:sldMk cId="817991974" sldId="897"/>
            <ac:spMk id="14" creationId="{3F9CBE77-3C4C-07C2-A4F5-272628F43FAB}"/>
          </ac:spMkLst>
        </pc:spChg>
        <pc:spChg chg="mod">
          <ac:chgData name="Siddhi Paliwal" userId="3ef3921d-16b8-4854-8920-f0b2bd004b9f" providerId="ADAL" clId="{5A4E854C-3520-4148-9A42-EFCEE9920127}" dt="2025-01-13T15:39:18.514" v="2096" actId="207"/>
          <ac:spMkLst>
            <pc:docMk/>
            <pc:sldMk cId="817991974" sldId="897"/>
            <ac:spMk id="15" creationId="{53492F89-1E1E-EDF5-39C2-39F662FBD146}"/>
          </ac:spMkLst>
        </pc:spChg>
        <pc:spChg chg="mod">
          <ac:chgData name="Siddhi Paliwal" userId="3ef3921d-16b8-4854-8920-f0b2bd004b9f" providerId="ADAL" clId="{5A4E854C-3520-4148-9A42-EFCEE9920127}" dt="2025-01-13T15:39:18.514" v="2096" actId="207"/>
          <ac:spMkLst>
            <pc:docMk/>
            <pc:sldMk cId="817991974" sldId="897"/>
            <ac:spMk id="16" creationId="{BCBABE70-747B-B278-8A8E-E69F5F2B4665}"/>
          </ac:spMkLst>
        </pc:spChg>
        <pc:spChg chg="mod">
          <ac:chgData name="Siddhi Paliwal" userId="3ef3921d-16b8-4854-8920-f0b2bd004b9f" providerId="ADAL" clId="{5A4E854C-3520-4148-9A42-EFCEE9920127}" dt="2025-01-13T15:39:18.514" v="2096" actId="207"/>
          <ac:spMkLst>
            <pc:docMk/>
            <pc:sldMk cId="817991974" sldId="897"/>
            <ac:spMk id="17" creationId="{E0ADA588-7356-C3BB-EB2B-3EB51D022853}"/>
          </ac:spMkLst>
        </pc:spChg>
        <pc:spChg chg="mod">
          <ac:chgData name="Siddhi Paliwal" userId="3ef3921d-16b8-4854-8920-f0b2bd004b9f" providerId="ADAL" clId="{5A4E854C-3520-4148-9A42-EFCEE9920127}" dt="2025-01-13T15:39:18.514" v="2096" actId="207"/>
          <ac:spMkLst>
            <pc:docMk/>
            <pc:sldMk cId="817991974" sldId="897"/>
            <ac:spMk id="18" creationId="{38172D1A-87F3-BD3B-2E0C-C468DF4F1465}"/>
          </ac:spMkLst>
        </pc:spChg>
        <pc:spChg chg="mod">
          <ac:chgData name="Siddhi Paliwal" userId="3ef3921d-16b8-4854-8920-f0b2bd004b9f" providerId="ADAL" clId="{5A4E854C-3520-4148-9A42-EFCEE9920127}" dt="2025-01-13T15:39:18.514" v="2096" actId="207"/>
          <ac:spMkLst>
            <pc:docMk/>
            <pc:sldMk cId="817991974" sldId="897"/>
            <ac:spMk id="20" creationId="{2A74E64B-3F42-F0C0-182D-0B1B3A10D5A7}"/>
          </ac:spMkLst>
        </pc:spChg>
        <pc:spChg chg="mod">
          <ac:chgData name="Siddhi Paliwal" userId="3ef3921d-16b8-4854-8920-f0b2bd004b9f" providerId="ADAL" clId="{5A4E854C-3520-4148-9A42-EFCEE9920127}" dt="2025-01-13T15:39:18.514" v="2096" actId="207"/>
          <ac:spMkLst>
            <pc:docMk/>
            <pc:sldMk cId="817991974" sldId="897"/>
            <ac:spMk id="21" creationId="{E5D1DCAD-6678-401B-DF5C-E9147B5FF874}"/>
          </ac:spMkLst>
        </pc:spChg>
        <pc:picChg chg="mod">
          <ac:chgData name="Siddhi Paliwal" userId="3ef3921d-16b8-4854-8920-f0b2bd004b9f" providerId="ADAL" clId="{5A4E854C-3520-4148-9A42-EFCEE9920127}" dt="2025-01-13T15:38:40.818" v="2093" actId="207"/>
          <ac:picMkLst>
            <pc:docMk/>
            <pc:sldMk cId="817991974" sldId="897"/>
            <ac:picMk id="2" creationId="{71E7263B-CB9A-D855-2A54-EC1C93248155}"/>
          </ac:picMkLst>
        </pc:picChg>
      </pc:sldChg>
      <pc:sldChg chg="del">
        <pc:chgData name="Siddhi Paliwal" userId="3ef3921d-16b8-4854-8920-f0b2bd004b9f" providerId="ADAL" clId="{5A4E854C-3520-4148-9A42-EFCEE9920127}" dt="2025-01-13T15:35:22.510" v="2049" actId="2696"/>
        <pc:sldMkLst>
          <pc:docMk/>
          <pc:sldMk cId="835199428" sldId="898"/>
        </pc:sldMkLst>
      </pc:sldChg>
      <pc:sldChg chg="addSp delSp modSp mod modClrScheme chgLayout">
        <pc:chgData name="Siddhi Paliwal" userId="3ef3921d-16b8-4854-8920-f0b2bd004b9f" providerId="ADAL" clId="{5A4E854C-3520-4148-9A42-EFCEE9920127}" dt="2025-01-13T15:37:57.162" v="2090" actId="207"/>
        <pc:sldMkLst>
          <pc:docMk/>
          <pc:sldMk cId="4271857827" sldId="919"/>
        </pc:sldMkLst>
        <pc:spChg chg="mod">
          <ac:chgData name="Siddhi Paliwal" userId="3ef3921d-16b8-4854-8920-f0b2bd004b9f" providerId="ADAL" clId="{5A4E854C-3520-4148-9A42-EFCEE9920127}" dt="2025-01-13T15:37:05.767" v="2084" actId="207"/>
          <ac:spMkLst>
            <pc:docMk/>
            <pc:sldMk cId="4271857827" sldId="919"/>
            <ac:spMk id="2" creationId="{BD963153-B075-6B66-06BD-865E3437CF3D}"/>
          </ac:spMkLst>
        </pc:spChg>
        <pc:spChg chg="mod">
          <ac:chgData name="Siddhi Paliwal" userId="3ef3921d-16b8-4854-8920-f0b2bd004b9f" providerId="ADAL" clId="{5A4E854C-3520-4148-9A42-EFCEE9920127}" dt="2025-01-13T15:37:05.767" v="2084" actId="207"/>
          <ac:spMkLst>
            <pc:docMk/>
            <pc:sldMk cId="4271857827" sldId="919"/>
            <ac:spMk id="3" creationId="{AB30F772-7E3E-907F-35D8-E2DD000729FA}"/>
          </ac:spMkLst>
        </pc:spChg>
        <pc:spChg chg="mod">
          <ac:chgData name="Siddhi Paliwal" userId="3ef3921d-16b8-4854-8920-f0b2bd004b9f" providerId="ADAL" clId="{5A4E854C-3520-4148-9A42-EFCEE9920127}" dt="2025-01-13T15:37:05.767" v="2084" actId="207"/>
          <ac:spMkLst>
            <pc:docMk/>
            <pc:sldMk cId="4271857827" sldId="919"/>
            <ac:spMk id="6" creationId="{EEB447E3-1E9D-1A16-934C-C20866E71009}"/>
          </ac:spMkLst>
        </pc:spChg>
        <pc:spChg chg="mod ord">
          <ac:chgData name="Siddhi Paliwal" userId="3ef3921d-16b8-4854-8920-f0b2bd004b9f" providerId="ADAL" clId="{5A4E854C-3520-4148-9A42-EFCEE9920127}" dt="2025-01-13T15:37:05.767" v="2084" actId="207"/>
          <ac:spMkLst>
            <pc:docMk/>
            <pc:sldMk cId="4271857827" sldId="919"/>
            <ac:spMk id="8" creationId="{3E706592-E0A3-5B5C-AE7B-C48940513E65}"/>
          </ac:spMkLst>
        </pc:spChg>
        <pc:spChg chg="mod">
          <ac:chgData name="Siddhi Paliwal" userId="3ef3921d-16b8-4854-8920-f0b2bd004b9f" providerId="ADAL" clId="{5A4E854C-3520-4148-9A42-EFCEE9920127}" dt="2025-01-13T15:37:57.162" v="2090" actId="207"/>
          <ac:spMkLst>
            <pc:docMk/>
            <pc:sldMk cId="4271857827" sldId="919"/>
            <ac:spMk id="16" creationId="{A7D35209-48A3-6EC4-1778-70D376D49A6C}"/>
          </ac:spMkLst>
        </pc:spChg>
        <pc:spChg chg="mod">
          <ac:chgData name="Siddhi Paliwal" userId="3ef3921d-16b8-4854-8920-f0b2bd004b9f" providerId="ADAL" clId="{5A4E854C-3520-4148-9A42-EFCEE9920127}" dt="2025-01-13T15:37:39.061" v="2088" actId="207"/>
          <ac:spMkLst>
            <pc:docMk/>
            <pc:sldMk cId="4271857827" sldId="919"/>
            <ac:spMk id="18" creationId="{5E49417D-0EBB-CC8B-2A02-178A2AAE90D9}"/>
          </ac:spMkLst>
        </pc:spChg>
        <pc:spChg chg="mod">
          <ac:chgData name="Siddhi Paliwal" userId="3ef3921d-16b8-4854-8920-f0b2bd004b9f" providerId="ADAL" clId="{5A4E854C-3520-4148-9A42-EFCEE9920127}" dt="2025-01-13T15:37:05.767" v="2084" actId="207"/>
          <ac:spMkLst>
            <pc:docMk/>
            <pc:sldMk cId="4271857827" sldId="919"/>
            <ac:spMk id="26" creationId="{803285C9-2807-FC4F-1015-C511FD5FDF2B}"/>
          </ac:spMkLst>
        </pc:spChg>
        <pc:spChg chg="mod">
          <ac:chgData name="Siddhi Paliwal" userId="3ef3921d-16b8-4854-8920-f0b2bd004b9f" providerId="ADAL" clId="{5A4E854C-3520-4148-9A42-EFCEE9920127}" dt="2025-01-13T15:37:05.767" v="2084" actId="207"/>
          <ac:spMkLst>
            <pc:docMk/>
            <pc:sldMk cId="4271857827" sldId="919"/>
            <ac:spMk id="27" creationId="{086A2B90-AA78-803B-BCC3-52474F82EE54}"/>
          </ac:spMkLst>
        </pc:spChg>
        <pc:spChg chg="mod">
          <ac:chgData name="Siddhi Paliwal" userId="3ef3921d-16b8-4854-8920-f0b2bd004b9f" providerId="ADAL" clId="{5A4E854C-3520-4148-9A42-EFCEE9920127}" dt="2025-01-13T15:37:05.767" v="2084" actId="207"/>
          <ac:spMkLst>
            <pc:docMk/>
            <pc:sldMk cId="4271857827" sldId="919"/>
            <ac:spMk id="28" creationId="{33D1893D-53AA-6327-22AC-384DFC26245A}"/>
          </ac:spMkLst>
        </pc:spChg>
        <pc:spChg chg="mod">
          <ac:chgData name="Siddhi Paliwal" userId="3ef3921d-16b8-4854-8920-f0b2bd004b9f" providerId="ADAL" clId="{5A4E854C-3520-4148-9A42-EFCEE9920127}" dt="2025-01-13T15:37:05.767" v="2084" actId="207"/>
          <ac:spMkLst>
            <pc:docMk/>
            <pc:sldMk cId="4271857827" sldId="919"/>
            <ac:spMk id="29" creationId="{2A21743E-6C23-45F7-5990-3493AFD728A1}"/>
          </ac:spMkLst>
        </pc:spChg>
        <pc:spChg chg="mod">
          <ac:chgData name="Siddhi Paliwal" userId="3ef3921d-16b8-4854-8920-f0b2bd004b9f" providerId="ADAL" clId="{5A4E854C-3520-4148-9A42-EFCEE9920127}" dt="2025-01-13T15:37:05.767" v="2084" actId="207"/>
          <ac:spMkLst>
            <pc:docMk/>
            <pc:sldMk cId="4271857827" sldId="919"/>
            <ac:spMk id="30" creationId="{CA015499-ABBE-9FF4-8C96-5D9E5704021F}"/>
          </ac:spMkLst>
        </pc:spChg>
        <pc:spChg chg="mod">
          <ac:chgData name="Siddhi Paliwal" userId="3ef3921d-16b8-4854-8920-f0b2bd004b9f" providerId="ADAL" clId="{5A4E854C-3520-4148-9A42-EFCEE9920127}" dt="2025-01-13T15:37:05.767" v="2084" actId="207"/>
          <ac:spMkLst>
            <pc:docMk/>
            <pc:sldMk cId="4271857827" sldId="919"/>
            <ac:spMk id="31" creationId="{6671FEE7-E0F4-330B-2C23-A70296B29317}"/>
          </ac:spMkLst>
        </pc:spChg>
        <pc:grpChg chg="mod">
          <ac:chgData name="Siddhi Paliwal" userId="3ef3921d-16b8-4854-8920-f0b2bd004b9f" providerId="ADAL" clId="{5A4E854C-3520-4148-9A42-EFCEE9920127}" dt="2025-01-13T15:35:45.742" v="2076" actId="207"/>
          <ac:grpSpMkLst>
            <pc:docMk/>
            <pc:sldMk cId="4271857827" sldId="919"/>
            <ac:grpSpMk id="25" creationId="{B87323D2-6E56-820F-92B3-94C900CEBA4C}"/>
          </ac:grpSpMkLst>
        </pc:grpChg>
        <pc:grpChg chg="mod">
          <ac:chgData name="Siddhi Paliwal" userId="3ef3921d-16b8-4854-8920-f0b2bd004b9f" providerId="ADAL" clId="{5A4E854C-3520-4148-9A42-EFCEE9920127}" dt="2025-01-13T15:35:45.742" v="2076" actId="207"/>
          <ac:grpSpMkLst>
            <pc:docMk/>
            <pc:sldMk cId="4271857827" sldId="919"/>
            <ac:grpSpMk id="32" creationId="{B62C8D9C-9B83-0C78-82AA-7307D66626CA}"/>
          </ac:grpSpMkLst>
        </pc:grpChg>
        <pc:picChg chg="mod">
          <ac:chgData name="Siddhi Paliwal" userId="3ef3921d-16b8-4854-8920-f0b2bd004b9f" providerId="ADAL" clId="{5A4E854C-3520-4148-9A42-EFCEE9920127}" dt="2025-01-13T15:35:53.508" v="2077" actId="207"/>
          <ac:picMkLst>
            <pc:docMk/>
            <pc:sldMk cId="4271857827" sldId="919"/>
            <ac:picMk id="22" creationId="{1786D449-B4D7-2E4E-86A4-9676232B5F08}"/>
          </ac:picMkLst>
        </pc:picChg>
        <pc:picChg chg="mod">
          <ac:chgData name="Siddhi Paliwal" userId="3ef3921d-16b8-4854-8920-f0b2bd004b9f" providerId="ADAL" clId="{5A4E854C-3520-4148-9A42-EFCEE9920127}" dt="2025-01-13T15:36:00.408" v="2078" actId="207"/>
          <ac:picMkLst>
            <pc:docMk/>
            <pc:sldMk cId="4271857827" sldId="919"/>
            <ac:picMk id="24" creationId="{AC18798A-E2F8-4841-E257-8EC3450B9126}"/>
          </ac:picMkLst>
        </pc:picChg>
      </pc:sldChg>
      <pc:sldChg chg="mod modShow">
        <pc:chgData name="Siddhi Paliwal" userId="3ef3921d-16b8-4854-8920-f0b2bd004b9f" providerId="ADAL" clId="{5A4E854C-3520-4148-9A42-EFCEE9920127}" dt="2025-01-13T13:17:41.993" v="1185" actId="729"/>
        <pc:sldMkLst>
          <pc:docMk/>
          <pc:sldMk cId="861753099" sldId="2147470479"/>
        </pc:sldMkLst>
      </pc:sldChg>
      <pc:sldChg chg="delSp modSp mod">
        <pc:chgData name="Siddhi Paliwal" userId="3ef3921d-16b8-4854-8920-f0b2bd004b9f" providerId="ADAL" clId="{5A4E854C-3520-4148-9A42-EFCEE9920127}" dt="2025-01-16T09:12:27.060" v="2516" actId="14100"/>
        <pc:sldMkLst>
          <pc:docMk/>
          <pc:sldMk cId="366933066" sldId="2147470511"/>
        </pc:sldMkLst>
        <pc:spChg chg="mod">
          <ac:chgData name="Siddhi Paliwal" userId="3ef3921d-16b8-4854-8920-f0b2bd004b9f" providerId="ADAL" clId="{5A4E854C-3520-4148-9A42-EFCEE9920127}" dt="2025-01-16T09:12:27.060" v="2516" actId="14100"/>
          <ac:spMkLst>
            <pc:docMk/>
            <pc:sldMk cId="366933066" sldId="2147470511"/>
            <ac:spMk id="7" creationId="{EB8437E5-7B4B-3EE4-087F-5CBF69F7F20E}"/>
          </ac:spMkLst>
        </pc:spChg>
        <pc:spChg chg="mod">
          <ac:chgData name="Siddhi Paliwal" userId="3ef3921d-16b8-4854-8920-f0b2bd004b9f" providerId="ADAL" clId="{5A4E854C-3520-4148-9A42-EFCEE9920127}" dt="2025-01-16T09:12:18.459" v="2514" actId="1076"/>
          <ac:spMkLst>
            <pc:docMk/>
            <pc:sldMk cId="366933066" sldId="2147470511"/>
            <ac:spMk id="40" creationId="{3AD93495-35AE-89E6-A8F5-A407C9FAC1BF}"/>
          </ac:spMkLst>
        </pc:spChg>
        <pc:spChg chg="mod">
          <ac:chgData name="Siddhi Paliwal" userId="3ef3921d-16b8-4854-8920-f0b2bd004b9f" providerId="ADAL" clId="{5A4E854C-3520-4148-9A42-EFCEE9920127}" dt="2025-01-16T09:12:05.866" v="2513" actId="1076"/>
          <ac:spMkLst>
            <pc:docMk/>
            <pc:sldMk cId="366933066" sldId="2147470511"/>
            <ac:spMk id="43" creationId="{71027CEF-86BC-DBB3-1017-D13795883B16}"/>
          </ac:spMkLst>
        </pc:spChg>
        <pc:spChg chg="mod">
          <ac:chgData name="Siddhi Paliwal" userId="3ef3921d-16b8-4854-8920-f0b2bd004b9f" providerId="ADAL" clId="{5A4E854C-3520-4148-9A42-EFCEE9920127}" dt="2025-01-16T09:12:05.866" v="2513" actId="1076"/>
          <ac:spMkLst>
            <pc:docMk/>
            <pc:sldMk cId="366933066" sldId="2147470511"/>
            <ac:spMk id="44" creationId="{D8719580-588F-621F-D406-BC0FEDBD505C}"/>
          </ac:spMkLst>
        </pc:spChg>
        <pc:spChg chg="mod">
          <ac:chgData name="Siddhi Paliwal" userId="3ef3921d-16b8-4854-8920-f0b2bd004b9f" providerId="ADAL" clId="{5A4E854C-3520-4148-9A42-EFCEE9920127}" dt="2025-01-16T09:12:18.459" v="2514" actId="1076"/>
          <ac:spMkLst>
            <pc:docMk/>
            <pc:sldMk cId="366933066" sldId="2147470511"/>
            <ac:spMk id="45" creationId="{841ABE5B-9920-E36A-23CB-35E61CDFCEB7}"/>
          </ac:spMkLst>
        </pc:spChg>
      </pc:sldChg>
      <pc:sldChg chg="addSp modSp mod modClrScheme chgLayout">
        <pc:chgData name="Siddhi Paliwal" userId="3ef3921d-16b8-4854-8920-f0b2bd004b9f" providerId="ADAL" clId="{5A4E854C-3520-4148-9A42-EFCEE9920127}" dt="2025-01-13T15:40:43.614" v="2099" actId="207"/>
        <pc:sldMkLst>
          <pc:docMk/>
          <pc:sldMk cId="3640596221" sldId="2147472867"/>
        </pc:sldMkLst>
        <pc:spChg chg="mod ord">
          <ac:chgData name="Siddhi Paliwal" userId="3ef3921d-16b8-4854-8920-f0b2bd004b9f" providerId="ADAL" clId="{5A4E854C-3520-4148-9A42-EFCEE9920127}" dt="2025-01-13T15:40:43.614" v="2099" actId="207"/>
          <ac:spMkLst>
            <pc:docMk/>
            <pc:sldMk cId="3640596221" sldId="2147472867"/>
            <ac:spMk id="2" creationId="{B213A683-6B39-F331-6E91-08E45F04ED2D}"/>
          </ac:spMkLst>
        </pc:spChg>
        <pc:picChg chg="mod">
          <ac:chgData name="Siddhi Paliwal" userId="3ef3921d-16b8-4854-8920-f0b2bd004b9f" providerId="ADAL" clId="{5A4E854C-3520-4148-9A42-EFCEE9920127}" dt="2025-01-13T15:40:33.313" v="2098" actId="1076"/>
          <ac:picMkLst>
            <pc:docMk/>
            <pc:sldMk cId="3640596221" sldId="2147472867"/>
            <ac:picMk id="5" creationId="{095B5DAE-949A-3E7D-2C0A-3DDA49FD62D4}"/>
          </ac:picMkLst>
        </pc:picChg>
      </pc:sldChg>
      <pc:sldChg chg="del mod modShow">
        <pc:chgData name="Siddhi Paliwal" userId="3ef3921d-16b8-4854-8920-f0b2bd004b9f" providerId="ADAL" clId="{5A4E854C-3520-4148-9A42-EFCEE9920127}" dt="2025-01-13T11:29:27.309" v="529" actId="2696"/>
        <pc:sldMkLst>
          <pc:docMk/>
          <pc:sldMk cId="2638213116" sldId="2147474819"/>
        </pc:sldMkLst>
      </pc:sldChg>
      <pc:sldChg chg="addSp delSp modSp del mod modShow">
        <pc:chgData name="Siddhi Paliwal" userId="3ef3921d-16b8-4854-8920-f0b2bd004b9f" providerId="ADAL" clId="{5A4E854C-3520-4148-9A42-EFCEE9920127}" dt="2025-01-13T11:29:22.705" v="527" actId="2696"/>
        <pc:sldMkLst>
          <pc:docMk/>
          <pc:sldMk cId="3897421000" sldId="2147479353"/>
        </pc:sldMkLst>
      </pc:sldChg>
      <pc:sldChg chg="addSp delSp modSp mod">
        <pc:chgData name="Siddhi Paliwal" userId="3ef3921d-16b8-4854-8920-f0b2bd004b9f" providerId="ADAL" clId="{5A4E854C-3520-4148-9A42-EFCEE9920127}" dt="2025-01-16T08:32:43.217" v="2249" actId="122"/>
        <pc:sldMkLst>
          <pc:docMk/>
          <pc:sldMk cId="3073165865" sldId="2147482814"/>
        </pc:sldMkLst>
        <pc:spChg chg="add mod">
          <ac:chgData name="Siddhi Paliwal" userId="3ef3921d-16b8-4854-8920-f0b2bd004b9f" providerId="ADAL" clId="{5A4E854C-3520-4148-9A42-EFCEE9920127}" dt="2025-01-16T08:32:43.217" v="2249" actId="122"/>
          <ac:spMkLst>
            <pc:docMk/>
            <pc:sldMk cId="3073165865" sldId="2147482814"/>
            <ac:spMk id="3" creationId="{994B0426-9A3B-C550-F055-CED342D18393}"/>
          </ac:spMkLst>
        </pc:spChg>
        <pc:spChg chg="add mod">
          <ac:chgData name="Siddhi Paliwal" userId="3ef3921d-16b8-4854-8920-f0b2bd004b9f" providerId="ADAL" clId="{5A4E854C-3520-4148-9A42-EFCEE9920127}" dt="2025-01-16T08:32:43.217" v="2249" actId="122"/>
          <ac:spMkLst>
            <pc:docMk/>
            <pc:sldMk cId="3073165865" sldId="2147482814"/>
            <ac:spMk id="4" creationId="{88F19491-61F7-74C1-26FB-1989C0E147A2}"/>
          </ac:spMkLst>
        </pc:spChg>
        <pc:spChg chg="add mod">
          <ac:chgData name="Siddhi Paliwal" userId="3ef3921d-16b8-4854-8920-f0b2bd004b9f" providerId="ADAL" clId="{5A4E854C-3520-4148-9A42-EFCEE9920127}" dt="2025-01-16T08:32:43.217" v="2249" actId="122"/>
          <ac:spMkLst>
            <pc:docMk/>
            <pc:sldMk cId="3073165865" sldId="2147482814"/>
            <ac:spMk id="5" creationId="{B40FEB0F-DE76-14C8-57D3-850DEEE3D7D5}"/>
          </ac:spMkLst>
        </pc:spChg>
        <pc:spChg chg="mod">
          <ac:chgData name="Siddhi Paliwal" userId="3ef3921d-16b8-4854-8920-f0b2bd004b9f" providerId="ADAL" clId="{5A4E854C-3520-4148-9A42-EFCEE9920127}" dt="2025-01-16T08:23:08.601" v="2158" actId="552"/>
          <ac:spMkLst>
            <pc:docMk/>
            <pc:sldMk cId="3073165865" sldId="2147482814"/>
            <ac:spMk id="74" creationId="{9AB6EAA9-DFB5-03AD-31F9-892BFB1DFB0F}"/>
          </ac:spMkLst>
        </pc:spChg>
        <pc:spChg chg="mod">
          <ac:chgData name="Siddhi Paliwal" userId="3ef3921d-16b8-4854-8920-f0b2bd004b9f" providerId="ADAL" clId="{5A4E854C-3520-4148-9A42-EFCEE9920127}" dt="2025-01-16T08:32:20.524" v="2247" actId="553"/>
          <ac:spMkLst>
            <pc:docMk/>
            <pc:sldMk cId="3073165865" sldId="2147482814"/>
            <ac:spMk id="75" creationId="{ACE3CE98-6136-84DD-E77C-7EDF0691E59B}"/>
          </ac:spMkLst>
        </pc:spChg>
        <pc:spChg chg="mod">
          <ac:chgData name="Siddhi Paliwal" userId="3ef3921d-16b8-4854-8920-f0b2bd004b9f" providerId="ADAL" clId="{5A4E854C-3520-4148-9A42-EFCEE9920127}" dt="2025-01-16T08:29:59.776" v="2238" actId="14100"/>
          <ac:spMkLst>
            <pc:docMk/>
            <pc:sldMk cId="3073165865" sldId="2147482814"/>
            <ac:spMk id="90" creationId="{AB7ADDB9-5133-8C48-CC2A-F28F360F2A38}"/>
          </ac:spMkLst>
        </pc:spChg>
      </pc:sldChg>
      <pc:sldChg chg="del mod modShow">
        <pc:chgData name="Siddhi Paliwal" userId="3ef3921d-16b8-4854-8920-f0b2bd004b9f" providerId="ADAL" clId="{5A4E854C-3520-4148-9A42-EFCEE9920127}" dt="2025-01-13T11:29:24.916" v="528" actId="2696"/>
        <pc:sldMkLst>
          <pc:docMk/>
          <pc:sldMk cId="1757600844" sldId="2147483336"/>
        </pc:sldMkLst>
      </pc:sldChg>
      <pc:sldChg chg="addSp delSp modSp mod modClrScheme chgLayout">
        <pc:chgData name="Siddhi Paliwal" userId="3ef3921d-16b8-4854-8920-f0b2bd004b9f" providerId="ADAL" clId="{5A4E854C-3520-4148-9A42-EFCEE9920127}" dt="2025-01-16T09:23:22.044" v="2584" actId="207"/>
        <pc:sldMkLst>
          <pc:docMk/>
          <pc:sldMk cId="3348783017" sldId="2147483486"/>
        </pc:sldMkLst>
        <pc:spChg chg="mod">
          <ac:chgData name="Siddhi Paliwal" userId="3ef3921d-16b8-4854-8920-f0b2bd004b9f" providerId="ADAL" clId="{5A4E854C-3520-4148-9A42-EFCEE9920127}" dt="2025-01-13T15:25:47.357" v="1998" actId="1076"/>
          <ac:spMkLst>
            <pc:docMk/>
            <pc:sldMk cId="3348783017" sldId="2147483486"/>
            <ac:spMk id="2" creationId="{5C26F51F-687D-91F1-8963-7131E43C8B96}"/>
          </ac:spMkLst>
        </pc:spChg>
        <pc:spChg chg="add mod">
          <ac:chgData name="Siddhi Paliwal" userId="3ef3921d-16b8-4854-8920-f0b2bd004b9f" providerId="ADAL" clId="{5A4E854C-3520-4148-9A42-EFCEE9920127}" dt="2025-01-13T15:19:13.800" v="1967"/>
          <ac:spMkLst>
            <pc:docMk/>
            <pc:sldMk cId="3348783017" sldId="2147483486"/>
            <ac:spMk id="9" creationId="{2531BE67-4C49-305E-E3FC-72D38D34FB37}"/>
          </ac:spMkLst>
        </pc:spChg>
        <pc:spChg chg="mod">
          <ac:chgData name="Siddhi Paliwal" userId="3ef3921d-16b8-4854-8920-f0b2bd004b9f" providerId="ADAL" clId="{5A4E854C-3520-4148-9A42-EFCEE9920127}" dt="2025-01-13T15:25:34.703" v="1997" actId="1076"/>
          <ac:spMkLst>
            <pc:docMk/>
            <pc:sldMk cId="3348783017" sldId="2147483486"/>
            <ac:spMk id="29" creationId="{CC79E8AA-21CC-1C81-8850-B4EC2D33734F}"/>
          </ac:spMkLst>
        </pc:spChg>
        <pc:spChg chg="mod">
          <ac:chgData name="Siddhi Paliwal" userId="3ef3921d-16b8-4854-8920-f0b2bd004b9f" providerId="ADAL" clId="{5A4E854C-3520-4148-9A42-EFCEE9920127}" dt="2025-01-13T15:25:20.203" v="1995" actId="1076"/>
          <ac:spMkLst>
            <pc:docMk/>
            <pc:sldMk cId="3348783017" sldId="2147483486"/>
            <ac:spMk id="30" creationId="{952F9980-42C7-C142-A65F-37AF1C4CE6BF}"/>
          </ac:spMkLst>
        </pc:spChg>
        <pc:spChg chg="mod">
          <ac:chgData name="Siddhi Paliwal" userId="3ef3921d-16b8-4854-8920-f0b2bd004b9f" providerId="ADAL" clId="{5A4E854C-3520-4148-9A42-EFCEE9920127}" dt="2025-01-16T09:23:22.044" v="2584" actId="207"/>
          <ac:spMkLst>
            <pc:docMk/>
            <pc:sldMk cId="3348783017" sldId="2147483486"/>
            <ac:spMk id="31" creationId="{0674F6C0-20EF-D8B0-E6AB-031B26F2E0DD}"/>
          </ac:spMkLst>
        </pc:spChg>
        <pc:spChg chg="mod">
          <ac:chgData name="Siddhi Paliwal" userId="3ef3921d-16b8-4854-8920-f0b2bd004b9f" providerId="ADAL" clId="{5A4E854C-3520-4148-9A42-EFCEE9920127}" dt="2025-01-16T09:23:22.044" v="2584" actId="207"/>
          <ac:spMkLst>
            <pc:docMk/>
            <pc:sldMk cId="3348783017" sldId="2147483486"/>
            <ac:spMk id="32" creationId="{79FA4AF7-AC11-870B-C795-B685BD44E363}"/>
          </ac:spMkLst>
        </pc:spChg>
        <pc:spChg chg="mod">
          <ac:chgData name="Siddhi Paliwal" userId="3ef3921d-16b8-4854-8920-f0b2bd004b9f" providerId="ADAL" clId="{5A4E854C-3520-4148-9A42-EFCEE9920127}" dt="2025-01-16T09:23:22.044" v="2584" actId="207"/>
          <ac:spMkLst>
            <pc:docMk/>
            <pc:sldMk cId="3348783017" sldId="2147483486"/>
            <ac:spMk id="33" creationId="{38E729AC-F12C-6BF7-189A-A2112B68EDDD}"/>
          </ac:spMkLst>
        </pc:spChg>
        <pc:spChg chg="mod">
          <ac:chgData name="Siddhi Paliwal" userId="3ef3921d-16b8-4854-8920-f0b2bd004b9f" providerId="ADAL" clId="{5A4E854C-3520-4148-9A42-EFCEE9920127}" dt="2025-01-16T09:23:22.044" v="2584" actId="207"/>
          <ac:spMkLst>
            <pc:docMk/>
            <pc:sldMk cId="3348783017" sldId="2147483486"/>
            <ac:spMk id="35" creationId="{0E39BB6A-5264-DF56-E051-E37635241F18}"/>
          </ac:spMkLst>
        </pc:spChg>
        <pc:picChg chg="mod">
          <ac:chgData name="Siddhi Paliwal" userId="3ef3921d-16b8-4854-8920-f0b2bd004b9f" providerId="ADAL" clId="{5A4E854C-3520-4148-9A42-EFCEE9920127}" dt="2025-01-13T15:25:59.383" v="2000" actId="1076"/>
          <ac:picMkLst>
            <pc:docMk/>
            <pc:sldMk cId="3348783017" sldId="2147483486"/>
            <ac:picMk id="8" creationId="{6C89160D-66AF-7642-E566-40DCF388F03D}"/>
          </ac:picMkLst>
        </pc:picChg>
        <pc:cxnChg chg="mod">
          <ac:chgData name="Siddhi Paliwal" userId="3ef3921d-16b8-4854-8920-f0b2bd004b9f" providerId="ADAL" clId="{5A4E854C-3520-4148-9A42-EFCEE9920127}" dt="2025-01-13T15:25:34.703" v="1997" actId="1076"/>
          <ac:cxnSpMkLst>
            <pc:docMk/>
            <pc:sldMk cId="3348783017" sldId="2147483486"/>
            <ac:cxnSpMk id="24" creationId="{ADCEB616-78B5-08D7-D349-CAF5BD89BC6A}"/>
          </ac:cxnSpMkLst>
        </pc:cxnChg>
        <pc:cxnChg chg="mod">
          <ac:chgData name="Siddhi Paliwal" userId="3ef3921d-16b8-4854-8920-f0b2bd004b9f" providerId="ADAL" clId="{5A4E854C-3520-4148-9A42-EFCEE9920127}" dt="2025-01-13T15:26:12.204" v="2001" actId="1076"/>
          <ac:cxnSpMkLst>
            <pc:docMk/>
            <pc:sldMk cId="3348783017" sldId="2147483486"/>
            <ac:cxnSpMk id="27" creationId="{10B57E0E-BD0F-239D-34FB-9BE7BD612F61}"/>
          </ac:cxnSpMkLst>
        </pc:cxnChg>
        <pc:cxnChg chg="mod">
          <ac:chgData name="Siddhi Paliwal" userId="3ef3921d-16b8-4854-8920-f0b2bd004b9f" providerId="ADAL" clId="{5A4E854C-3520-4148-9A42-EFCEE9920127}" dt="2025-01-13T15:25:47.357" v="1998" actId="1076"/>
          <ac:cxnSpMkLst>
            <pc:docMk/>
            <pc:sldMk cId="3348783017" sldId="2147483486"/>
            <ac:cxnSpMk id="28" creationId="{067ED8A9-C0AD-4A6F-AD9A-0603EA6DA183}"/>
          </ac:cxnSpMkLst>
        </pc:cxnChg>
      </pc:sldChg>
      <pc:sldChg chg="addSp delSp modSp mod modClrScheme chgLayout">
        <pc:chgData name="Siddhi Paliwal" userId="3ef3921d-16b8-4854-8920-f0b2bd004b9f" providerId="ADAL" clId="{5A4E854C-3520-4148-9A42-EFCEE9920127}" dt="2025-01-16T09:22:19.775" v="2583" actId="1036"/>
        <pc:sldMkLst>
          <pc:docMk/>
          <pc:sldMk cId="1947751114" sldId="2147483496"/>
        </pc:sldMkLst>
        <pc:spChg chg="mod ord">
          <ac:chgData name="Siddhi Paliwal" userId="3ef3921d-16b8-4854-8920-f0b2bd004b9f" providerId="ADAL" clId="{5A4E854C-3520-4148-9A42-EFCEE9920127}" dt="2025-01-13T15:30:41.353" v="2024" actId="207"/>
          <ac:spMkLst>
            <pc:docMk/>
            <pc:sldMk cId="1947751114" sldId="2147483496"/>
            <ac:spMk id="2" creationId="{60ACEA90-DF74-A85E-0F8E-B3A974FC1C69}"/>
          </ac:spMkLst>
        </pc:spChg>
        <pc:spChg chg="mod">
          <ac:chgData name="Siddhi Paliwal" userId="3ef3921d-16b8-4854-8920-f0b2bd004b9f" providerId="ADAL" clId="{5A4E854C-3520-4148-9A42-EFCEE9920127}" dt="2025-01-16T09:22:19.775" v="2583" actId="1036"/>
          <ac:spMkLst>
            <pc:docMk/>
            <pc:sldMk cId="1947751114" sldId="2147483496"/>
            <ac:spMk id="5" creationId="{E9AF36CC-90FD-5743-F72D-8A3223DE2F64}"/>
          </ac:spMkLst>
        </pc:spChg>
        <pc:spChg chg="add mod ord">
          <ac:chgData name="Siddhi Paliwal" userId="3ef3921d-16b8-4854-8920-f0b2bd004b9f" providerId="ADAL" clId="{5A4E854C-3520-4148-9A42-EFCEE9920127}" dt="2025-01-13T15:28:49" v="2014" actId="207"/>
          <ac:spMkLst>
            <pc:docMk/>
            <pc:sldMk cId="1947751114" sldId="2147483496"/>
            <ac:spMk id="9" creationId="{52A6FFD0-FA9B-318D-6146-17BCB5745F27}"/>
          </ac:spMkLst>
        </pc:spChg>
        <pc:picChg chg="mod">
          <ac:chgData name="Siddhi Paliwal" userId="3ef3921d-16b8-4854-8920-f0b2bd004b9f" providerId="ADAL" clId="{5A4E854C-3520-4148-9A42-EFCEE9920127}" dt="2025-01-13T15:30:52.304" v="2026" actId="1076"/>
          <ac:picMkLst>
            <pc:docMk/>
            <pc:sldMk cId="1947751114" sldId="2147483496"/>
            <ac:picMk id="4" creationId="{A0290160-FC20-19A0-AEB0-4EA243DE30E6}"/>
          </ac:picMkLst>
        </pc:picChg>
        <pc:picChg chg="add mod">
          <ac:chgData name="Siddhi Paliwal" userId="3ef3921d-16b8-4854-8920-f0b2bd004b9f" providerId="ADAL" clId="{5A4E854C-3520-4148-9A42-EFCEE9920127}" dt="2025-01-13T15:30:01.865" v="2020"/>
          <ac:picMkLst>
            <pc:docMk/>
            <pc:sldMk cId="1947751114" sldId="2147483496"/>
            <ac:picMk id="10" creationId="{97F480B8-1FD3-B043-3039-FA7E1BE9C8DD}"/>
          </ac:picMkLst>
        </pc:picChg>
      </pc:sldChg>
      <pc:sldChg chg="del">
        <pc:chgData name="Siddhi Paliwal" userId="3ef3921d-16b8-4854-8920-f0b2bd004b9f" providerId="ADAL" clId="{5A4E854C-3520-4148-9A42-EFCEE9920127}" dt="2025-01-13T11:30:15.509" v="539" actId="2696"/>
        <pc:sldMkLst>
          <pc:docMk/>
          <pc:sldMk cId="2500538524" sldId="2147483564"/>
        </pc:sldMkLst>
      </pc:sldChg>
      <pc:sldChg chg="delSp del mod">
        <pc:chgData name="Siddhi Paliwal" userId="3ef3921d-16b8-4854-8920-f0b2bd004b9f" providerId="ADAL" clId="{5A4E854C-3520-4148-9A42-EFCEE9920127}" dt="2025-01-13T14:36:23.333" v="1528" actId="2696"/>
        <pc:sldMkLst>
          <pc:docMk/>
          <pc:sldMk cId="333910394" sldId="2147483582"/>
        </pc:sldMkLst>
      </pc:sldChg>
      <pc:sldChg chg="del">
        <pc:chgData name="Siddhi Paliwal" userId="3ef3921d-16b8-4854-8920-f0b2bd004b9f" providerId="ADAL" clId="{5A4E854C-3520-4148-9A42-EFCEE9920127}" dt="2025-01-13T11:21:51.523" v="418" actId="2696"/>
        <pc:sldMkLst>
          <pc:docMk/>
          <pc:sldMk cId="2298966973" sldId="2147483637"/>
        </pc:sldMkLst>
      </pc:sldChg>
      <pc:sldChg chg="del">
        <pc:chgData name="Siddhi Paliwal" userId="3ef3921d-16b8-4854-8920-f0b2bd004b9f" providerId="ADAL" clId="{5A4E854C-3520-4148-9A42-EFCEE9920127}" dt="2025-01-13T11:24:11.949" v="467" actId="2696"/>
        <pc:sldMkLst>
          <pc:docMk/>
          <pc:sldMk cId="2413575490" sldId="2147483638"/>
        </pc:sldMkLst>
      </pc:sldChg>
      <pc:sldChg chg="del">
        <pc:chgData name="Siddhi Paliwal" userId="3ef3921d-16b8-4854-8920-f0b2bd004b9f" providerId="ADAL" clId="{5A4E854C-3520-4148-9A42-EFCEE9920127}" dt="2025-01-13T11:27:11.302" v="503" actId="2696"/>
        <pc:sldMkLst>
          <pc:docMk/>
          <pc:sldMk cId="2124524843" sldId="2147483639"/>
        </pc:sldMkLst>
      </pc:sldChg>
      <pc:sldChg chg="del">
        <pc:chgData name="Siddhi Paliwal" userId="3ef3921d-16b8-4854-8920-f0b2bd004b9f" providerId="ADAL" clId="{5A4E854C-3520-4148-9A42-EFCEE9920127}" dt="2025-01-13T11:28:15.568" v="521" actId="2696"/>
        <pc:sldMkLst>
          <pc:docMk/>
          <pc:sldMk cId="2558245899" sldId="2147483640"/>
        </pc:sldMkLst>
      </pc:sldChg>
      <pc:sldChg chg="del">
        <pc:chgData name="Siddhi Paliwal" userId="3ef3921d-16b8-4854-8920-f0b2bd004b9f" providerId="ADAL" clId="{5A4E854C-3520-4148-9A42-EFCEE9920127}" dt="2025-01-13T11:25:25.101" v="488" actId="2696"/>
        <pc:sldMkLst>
          <pc:docMk/>
          <pc:sldMk cId="3438533366" sldId="2147483643"/>
        </pc:sldMkLst>
      </pc:sldChg>
      <pc:sldChg chg="del">
        <pc:chgData name="Siddhi Paliwal" userId="3ef3921d-16b8-4854-8920-f0b2bd004b9f" providerId="ADAL" clId="{5A4E854C-3520-4148-9A42-EFCEE9920127}" dt="2025-01-13T15:08:17.096" v="1860" actId="2696"/>
        <pc:sldMkLst>
          <pc:docMk/>
          <pc:sldMk cId="3816778254" sldId="2147483645"/>
        </pc:sldMkLst>
      </pc:sldChg>
      <pc:sldChg chg="addSp delSp modSp add mod">
        <pc:chgData name="Siddhi Paliwal" userId="3ef3921d-16b8-4854-8920-f0b2bd004b9f" providerId="ADAL" clId="{5A4E854C-3520-4148-9A42-EFCEE9920127}" dt="2025-01-13T15:08:08.544" v="1859" actId="478"/>
        <pc:sldMkLst>
          <pc:docMk/>
          <pc:sldMk cId="2185007164" sldId="2147483647"/>
        </pc:sldMkLst>
        <pc:spChg chg="mod">
          <ac:chgData name="Siddhi Paliwal" userId="3ef3921d-16b8-4854-8920-f0b2bd004b9f" providerId="ADAL" clId="{5A4E854C-3520-4148-9A42-EFCEE9920127}" dt="2025-01-13T15:04:39.290" v="1723"/>
          <ac:spMkLst>
            <pc:docMk/>
            <pc:sldMk cId="2185007164" sldId="2147483647"/>
            <ac:spMk id="2" creationId="{839FDB95-3589-A0AF-F2A8-C243BF3820E8}"/>
          </ac:spMkLst>
        </pc:spChg>
        <pc:spChg chg="mod">
          <ac:chgData name="Siddhi Paliwal" userId="3ef3921d-16b8-4854-8920-f0b2bd004b9f" providerId="ADAL" clId="{5A4E854C-3520-4148-9A42-EFCEE9920127}" dt="2025-01-13T15:06:15.523" v="1741" actId="1035"/>
          <ac:spMkLst>
            <pc:docMk/>
            <pc:sldMk cId="2185007164" sldId="2147483647"/>
            <ac:spMk id="8" creationId="{A4AE3AB3-BE7F-2E46-921F-8512856A9B6B}"/>
          </ac:spMkLst>
        </pc:spChg>
        <pc:spChg chg="add mod">
          <ac:chgData name="Siddhi Paliwal" userId="3ef3921d-16b8-4854-8920-f0b2bd004b9f" providerId="ADAL" clId="{5A4E854C-3520-4148-9A42-EFCEE9920127}" dt="2025-01-13T15:07:50.193" v="1856" actId="1076"/>
          <ac:spMkLst>
            <pc:docMk/>
            <pc:sldMk cId="2185007164" sldId="2147483647"/>
            <ac:spMk id="20" creationId="{48AEAA38-4E44-91D9-62E8-FB324992A3E2}"/>
          </ac:spMkLst>
        </pc:spChg>
        <pc:spChg chg="add mod">
          <ac:chgData name="Siddhi Paliwal" userId="3ef3921d-16b8-4854-8920-f0b2bd004b9f" providerId="ADAL" clId="{5A4E854C-3520-4148-9A42-EFCEE9920127}" dt="2025-01-13T15:08:00.304" v="1857" actId="1076"/>
          <ac:spMkLst>
            <pc:docMk/>
            <pc:sldMk cId="2185007164" sldId="2147483647"/>
            <ac:spMk id="21" creationId="{DA4A5C8C-AC78-20E8-CBA9-23E1AE52B331}"/>
          </ac:spMkLst>
        </pc:spChg>
        <pc:spChg chg="add mod">
          <ac:chgData name="Siddhi Paliwal" userId="3ef3921d-16b8-4854-8920-f0b2bd004b9f" providerId="ADAL" clId="{5A4E854C-3520-4148-9A42-EFCEE9920127}" dt="2025-01-13T15:06:46.992" v="1746" actId="2711"/>
          <ac:spMkLst>
            <pc:docMk/>
            <pc:sldMk cId="2185007164" sldId="2147483647"/>
            <ac:spMk id="23" creationId="{818F686E-6633-A7CA-08C2-66D4D66FFF14}"/>
          </ac:spMkLst>
        </pc:spChg>
        <pc:picChg chg="add mod">
          <ac:chgData name="Siddhi Paliwal" userId="3ef3921d-16b8-4854-8920-f0b2bd004b9f" providerId="ADAL" clId="{5A4E854C-3520-4148-9A42-EFCEE9920127}" dt="2025-01-13T15:06:32.252" v="1743"/>
          <ac:picMkLst>
            <pc:docMk/>
            <pc:sldMk cId="2185007164" sldId="2147483647"/>
            <ac:picMk id="22" creationId="{CF2DD90C-53BF-625E-2DD8-BBD8AEDAD37B}"/>
          </ac:picMkLst>
        </pc:picChg>
        <pc:picChg chg="add mod">
          <ac:chgData name="Siddhi Paliwal" userId="3ef3921d-16b8-4854-8920-f0b2bd004b9f" providerId="ADAL" clId="{5A4E854C-3520-4148-9A42-EFCEE9920127}" dt="2025-01-13T15:06:32.252" v="1743"/>
          <ac:picMkLst>
            <pc:docMk/>
            <pc:sldMk cId="2185007164" sldId="2147483647"/>
            <ac:picMk id="24" creationId="{65BE8777-F85D-2A31-AD59-F706D81B2DF5}"/>
          </ac:picMkLst>
        </pc:picChg>
        <pc:picChg chg="add mod">
          <ac:chgData name="Siddhi Paliwal" userId="3ef3921d-16b8-4854-8920-f0b2bd004b9f" providerId="ADAL" clId="{5A4E854C-3520-4148-9A42-EFCEE9920127}" dt="2025-01-13T15:07:31.068" v="1855" actId="14861"/>
          <ac:picMkLst>
            <pc:docMk/>
            <pc:sldMk cId="2185007164" sldId="2147483647"/>
            <ac:picMk id="25" creationId="{BCD1C125-FB92-07AD-9C88-8FEB2166B0B0}"/>
          </ac:picMkLst>
        </pc:picChg>
      </pc:sldChg>
      <pc:sldChg chg="del">
        <pc:chgData name="Siddhi Paliwal" userId="3ef3921d-16b8-4854-8920-f0b2bd004b9f" providerId="ADAL" clId="{5A4E854C-3520-4148-9A42-EFCEE9920127}" dt="2025-01-13T14:56:53.570" v="1684" actId="2696"/>
        <pc:sldMkLst>
          <pc:docMk/>
          <pc:sldMk cId="3043737274" sldId="2147483647"/>
        </pc:sldMkLst>
      </pc:sldChg>
      <pc:sldMasterChg chg="addSp modSp mod addSldLayout modSldLayout">
        <pc:chgData name="Siddhi Paliwal" userId="3ef3921d-16b8-4854-8920-f0b2bd004b9f" providerId="ADAL" clId="{5A4E854C-3520-4148-9A42-EFCEE9920127}" dt="2025-01-13T09:30:25.254" v="4" actId="14100"/>
        <pc:sldMasterMkLst>
          <pc:docMk/>
          <pc:sldMasterMk cId="1697870870" sldId="2147483672"/>
        </pc:sldMasterMkLst>
        <pc:picChg chg="add mod">
          <ac:chgData name="Siddhi Paliwal" userId="3ef3921d-16b8-4854-8920-f0b2bd004b9f" providerId="ADAL" clId="{5A4E854C-3520-4148-9A42-EFCEE9920127}" dt="2025-01-13T09:30:25.254" v="4" actId="14100"/>
          <ac:picMkLst>
            <pc:docMk/>
            <pc:sldMasterMk cId="1697870870" sldId="2147483672"/>
            <ac:picMk id="7" creationId="{BBAD8696-EC1E-49CC-D9A5-255D4A749ABA}"/>
          </ac:picMkLst>
        </pc:picChg>
        <pc:sldLayoutChg chg="modSp">
          <pc:chgData name="Siddhi Paliwal" userId="3ef3921d-16b8-4854-8920-f0b2bd004b9f" providerId="ADAL" clId="{5A4E854C-3520-4148-9A42-EFCEE9920127}" dt="2025-01-13T09:28:20.981" v="0" actId="735"/>
          <pc:sldLayoutMkLst>
            <pc:docMk/>
            <pc:sldMasterMk cId="1697870870" sldId="2147483672"/>
            <pc:sldLayoutMk cId="2332178150" sldId="2147483684"/>
          </pc:sldLayoutMkLst>
        </pc:sldLayoutChg>
        <pc:sldLayoutChg chg="add mod replId modTransition">
          <pc:chgData name="Siddhi Paliwal" userId="3ef3921d-16b8-4854-8920-f0b2bd004b9f" providerId="ADAL" clId="{5A4E854C-3520-4148-9A42-EFCEE9920127}" dt="2025-01-13T09:29:44.403" v="1" actId="2890"/>
          <pc:sldLayoutMkLst>
            <pc:docMk/>
            <pc:sldMasterMk cId="1697870870" sldId="2147483672"/>
            <pc:sldLayoutMk cId="2492508729" sldId="2147484097"/>
          </pc:sldLayoutMkLst>
        </pc:sldLayoutChg>
      </pc:sldMasterChg>
      <pc:sldMasterChg chg="delSp mod">
        <pc:chgData name="Siddhi Paliwal" userId="3ef3921d-16b8-4854-8920-f0b2bd004b9f" providerId="ADAL" clId="{5A4E854C-3520-4148-9A42-EFCEE9920127}" dt="2025-01-13T09:53:28.902" v="5" actId="478"/>
        <pc:sldMasterMkLst>
          <pc:docMk/>
          <pc:sldMasterMk cId="306858297" sldId="2147484150"/>
        </pc:sldMasterMkLst>
      </pc:sldMasterChg>
      <pc:sldMasterChg chg="modSldLayout">
        <pc:chgData name="Siddhi Paliwal" userId="3ef3921d-16b8-4854-8920-f0b2bd004b9f" providerId="ADAL" clId="{5A4E854C-3520-4148-9A42-EFCEE9920127}" dt="2025-01-13T10:10:26.253" v="6"/>
        <pc:sldMasterMkLst>
          <pc:docMk/>
          <pc:sldMasterMk cId="3524837938" sldId="2147484150"/>
        </pc:sldMasterMkLst>
        <pc:sldLayoutChg chg="setBg">
          <pc:chgData name="Siddhi Paliwal" userId="3ef3921d-16b8-4854-8920-f0b2bd004b9f" providerId="ADAL" clId="{5A4E854C-3520-4148-9A42-EFCEE9920127}" dt="2025-01-13T10:10:26.253" v="6"/>
          <pc:sldLayoutMkLst>
            <pc:docMk/>
            <pc:sldMasterMk cId="3524837938" sldId="2147484150"/>
            <pc:sldLayoutMk cId="3317244025" sldId="2147484151"/>
          </pc:sldLayoutMkLst>
        </pc:sldLayoutChg>
        <pc:sldLayoutChg chg="setBg">
          <pc:chgData name="Siddhi Paliwal" userId="3ef3921d-16b8-4854-8920-f0b2bd004b9f" providerId="ADAL" clId="{5A4E854C-3520-4148-9A42-EFCEE9920127}" dt="2025-01-13T10:10:26.253" v="6"/>
          <pc:sldLayoutMkLst>
            <pc:docMk/>
            <pc:sldMasterMk cId="3524837938" sldId="2147484150"/>
            <pc:sldLayoutMk cId="3483384946" sldId="2147484152"/>
          </pc:sldLayoutMkLst>
        </pc:sldLayoutChg>
        <pc:sldLayoutChg chg="setBg">
          <pc:chgData name="Siddhi Paliwal" userId="3ef3921d-16b8-4854-8920-f0b2bd004b9f" providerId="ADAL" clId="{5A4E854C-3520-4148-9A42-EFCEE9920127}" dt="2025-01-13T10:10:26.253" v="6"/>
          <pc:sldLayoutMkLst>
            <pc:docMk/>
            <pc:sldMasterMk cId="3524837938" sldId="2147484150"/>
            <pc:sldLayoutMk cId="3731575555" sldId="2147484153"/>
          </pc:sldLayoutMkLst>
        </pc:sldLayoutChg>
        <pc:sldLayoutChg chg="setBg">
          <pc:chgData name="Siddhi Paliwal" userId="3ef3921d-16b8-4854-8920-f0b2bd004b9f" providerId="ADAL" clId="{5A4E854C-3520-4148-9A42-EFCEE9920127}" dt="2025-01-13T10:10:26.253" v="6"/>
          <pc:sldLayoutMkLst>
            <pc:docMk/>
            <pc:sldMasterMk cId="3524837938" sldId="2147484150"/>
            <pc:sldLayoutMk cId="2427983099" sldId="2147484154"/>
          </pc:sldLayoutMkLst>
        </pc:sldLayoutChg>
        <pc:sldLayoutChg chg="setBg">
          <pc:chgData name="Siddhi Paliwal" userId="3ef3921d-16b8-4854-8920-f0b2bd004b9f" providerId="ADAL" clId="{5A4E854C-3520-4148-9A42-EFCEE9920127}" dt="2025-01-13T10:10:26.253" v="6"/>
          <pc:sldLayoutMkLst>
            <pc:docMk/>
            <pc:sldMasterMk cId="3524837938" sldId="2147484150"/>
            <pc:sldLayoutMk cId="1254966626" sldId="2147484155"/>
          </pc:sldLayoutMkLst>
        </pc:sldLayoutChg>
        <pc:sldLayoutChg chg="setBg">
          <pc:chgData name="Siddhi Paliwal" userId="3ef3921d-16b8-4854-8920-f0b2bd004b9f" providerId="ADAL" clId="{5A4E854C-3520-4148-9A42-EFCEE9920127}" dt="2025-01-13T10:10:26.253" v="6"/>
          <pc:sldLayoutMkLst>
            <pc:docMk/>
            <pc:sldMasterMk cId="3524837938" sldId="2147484150"/>
            <pc:sldLayoutMk cId="522936948" sldId="2147484156"/>
          </pc:sldLayoutMkLst>
        </pc:sldLayoutChg>
        <pc:sldLayoutChg chg="setBg">
          <pc:chgData name="Siddhi Paliwal" userId="3ef3921d-16b8-4854-8920-f0b2bd004b9f" providerId="ADAL" clId="{5A4E854C-3520-4148-9A42-EFCEE9920127}" dt="2025-01-13T10:10:26.253" v="6"/>
          <pc:sldLayoutMkLst>
            <pc:docMk/>
            <pc:sldMasterMk cId="3524837938" sldId="2147484150"/>
            <pc:sldLayoutMk cId="385656571" sldId="2147484157"/>
          </pc:sldLayoutMkLst>
        </pc:sldLayoutChg>
        <pc:sldLayoutChg chg="setBg">
          <pc:chgData name="Siddhi Paliwal" userId="3ef3921d-16b8-4854-8920-f0b2bd004b9f" providerId="ADAL" clId="{5A4E854C-3520-4148-9A42-EFCEE9920127}" dt="2025-01-13T10:10:26.253" v="6"/>
          <pc:sldLayoutMkLst>
            <pc:docMk/>
            <pc:sldMasterMk cId="3524837938" sldId="2147484150"/>
            <pc:sldLayoutMk cId="902534080" sldId="2147484158"/>
          </pc:sldLayoutMkLst>
        </pc:sldLayoutChg>
        <pc:sldLayoutChg chg="setBg">
          <pc:chgData name="Siddhi Paliwal" userId="3ef3921d-16b8-4854-8920-f0b2bd004b9f" providerId="ADAL" clId="{5A4E854C-3520-4148-9A42-EFCEE9920127}" dt="2025-01-13T10:10:26.253" v="6"/>
          <pc:sldLayoutMkLst>
            <pc:docMk/>
            <pc:sldMasterMk cId="3524837938" sldId="2147484150"/>
            <pc:sldLayoutMk cId="1560051007" sldId="2147484159"/>
          </pc:sldLayoutMkLst>
        </pc:sldLayoutChg>
        <pc:sldLayoutChg chg="setBg">
          <pc:chgData name="Siddhi Paliwal" userId="3ef3921d-16b8-4854-8920-f0b2bd004b9f" providerId="ADAL" clId="{5A4E854C-3520-4148-9A42-EFCEE9920127}" dt="2025-01-13T10:10:26.253" v="6"/>
          <pc:sldLayoutMkLst>
            <pc:docMk/>
            <pc:sldMasterMk cId="3524837938" sldId="2147484150"/>
            <pc:sldLayoutMk cId="4125617767" sldId="2147484160"/>
          </pc:sldLayoutMkLst>
        </pc:sldLayoutChg>
        <pc:sldLayoutChg chg="setBg">
          <pc:chgData name="Siddhi Paliwal" userId="3ef3921d-16b8-4854-8920-f0b2bd004b9f" providerId="ADAL" clId="{5A4E854C-3520-4148-9A42-EFCEE9920127}" dt="2025-01-13T10:10:26.253" v="6"/>
          <pc:sldLayoutMkLst>
            <pc:docMk/>
            <pc:sldMasterMk cId="3524837938" sldId="2147484150"/>
            <pc:sldLayoutMk cId="11891780" sldId="2147484161"/>
          </pc:sldLayoutMkLst>
        </pc:sldLayoutChg>
        <pc:sldLayoutChg chg="setBg">
          <pc:chgData name="Siddhi Paliwal" userId="3ef3921d-16b8-4854-8920-f0b2bd004b9f" providerId="ADAL" clId="{5A4E854C-3520-4148-9A42-EFCEE9920127}" dt="2025-01-13T10:10:26.253" v="6"/>
          <pc:sldLayoutMkLst>
            <pc:docMk/>
            <pc:sldMasterMk cId="3524837938" sldId="2147484150"/>
            <pc:sldLayoutMk cId="2155900651" sldId="2147484162"/>
          </pc:sldLayoutMkLst>
        </pc:sldLayoutChg>
        <pc:sldLayoutChg chg="setBg">
          <pc:chgData name="Siddhi Paliwal" userId="3ef3921d-16b8-4854-8920-f0b2bd004b9f" providerId="ADAL" clId="{5A4E854C-3520-4148-9A42-EFCEE9920127}" dt="2025-01-13T10:10:26.253" v="6"/>
          <pc:sldLayoutMkLst>
            <pc:docMk/>
            <pc:sldMasterMk cId="3524837938" sldId="2147484150"/>
            <pc:sldLayoutMk cId="131917210" sldId="2147484163"/>
          </pc:sldLayoutMkLst>
        </pc:sldLayoutChg>
        <pc:sldLayoutChg chg="setBg">
          <pc:chgData name="Siddhi Paliwal" userId="3ef3921d-16b8-4854-8920-f0b2bd004b9f" providerId="ADAL" clId="{5A4E854C-3520-4148-9A42-EFCEE9920127}" dt="2025-01-13T10:10:26.253" v="6"/>
          <pc:sldLayoutMkLst>
            <pc:docMk/>
            <pc:sldMasterMk cId="3524837938" sldId="2147484150"/>
            <pc:sldLayoutMk cId="158338679" sldId="2147484164"/>
          </pc:sldLayoutMkLst>
        </pc:sldLayoutChg>
        <pc:sldLayoutChg chg="setBg">
          <pc:chgData name="Siddhi Paliwal" userId="3ef3921d-16b8-4854-8920-f0b2bd004b9f" providerId="ADAL" clId="{5A4E854C-3520-4148-9A42-EFCEE9920127}" dt="2025-01-13T10:10:26.253" v="6"/>
          <pc:sldLayoutMkLst>
            <pc:docMk/>
            <pc:sldMasterMk cId="3524837938" sldId="2147484150"/>
            <pc:sldLayoutMk cId="1852425887" sldId="2147484165"/>
          </pc:sldLayoutMkLst>
        </pc:sldLayoutChg>
        <pc:sldLayoutChg chg="setBg">
          <pc:chgData name="Siddhi Paliwal" userId="3ef3921d-16b8-4854-8920-f0b2bd004b9f" providerId="ADAL" clId="{5A4E854C-3520-4148-9A42-EFCEE9920127}" dt="2025-01-13T10:10:26.253" v="6"/>
          <pc:sldLayoutMkLst>
            <pc:docMk/>
            <pc:sldMasterMk cId="3524837938" sldId="2147484150"/>
            <pc:sldLayoutMk cId="1230678234" sldId="2147484166"/>
          </pc:sldLayoutMkLst>
        </pc:sldLayoutChg>
        <pc:sldLayoutChg chg="setBg">
          <pc:chgData name="Siddhi Paliwal" userId="3ef3921d-16b8-4854-8920-f0b2bd004b9f" providerId="ADAL" clId="{5A4E854C-3520-4148-9A42-EFCEE9920127}" dt="2025-01-13T10:10:26.253" v="6"/>
          <pc:sldLayoutMkLst>
            <pc:docMk/>
            <pc:sldMasterMk cId="3524837938" sldId="2147484150"/>
            <pc:sldLayoutMk cId="4171491972" sldId="2147484167"/>
          </pc:sldLayoutMkLst>
        </pc:sldLayoutChg>
        <pc:sldLayoutChg chg="setBg">
          <pc:chgData name="Siddhi Paliwal" userId="3ef3921d-16b8-4854-8920-f0b2bd004b9f" providerId="ADAL" clId="{5A4E854C-3520-4148-9A42-EFCEE9920127}" dt="2025-01-13T10:10:26.253" v="6"/>
          <pc:sldLayoutMkLst>
            <pc:docMk/>
            <pc:sldMasterMk cId="3524837938" sldId="2147484150"/>
            <pc:sldLayoutMk cId="620382929" sldId="2147484168"/>
          </pc:sldLayoutMkLst>
        </pc:sldLayoutChg>
        <pc:sldLayoutChg chg="setBg">
          <pc:chgData name="Siddhi Paliwal" userId="3ef3921d-16b8-4854-8920-f0b2bd004b9f" providerId="ADAL" clId="{5A4E854C-3520-4148-9A42-EFCEE9920127}" dt="2025-01-13T10:10:26.253" v="6"/>
          <pc:sldLayoutMkLst>
            <pc:docMk/>
            <pc:sldMasterMk cId="3524837938" sldId="2147484150"/>
            <pc:sldLayoutMk cId="340716040" sldId="2147484169"/>
          </pc:sldLayoutMkLst>
        </pc:sldLayoutChg>
        <pc:sldLayoutChg chg="setBg">
          <pc:chgData name="Siddhi Paliwal" userId="3ef3921d-16b8-4854-8920-f0b2bd004b9f" providerId="ADAL" clId="{5A4E854C-3520-4148-9A42-EFCEE9920127}" dt="2025-01-13T10:10:26.253" v="6"/>
          <pc:sldLayoutMkLst>
            <pc:docMk/>
            <pc:sldMasterMk cId="3524837938" sldId="2147484150"/>
            <pc:sldLayoutMk cId="2991988264" sldId="2147484170"/>
          </pc:sldLayoutMkLst>
        </pc:sldLayoutChg>
        <pc:sldLayoutChg chg="setBg">
          <pc:chgData name="Siddhi Paliwal" userId="3ef3921d-16b8-4854-8920-f0b2bd004b9f" providerId="ADAL" clId="{5A4E854C-3520-4148-9A42-EFCEE9920127}" dt="2025-01-13T10:10:26.253" v="6"/>
          <pc:sldLayoutMkLst>
            <pc:docMk/>
            <pc:sldMasterMk cId="3524837938" sldId="2147484150"/>
            <pc:sldLayoutMk cId="3815987156" sldId="2147484171"/>
          </pc:sldLayoutMkLst>
        </pc:sldLayoutChg>
        <pc:sldLayoutChg chg="setBg">
          <pc:chgData name="Siddhi Paliwal" userId="3ef3921d-16b8-4854-8920-f0b2bd004b9f" providerId="ADAL" clId="{5A4E854C-3520-4148-9A42-EFCEE9920127}" dt="2025-01-13T10:10:26.253" v="6"/>
          <pc:sldLayoutMkLst>
            <pc:docMk/>
            <pc:sldMasterMk cId="3524837938" sldId="2147484150"/>
            <pc:sldLayoutMk cId="4045866989" sldId="2147484172"/>
          </pc:sldLayoutMkLst>
        </pc:sldLayoutChg>
        <pc:sldLayoutChg chg="setBg">
          <pc:chgData name="Siddhi Paliwal" userId="3ef3921d-16b8-4854-8920-f0b2bd004b9f" providerId="ADAL" clId="{5A4E854C-3520-4148-9A42-EFCEE9920127}" dt="2025-01-13T10:10:26.253" v="6"/>
          <pc:sldLayoutMkLst>
            <pc:docMk/>
            <pc:sldMasterMk cId="3524837938" sldId="2147484150"/>
            <pc:sldLayoutMk cId="215045831" sldId="2147484173"/>
          </pc:sldLayoutMkLst>
        </pc:sldLayoutChg>
        <pc:sldLayoutChg chg="setBg">
          <pc:chgData name="Siddhi Paliwal" userId="3ef3921d-16b8-4854-8920-f0b2bd004b9f" providerId="ADAL" clId="{5A4E854C-3520-4148-9A42-EFCEE9920127}" dt="2025-01-13T10:10:26.253" v="6"/>
          <pc:sldLayoutMkLst>
            <pc:docMk/>
            <pc:sldMasterMk cId="3524837938" sldId="2147484150"/>
            <pc:sldLayoutMk cId="1234219301" sldId="2147484174"/>
          </pc:sldLayoutMkLst>
        </pc:sldLayoutChg>
        <pc:sldLayoutChg chg="setBg">
          <pc:chgData name="Siddhi Paliwal" userId="3ef3921d-16b8-4854-8920-f0b2bd004b9f" providerId="ADAL" clId="{5A4E854C-3520-4148-9A42-EFCEE9920127}" dt="2025-01-13T10:10:26.253" v="6"/>
          <pc:sldLayoutMkLst>
            <pc:docMk/>
            <pc:sldMasterMk cId="3524837938" sldId="2147484150"/>
            <pc:sldLayoutMk cId="3668161978" sldId="2147484175"/>
          </pc:sldLayoutMkLst>
        </pc:sldLayoutChg>
        <pc:sldLayoutChg chg="setBg">
          <pc:chgData name="Siddhi Paliwal" userId="3ef3921d-16b8-4854-8920-f0b2bd004b9f" providerId="ADAL" clId="{5A4E854C-3520-4148-9A42-EFCEE9920127}" dt="2025-01-13T10:10:26.253" v="6"/>
          <pc:sldLayoutMkLst>
            <pc:docMk/>
            <pc:sldMasterMk cId="3524837938" sldId="2147484150"/>
            <pc:sldLayoutMk cId="4272273083" sldId="2147484177"/>
          </pc:sldLayoutMkLst>
        </pc:sldLayoutChg>
        <pc:sldLayoutChg chg="setBg">
          <pc:chgData name="Siddhi Paliwal" userId="3ef3921d-16b8-4854-8920-f0b2bd004b9f" providerId="ADAL" clId="{5A4E854C-3520-4148-9A42-EFCEE9920127}" dt="2025-01-13T10:10:26.253" v="6"/>
          <pc:sldLayoutMkLst>
            <pc:docMk/>
            <pc:sldMasterMk cId="3524837938" sldId="2147484150"/>
            <pc:sldLayoutMk cId="1904283222" sldId="2147484178"/>
          </pc:sldLayoutMkLst>
        </pc:sldLayoutChg>
        <pc:sldLayoutChg chg="setBg">
          <pc:chgData name="Siddhi Paliwal" userId="3ef3921d-16b8-4854-8920-f0b2bd004b9f" providerId="ADAL" clId="{5A4E854C-3520-4148-9A42-EFCEE9920127}" dt="2025-01-13T10:10:26.253" v="6"/>
          <pc:sldLayoutMkLst>
            <pc:docMk/>
            <pc:sldMasterMk cId="3524837938" sldId="2147484150"/>
            <pc:sldLayoutMk cId="3551289067" sldId="2147484181"/>
          </pc:sldLayoutMkLst>
        </pc:sldLayoutChg>
        <pc:sldLayoutChg chg="setBg">
          <pc:chgData name="Siddhi Paliwal" userId="3ef3921d-16b8-4854-8920-f0b2bd004b9f" providerId="ADAL" clId="{5A4E854C-3520-4148-9A42-EFCEE9920127}" dt="2025-01-13T10:10:26.253" v="6"/>
          <pc:sldLayoutMkLst>
            <pc:docMk/>
            <pc:sldMasterMk cId="3524837938" sldId="2147484150"/>
            <pc:sldLayoutMk cId="3743099981" sldId="2147484182"/>
          </pc:sldLayoutMkLst>
        </pc:sldLayoutChg>
        <pc:sldLayoutChg chg="setBg">
          <pc:chgData name="Siddhi Paliwal" userId="3ef3921d-16b8-4854-8920-f0b2bd004b9f" providerId="ADAL" clId="{5A4E854C-3520-4148-9A42-EFCEE9920127}" dt="2025-01-13T10:10:26.253" v="6"/>
          <pc:sldLayoutMkLst>
            <pc:docMk/>
            <pc:sldMasterMk cId="3524837938" sldId="2147484150"/>
            <pc:sldLayoutMk cId="855948398" sldId="2147484183"/>
          </pc:sldLayoutMkLst>
        </pc:sldLayoutChg>
        <pc:sldLayoutChg chg="setBg">
          <pc:chgData name="Siddhi Paliwal" userId="3ef3921d-16b8-4854-8920-f0b2bd004b9f" providerId="ADAL" clId="{5A4E854C-3520-4148-9A42-EFCEE9920127}" dt="2025-01-13T10:10:26.253" v="6"/>
          <pc:sldLayoutMkLst>
            <pc:docMk/>
            <pc:sldMasterMk cId="3524837938" sldId="2147484150"/>
            <pc:sldLayoutMk cId="2704844602" sldId="2147484184"/>
          </pc:sldLayoutMkLst>
        </pc:sldLayoutChg>
        <pc:sldLayoutChg chg="setBg">
          <pc:chgData name="Siddhi Paliwal" userId="3ef3921d-16b8-4854-8920-f0b2bd004b9f" providerId="ADAL" clId="{5A4E854C-3520-4148-9A42-EFCEE9920127}" dt="2025-01-13T10:10:26.253" v="6"/>
          <pc:sldLayoutMkLst>
            <pc:docMk/>
            <pc:sldMasterMk cId="3524837938" sldId="2147484150"/>
            <pc:sldLayoutMk cId="3997410562" sldId="2147484185"/>
          </pc:sldLayoutMkLst>
        </pc:sldLayoutChg>
        <pc:sldLayoutChg chg="setBg">
          <pc:chgData name="Siddhi Paliwal" userId="3ef3921d-16b8-4854-8920-f0b2bd004b9f" providerId="ADAL" clId="{5A4E854C-3520-4148-9A42-EFCEE9920127}" dt="2025-01-13T10:10:26.253" v="6"/>
          <pc:sldLayoutMkLst>
            <pc:docMk/>
            <pc:sldMasterMk cId="3524837938" sldId="2147484150"/>
            <pc:sldLayoutMk cId="857066313" sldId="2147484186"/>
          </pc:sldLayoutMkLst>
        </pc:sldLayoutChg>
        <pc:sldLayoutChg chg="setBg">
          <pc:chgData name="Siddhi Paliwal" userId="3ef3921d-16b8-4854-8920-f0b2bd004b9f" providerId="ADAL" clId="{5A4E854C-3520-4148-9A42-EFCEE9920127}" dt="2025-01-13T10:10:26.253" v="6"/>
          <pc:sldLayoutMkLst>
            <pc:docMk/>
            <pc:sldMasterMk cId="3524837938" sldId="2147484150"/>
            <pc:sldLayoutMk cId="259027714" sldId="2147484187"/>
          </pc:sldLayoutMkLst>
        </pc:sldLayoutChg>
        <pc:sldLayoutChg chg="setBg">
          <pc:chgData name="Siddhi Paliwal" userId="3ef3921d-16b8-4854-8920-f0b2bd004b9f" providerId="ADAL" clId="{5A4E854C-3520-4148-9A42-EFCEE9920127}" dt="2025-01-13T10:10:26.253" v="6"/>
          <pc:sldLayoutMkLst>
            <pc:docMk/>
            <pc:sldMasterMk cId="3524837938" sldId="2147484150"/>
            <pc:sldLayoutMk cId="3033282714" sldId="2147484188"/>
          </pc:sldLayoutMkLst>
        </pc:sldLayoutChg>
        <pc:sldLayoutChg chg="setBg">
          <pc:chgData name="Siddhi Paliwal" userId="3ef3921d-16b8-4854-8920-f0b2bd004b9f" providerId="ADAL" clId="{5A4E854C-3520-4148-9A42-EFCEE9920127}" dt="2025-01-13T10:10:26.253" v="6"/>
          <pc:sldLayoutMkLst>
            <pc:docMk/>
            <pc:sldMasterMk cId="3524837938" sldId="2147484150"/>
            <pc:sldLayoutMk cId="2518659880" sldId="2147484189"/>
          </pc:sldLayoutMkLst>
        </pc:sldLayoutChg>
        <pc:sldLayoutChg chg="setBg">
          <pc:chgData name="Siddhi Paliwal" userId="3ef3921d-16b8-4854-8920-f0b2bd004b9f" providerId="ADAL" clId="{5A4E854C-3520-4148-9A42-EFCEE9920127}" dt="2025-01-13T10:10:26.253" v="6"/>
          <pc:sldLayoutMkLst>
            <pc:docMk/>
            <pc:sldMasterMk cId="3524837938" sldId="2147484150"/>
            <pc:sldLayoutMk cId="3936080417" sldId="2147484190"/>
          </pc:sldLayoutMkLst>
        </pc:sldLayoutChg>
        <pc:sldLayoutChg chg="setBg">
          <pc:chgData name="Siddhi Paliwal" userId="3ef3921d-16b8-4854-8920-f0b2bd004b9f" providerId="ADAL" clId="{5A4E854C-3520-4148-9A42-EFCEE9920127}" dt="2025-01-13T10:10:26.253" v="6"/>
          <pc:sldLayoutMkLst>
            <pc:docMk/>
            <pc:sldMasterMk cId="3524837938" sldId="2147484150"/>
            <pc:sldLayoutMk cId="4205153675" sldId="2147484191"/>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594E655-6DD2-496C-8D94-136B16BFA5DE}" type="datetimeFigureOut">
              <a:rPr lang="en-US" smtClean="0"/>
              <a:t>4/11/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118534F-0AB5-4822-A0BF-275DC6C7CAD1}" type="slidenum">
              <a:rPr lang="en-US" smtClean="0"/>
              <a:t>‹#›</a:t>
            </a:fld>
            <a:endParaRPr lang="en-US"/>
          </a:p>
        </p:txBody>
      </p:sp>
    </p:spTree>
    <p:extLst>
      <p:ext uri="{BB962C8B-B14F-4D97-AF65-F5344CB8AC3E}">
        <p14:creationId xmlns:p14="http://schemas.microsoft.com/office/powerpoint/2010/main" val="25066650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6882DA-2227-6603-08DB-84A35703E74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73336D4-EFCD-3899-93F7-296C87176AEE}"/>
              </a:ext>
            </a:extLst>
          </p:cNvPr>
          <p:cNvSpPr>
            <a:spLocks noGrp="1" noRot="1" noChangeAspect="1"/>
          </p:cNvSpPr>
          <p:nvPr>
            <p:ph type="sldImg"/>
          </p:nvPr>
        </p:nvSpPr>
        <p:spPr>
          <a:xfrm>
            <a:off x="-273050" y="1828800"/>
            <a:ext cx="8775700" cy="4937125"/>
          </a:xfrm>
          <a:prstGeom prst="rect">
            <a:avLst/>
          </a:prstGeom>
          <a:noFill/>
          <a:ln w="12700">
            <a:solidFill>
              <a:prstClr val="black"/>
            </a:solidFill>
          </a:ln>
        </p:spPr>
      </p:sp>
      <p:sp>
        <p:nvSpPr>
          <p:cNvPr id="3" name="Notes Placeholder 2">
            <a:extLst>
              <a:ext uri="{FF2B5EF4-FFF2-40B4-BE49-F238E27FC236}">
                <a16:creationId xmlns:a16="http://schemas.microsoft.com/office/drawing/2014/main" id="{A7472BB3-A6E6-ACB4-27DD-498307CC307F}"/>
              </a:ext>
            </a:extLst>
          </p:cNvPr>
          <p:cNvSpPr>
            <a:spLocks noGrp="1"/>
          </p:cNvSpPr>
          <p:nvPr>
            <p:ph type="body" idx="1"/>
          </p:nvPr>
        </p:nvSpPr>
        <p:spPr>
          <a:xfrm>
            <a:off x="822325" y="7040563"/>
            <a:ext cx="6584950" cy="5761037"/>
          </a:xfrm>
          <a:prstGeom prst="rect">
            <a:avLst/>
          </a:prstGeom>
        </p:spPr>
        <p:txBody>
          <a:bodyPr/>
          <a:lstStyle/>
          <a:p>
            <a:endParaRPr lang="en-US"/>
          </a:p>
        </p:txBody>
      </p:sp>
    </p:spTree>
    <p:extLst>
      <p:ext uri="{BB962C8B-B14F-4D97-AF65-F5344CB8AC3E}">
        <p14:creationId xmlns:p14="http://schemas.microsoft.com/office/powerpoint/2010/main" val="30249280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2A0A7D-5E46-399A-4BBF-EF08AD7B3A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0A18F10-B6F3-FBED-CFC3-FC3B56E6139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E4983A8-AE81-AF5F-CE52-FFC16CEFB5D1}"/>
              </a:ext>
            </a:extLst>
          </p:cNvPr>
          <p:cNvSpPr>
            <a:spLocks noGrp="1"/>
          </p:cNvSpPr>
          <p:nvPr>
            <p:ph type="body" idx="1"/>
          </p:nvPr>
        </p:nvSpPr>
        <p:spPr/>
        <p:txBody>
          <a:bodyPr/>
          <a:lstStyle/>
          <a:p>
            <a:r>
              <a:rPr lang="en-US"/>
              <a:t>Existing data lake is built on medallion architecture. Existing data can be from raw, curated, and gold layer</a:t>
            </a:r>
          </a:p>
          <a:p>
            <a:r>
              <a:rPr lang="en-US"/>
              <a:t>Query pushdown to </a:t>
            </a:r>
            <a:r>
              <a:rPr lang="en-US" err="1"/>
              <a:t>databricks</a:t>
            </a:r>
            <a:r>
              <a:rPr lang="en-US"/>
              <a:t> for processing</a:t>
            </a:r>
          </a:p>
          <a:p>
            <a:r>
              <a:rPr lang="en-US"/>
              <a:t>Compute will be planned accordingly</a:t>
            </a:r>
          </a:p>
          <a:p>
            <a:r>
              <a:rPr lang="en-US"/>
              <a:t>Data discovery notebooks – data and metadata profiling with unity catalog- accelerator</a:t>
            </a:r>
          </a:p>
        </p:txBody>
      </p:sp>
      <p:sp>
        <p:nvSpPr>
          <p:cNvPr id="4" name="Slide Number Placeholder 3">
            <a:extLst>
              <a:ext uri="{FF2B5EF4-FFF2-40B4-BE49-F238E27FC236}">
                <a16:creationId xmlns:a16="http://schemas.microsoft.com/office/drawing/2014/main" id="{04D3551C-0AC0-3048-091A-0DFF41AB2142}"/>
              </a:ext>
            </a:extLst>
          </p:cNvPr>
          <p:cNvSpPr>
            <a:spLocks noGrp="1"/>
          </p:cNvSpPr>
          <p:nvPr>
            <p:ph type="sldNum" sz="quarter" idx="5"/>
          </p:nvPr>
        </p:nvSpPr>
        <p:spPr/>
        <p:txBody>
          <a:bodyPr/>
          <a:lstStyle/>
          <a:p>
            <a:fld id="{F118534F-0AB5-4822-A0BF-275DC6C7CAD1}" type="slidenum">
              <a:rPr lang="en-US" smtClean="0"/>
              <a:t>10</a:t>
            </a:fld>
            <a:endParaRPr lang="en-US"/>
          </a:p>
        </p:txBody>
      </p:sp>
    </p:spTree>
    <p:extLst>
      <p:ext uri="{BB962C8B-B14F-4D97-AF65-F5344CB8AC3E}">
        <p14:creationId xmlns:p14="http://schemas.microsoft.com/office/powerpoint/2010/main" val="39683901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118534F-0AB5-4822-A0BF-275DC6C7CAD1}" type="slidenum">
              <a:rPr lang="en-US" smtClean="0"/>
              <a:t>17</a:t>
            </a:fld>
            <a:endParaRPr lang="en-US"/>
          </a:p>
        </p:txBody>
      </p:sp>
    </p:spTree>
    <p:extLst>
      <p:ext uri="{BB962C8B-B14F-4D97-AF65-F5344CB8AC3E}">
        <p14:creationId xmlns:p14="http://schemas.microsoft.com/office/powerpoint/2010/main" val="18928358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9FAA50-DFCE-E8AA-57E1-8DFA5AE2593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2F6ADEB-C58C-BF3A-4795-5098189E4562}"/>
              </a:ext>
            </a:extLst>
          </p:cNvPr>
          <p:cNvSpPr>
            <a:spLocks noGrp="1" noRot="1" noChangeAspect="1"/>
          </p:cNvSpPr>
          <p:nvPr>
            <p:ph type="sldImg"/>
          </p:nvPr>
        </p:nvSpPr>
        <p:spPr>
          <a:xfrm>
            <a:off x="-273050" y="1828800"/>
            <a:ext cx="8775700" cy="4937125"/>
          </a:xfrm>
          <a:prstGeom prst="rect">
            <a:avLst/>
          </a:prstGeom>
          <a:noFill/>
          <a:ln w="12700">
            <a:solidFill>
              <a:prstClr val="black"/>
            </a:solidFill>
          </a:ln>
        </p:spPr>
      </p:sp>
      <p:sp>
        <p:nvSpPr>
          <p:cNvPr id="3" name="Notes Placeholder 2">
            <a:extLst>
              <a:ext uri="{FF2B5EF4-FFF2-40B4-BE49-F238E27FC236}">
                <a16:creationId xmlns:a16="http://schemas.microsoft.com/office/drawing/2014/main" id="{7E8C892E-B6DA-EDAD-C9BE-6098ED5F0DB6}"/>
              </a:ext>
            </a:extLst>
          </p:cNvPr>
          <p:cNvSpPr>
            <a:spLocks noGrp="1"/>
          </p:cNvSpPr>
          <p:nvPr>
            <p:ph type="body" idx="1"/>
          </p:nvPr>
        </p:nvSpPr>
        <p:spPr>
          <a:xfrm>
            <a:off x="822325" y="7040563"/>
            <a:ext cx="6584950" cy="5761037"/>
          </a:xfrm>
          <a:prstGeom prst="rect">
            <a:avLst/>
          </a:prstGeom>
        </p:spPr>
        <p:txBody>
          <a:bodyPr/>
          <a:lstStyle/>
          <a:p>
            <a:endParaRPr lang="en-US"/>
          </a:p>
        </p:txBody>
      </p:sp>
    </p:spTree>
    <p:extLst>
      <p:ext uri="{BB962C8B-B14F-4D97-AF65-F5344CB8AC3E}">
        <p14:creationId xmlns:p14="http://schemas.microsoft.com/office/powerpoint/2010/main" val="8132916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24E3EC7-ADF7-42CA-B91B-9B3622E174CB}" type="slidenum">
              <a:rPr lang="en-GB" smtClean="0"/>
              <a:t>20</a:t>
            </a:fld>
            <a:endParaRPr lang="en-GB"/>
          </a:p>
        </p:txBody>
      </p:sp>
    </p:spTree>
    <p:extLst>
      <p:ext uri="{BB962C8B-B14F-4D97-AF65-F5344CB8AC3E}">
        <p14:creationId xmlns:p14="http://schemas.microsoft.com/office/powerpoint/2010/main" val="26889774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AFB5B6-D5AB-C86D-1F99-8463C25258F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A8C4553-9E35-DC12-ED1D-ABB81E258586}"/>
              </a:ext>
            </a:extLst>
          </p:cNvPr>
          <p:cNvSpPr>
            <a:spLocks noGrp="1" noRot="1" noChangeAspect="1"/>
          </p:cNvSpPr>
          <p:nvPr>
            <p:ph type="sldImg"/>
          </p:nvPr>
        </p:nvSpPr>
        <p:spPr>
          <a:xfrm>
            <a:off x="-273050" y="1828800"/>
            <a:ext cx="8775700" cy="4937125"/>
          </a:xfrm>
          <a:prstGeom prst="rect">
            <a:avLst/>
          </a:prstGeom>
          <a:noFill/>
          <a:ln w="12700">
            <a:solidFill>
              <a:prstClr val="black"/>
            </a:solidFill>
          </a:ln>
        </p:spPr>
      </p:sp>
      <p:sp>
        <p:nvSpPr>
          <p:cNvPr id="3" name="Notes Placeholder 2">
            <a:extLst>
              <a:ext uri="{FF2B5EF4-FFF2-40B4-BE49-F238E27FC236}">
                <a16:creationId xmlns:a16="http://schemas.microsoft.com/office/drawing/2014/main" id="{A166B76C-F8DB-3EB8-04F9-78F998763FBF}"/>
              </a:ext>
            </a:extLst>
          </p:cNvPr>
          <p:cNvSpPr>
            <a:spLocks noGrp="1"/>
          </p:cNvSpPr>
          <p:nvPr>
            <p:ph type="body" idx="1"/>
          </p:nvPr>
        </p:nvSpPr>
        <p:spPr>
          <a:xfrm>
            <a:off x="822325" y="7040563"/>
            <a:ext cx="6584950" cy="5761037"/>
          </a:xfrm>
          <a:prstGeom prst="rect">
            <a:avLst/>
          </a:prstGeom>
        </p:spPr>
        <p:txBody>
          <a:bodyPr/>
          <a:lstStyle/>
          <a:p>
            <a:endParaRPr lang="en-US"/>
          </a:p>
        </p:txBody>
      </p:sp>
    </p:spTree>
    <p:extLst>
      <p:ext uri="{BB962C8B-B14F-4D97-AF65-F5344CB8AC3E}">
        <p14:creationId xmlns:p14="http://schemas.microsoft.com/office/powerpoint/2010/main" val="19464791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spcBef>
                <a:spcPts val="600"/>
              </a:spcBef>
              <a:buFont typeface="Arial" panose="020B0604020202020204" pitchFamily="34" charset="0"/>
              <a:buChar char="•"/>
            </a:pPr>
            <a:endParaRPr lang="en-US" sz="1200" b="1">
              <a:solidFill>
                <a:schemeClr val="bg1"/>
              </a:solidFill>
              <a:ea typeface="+mn-lt"/>
              <a:cs typeface="+mn-lt"/>
            </a:endParaRPr>
          </a:p>
          <a:p>
            <a:pPr marL="285750" indent="-285750">
              <a:spcBef>
                <a:spcPts val="600"/>
              </a:spcBef>
              <a:buFont typeface="Arial" panose="020B0604020202020204" pitchFamily="34" charset="0"/>
              <a:buChar char="•"/>
            </a:pPr>
            <a:r>
              <a:rPr lang="en-US" sz="1200" b="1">
                <a:solidFill>
                  <a:schemeClr val="bg1"/>
                </a:solidFill>
                <a:latin typeface="Aptos SemiBold" panose="020B0004020202020204" pitchFamily="34" charset="0"/>
                <a:ea typeface="+mn-lt"/>
                <a:cs typeface="+mn-lt"/>
              </a:rPr>
              <a:t>Enhanced Service Operations: </a:t>
            </a:r>
            <a:r>
              <a:rPr lang="en-US" sz="1200" b="1">
                <a:solidFill>
                  <a:schemeClr val="bg1"/>
                </a:solidFill>
                <a:ea typeface="+mn-lt"/>
                <a:cs typeface="+mn-lt"/>
              </a:rPr>
              <a:t>Boost productivity with AI-powered tools for case management, routing, and resolution, including Service Planner and knowledge base access.</a:t>
            </a:r>
          </a:p>
          <a:p>
            <a:pPr marL="285750" indent="-285750">
              <a:spcBef>
                <a:spcPts val="600"/>
              </a:spcBef>
              <a:buFont typeface="Arial" panose="020B0604020202020204" pitchFamily="34" charset="0"/>
              <a:buChar char="•"/>
            </a:pPr>
            <a:r>
              <a:rPr lang="en-US" sz="1200" b="1">
                <a:solidFill>
                  <a:schemeClr val="bg1"/>
                </a:solidFill>
                <a:latin typeface="Aptos SemiBold" panose="020B0004020202020204" pitchFamily="34" charset="0"/>
                <a:ea typeface="+mn-lt"/>
                <a:cs typeface="+mn-lt"/>
              </a:rPr>
              <a:t>Proactive Incident Management: </a:t>
            </a:r>
            <a:r>
              <a:rPr lang="en-US" sz="1200" b="1">
                <a:solidFill>
                  <a:schemeClr val="bg1"/>
                </a:solidFill>
                <a:ea typeface="+mn-lt"/>
                <a:cs typeface="+mn-lt"/>
              </a:rPr>
              <a:t>Detect and resolve incidents swiftly with integrated tools, real-time communication, and collaborative workflows.</a:t>
            </a:r>
          </a:p>
          <a:p>
            <a:pPr marL="285750" indent="-285750">
              <a:spcBef>
                <a:spcPts val="600"/>
              </a:spcBef>
              <a:buFont typeface="Arial" panose="020B0604020202020204" pitchFamily="34" charset="0"/>
              <a:buChar char="•"/>
            </a:pPr>
            <a:r>
              <a:rPr lang="en-US" sz="1200" b="1">
                <a:solidFill>
                  <a:schemeClr val="bg1"/>
                </a:solidFill>
                <a:latin typeface="Aptos SemiBold" panose="020B0004020202020204" pitchFamily="34" charset="0"/>
                <a:ea typeface="+mn-lt"/>
                <a:cs typeface="+mn-lt"/>
              </a:rPr>
              <a:t>Customer Journey Mapping: </a:t>
            </a:r>
            <a:r>
              <a:rPr lang="en-US" sz="1200" b="1">
                <a:solidFill>
                  <a:schemeClr val="bg1"/>
                </a:solidFill>
                <a:ea typeface="+mn-lt"/>
                <a:cs typeface="+mn-lt"/>
              </a:rPr>
              <a:t>Optimize customer experiences and drive business growth by visualizing interactions and identifying areas for improvement across the entire customer lifecycle.</a:t>
            </a:r>
          </a:p>
        </p:txBody>
      </p:sp>
      <p:sp>
        <p:nvSpPr>
          <p:cNvPr id="4" name="Slide Number Placeholder 3"/>
          <p:cNvSpPr>
            <a:spLocks noGrp="1"/>
          </p:cNvSpPr>
          <p:nvPr>
            <p:ph type="sldNum" sz="quarter" idx="5"/>
          </p:nvPr>
        </p:nvSpPr>
        <p:spPr/>
        <p:txBody>
          <a:bodyPr/>
          <a:lstStyle/>
          <a:p>
            <a:fld id="{F118534F-0AB5-4822-A0BF-275DC6C7CAD1}" type="slidenum">
              <a:rPr lang="en-US" smtClean="0"/>
              <a:t>23</a:t>
            </a:fld>
            <a:endParaRPr lang="en-US"/>
          </a:p>
        </p:txBody>
      </p:sp>
    </p:spTree>
    <p:extLst>
      <p:ext uri="{BB962C8B-B14F-4D97-AF65-F5344CB8AC3E}">
        <p14:creationId xmlns:p14="http://schemas.microsoft.com/office/powerpoint/2010/main" val="16244333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AFB5B6-D5AB-C86D-1F99-8463C25258F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A8C4553-9E35-DC12-ED1D-ABB81E258586}"/>
              </a:ext>
            </a:extLst>
          </p:cNvPr>
          <p:cNvSpPr>
            <a:spLocks noGrp="1" noRot="1" noChangeAspect="1"/>
          </p:cNvSpPr>
          <p:nvPr>
            <p:ph type="sldImg"/>
          </p:nvPr>
        </p:nvSpPr>
        <p:spPr>
          <a:xfrm>
            <a:off x="-273050" y="1828800"/>
            <a:ext cx="8775700" cy="4937125"/>
          </a:xfrm>
          <a:prstGeom prst="rect">
            <a:avLst/>
          </a:prstGeom>
          <a:noFill/>
          <a:ln w="12700">
            <a:solidFill>
              <a:prstClr val="black"/>
            </a:solidFill>
          </a:ln>
        </p:spPr>
      </p:sp>
      <p:sp>
        <p:nvSpPr>
          <p:cNvPr id="3" name="Notes Placeholder 2">
            <a:extLst>
              <a:ext uri="{FF2B5EF4-FFF2-40B4-BE49-F238E27FC236}">
                <a16:creationId xmlns:a16="http://schemas.microsoft.com/office/drawing/2014/main" id="{A166B76C-F8DB-3EB8-04F9-78F998763FBF}"/>
              </a:ext>
            </a:extLst>
          </p:cNvPr>
          <p:cNvSpPr>
            <a:spLocks noGrp="1"/>
          </p:cNvSpPr>
          <p:nvPr>
            <p:ph type="body" idx="1"/>
          </p:nvPr>
        </p:nvSpPr>
        <p:spPr>
          <a:xfrm>
            <a:off x="822325" y="7040563"/>
            <a:ext cx="6584950" cy="5761037"/>
          </a:xfrm>
          <a:prstGeom prst="rect">
            <a:avLst/>
          </a:prstGeom>
        </p:spPr>
        <p:txBody>
          <a:bodyPr/>
          <a:lstStyle/>
          <a:p>
            <a:endParaRPr lang="en-US"/>
          </a:p>
        </p:txBody>
      </p:sp>
    </p:spTree>
    <p:extLst>
      <p:ext uri="{BB962C8B-B14F-4D97-AF65-F5344CB8AC3E}">
        <p14:creationId xmlns:p14="http://schemas.microsoft.com/office/powerpoint/2010/main" val="100228976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B373BA-EDCC-7F9C-9409-14D14D33336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0F26ACC-1BC2-776F-E6B4-D6E96384866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7F61D8B-500F-C17A-6690-9332DD3C784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BC3DCBD-99D9-283E-42C8-5E89C0D36D9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65E99-A368-4541-BF02-8E4E461882D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863385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9E6CCE-3C3B-E59A-2DD5-3D3EB6D558E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6FC4C35-9E63-7FE0-7782-0D01B9BA64C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A1B238F-D344-678F-8940-A2832FC7E59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C6DBA3E-B176-C45E-D1EC-E77ADD7906FB}"/>
              </a:ext>
            </a:extLst>
          </p:cNvPr>
          <p:cNvSpPr>
            <a:spLocks noGrp="1"/>
          </p:cNvSpPr>
          <p:nvPr>
            <p:ph type="sldNum" sz="quarter" idx="5"/>
          </p:nvPr>
        </p:nvSpPr>
        <p:spPr/>
        <p:txBody>
          <a:bodyPr/>
          <a:lstStyle/>
          <a:p>
            <a:fld id="{F118534F-0AB5-4822-A0BF-275DC6C7CAD1}" type="slidenum">
              <a:rPr lang="en-US" smtClean="0"/>
              <a:t>31</a:t>
            </a:fld>
            <a:endParaRPr lang="en-US"/>
          </a:p>
        </p:txBody>
      </p:sp>
    </p:spTree>
    <p:extLst>
      <p:ext uri="{BB962C8B-B14F-4D97-AF65-F5344CB8AC3E}">
        <p14:creationId xmlns:p14="http://schemas.microsoft.com/office/powerpoint/2010/main" val="42114330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8EC4B0-7DBC-9C30-1424-F482A46128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4BA57C8-A5F6-C6FA-6CB1-151238BD14F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986C547-71E9-21AB-F1B7-8209102D6E0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766098F-6DC6-6130-A127-7994B338785D}"/>
              </a:ext>
            </a:extLst>
          </p:cNvPr>
          <p:cNvSpPr>
            <a:spLocks noGrp="1"/>
          </p:cNvSpPr>
          <p:nvPr>
            <p:ph type="sldNum" sz="quarter" idx="5"/>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9273CCB6-D4A9-4ED2-AFDE-5A2C68F6465C}" type="slidenum">
              <a:rPr kumimoji="0" lang="en-IN"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32</a:t>
            </a:fld>
            <a:endParaRPr kumimoji="0" lang="en-IN"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096019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3050" y="1828800"/>
            <a:ext cx="8775700" cy="4937125"/>
          </a:xfrm>
          <a:prstGeom prst="rect">
            <a:avLst/>
          </a:prstGeom>
          <a:noFill/>
          <a:ln w="12700">
            <a:solidFill>
              <a:prstClr val="black"/>
            </a:solidFill>
          </a:ln>
        </p:spPr>
      </p:sp>
      <p:sp>
        <p:nvSpPr>
          <p:cNvPr id="3" name="Notes Placeholder 2"/>
          <p:cNvSpPr>
            <a:spLocks noGrp="1"/>
          </p:cNvSpPr>
          <p:nvPr>
            <p:ph type="body" idx="1"/>
          </p:nvPr>
        </p:nvSpPr>
        <p:spPr>
          <a:xfrm>
            <a:off x="822325" y="7040563"/>
            <a:ext cx="6584950" cy="5761037"/>
          </a:xfrm>
          <a:prstGeom prst="rect">
            <a:avLst/>
          </a:prstGeom>
        </p:spPr>
        <p:txBody>
          <a:bodyPr/>
          <a:lstStyle/>
          <a:p>
            <a:endParaRPr lang="en-US"/>
          </a:p>
        </p:txBody>
      </p:sp>
    </p:spTree>
    <p:extLst>
      <p:ext uri="{BB962C8B-B14F-4D97-AF65-F5344CB8AC3E}">
        <p14:creationId xmlns:p14="http://schemas.microsoft.com/office/powerpoint/2010/main" val="403144632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7F35D9-5254-E51F-95F0-5F5DE49831D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ECA82E-36BE-2965-EF0F-6BA4A6E56AFD}"/>
              </a:ext>
            </a:extLst>
          </p:cNvPr>
          <p:cNvSpPr>
            <a:spLocks noGrp="1" noRot="1" noChangeAspect="1"/>
          </p:cNvSpPr>
          <p:nvPr>
            <p:ph type="sldImg"/>
          </p:nvPr>
        </p:nvSpPr>
        <p:spPr>
          <a:xfrm>
            <a:off x="-273050" y="1828800"/>
            <a:ext cx="8775700" cy="4937125"/>
          </a:xfrm>
          <a:prstGeom prst="rect">
            <a:avLst/>
          </a:prstGeom>
          <a:noFill/>
          <a:ln w="12700">
            <a:solidFill>
              <a:prstClr val="black"/>
            </a:solidFill>
          </a:ln>
        </p:spPr>
      </p:sp>
      <p:sp>
        <p:nvSpPr>
          <p:cNvPr id="3" name="Notes Placeholder 2">
            <a:extLst>
              <a:ext uri="{FF2B5EF4-FFF2-40B4-BE49-F238E27FC236}">
                <a16:creationId xmlns:a16="http://schemas.microsoft.com/office/drawing/2014/main" id="{D6CEA729-6497-409D-1828-2BED980F76F2}"/>
              </a:ext>
            </a:extLst>
          </p:cNvPr>
          <p:cNvSpPr>
            <a:spLocks noGrp="1"/>
          </p:cNvSpPr>
          <p:nvPr>
            <p:ph type="body" idx="1"/>
          </p:nvPr>
        </p:nvSpPr>
        <p:spPr>
          <a:xfrm>
            <a:off x="822325" y="7040563"/>
            <a:ext cx="6584950" cy="5761037"/>
          </a:xfrm>
          <a:prstGeom prst="rect">
            <a:avLst/>
          </a:prstGeom>
        </p:spPr>
        <p:txBody>
          <a:bodyPr/>
          <a:lstStyle/>
          <a:p>
            <a:endParaRPr lang="en-US"/>
          </a:p>
        </p:txBody>
      </p:sp>
    </p:spTree>
    <p:extLst>
      <p:ext uri="{BB962C8B-B14F-4D97-AF65-F5344CB8AC3E}">
        <p14:creationId xmlns:p14="http://schemas.microsoft.com/office/powerpoint/2010/main" val="27563236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6279BF-794E-53A2-274C-B037E39EF64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49A5705-F3C4-95CB-454E-FAF718D9ED9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EF026F-0504-2343-913D-58EC21F32B96}"/>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EF42F44C-0496-1D1B-3434-C40AF81AE65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994049-E35E-4E63-B44D-1358C43FBC28}" type="slidenum">
              <a:rPr kumimoji="0" lang="en-IN"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IN"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083461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AFB5B6-D5AB-C86D-1F99-8463C25258F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A8C4553-9E35-DC12-ED1D-ABB81E258586}"/>
              </a:ext>
            </a:extLst>
          </p:cNvPr>
          <p:cNvSpPr>
            <a:spLocks noGrp="1" noRot="1" noChangeAspect="1"/>
          </p:cNvSpPr>
          <p:nvPr>
            <p:ph type="sldImg"/>
          </p:nvPr>
        </p:nvSpPr>
        <p:spPr>
          <a:xfrm>
            <a:off x="-273050" y="1828800"/>
            <a:ext cx="8775700" cy="4937125"/>
          </a:xfrm>
          <a:prstGeom prst="rect">
            <a:avLst/>
          </a:prstGeom>
          <a:noFill/>
          <a:ln w="12700">
            <a:solidFill>
              <a:prstClr val="black"/>
            </a:solidFill>
          </a:ln>
        </p:spPr>
      </p:sp>
      <p:sp>
        <p:nvSpPr>
          <p:cNvPr id="3" name="Notes Placeholder 2">
            <a:extLst>
              <a:ext uri="{FF2B5EF4-FFF2-40B4-BE49-F238E27FC236}">
                <a16:creationId xmlns:a16="http://schemas.microsoft.com/office/drawing/2014/main" id="{A166B76C-F8DB-3EB8-04F9-78F998763FBF}"/>
              </a:ext>
            </a:extLst>
          </p:cNvPr>
          <p:cNvSpPr>
            <a:spLocks noGrp="1"/>
          </p:cNvSpPr>
          <p:nvPr>
            <p:ph type="body" idx="1"/>
          </p:nvPr>
        </p:nvSpPr>
        <p:spPr>
          <a:xfrm>
            <a:off x="822325" y="7040563"/>
            <a:ext cx="6584950" cy="5761037"/>
          </a:xfrm>
          <a:prstGeom prst="rect">
            <a:avLst/>
          </a:prstGeom>
        </p:spPr>
        <p:txBody>
          <a:bodyPr/>
          <a:lstStyle/>
          <a:p>
            <a:endParaRPr lang="en-US"/>
          </a:p>
        </p:txBody>
      </p:sp>
    </p:spTree>
    <p:extLst>
      <p:ext uri="{BB962C8B-B14F-4D97-AF65-F5344CB8AC3E}">
        <p14:creationId xmlns:p14="http://schemas.microsoft.com/office/powerpoint/2010/main" val="414005552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EE7B58-9107-8A4C-583A-C7B0B4E7095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566F396-A6EB-8467-65BB-3F73EB37CEA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31B2A0E-1CA7-17F2-B69B-41EB77BDFF5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6F63F6D-057D-6446-CA97-31BA161FE27E}"/>
              </a:ext>
            </a:extLst>
          </p:cNvPr>
          <p:cNvSpPr>
            <a:spLocks noGrp="1"/>
          </p:cNvSpPr>
          <p:nvPr>
            <p:ph type="sldNum" sz="quarter" idx="5"/>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9119A44A-5ACC-4D74-BCA9-C13000EEDE29}"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3861824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owell </a:t>
            </a:r>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B6FDB1-43C1-4544-8CC2-7F9284036126}" type="slidenum">
              <a:rPr kumimoji="0" lang="en-IN"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IN"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1063292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NL</a:t>
            </a:r>
            <a:endParaRPr lang="en-IN"/>
          </a:p>
        </p:txBody>
      </p:sp>
      <p:sp>
        <p:nvSpPr>
          <p:cNvPr id="4" name="Slide Number Placeholder 3"/>
          <p:cNvSpPr>
            <a:spLocks noGrp="1"/>
          </p:cNvSpPr>
          <p:nvPr>
            <p:ph type="sldNum" sz="quarter" idx="5"/>
          </p:nvPr>
        </p:nvSpPr>
        <p:spPr/>
        <p:txBody>
          <a:bodyPr/>
          <a:lstStyle/>
          <a:p>
            <a:fld id="{214FCD63-C61C-4238-80EB-772DE66557FF}" type="slidenum">
              <a:rPr lang="en-US" smtClean="0"/>
              <a:t>41</a:t>
            </a:fld>
            <a:endParaRPr lang="en-US"/>
          </a:p>
        </p:txBody>
      </p:sp>
    </p:spTree>
    <p:extLst>
      <p:ext uri="{BB962C8B-B14F-4D97-AF65-F5344CB8AC3E}">
        <p14:creationId xmlns:p14="http://schemas.microsoft.com/office/powerpoint/2010/main" val="19544853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AFB5B6-D5AB-C86D-1F99-8463C25258F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A8C4553-9E35-DC12-ED1D-ABB81E258586}"/>
              </a:ext>
            </a:extLst>
          </p:cNvPr>
          <p:cNvSpPr>
            <a:spLocks noGrp="1" noRot="1" noChangeAspect="1"/>
          </p:cNvSpPr>
          <p:nvPr>
            <p:ph type="sldImg"/>
          </p:nvPr>
        </p:nvSpPr>
        <p:spPr>
          <a:xfrm>
            <a:off x="-273050" y="1828800"/>
            <a:ext cx="8775700" cy="4937125"/>
          </a:xfrm>
          <a:prstGeom prst="rect">
            <a:avLst/>
          </a:prstGeom>
          <a:noFill/>
          <a:ln w="12700">
            <a:solidFill>
              <a:prstClr val="black"/>
            </a:solidFill>
          </a:ln>
        </p:spPr>
      </p:sp>
      <p:sp>
        <p:nvSpPr>
          <p:cNvPr id="3" name="Notes Placeholder 2">
            <a:extLst>
              <a:ext uri="{FF2B5EF4-FFF2-40B4-BE49-F238E27FC236}">
                <a16:creationId xmlns:a16="http://schemas.microsoft.com/office/drawing/2014/main" id="{A166B76C-F8DB-3EB8-04F9-78F998763FBF}"/>
              </a:ext>
            </a:extLst>
          </p:cNvPr>
          <p:cNvSpPr>
            <a:spLocks noGrp="1"/>
          </p:cNvSpPr>
          <p:nvPr>
            <p:ph type="body" idx="1"/>
          </p:nvPr>
        </p:nvSpPr>
        <p:spPr>
          <a:xfrm>
            <a:off x="822325" y="7040563"/>
            <a:ext cx="6584950" cy="5761037"/>
          </a:xfrm>
          <a:prstGeom prst="rect">
            <a:avLst/>
          </a:prstGeom>
        </p:spPr>
        <p:txBody>
          <a:bodyPr/>
          <a:lstStyle/>
          <a:p>
            <a:endParaRPr lang="en-US"/>
          </a:p>
        </p:txBody>
      </p:sp>
    </p:spTree>
    <p:extLst>
      <p:ext uri="{BB962C8B-B14F-4D97-AF65-F5344CB8AC3E}">
        <p14:creationId xmlns:p14="http://schemas.microsoft.com/office/powerpoint/2010/main" val="22004480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E92B97-879A-B5A7-2091-22644D28F1C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10CAA49-E8AE-B7A5-3F2B-544C6C32FD7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ECAF304-8DE9-FF78-D12E-EE3678AAB8D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5AED644-95A5-F395-0374-300ADA70EBF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65E99-A368-4541-BF02-8E4E461882D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393175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AFB5B6-D5AB-C86D-1F99-8463C25258F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A8C4553-9E35-DC12-ED1D-ABB81E258586}"/>
              </a:ext>
            </a:extLst>
          </p:cNvPr>
          <p:cNvSpPr>
            <a:spLocks noGrp="1" noRot="1" noChangeAspect="1"/>
          </p:cNvSpPr>
          <p:nvPr>
            <p:ph type="sldImg"/>
          </p:nvPr>
        </p:nvSpPr>
        <p:spPr>
          <a:xfrm>
            <a:off x="-273050" y="1828800"/>
            <a:ext cx="8775700" cy="4937125"/>
          </a:xfrm>
          <a:prstGeom prst="rect">
            <a:avLst/>
          </a:prstGeom>
          <a:noFill/>
          <a:ln w="12700">
            <a:solidFill>
              <a:prstClr val="black"/>
            </a:solidFill>
          </a:ln>
        </p:spPr>
      </p:sp>
      <p:sp>
        <p:nvSpPr>
          <p:cNvPr id="3" name="Notes Placeholder 2">
            <a:extLst>
              <a:ext uri="{FF2B5EF4-FFF2-40B4-BE49-F238E27FC236}">
                <a16:creationId xmlns:a16="http://schemas.microsoft.com/office/drawing/2014/main" id="{A166B76C-F8DB-3EB8-04F9-78F998763FBF}"/>
              </a:ext>
            </a:extLst>
          </p:cNvPr>
          <p:cNvSpPr>
            <a:spLocks noGrp="1"/>
          </p:cNvSpPr>
          <p:nvPr>
            <p:ph type="body" idx="1"/>
          </p:nvPr>
        </p:nvSpPr>
        <p:spPr>
          <a:xfrm>
            <a:off x="822325" y="7040563"/>
            <a:ext cx="6584950" cy="5761037"/>
          </a:xfrm>
          <a:prstGeom prst="rect">
            <a:avLst/>
          </a:prstGeom>
        </p:spPr>
        <p:txBody>
          <a:bodyPr/>
          <a:lstStyle/>
          <a:p>
            <a:endParaRPr lang="en-US"/>
          </a:p>
        </p:txBody>
      </p:sp>
    </p:spTree>
    <p:extLst>
      <p:ext uri="{BB962C8B-B14F-4D97-AF65-F5344CB8AC3E}">
        <p14:creationId xmlns:p14="http://schemas.microsoft.com/office/powerpoint/2010/main" val="19205669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A41D2A-E493-740C-CD57-D3A3868DF8E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1198941-DF27-DFB2-012D-FCB0BBE72A2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2938A08-E197-D50B-6EAA-8FDC365D300C}"/>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3FAD8C4C-20BF-2963-8D92-8A568876DA51}"/>
              </a:ext>
            </a:extLst>
          </p:cNvPr>
          <p:cNvSpPr>
            <a:spLocks noGrp="1"/>
          </p:cNvSpPr>
          <p:nvPr>
            <p:ph type="sldNum" sz="quarter" idx="5"/>
          </p:nvPr>
        </p:nvSpPr>
        <p:spPr/>
        <p:txBody>
          <a:bodyPr/>
          <a:lstStyle/>
          <a:p>
            <a:fld id="{F118534F-0AB5-4822-A0BF-275DC6C7CAD1}" type="slidenum">
              <a:rPr lang="en-US" smtClean="0"/>
              <a:t>6</a:t>
            </a:fld>
            <a:endParaRPr lang="en-US"/>
          </a:p>
        </p:txBody>
      </p:sp>
    </p:spTree>
    <p:extLst>
      <p:ext uri="{BB962C8B-B14F-4D97-AF65-F5344CB8AC3E}">
        <p14:creationId xmlns:p14="http://schemas.microsoft.com/office/powerpoint/2010/main" val="39665399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F118534F-0AB5-4822-A0BF-275DC6C7CAD1}" type="slidenum">
              <a:rPr lang="en-US" smtClean="0"/>
              <a:t>7</a:t>
            </a:fld>
            <a:endParaRPr lang="en-US"/>
          </a:p>
        </p:txBody>
      </p:sp>
    </p:spTree>
    <p:extLst>
      <p:ext uri="{BB962C8B-B14F-4D97-AF65-F5344CB8AC3E}">
        <p14:creationId xmlns:p14="http://schemas.microsoft.com/office/powerpoint/2010/main" val="8813902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9E204E-73CF-33AC-F1A9-979BD63B68A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37619F8-4C82-FB87-678E-2950C7F04B2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2F92A36-46D3-3349-EA09-D9753DC751D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798D542-1F22-F919-9E22-0F77D992A157}"/>
              </a:ext>
            </a:extLst>
          </p:cNvPr>
          <p:cNvSpPr>
            <a:spLocks noGrp="1"/>
          </p:cNvSpPr>
          <p:nvPr>
            <p:ph type="sldNum" sz="quarter" idx="5"/>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9273CCB6-D4A9-4ED2-AFDE-5A2C68F6465C}" type="slidenum">
              <a:rPr kumimoji="0" lang="en-IN"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8</a:t>
            </a:fld>
            <a:endParaRPr kumimoji="0" lang="en-IN"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697269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D0B150-3695-9E5E-8BC7-2D44275165F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07F595D-BBAB-2CBA-0C6E-A28811904F2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721BA4D-FA9D-A5DC-F57C-B85EF1E1DB85}"/>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33FC0E27-3A70-7778-BA93-2A2EEBDEA62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65E99-A368-4541-BF02-8E4E461882D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4880521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2.jpeg"/><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3.jpeg"/><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 column">
    <p:bg>
      <p:bgPr>
        <a:solidFill>
          <a:schemeClr val="tx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94715" y="1221441"/>
            <a:ext cx="5658409" cy="4938059"/>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itle Text">
            <a:extLst>
              <a:ext uri="{FF2B5EF4-FFF2-40B4-BE49-F238E27FC236}">
                <a16:creationId xmlns:a16="http://schemas.microsoft.com/office/drawing/2014/main" id="{4B5980F9-A7B7-7DE7-65FD-745FC498DFDB}"/>
              </a:ext>
            </a:extLst>
          </p:cNvPr>
          <p:cNvSpPr txBox="1">
            <a:spLocks noGrp="1"/>
          </p:cNvSpPr>
          <p:nvPr>
            <p:ph type="title" hasCustomPrompt="1"/>
          </p:nvPr>
        </p:nvSpPr>
        <p:spPr>
          <a:xfrm>
            <a:off x="288555" y="299392"/>
            <a:ext cx="11606656" cy="38660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73152" rIns="0" bIns="0"/>
          <a:lstStyle>
            <a:lvl1pPr>
              <a:defRPr sz="3500"/>
            </a:lvl1pPr>
          </a:lstStyle>
          <a:p>
            <a:r>
              <a:rPr lang="en-US"/>
              <a:t>2 column body</a:t>
            </a:r>
            <a:endParaRPr/>
          </a:p>
        </p:txBody>
      </p:sp>
      <p:sp>
        <p:nvSpPr>
          <p:cNvPr id="4" name="Text Placeholder 4">
            <a:extLst>
              <a:ext uri="{FF2B5EF4-FFF2-40B4-BE49-F238E27FC236}">
                <a16:creationId xmlns:a16="http://schemas.microsoft.com/office/drawing/2014/main" id="{6B78AFFA-760B-C379-5035-CB7ECAE05516}"/>
              </a:ext>
            </a:extLst>
          </p:cNvPr>
          <p:cNvSpPr>
            <a:spLocks noGrp="1"/>
          </p:cNvSpPr>
          <p:nvPr>
            <p:ph type="body" sz="quarter" idx="12"/>
          </p:nvPr>
        </p:nvSpPr>
        <p:spPr>
          <a:xfrm>
            <a:off x="6238877" y="1221441"/>
            <a:ext cx="5667373" cy="4938059"/>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372639646"/>
      </p:ext>
    </p:extLst>
  </p:cSld>
  <p:clrMapOvr>
    <a:masterClrMapping/>
  </p:clrMapOvr>
  <p:transition spd="med"/>
  <p:extLst>
    <p:ext uri="{DCECCB84-F9BA-43D5-87BE-67443E8EF086}">
      <p15:sldGuideLst xmlns:p15="http://schemas.microsoft.com/office/powerpoint/2012/main">
        <p15:guide id="2" orient="horz" pos="4656">
          <p15:clr>
            <a:srgbClr val="F26B43"/>
          </p15:clr>
        </p15:guide>
        <p15:guide id="3" orient="horz" pos="912">
          <p15:clr>
            <a:srgbClr val="F26B43"/>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lor block + image">
    <p:bg>
      <p:bgPr>
        <a:solidFill>
          <a:schemeClr val="tx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2499C85-30F2-6EA7-FA46-49F8397A724D}"/>
              </a:ext>
            </a:extLst>
          </p:cNvPr>
          <p:cNvSpPr/>
          <p:nvPr userDrawn="1"/>
        </p:nvSpPr>
        <p:spPr bwMode="auto">
          <a:xfrm>
            <a:off x="-1488" y="0"/>
            <a:ext cx="3263801" cy="6858000"/>
          </a:xfrm>
          <a:prstGeom prst="rect">
            <a:avLst/>
          </a:prstGeom>
          <a:solidFill>
            <a:schemeClr val="tx2"/>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76200" tIns="76200" rIns="76200" bIns="76200" numCol="1" rtlCol="0" anchor="t" anchorCtr="0" compatLnSpc="1">
            <a:prstTxWarp prst="textNoShape">
              <a:avLst/>
            </a:prstTxWarp>
          </a:bodyPr>
          <a:lstStyle/>
          <a:p>
            <a:pPr marL="0" marR="0" indent="0" algn="l" defTabSz="761970" rtl="0" eaLnBrk="1" fontAlgn="base" latinLnBrk="0" hangingPunct="1">
              <a:lnSpc>
                <a:spcPct val="100000"/>
              </a:lnSpc>
              <a:spcBef>
                <a:spcPct val="0"/>
              </a:spcBef>
              <a:spcAft>
                <a:spcPct val="0"/>
              </a:spcAft>
              <a:buClrTx/>
              <a:buSzTx/>
              <a:buFont typeface="IBM Plex Sans Light"/>
              <a:buNone/>
              <a:tabLst/>
            </a:pPr>
            <a:endParaRPr kumimoji="0" lang="en-US" sz="1167" b="0" i="0" u="none" strike="noStrike" cap="none" normalizeH="0" baseline="0">
              <a:ln>
                <a:noFill/>
              </a:ln>
              <a:solidFill>
                <a:schemeClr val="bg1"/>
              </a:solidFill>
              <a:effectLst/>
              <a:latin typeface="+mn-lt"/>
            </a:endParaRPr>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95470" y="1471706"/>
            <a:ext cx="2681094" cy="4687794"/>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itle Text">
            <a:extLst>
              <a:ext uri="{FF2B5EF4-FFF2-40B4-BE49-F238E27FC236}">
                <a16:creationId xmlns:a16="http://schemas.microsoft.com/office/drawing/2014/main" id="{4B5980F9-A7B7-7DE7-65FD-745FC498DFDB}"/>
              </a:ext>
            </a:extLst>
          </p:cNvPr>
          <p:cNvSpPr txBox="1">
            <a:spLocks noGrp="1"/>
          </p:cNvSpPr>
          <p:nvPr>
            <p:ph type="title" hasCustomPrompt="1"/>
          </p:nvPr>
        </p:nvSpPr>
        <p:spPr>
          <a:xfrm>
            <a:off x="290212" y="295139"/>
            <a:ext cx="2686352" cy="38660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73152" rIns="0" bIns="0"/>
          <a:lstStyle/>
          <a:p>
            <a:r>
              <a:rPr lang="en-US"/>
              <a:t>Color block + image</a:t>
            </a:r>
            <a:endParaRPr/>
          </a:p>
        </p:txBody>
      </p:sp>
      <p:sp>
        <p:nvSpPr>
          <p:cNvPr id="4" name="Text Placeholder 4">
            <a:extLst>
              <a:ext uri="{FF2B5EF4-FFF2-40B4-BE49-F238E27FC236}">
                <a16:creationId xmlns:a16="http://schemas.microsoft.com/office/drawing/2014/main" id="{6B78AFFA-760B-C379-5035-CB7ECAE05516}"/>
              </a:ext>
            </a:extLst>
          </p:cNvPr>
          <p:cNvSpPr>
            <a:spLocks noGrp="1"/>
          </p:cNvSpPr>
          <p:nvPr>
            <p:ph type="body" sz="quarter" idx="12"/>
          </p:nvPr>
        </p:nvSpPr>
        <p:spPr>
          <a:xfrm>
            <a:off x="7231062" y="1471706"/>
            <a:ext cx="4675187" cy="4687794"/>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A8FAF656-3110-CFBB-DE50-C13ECC3BA27C}"/>
              </a:ext>
            </a:extLst>
          </p:cNvPr>
          <p:cNvSpPr txBox="1">
            <a:spLocks/>
          </p:cNvSpPr>
          <p:nvPr userDrawn="1"/>
        </p:nvSpPr>
        <p:spPr>
          <a:xfrm>
            <a:off x="288889" y="6458629"/>
            <a:ext cx="4088233" cy="150303"/>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Outfit Light" pitchFamily="2" charset="0"/>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1218948" rtl="0" eaLnBrk="1" fontAlgn="auto" latinLnBrk="0" hangingPunct="1">
              <a:lnSpc>
                <a:spcPct val="110000"/>
              </a:lnSpc>
              <a:spcBef>
                <a:spcPts val="0"/>
              </a:spcBef>
              <a:spcAft>
                <a:spcPts val="0"/>
              </a:spcAft>
              <a:buClrTx/>
              <a:buSzTx/>
              <a:buFontTx/>
              <a:buNone/>
              <a:tabLst/>
              <a:defRPr/>
            </a:pPr>
            <a:r>
              <a:rPr kumimoji="0" lang="en-US" sz="917" b="0" i="0" u="none" strike="noStrike" kern="0" cap="none" spc="0" normalizeH="0" baseline="0" noProof="0">
                <a:ln>
                  <a:noFill/>
                </a:ln>
                <a:solidFill>
                  <a:srgbClr val="000000"/>
                </a:solidFill>
                <a:effectLst/>
                <a:uLnTx/>
                <a:uFillTx/>
                <a:latin typeface="Aptos Light" panose="020B0004020202020204" pitchFamily="34" charset="0"/>
                <a:ea typeface="+mj-ea"/>
                <a:cs typeface="+mj-cs"/>
                <a:sym typeface="IBM Plex Sans Light"/>
              </a:rPr>
              <a:t>Confidential</a:t>
            </a:r>
            <a:r>
              <a:rPr kumimoji="0" lang="en-US" sz="917" b="0" i="0" u="none" strike="noStrike" kern="0" cap="none" spc="0" normalizeH="0" baseline="0" noProof="0">
                <a:ln>
                  <a:noFill/>
                </a:ln>
                <a:solidFill>
                  <a:srgbClr val="000000"/>
                </a:solidFill>
                <a:effectLst/>
                <a:uLnTx/>
                <a:uFillTx/>
                <a:latin typeface="Aptos" panose="020B0004020202020204" pitchFamily="34" charset="0"/>
                <a:ea typeface="+mj-ea"/>
                <a:cs typeface="+mj-cs"/>
                <a:sym typeface="IBM Plex Sans Light"/>
              </a:rPr>
              <a:t>  /  </a:t>
            </a:r>
            <a:r>
              <a:rPr kumimoji="0" lang="en-US" sz="917" b="0" i="0" u="none" strike="noStrike" kern="0" cap="none" spc="0" normalizeH="0" baseline="0" noProof="0">
                <a:ln>
                  <a:noFill/>
                </a:ln>
                <a:solidFill>
                  <a:srgbClr val="000000"/>
                </a:solidFill>
                <a:effectLst/>
                <a:uLnTx/>
                <a:uFillTx/>
                <a:latin typeface="Aptos Light" panose="020B0004020202020204" pitchFamily="34" charset="0"/>
                <a:ea typeface="+mj-ea"/>
                <a:cs typeface="+mj-cs"/>
                <a:sym typeface="IBM Plex Sans Light"/>
              </a:rPr>
              <a:t>Brillio</a:t>
            </a:r>
          </a:p>
        </p:txBody>
      </p:sp>
      <p:sp>
        <p:nvSpPr>
          <p:cNvPr id="6" name="Picture Placeholder 5">
            <a:extLst>
              <a:ext uri="{FF2B5EF4-FFF2-40B4-BE49-F238E27FC236}">
                <a16:creationId xmlns:a16="http://schemas.microsoft.com/office/drawing/2014/main" id="{4077A984-71DC-DF43-919A-0A8AFF4FF163}"/>
              </a:ext>
            </a:extLst>
          </p:cNvPr>
          <p:cNvSpPr>
            <a:spLocks noGrp="1"/>
          </p:cNvSpPr>
          <p:nvPr>
            <p:ph type="pic" sz="quarter" idx="13" hasCustomPrompt="1"/>
          </p:nvPr>
        </p:nvSpPr>
        <p:spPr>
          <a:xfrm>
            <a:off x="3262313" y="0"/>
            <a:ext cx="3683000" cy="6858000"/>
          </a:xfrm>
          <a:solidFill>
            <a:schemeClr val="bg1"/>
          </a:solidFill>
        </p:spPr>
        <p:txBody>
          <a:bodyPr anchor="ctr"/>
          <a:lstStyle>
            <a:lvl1pPr algn="ctr">
              <a:defRPr>
                <a:solidFill>
                  <a:schemeClr val="tx1"/>
                </a:solidFill>
              </a:defRPr>
            </a:lvl1pPr>
          </a:lstStyle>
          <a:p>
            <a:r>
              <a:rPr lang="en-US"/>
              <a:t>[add image]</a:t>
            </a:r>
          </a:p>
        </p:txBody>
      </p:sp>
    </p:spTree>
    <p:extLst>
      <p:ext uri="{BB962C8B-B14F-4D97-AF65-F5344CB8AC3E}">
        <p14:creationId xmlns:p14="http://schemas.microsoft.com/office/powerpoint/2010/main" val="2490315358"/>
      </p:ext>
    </p:extLst>
  </p:cSld>
  <p:clrMapOvr>
    <a:masterClrMapping/>
  </p:clrMapOvr>
  <p:transition spd="med"/>
  <p:extLst>
    <p:ext uri="{DCECCB84-F9BA-43D5-87BE-67443E8EF086}">
      <p15:sldGuideLst xmlns:p15="http://schemas.microsoft.com/office/powerpoint/2012/main">
        <p15:guide id="2" orient="horz" pos="4656">
          <p15:clr>
            <a:srgbClr val="F26B43"/>
          </p15:clr>
        </p15:guide>
        <p15:guide id="3" orient="horz" pos="1104">
          <p15:clr>
            <a:srgbClr val="F26B43"/>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Right color block">
    <p:bg>
      <p:bgPr>
        <a:solidFill>
          <a:schemeClr val="tx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95470" y="1221441"/>
            <a:ext cx="3673281" cy="4938059"/>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itle Text">
            <a:extLst>
              <a:ext uri="{FF2B5EF4-FFF2-40B4-BE49-F238E27FC236}">
                <a16:creationId xmlns:a16="http://schemas.microsoft.com/office/drawing/2014/main" id="{4B5980F9-A7B7-7DE7-65FD-745FC498DFDB}"/>
              </a:ext>
            </a:extLst>
          </p:cNvPr>
          <p:cNvSpPr txBox="1">
            <a:spLocks noGrp="1"/>
          </p:cNvSpPr>
          <p:nvPr>
            <p:ph type="title" hasCustomPrompt="1"/>
          </p:nvPr>
        </p:nvSpPr>
        <p:spPr>
          <a:xfrm>
            <a:off x="290211" y="274544"/>
            <a:ext cx="7647289" cy="386603"/>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p>
            <a:r>
              <a:rPr lang="en-US"/>
              <a:t>Right color block</a:t>
            </a:r>
            <a:endParaRPr/>
          </a:p>
        </p:txBody>
      </p:sp>
      <p:sp>
        <p:nvSpPr>
          <p:cNvPr id="7" name="Rectangle 6">
            <a:extLst>
              <a:ext uri="{FF2B5EF4-FFF2-40B4-BE49-F238E27FC236}">
                <a16:creationId xmlns:a16="http://schemas.microsoft.com/office/drawing/2014/main" id="{92499C85-30F2-6EA7-FA46-49F8397A724D}"/>
              </a:ext>
            </a:extLst>
          </p:cNvPr>
          <p:cNvSpPr/>
          <p:nvPr userDrawn="1"/>
        </p:nvSpPr>
        <p:spPr bwMode="auto">
          <a:xfrm>
            <a:off x="8232971" y="0"/>
            <a:ext cx="3959029" cy="6858000"/>
          </a:xfrm>
          <a:prstGeom prst="rect">
            <a:avLst/>
          </a:prstGeom>
          <a:solidFill>
            <a:schemeClr val="tx2"/>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76200" tIns="76200" rIns="76200" bIns="76200" numCol="1" rtlCol="0" anchor="t" anchorCtr="0" compatLnSpc="1">
            <a:prstTxWarp prst="textNoShape">
              <a:avLst/>
            </a:prstTxWarp>
          </a:bodyPr>
          <a:lstStyle/>
          <a:p>
            <a:pPr marL="0" marR="0" indent="0" algn="l" defTabSz="761970" rtl="0" eaLnBrk="1" fontAlgn="base" latinLnBrk="0" hangingPunct="1">
              <a:lnSpc>
                <a:spcPct val="100000"/>
              </a:lnSpc>
              <a:spcBef>
                <a:spcPct val="0"/>
              </a:spcBef>
              <a:spcAft>
                <a:spcPct val="0"/>
              </a:spcAft>
              <a:buClrTx/>
              <a:buSzTx/>
              <a:buFont typeface="IBM Plex Sans Light"/>
              <a:buNone/>
              <a:tabLst/>
            </a:pPr>
            <a:endParaRPr kumimoji="0" lang="en-US" sz="1167" b="0" i="0" u="none" strike="noStrike" cap="none" normalizeH="0" baseline="0">
              <a:ln>
                <a:noFill/>
              </a:ln>
              <a:solidFill>
                <a:schemeClr val="bg1"/>
              </a:solidFill>
              <a:effectLst/>
              <a:latin typeface="+mn-lt"/>
            </a:endParaRPr>
          </a:p>
        </p:txBody>
      </p:sp>
      <p:sp>
        <p:nvSpPr>
          <p:cNvPr id="8" name="Text Placeholder 3">
            <a:extLst>
              <a:ext uri="{FF2B5EF4-FFF2-40B4-BE49-F238E27FC236}">
                <a16:creationId xmlns:a16="http://schemas.microsoft.com/office/drawing/2014/main" id="{33C5F6AC-C223-7C2D-70E0-C185CE6DC6CE}"/>
              </a:ext>
            </a:extLst>
          </p:cNvPr>
          <p:cNvSpPr txBox="1">
            <a:spLocks/>
          </p:cNvSpPr>
          <p:nvPr userDrawn="1"/>
        </p:nvSpPr>
        <p:spPr>
          <a:xfrm>
            <a:off x="11438259" y="6458629"/>
            <a:ext cx="462473" cy="150303"/>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Outfit Light" pitchFamily="2" charset="0"/>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r" defTabSz="1218948" rtl="0" eaLnBrk="1" fontAlgn="auto" latinLnBrk="0" hangingPunct="1">
              <a:lnSpc>
                <a:spcPct val="110000"/>
              </a:lnSpc>
              <a:spcBef>
                <a:spcPts val="0"/>
              </a:spcBef>
              <a:spcAft>
                <a:spcPts val="0"/>
              </a:spcAft>
              <a:buClrTx/>
              <a:buSzTx/>
              <a:buFontTx/>
              <a:buNone/>
              <a:tabLst/>
              <a:defRPr/>
            </a:pPr>
            <a:fld id="{64F0821C-65D3-DD4D-8DB2-745946DB9115}" type="slidenum">
              <a:rPr kumimoji="0" lang="en-US" sz="917" b="0" i="0" u="none" strike="noStrike" kern="0" cap="none" spc="0" normalizeH="0" baseline="0" noProof="0" smtClean="0">
                <a:ln>
                  <a:noFill/>
                </a:ln>
                <a:solidFill>
                  <a:srgbClr val="000000"/>
                </a:solidFill>
                <a:effectLst/>
                <a:uLnTx/>
                <a:uFillTx/>
                <a:latin typeface="Aptos" panose="020B0004020202020204" pitchFamily="34" charset="0"/>
                <a:ea typeface="+mj-ea"/>
                <a:cs typeface="+mj-cs"/>
                <a:sym typeface="IBM Plex Sans Light"/>
              </a:rPr>
              <a:pPr marL="0" marR="0" lvl="0" indent="0" algn="r" defTabSz="1218948" rtl="0" eaLnBrk="1" fontAlgn="auto" latinLnBrk="0" hangingPunct="1">
                <a:lnSpc>
                  <a:spcPct val="110000"/>
                </a:lnSpc>
                <a:spcBef>
                  <a:spcPts val="0"/>
                </a:spcBef>
                <a:spcAft>
                  <a:spcPts val="0"/>
                </a:spcAft>
                <a:buClrTx/>
                <a:buSzTx/>
                <a:buFontTx/>
                <a:buNone/>
                <a:tabLst/>
                <a:defRPr/>
              </a:pPr>
              <a:t>‹#›</a:t>
            </a:fld>
            <a:endParaRPr kumimoji="0" lang="en-US" sz="917" b="0" i="0" u="none" strike="noStrike" kern="0" cap="none" spc="0" normalizeH="0" baseline="0" noProof="0">
              <a:ln>
                <a:noFill/>
              </a:ln>
              <a:solidFill>
                <a:srgbClr val="000000"/>
              </a:solidFill>
              <a:effectLst/>
              <a:uLnTx/>
              <a:uFillTx/>
              <a:latin typeface="Aptos" panose="020B0004020202020204" pitchFamily="34" charset="0"/>
              <a:ea typeface="+mj-ea"/>
              <a:cs typeface="+mj-cs"/>
              <a:sym typeface="IBM Plex Sans Light"/>
            </a:endParaRPr>
          </a:p>
        </p:txBody>
      </p:sp>
      <p:pic>
        <p:nvPicPr>
          <p:cNvPr id="9" name="Graphic 8">
            <a:extLst>
              <a:ext uri="{FF2B5EF4-FFF2-40B4-BE49-F238E27FC236}">
                <a16:creationId xmlns:a16="http://schemas.microsoft.com/office/drawing/2014/main" id="{2C2E667E-748C-1FD6-BBC9-A8FCDA06743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543540" y="6495499"/>
            <a:ext cx="167269" cy="81501"/>
          </a:xfrm>
          <a:prstGeom prst="rect">
            <a:avLst/>
          </a:prstGeom>
        </p:spPr>
      </p:pic>
      <p:sp>
        <p:nvSpPr>
          <p:cNvPr id="10" name="Text Placeholder 4">
            <a:extLst>
              <a:ext uri="{FF2B5EF4-FFF2-40B4-BE49-F238E27FC236}">
                <a16:creationId xmlns:a16="http://schemas.microsoft.com/office/drawing/2014/main" id="{D3170F25-7039-028E-4417-CFD9A7247BEF}"/>
              </a:ext>
            </a:extLst>
          </p:cNvPr>
          <p:cNvSpPr>
            <a:spLocks noGrp="1"/>
          </p:cNvSpPr>
          <p:nvPr>
            <p:ph type="body" sz="quarter" idx="12"/>
          </p:nvPr>
        </p:nvSpPr>
        <p:spPr>
          <a:xfrm>
            <a:off x="4264221" y="1221441"/>
            <a:ext cx="3673279" cy="4938059"/>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495685120"/>
      </p:ext>
    </p:extLst>
  </p:cSld>
  <p:clrMapOvr>
    <a:masterClrMapping/>
  </p:clrMapOvr>
  <p:transition spd="med"/>
  <p:extLst>
    <p:ext uri="{DCECCB84-F9BA-43D5-87BE-67443E8EF086}">
      <p15:sldGuideLst xmlns:p15="http://schemas.microsoft.com/office/powerpoint/2012/main">
        <p15:guide id="2" orient="horz" pos="4656">
          <p15:clr>
            <a:srgbClr val="F26B43"/>
          </p15:clr>
        </p15:guide>
        <p15:guide id="3" orient="horz" pos="912">
          <p15:clr>
            <a:srgbClr val="F26B43"/>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Left color block">
    <p:bg>
      <p:bgPr>
        <a:solidFill>
          <a:schemeClr val="tx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2499C85-30F2-6EA7-FA46-49F8397A724D}"/>
              </a:ext>
            </a:extLst>
          </p:cNvPr>
          <p:cNvSpPr/>
          <p:nvPr userDrawn="1"/>
        </p:nvSpPr>
        <p:spPr bwMode="auto">
          <a:xfrm>
            <a:off x="-1488" y="0"/>
            <a:ext cx="3970238" cy="6858000"/>
          </a:xfrm>
          <a:prstGeom prst="rect">
            <a:avLst/>
          </a:prstGeom>
          <a:solidFill>
            <a:schemeClr val="tx2"/>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76200" tIns="76200" rIns="76200" bIns="76200" numCol="1" rtlCol="0" anchor="t" anchorCtr="0" compatLnSpc="1">
            <a:prstTxWarp prst="textNoShape">
              <a:avLst/>
            </a:prstTxWarp>
          </a:bodyPr>
          <a:lstStyle/>
          <a:p>
            <a:pPr marL="0" marR="0" indent="0" algn="l" defTabSz="761970" rtl="0" eaLnBrk="1" fontAlgn="base" latinLnBrk="0" hangingPunct="1">
              <a:lnSpc>
                <a:spcPct val="100000"/>
              </a:lnSpc>
              <a:spcBef>
                <a:spcPct val="0"/>
              </a:spcBef>
              <a:spcAft>
                <a:spcPct val="0"/>
              </a:spcAft>
              <a:buClrTx/>
              <a:buSzTx/>
              <a:buFont typeface="IBM Plex Sans Light"/>
              <a:buNone/>
              <a:tabLst/>
            </a:pPr>
            <a:endParaRPr kumimoji="0" lang="en-US" sz="1167" b="0" i="0" u="none" strike="noStrike" cap="none" normalizeH="0" baseline="0">
              <a:ln>
                <a:noFill/>
              </a:ln>
              <a:solidFill>
                <a:schemeClr val="bg1"/>
              </a:solidFill>
              <a:effectLst/>
              <a:latin typeface="+mn-lt"/>
            </a:endParaRPr>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95469" y="1221441"/>
            <a:ext cx="3413678" cy="4938059"/>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itle Text">
            <a:extLst>
              <a:ext uri="{FF2B5EF4-FFF2-40B4-BE49-F238E27FC236}">
                <a16:creationId xmlns:a16="http://schemas.microsoft.com/office/drawing/2014/main" id="{4B5980F9-A7B7-7DE7-65FD-745FC498DFDB}"/>
              </a:ext>
            </a:extLst>
          </p:cNvPr>
          <p:cNvSpPr txBox="1">
            <a:spLocks noGrp="1"/>
          </p:cNvSpPr>
          <p:nvPr>
            <p:ph type="title" hasCustomPrompt="1"/>
          </p:nvPr>
        </p:nvSpPr>
        <p:spPr>
          <a:xfrm>
            <a:off x="290211" y="274544"/>
            <a:ext cx="3420371" cy="38660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lang="en-US"/>
              <a:t>Left color block</a:t>
            </a:r>
            <a:endParaRPr/>
          </a:p>
        </p:txBody>
      </p:sp>
      <p:sp>
        <p:nvSpPr>
          <p:cNvPr id="4" name="Text Placeholder 4">
            <a:extLst>
              <a:ext uri="{FF2B5EF4-FFF2-40B4-BE49-F238E27FC236}">
                <a16:creationId xmlns:a16="http://schemas.microsoft.com/office/drawing/2014/main" id="{6B78AFFA-760B-C379-5035-CB7ECAE05516}"/>
              </a:ext>
            </a:extLst>
          </p:cNvPr>
          <p:cNvSpPr>
            <a:spLocks noGrp="1"/>
          </p:cNvSpPr>
          <p:nvPr>
            <p:ph type="body" sz="quarter" idx="12"/>
          </p:nvPr>
        </p:nvSpPr>
        <p:spPr>
          <a:xfrm>
            <a:off x="4254501" y="1221441"/>
            <a:ext cx="7651749" cy="4938059"/>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A8FAF656-3110-CFBB-DE50-C13ECC3BA27C}"/>
              </a:ext>
            </a:extLst>
          </p:cNvPr>
          <p:cNvSpPr txBox="1">
            <a:spLocks/>
          </p:cNvSpPr>
          <p:nvPr userDrawn="1"/>
        </p:nvSpPr>
        <p:spPr>
          <a:xfrm>
            <a:off x="288889" y="6458629"/>
            <a:ext cx="4088233" cy="150303"/>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Outfit Light" pitchFamily="2" charset="0"/>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1218948" rtl="0" eaLnBrk="1" fontAlgn="auto" latinLnBrk="0" hangingPunct="1">
              <a:lnSpc>
                <a:spcPct val="110000"/>
              </a:lnSpc>
              <a:spcBef>
                <a:spcPts val="0"/>
              </a:spcBef>
              <a:spcAft>
                <a:spcPts val="0"/>
              </a:spcAft>
              <a:buClrTx/>
              <a:buSzTx/>
              <a:buFontTx/>
              <a:buNone/>
              <a:tabLst/>
              <a:defRPr/>
            </a:pPr>
            <a:r>
              <a:rPr kumimoji="0" lang="en-US" sz="917" b="0" i="0" u="none" strike="noStrike" kern="0" cap="none" spc="0" normalizeH="0" baseline="0" noProof="0">
                <a:ln>
                  <a:noFill/>
                </a:ln>
                <a:solidFill>
                  <a:srgbClr val="000000"/>
                </a:solidFill>
                <a:effectLst/>
                <a:uLnTx/>
                <a:uFillTx/>
                <a:latin typeface="Aptos Light" panose="020B0004020202020204" pitchFamily="34" charset="0"/>
                <a:ea typeface="+mj-ea"/>
                <a:cs typeface="+mj-cs"/>
                <a:sym typeface="IBM Plex Sans Light"/>
              </a:rPr>
              <a:t>Confidential</a:t>
            </a:r>
            <a:r>
              <a:rPr kumimoji="0" lang="en-US" sz="917" b="0" i="0" u="none" strike="noStrike" kern="0" cap="none" spc="0" normalizeH="0" baseline="0" noProof="0">
                <a:ln>
                  <a:noFill/>
                </a:ln>
                <a:solidFill>
                  <a:srgbClr val="2CC84D"/>
                </a:solidFill>
                <a:effectLst/>
                <a:uLnTx/>
                <a:uFillTx/>
                <a:latin typeface="Aptos" panose="020B0004020202020204" pitchFamily="34" charset="0"/>
                <a:ea typeface="+mj-ea"/>
                <a:cs typeface="+mj-cs"/>
                <a:sym typeface="IBM Plex Sans Light"/>
              </a:rPr>
              <a:t>  </a:t>
            </a:r>
            <a:r>
              <a:rPr kumimoji="0" lang="en-US" sz="917" b="0" i="0" u="none" strike="noStrike" kern="0" cap="none" spc="0" normalizeH="0" baseline="0" noProof="0">
                <a:ln>
                  <a:noFill/>
                </a:ln>
                <a:solidFill>
                  <a:schemeClr val="accent1"/>
                </a:solidFill>
                <a:effectLst/>
                <a:uLnTx/>
                <a:uFillTx/>
                <a:latin typeface="Aptos" panose="020B0004020202020204" pitchFamily="34" charset="0"/>
                <a:ea typeface="+mj-ea"/>
                <a:cs typeface="+mj-cs"/>
                <a:sym typeface="IBM Plex Sans Light"/>
              </a:rPr>
              <a:t>/</a:t>
            </a:r>
            <a:r>
              <a:rPr kumimoji="0" lang="en-US" sz="917" b="0" i="0" u="none" strike="noStrike" kern="0" cap="none" spc="0" normalizeH="0" baseline="0" noProof="0">
                <a:ln>
                  <a:noFill/>
                </a:ln>
                <a:solidFill>
                  <a:srgbClr val="2CC84D"/>
                </a:solidFill>
                <a:effectLst/>
                <a:uLnTx/>
                <a:uFillTx/>
                <a:latin typeface="Aptos" panose="020B0004020202020204" pitchFamily="34" charset="0"/>
                <a:ea typeface="+mj-ea"/>
                <a:cs typeface="+mj-cs"/>
                <a:sym typeface="IBM Plex Sans Light"/>
              </a:rPr>
              <a:t>  </a:t>
            </a:r>
            <a:r>
              <a:rPr kumimoji="0" lang="en-US" sz="917" b="0" i="0" u="none" strike="noStrike" kern="0" cap="none" spc="0" normalizeH="0" baseline="0" noProof="0">
                <a:ln>
                  <a:noFill/>
                </a:ln>
                <a:solidFill>
                  <a:srgbClr val="000000"/>
                </a:solidFill>
                <a:effectLst/>
                <a:uLnTx/>
                <a:uFillTx/>
                <a:latin typeface="Aptos Light" panose="020B0004020202020204" pitchFamily="34" charset="0"/>
                <a:ea typeface="+mj-ea"/>
                <a:cs typeface="+mj-cs"/>
                <a:sym typeface="IBM Plex Sans Light"/>
              </a:rPr>
              <a:t>Brillio Design</a:t>
            </a:r>
          </a:p>
        </p:txBody>
      </p:sp>
    </p:spTree>
    <p:extLst>
      <p:ext uri="{BB962C8B-B14F-4D97-AF65-F5344CB8AC3E}">
        <p14:creationId xmlns:p14="http://schemas.microsoft.com/office/powerpoint/2010/main" val="3682738591"/>
      </p:ext>
    </p:extLst>
  </p:cSld>
  <p:clrMapOvr>
    <a:masterClrMapping/>
  </p:clrMapOvr>
  <p:transition spd="med"/>
  <p:extLst>
    <p:ext uri="{DCECCB84-F9BA-43D5-87BE-67443E8EF086}">
      <p15:sldGuideLst xmlns:p15="http://schemas.microsoft.com/office/powerpoint/2012/main">
        <p15:guide id="2" orient="horz" pos="4656">
          <p15:clr>
            <a:srgbClr val="F26B43"/>
          </p15:clr>
        </p15:guide>
        <p15:guide id="3" orient="horz" pos="912">
          <p15:clr>
            <a:srgbClr val="F26B43"/>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Half color block">
    <p:bg>
      <p:bgPr>
        <a:solidFill>
          <a:schemeClr val="tx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2499C85-30F2-6EA7-FA46-49F8397A724D}"/>
              </a:ext>
            </a:extLst>
          </p:cNvPr>
          <p:cNvSpPr/>
          <p:nvPr userDrawn="1"/>
        </p:nvSpPr>
        <p:spPr bwMode="auto">
          <a:xfrm>
            <a:off x="6096000" y="0"/>
            <a:ext cx="6096000" cy="6858000"/>
          </a:xfrm>
          <a:prstGeom prst="rect">
            <a:avLst/>
          </a:prstGeom>
          <a:solidFill>
            <a:schemeClr val="tx2"/>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76200" tIns="76200" rIns="76200" bIns="76200" numCol="1" rtlCol="0" anchor="t" anchorCtr="0" compatLnSpc="1">
            <a:prstTxWarp prst="textNoShape">
              <a:avLst/>
            </a:prstTxWarp>
          </a:bodyPr>
          <a:lstStyle/>
          <a:p>
            <a:pPr marL="0" marR="0" indent="0" algn="l" defTabSz="761970" rtl="0" eaLnBrk="1" fontAlgn="base" latinLnBrk="0" hangingPunct="1">
              <a:lnSpc>
                <a:spcPct val="100000"/>
              </a:lnSpc>
              <a:spcBef>
                <a:spcPct val="0"/>
              </a:spcBef>
              <a:spcAft>
                <a:spcPct val="0"/>
              </a:spcAft>
              <a:buClrTx/>
              <a:buSzTx/>
              <a:buFont typeface="IBM Plex Sans Light"/>
              <a:buNone/>
              <a:tabLst/>
            </a:pPr>
            <a:endParaRPr kumimoji="0" lang="en-US" sz="1167" b="0" i="0" u="none" strike="noStrike" cap="none" normalizeH="0" baseline="0">
              <a:ln>
                <a:noFill/>
              </a:ln>
              <a:solidFill>
                <a:schemeClr val="bg1"/>
              </a:solidFill>
              <a:effectLst/>
              <a:latin typeface="+mn-lt"/>
            </a:endParaRPr>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95470" y="1221441"/>
            <a:ext cx="5520039" cy="4938059"/>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itle Text">
            <a:extLst>
              <a:ext uri="{FF2B5EF4-FFF2-40B4-BE49-F238E27FC236}">
                <a16:creationId xmlns:a16="http://schemas.microsoft.com/office/drawing/2014/main" id="{4B5980F9-A7B7-7DE7-65FD-745FC498DFDB}"/>
              </a:ext>
            </a:extLst>
          </p:cNvPr>
          <p:cNvSpPr txBox="1">
            <a:spLocks noGrp="1"/>
          </p:cNvSpPr>
          <p:nvPr>
            <p:ph type="title" hasCustomPrompt="1"/>
          </p:nvPr>
        </p:nvSpPr>
        <p:spPr>
          <a:xfrm>
            <a:off x="290211" y="274544"/>
            <a:ext cx="5520039" cy="386603"/>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p>
            <a:r>
              <a:rPr lang="en-US"/>
              <a:t>Half color block</a:t>
            </a:r>
            <a:endParaRPr/>
          </a:p>
        </p:txBody>
      </p:sp>
      <p:sp>
        <p:nvSpPr>
          <p:cNvPr id="2" name="Text Placeholder 4">
            <a:extLst>
              <a:ext uri="{FF2B5EF4-FFF2-40B4-BE49-F238E27FC236}">
                <a16:creationId xmlns:a16="http://schemas.microsoft.com/office/drawing/2014/main" id="{376D964F-C8A1-C871-5753-80704C0AE4DC}"/>
              </a:ext>
            </a:extLst>
          </p:cNvPr>
          <p:cNvSpPr>
            <a:spLocks noGrp="1"/>
          </p:cNvSpPr>
          <p:nvPr>
            <p:ph type="body" sz="quarter" idx="13"/>
          </p:nvPr>
        </p:nvSpPr>
        <p:spPr>
          <a:xfrm>
            <a:off x="6381751" y="1221441"/>
            <a:ext cx="5524500" cy="4938059"/>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3">
            <a:extLst>
              <a:ext uri="{FF2B5EF4-FFF2-40B4-BE49-F238E27FC236}">
                <a16:creationId xmlns:a16="http://schemas.microsoft.com/office/drawing/2014/main" id="{97CF5AB9-188C-F7FE-47D0-616D908F404A}"/>
              </a:ext>
            </a:extLst>
          </p:cNvPr>
          <p:cNvSpPr txBox="1">
            <a:spLocks/>
          </p:cNvSpPr>
          <p:nvPr userDrawn="1"/>
        </p:nvSpPr>
        <p:spPr>
          <a:xfrm>
            <a:off x="11438259" y="6458629"/>
            <a:ext cx="462473" cy="150303"/>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Outfit Light" pitchFamily="2" charset="0"/>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r" defTabSz="1218948" rtl="0" eaLnBrk="1" fontAlgn="auto" latinLnBrk="0" hangingPunct="1">
              <a:lnSpc>
                <a:spcPct val="110000"/>
              </a:lnSpc>
              <a:spcBef>
                <a:spcPts val="0"/>
              </a:spcBef>
              <a:spcAft>
                <a:spcPts val="0"/>
              </a:spcAft>
              <a:buClrTx/>
              <a:buSzTx/>
              <a:buFontTx/>
              <a:buNone/>
              <a:tabLst/>
              <a:defRPr/>
            </a:pPr>
            <a:fld id="{64F0821C-65D3-DD4D-8DB2-745946DB9115}" type="slidenum">
              <a:rPr kumimoji="0" lang="en-US" sz="917" b="0" i="0" u="none" strike="noStrike" kern="0" cap="none" spc="0" normalizeH="0" baseline="0" noProof="0" smtClean="0">
                <a:ln>
                  <a:noFill/>
                </a:ln>
                <a:solidFill>
                  <a:srgbClr val="000000"/>
                </a:solidFill>
                <a:effectLst/>
                <a:uLnTx/>
                <a:uFillTx/>
                <a:latin typeface="Aptos" panose="020B0004020202020204" pitchFamily="34" charset="0"/>
                <a:ea typeface="+mj-ea"/>
                <a:cs typeface="+mj-cs"/>
                <a:sym typeface="IBM Plex Sans Light"/>
              </a:rPr>
              <a:pPr marL="0" marR="0" lvl="0" indent="0" algn="r" defTabSz="1218948" rtl="0" eaLnBrk="1" fontAlgn="auto" latinLnBrk="0" hangingPunct="1">
                <a:lnSpc>
                  <a:spcPct val="110000"/>
                </a:lnSpc>
                <a:spcBef>
                  <a:spcPts val="0"/>
                </a:spcBef>
                <a:spcAft>
                  <a:spcPts val="0"/>
                </a:spcAft>
                <a:buClrTx/>
                <a:buSzTx/>
                <a:buFontTx/>
                <a:buNone/>
                <a:tabLst/>
                <a:defRPr/>
              </a:pPr>
              <a:t>‹#›</a:t>
            </a:fld>
            <a:endParaRPr kumimoji="0" lang="en-US" sz="917" b="0" i="0" u="none" strike="noStrike" kern="0" cap="none" spc="0" normalizeH="0" baseline="0" noProof="0">
              <a:ln>
                <a:noFill/>
              </a:ln>
              <a:solidFill>
                <a:srgbClr val="000000"/>
              </a:solidFill>
              <a:effectLst/>
              <a:uLnTx/>
              <a:uFillTx/>
              <a:latin typeface="Aptos" panose="020B0004020202020204" pitchFamily="34" charset="0"/>
              <a:ea typeface="+mj-ea"/>
              <a:cs typeface="+mj-cs"/>
              <a:sym typeface="IBM Plex Sans Light"/>
            </a:endParaRPr>
          </a:p>
        </p:txBody>
      </p:sp>
      <p:pic>
        <p:nvPicPr>
          <p:cNvPr id="8" name="Graphic 7">
            <a:extLst>
              <a:ext uri="{FF2B5EF4-FFF2-40B4-BE49-F238E27FC236}">
                <a16:creationId xmlns:a16="http://schemas.microsoft.com/office/drawing/2014/main" id="{347BA4B1-3F51-247D-13A4-970446FB362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543540" y="6495499"/>
            <a:ext cx="167269" cy="81501"/>
          </a:xfrm>
          <a:prstGeom prst="rect">
            <a:avLst/>
          </a:prstGeom>
        </p:spPr>
      </p:pic>
    </p:spTree>
    <p:extLst>
      <p:ext uri="{BB962C8B-B14F-4D97-AF65-F5344CB8AC3E}">
        <p14:creationId xmlns:p14="http://schemas.microsoft.com/office/powerpoint/2010/main" val="2933475030"/>
      </p:ext>
    </p:extLst>
  </p:cSld>
  <p:clrMapOvr>
    <a:masterClrMapping/>
  </p:clrMapOvr>
  <p:transition spd="med"/>
  <p:extLst>
    <p:ext uri="{DCECCB84-F9BA-43D5-87BE-67443E8EF086}">
      <p15:sldGuideLst xmlns:p15="http://schemas.microsoft.com/office/powerpoint/2012/main">
        <p15:guide id="2" orient="horz" pos="4656">
          <p15:clr>
            <a:srgbClr val="F26B43"/>
          </p15:clr>
        </p15:guide>
        <p15:guide id="3" orient="horz" pos="912">
          <p15:clr>
            <a:srgbClr val="F26B43"/>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op color block">
    <p:bg>
      <p:bgPr>
        <a:solidFill>
          <a:schemeClr val="tx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8FAD1F5-A942-6244-5E87-9764C0D1F058}"/>
              </a:ext>
            </a:extLst>
          </p:cNvPr>
          <p:cNvSpPr/>
          <p:nvPr userDrawn="1"/>
        </p:nvSpPr>
        <p:spPr bwMode="auto">
          <a:xfrm>
            <a:off x="0" y="1"/>
            <a:ext cx="12192000" cy="2846294"/>
          </a:xfrm>
          <a:prstGeom prst="rect">
            <a:avLst/>
          </a:prstGeom>
          <a:solidFill>
            <a:schemeClr val="tx2"/>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76200" tIns="76200" rIns="76200" bIns="76200" numCol="1" rtlCol="0" anchor="t" anchorCtr="0" compatLnSpc="1">
            <a:prstTxWarp prst="textNoShape">
              <a:avLst/>
            </a:prstTxWarp>
          </a:bodyPr>
          <a:lstStyle/>
          <a:p>
            <a:pPr marL="0" marR="0" indent="0" algn="l" defTabSz="761970" rtl="0" eaLnBrk="1" fontAlgn="base" latinLnBrk="0" hangingPunct="1">
              <a:lnSpc>
                <a:spcPct val="100000"/>
              </a:lnSpc>
              <a:spcBef>
                <a:spcPct val="0"/>
              </a:spcBef>
              <a:spcAft>
                <a:spcPct val="0"/>
              </a:spcAft>
              <a:buClrTx/>
              <a:buSzTx/>
              <a:buFont typeface="IBM Plex Sans Light"/>
              <a:buNone/>
              <a:tabLst/>
            </a:pPr>
            <a:endParaRPr kumimoji="0" lang="en-US" sz="1167" b="0" i="0" u="none" strike="noStrike" cap="none" normalizeH="0" baseline="0">
              <a:ln>
                <a:noFill/>
              </a:ln>
              <a:solidFill>
                <a:schemeClr val="bg1"/>
              </a:solidFill>
              <a:effectLst/>
              <a:latin typeface="+mn-lt"/>
            </a:endParaRPr>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95470" y="3238500"/>
            <a:ext cx="2681094" cy="2921000"/>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itle Text">
            <a:extLst>
              <a:ext uri="{FF2B5EF4-FFF2-40B4-BE49-F238E27FC236}">
                <a16:creationId xmlns:a16="http://schemas.microsoft.com/office/drawing/2014/main" id="{4B5980F9-A7B7-7DE7-65FD-745FC498DFDB}"/>
              </a:ext>
            </a:extLst>
          </p:cNvPr>
          <p:cNvSpPr txBox="1">
            <a:spLocks noGrp="1"/>
          </p:cNvSpPr>
          <p:nvPr>
            <p:ph type="title" hasCustomPrompt="1"/>
          </p:nvPr>
        </p:nvSpPr>
        <p:spPr>
          <a:xfrm>
            <a:off x="290212" y="274544"/>
            <a:ext cx="11607800" cy="38660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lang="en-US"/>
              <a:t>Top color block</a:t>
            </a:r>
            <a:endParaRPr/>
          </a:p>
        </p:txBody>
      </p:sp>
      <p:sp>
        <p:nvSpPr>
          <p:cNvPr id="4" name="Text Placeholder 4">
            <a:extLst>
              <a:ext uri="{FF2B5EF4-FFF2-40B4-BE49-F238E27FC236}">
                <a16:creationId xmlns:a16="http://schemas.microsoft.com/office/drawing/2014/main" id="{6B78AFFA-760B-C379-5035-CB7ECAE05516}"/>
              </a:ext>
            </a:extLst>
          </p:cNvPr>
          <p:cNvSpPr>
            <a:spLocks noGrp="1"/>
          </p:cNvSpPr>
          <p:nvPr>
            <p:ph type="body" sz="quarter" idx="12"/>
          </p:nvPr>
        </p:nvSpPr>
        <p:spPr>
          <a:xfrm>
            <a:off x="3272031" y="3238500"/>
            <a:ext cx="2681094" cy="2921000"/>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ext Placeholder 4">
            <a:extLst>
              <a:ext uri="{FF2B5EF4-FFF2-40B4-BE49-F238E27FC236}">
                <a16:creationId xmlns:a16="http://schemas.microsoft.com/office/drawing/2014/main" id="{376D964F-C8A1-C871-5753-80704C0AE4DC}"/>
              </a:ext>
            </a:extLst>
          </p:cNvPr>
          <p:cNvSpPr>
            <a:spLocks noGrp="1"/>
          </p:cNvSpPr>
          <p:nvPr>
            <p:ph type="body" sz="quarter" idx="13"/>
          </p:nvPr>
        </p:nvSpPr>
        <p:spPr>
          <a:xfrm>
            <a:off x="6250082" y="3238500"/>
            <a:ext cx="2679606" cy="2921000"/>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BC3CC31F-CAF3-5950-1F6D-B721F038F566}"/>
              </a:ext>
            </a:extLst>
          </p:cNvPr>
          <p:cNvSpPr>
            <a:spLocks noGrp="1"/>
          </p:cNvSpPr>
          <p:nvPr>
            <p:ph type="body" sz="quarter" idx="14"/>
          </p:nvPr>
        </p:nvSpPr>
        <p:spPr>
          <a:xfrm>
            <a:off x="9219640" y="3238500"/>
            <a:ext cx="2686611" cy="2921000"/>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958133852"/>
      </p:ext>
    </p:extLst>
  </p:cSld>
  <p:clrMapOvr>
    <a:masterClrMapping/>
  </p:clrMapOvr>
  <p:transition spd="med"/>
  <p:extLst>
    <p:ext uri="{DCECCB84-F9BA-43D5-87BE-67443E8EF086}">
      <p15:sldGuideLst xmlns:p15="http://schemas.microsoft.com/office/powerpoint/2012/main">
        <p15:guide id="2" orient="horz" pos="4656">
          <p15:clr>
            <a:srgbClr val="F26B43"/>
          </p15:clr>
        </p15:guide>
        <p15:guide id="3" orient="horz" pos="2448">
          <p15:clr>
            <a:srgbClr val="F26B43"/>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ottom color block">
    <p:bg>
      <p:bgPr>
        <a:solidFill>
          <a:schemeClr val="tx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8FAD1F5-A942-6244-5E87-9764C0D1F058}"/>
              </a:ext>
            </a:extLst>
          </p:cNvPr>
          <p:cNvSpPr/>
          <p:nvPr userDrawn="1"/>
        </p:nvSpPr>
        <p:spPr bwMode="auto">
          <a:xfrm>
            <a:off x="0" y="4549589"/>
            <a:ext cx="12192000" cy="2308412"/>
          </a:xfrm>
          <a:prstGeom prst="rect">
            <a:avLst/>
          </a:prstGeom>
          <a:solidFill>
            <a:schemeClr val="tx2"/>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76200" tIns="76200" rIns="76200" bIns="76200" numCol="1" rtlCol="0" anchor="t" anchorCtr="0" compatLnSpc="1">
            <a:prstTxWarp prst="textNoShape">
              <a:avLst/>
            </a:prstTxWarp>
          </a:bodyPr>
          <a:lstStyle/>
          <a:p>
            <a:pPr marL="0" marR="0" indent="0" algn="l" defTabSz="761970" rtl="0" eaLnBrk="1" fontAlgn="base" latinLnBrk="0" hangingPunct="1">
              <a:lnSpc>
                <a:spcPct val="100000"/>
              </a:lnSpc>
              <a:spcBef>
                <a:spcPct val="0"/>
              </a:spcBef>
              <a:spcAft>
                <a:spcPct val="0"/>
              </a:spcAft>
              <a:buClrTx/>
              <a:buSzTx/>
              <a:buFont typeface="IBM Plex Sans Light"/>
              <a:buNone/>
              <a:tabLst/>
            </a:pPr>
            <a:endParaRPr kumimoji="0" lang="en-US" sz="1167" b="0" i="0" u="none" strike="noStrike" cap="none" normalizeH="0" baseline="0">
              <a:ln>
                <a:noFill/>
              </a:ln>
              <a:solidFill>
                <a:schemeClr val="bg1"/>
              </a:solidFill>
              <a:effectLst/>
              <a:latin typeface="+mn-lt"/>
            </a:endParaRPr>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95470" y="1217706"/>
            <a:ext cx="2681094" cy="2782794"/>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itle Text">
            <a:extLst>
              <a:ext uri="{FF2B5EF4-FFF2-40B4-BE49-F238E27FC236}">
                <a16:creationId xmlns:a16="http://schemas.microsoft.com/office/drawing/2014/main" id="{4B5980F9-A7B7-7DE7-65FD-745FC498DFDB}"/>
              </a:ext>
            </a:extLst>
          </p:cNvPr>
          <p:cNvSpPr txBox="1">
            <a:spLocks noGrp="1"/>
          </p:cNvSpPr>
          <p:nvPr>
            <p:ph type="title" hasCustomPrompt="1"/>
          </p:nvPr>
        </p:nvSpPr>
        <p:spPr>
          <a:xfrm>
            <a:off x="290212" y="274544"/>
            <a:ext cx="11607800" cy="38660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lang="en-US"/>
              <a:t>Bottom color block</a:t>
            </a:r>
            <a:endParaRPr/>
          </a:p>
        </p:txBody>
      </p:sp>
      <p:sp>
        <p:nvSpPr>
          <p:cNvPr id="4" name="Text Placeholder 4">
            <a:extLst>
              <a:ext uri="{FF2B5EF4-FFF2-40B4-BE49-F238E27FC236}">
                <a16:creationId xmlns:a16="http://schemas.microsoft.com/office/drawing/2014/main" id="{6B78AFFA-760B-C379-5035-CB7ECAE05516}"/>
              </a:ext>
            </a:extLst>
          </p:cNvPr>
          <p:cNvSpPr>
            <a:spLocks noGrp="1"/>
          </p:cNvSpPr>
          <p:nvPr>
            <p:ph type="body" sz="quarter" idx="12"/>
          </p:nvPr>
        </p:nvSpPr>
        <p:spPr>
          <a:xfrm>
            <a:off x="3272031" y="1217706"/>
            <a:ext cx="2681094" cy="2782794"/>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ext Placeholder 4">
            <a:extLst>
              <a:ext uri="{FF2B5EF4-FFF2-40B4-BE49-F238E27FC236}">
                <a16:creationId xmlns:a16="http://schemas.microsoft.com/office/drawing/2014/main" id="{376D964F-C8A1-C871-5753-80704C0AE4DC}"/>
              </a:ext>
            </a:extLst>
          </p:cNvPr>
          <p:cNvSpPr>
            <a:spLocks noGrp="1"/>
          </p:cNvSpPr>
          <p:nvPr>
            <p:ph type="body" sz="quarter" idx="13"/>
          </p:nvPr>
        </p:nvSpPr>
        <p:spPr>
          <a:xfrm>
            <a:off x="6250082" y="1217706"/>
            <a:ext cx="2679606" cy="2782794"/>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BC3CC31F-CAF3-5950-1F6D-B721F038F566}"/>
              </a:ext>
            </a:extLst>
          </p:cNvPr>
          <p:cNvSpPr>
            <a:spLocks noGrp="1"/>
          </p:cNvSpPr>
          <p:nvPr>
            <p:ph type="body" sz="quarter" idx="14"/>
          </p:nvPr>
        </p:nvSpPr>
        <p:spPr>
          <a:xfrm>
            <a:off x="9219640" y="1217706"/>
            <a:ext cx="2686611" cy="2782794"/>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443684296"/>
      </p:ext>
    </p:extLst>
  </p:cSld>
  <p:clrMapOvr>
    <a:masterClrMapping/>
  </p:clrMapOvr>
  <p:transition spd="med"/>
  <p:extLst>
    <p:ext uri="{DCECCB84-F9BA-43D5-87BE-67443E8EF086}">
      <p15:sldGuideLst xmlns:p15="http://schemas.microsoft.com/office/powerpoint/2012/main">
        <p15:guide id="2" orient="horz" pos="3024">
          <p15:clr>
            <a:srgbClr val="F26B43"/>
          </p15:clr>
        </p15:guide>
        <p15:guide id="3" orient="horz" pos="912">
          <p15:clr>
            <a:srgbClr val="F26B43"/>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olor block + image">
    <p:bg>
      <p:bgPr>
        <a:solidFill>
          <a:schemeClr val="tx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2499C85-30F2-6EA7-FA46-49F8397A724D}"/>
              </a:ext>
            </a:extLst>
          </p:cNvPr>
          <p:cNvSpPr/>
          <p:nvPr userDrawn="1"/>
        </p:nvSpPr>
        <p:spPr bwMode="auto">
          <a:xfrm>
            <a:off x="-1488" y="0"/>
            <a:ext cx="3263801" cy="6858000"/>
          </a:xfrm>
          <a:prstGeom prst="rect">
            <a:avLst/>
          </a:prstGeom>
          <a:solidFill>
            <a:schemeClr val="tx2"/>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76200" tIns="76200" rIns="76200" bIns="76200" numCol="1" rtlCol="0" anchor="t" anchorCtr="0" compatLnSpc="1">
            <a:prstTxWarp prst="textNoShape">
              <a:avLst/>
            </a:prstTxWarp>
          </a:bodyPr>
          <a:lstStyle/>
          <a:p>
            <a:pPr marL="0" marR="0" indent="0" algn="l" defTabSz="761970" rtl="0" eaLnBrk="1" fontAlgn="base" latinLnBrk="0" hangingPunct="1">
              <a:lnSpc>
                <a:spcPct val="100000"/>
              </a:lnSpc>
              <a:spcBef>
                <a:spcPct val="0"/>
              </a:spcBef>
              <a:spcAft>
                <a:spcPct val="0"/>
              </a:spcAft>
              <a:buClrTx/>
              <a:buSzTx/>
              <a:buFont typeface="IBM Plex Sans Light"/>
              <a:buNone/>
              <a:tabLst/>
            </a:pPr>
            <a:endParaRPr kumimoji="0" lang="en-US" sz="1167" b="0" i="0" u="none" strike="noStrike" cap="none" normalizeH="0" baseline="0">
              <a:ln>
                <a:noFill/>
              </a:ln>
              <a:solidFill>
                <a:schemeClr val="bg1"/>
              </a:solidFill>
              <a:effectLst/>
              <a:latin typeface="+mn-lt"/>
            </a:endParaRPr>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95470" y="1471706"/>
            <a:ext cx="2681094" cy="4687794"/>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itle Text">
            <a:extLst>
              <a:ext uri="{FF2B5EF4-FFF2-40B4-BE49-F238E27FC236}">
                <a16:creationId xmlns:a16="http://schemas.microsoft.com/office/drawing/2014/main" id="{4B5980F9-A7B7-7DE7-65FD-745FC498DFDB}"/>
              </a:ext>
            </a:extLst>
          </p:cNvPr>
          <p:cNvSpPr txBox="1">
            <a:spLocks noGrp="1"/>
          </p:cNvSpPr>
          <p:nvPr>
            <p:ph type="title" hasCustomPrompt="1"/>
          </p:nvPr>
        </p:nvSpPr>
        <p:spPr>
          <a:xfrm>
            <a:off x="290212" y="274544"/>
            <a:ext cx="2686352" cy="38660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lang="en-US"/>
              <a:t>Color block + image</a:t>
            </a:r>
            <a:endParaRPr/>
          </a:p>
        </p:txBody>
      </p:sp>
      <p:sp>
        <p:nvSpPr>
          <p:cNvPr id="4" name="Text Placeholder 4">
            <a:extLst>
              <a:ext uri="{FF2B5EF4-FFF2-40B4-BE49-F238E27FC236}">
                <a16:creationId xmlns:a16="http://schemas.microsoft.com/office/drawing/2014/main" id="{6B78AFFA-760B-C379-5035-CB7ECAE05516}"/>
              </a:ext>
            </a:extLst>
          </p:cNvPr>
          <p:cNvSpPr>
            <a:spLocks noGrp="1"/>
          </p:cNvSpPr>
          <p:nvPr>
            <p:ph type="body" sz="quarter" idx="12"/>
          </p:nvPr>
        </p:nvSpPr>
        <p:spPr>
          <a:xfrm>
            <a:off x="7231062" y="1471706"/>
            <a:ext cx="4675187" cy="4687794"/>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A8FAF656-3110-CFBB-DE50-C13ECC3BA27C}"/>
              </a:ext>
            </a:extLst>
          </p:cNvPr>
          <p:cNvSpPr txBox="1">
            <a:spLocks/>
          </p:cNvSpPr>
          <p:nvPr userDrawn="1"/>
        </p:nvSpPr>
        <p:spPr>
          <a:xfrm>
            <a:off x="288889" y="6458629"/>
            <a:ext cx="4088233" cy="150303"/>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Outfit Light" pitchFamily="2" charset="0"/>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1218948" rtl="0" eaLnBrk="1" fontAlgn="auto" latinLnBrk="0" hangingPunct="1">
              <a:lnSpc>
                <a:spcPct val="110000"/>
              </a:lnSpc>
              <a:spcBef>
                <a:spcPts val="0"/>
              </a:spcBef>
              <a:spcAft>
                <a:spcPts val="0"/>
              </a:spcAft>
              <a:buClrTx/>
              <a:buSzTx/>
              <a:buFontTx/>
              <a:buNone/>
              <a:tabLst/>
              <a:defRPr/>
            </a:pPr>
            <a:r>
              <a:rPr kumimoji="0" lang="en-US" sz="917" b="0" i="0" u="none" strike="noStrike" kern="0" cap="none" spc="0" normalizeH="0" baseline="0" noProof="0">
                <a:ln>
                  <a:noFill/>
                </a:ln>
                <a:solidFill>
                  <a:srgbClr val="000000"/>
                </a:solidFill>
                <a:effectLst/>
                <a:uLnTx/>
                <a:uFillTx/>
                <a:latin typeface="Aptos Light" panose="020B0004020202020204" pitchFamily="34" charset="0"/>
                <a:ea typeface="+mj-ea"/>
                <a:cs typeface="+mj-cs"/>
                <a:sym typeface="IBM Plex Sans Light"/>
              </a:rPr>
              <a:t>Confidential</a:t>
            </a:r>
            <a:r>
              <a:rPr kumimoji="0" lang="en-US" sz="917" b="0" i="0" u="none" strike="noStrike" kern="0" cap="none" spc="0" normalizeH="0" baseline="0" noProof="0">
                <a:ln>
                  <a:noFill/>
                </a:ln>
                <a:solidFill>
                  <a:srgbClr val="2CC84D"/>
                </a:solidFill>
                <a:effectLst/>
                <a:uLnTx/>
                <a:uFillTx/>
                <a:latin typeface="Aptos" panose="020B0004020202020204" pitchFamily="34" charset="0"/>
                <a:ea typeface="+mj-ea"/>
                <a:cs typeface="+mj-cs"/>
                <a:sym typeface="IBM Plex Sans Light"/>
              </a:rPr>
              <a:t>  /  </a:t>
            </a:r>
            <a:r>
              <a:rPr kumimoji="0" lang="en-US" sz="917" b="0" i="0" u="none" strike="noStrike" kern="0" cap="none" spc="0" normalizeH="0" baseline="0" noProof="0">
                <a:ln>
                  <a:noFill/>
                </a:ln>
                <a:solidFill>
                  <a:srgbClr val="000000"/>
                </a:solidFill>
                <a:effectLst/>
                <a:uLnTx/>
                <a:uFillTx/>
                <a:latin typeface="Aptos Light" panose="020B0004020202020204" pitchFamily="34" charset="0"/>
                <a:ea typeface="+mj-ea"/>
                <a:cs typeface="+mj-cs"/>
                <a:sym typeface="IBM Plex Sans Light"/>
              </a:rPr>
              <a:t>Brillio Design</a:t>
            </a:r>
          </a:p>
        </p:txBody>
      </p:sp>
      <p:sp>
        <p:nvSpPr>
          <p:cNvPr id="6" name="Picture Placeholder 5">
            <a:extLst>
              <a:ext uri="{FF2B5EF4-FFF2-40B4-BE49-F238E27FC236}">
                <a16:creationId xmlns:a16="http://schemas.microsoft.com/office/drawing/2014/main" id="{4077A984-71DC-DF43-919A-0A8AFF4FF163}"/>
              </a:ext>
            </a:extLst>
          </p:cNvPr>
          <p:cNvSpPr>
            <a:spLocks noGrp="1"/>
          </p:cNvSpPr>
          <p:nvPr>
            <p:ph type="pic" sz="quarter" idx="13" hasCustomPrompt="1"/>
          </p:nvPr>
        </p:nvSpPr>
        <p:spPr>
          <a:xfrm>
            <a:off x="3262313" y="0"/>
            <a:ext cx="3683000" cy="6858000"/>
          </a:xfrm>
          <a:solidFill>
            <a:schemeClr val="bg1"/>
          </a:solidFill>
        </p:spPr>
        <p:txBody>
          <a:bodyPr anchor="ctr"/>
          <a:lstStyle>
            <a:lvl1pPr algn="ctr">
              <a:defRPr>
                <a:solidFill>
                  <a:schemeClr val="tx1"/>
                </a:solidFill>
              </a:defRPr>
            </a:lvl1pPr>
          </a:lstStyle>
          <a:p>
            <a:r>
              <a:rPr lang="en-US"/>
              <a:t>[add image]</a:t>
            </a:r>
          </a:p>
        </p:txBody>
      </p:sp>
    </p:spTree>
    <p:extLst>
      <p:ext uri="{BB962C8B-B14F-4D97-AF65-F5344CB8AC3E}">
        <p14:creationId xmlns:p14="http://schemas.microsoft.com/office/powerpoint/2010/main" val="770076834"/>
      </p:ext>
    </p:extLst>
  </p:cSld>
  <p:clrMapOvr>
    <a:masterClrMapping/>
  </p:clrMapOvr>
  <p:transition spd="med"/>
  <p:extLst>
    <p:ext uri="{DCECCB84-F9BA-43D5-87BE-67443E8EF086}">
      <p15:sldGuideLst xmlns:p15="http://schemas.microsoft.com/office/powerpoint/2012/main">
        <p15:guide id="2" orient="horz" pos="4656">
          <p15:clr>
            <a:srgbClr val="F26B43"/>
          </p15:clr>
        </p15:guide>
        <p15:guide id="3" orient="horz" pos="1104">
          <p15:clr>
            <a:srgbClr val="F26B43"/>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Middle image">
    <p:bg>
      <p:bgPr>
        <a:solidFill>
          <a:schemeClr val="tx1"/>
        </a:solidFill>
        <a:effectLst/>
      </p:bgPr>
    </p:bg>
    <p:spTree>
      <p:nvGrpSpPr>
        <p:cNvPr id="1" name=""/>
        <p:cNvGrpSpPr/>
        <p:nvPr/>
      </p:nvGrpSpPr>
      <p:grpSpPr>
        <a:xfrm>
          <a:off x="0" y="0"/>
          <a:ext cx="0" cy="0"/>
          <a:chOff x="0" y="0"/>
          <a:chExt cx="0" cy="0"/>
        </a:xfrm>
      </p:grpSpPr>
      <p:sp>
        <p:nvSpPr>
          <p:cNvPr id="4" name="Picture Placeholder 5">
            <a:extLst>
              <a:ext uri="{FF2B5EF4-FFF2-40B4-BE49-F238E27FC236}">
                <a16:creationId xmlns:a16="http://schemas.microsoft.com/office/drawing/2014/main" id="{06CF6CF3-8491-8469-EF6E-6DF4249EBF58}"/>
              </a:ext>
            </a:extLst>
          </p:cNvPr>
          <p:cNvSpPr>
            <a:spLocks noGrp="1"/>
          </p:cNvSpPr>
          <p:nvPr>
            <p:ph type="pic" sz="quarter" idx="13" hasCustomPrompt="1"/>
          </p:nvPr>
        </p:nvSpPr>
        <p:spPr>
          <a:xfrm>
            <a:off x="4258959" y="0"/>
            <a:ext cx="3678540" cy="6858000"/>
          </a:xfrm>
          <a:solidFill>
            <a:schemeClr val="bg1"/>
          </a:solidFill>
        </p:spPr>
        <p:txBody>
          <a:bodyPr anchor="ctr"/>
          <a:lstStyle>
            <a:lvl1pPr algn="ctr">
              <a:defRPr>
                <a:solidFill>
                  <a:schemeClr val="tx1"/>
                </a:solidFill>
              </a:defRPr>
            </a:lvl1pPr>
          </a:lstStyle>
          <a:p>
            <a:r>
              <a:rPr lang="en-US"/>
              <a:t>[add image]</a:t>
            </a:r>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95469" y="1221441"/>
            <a:ext cx="3673281" cy="4938059"/>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itle Text">
            <a:extLst>
              <a:ext uri="{FF2B5EF4-FFF2-40B4-BE49-F238E27FC236}">
                <a16:creationId xmlns:a16="http://schemas.microsoft.com/office/drawing/2014/main" id="{4B5980F9-A7B7-7DE7-65FD-745FC498DFDB}"/>
              </a:ext>
            </a:extLst>
          </p:cNvPr>
          <p:cNvSpPr txBox="1">
            <a:spLocks noGrp="1"/>
          </p:cNvSpPr>
          <p:nvPr>
            <p:ph type="title" hasCustomPrompt="1"/>
          </p:nvPr>
        </p:nvSpPr>
        <p:spPr>
          <a:xfrm>
            <a:off x="290211" y="274544"/>
            <a:ext cx="3678540" cy="38660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lang="en-US"/>
              <a:t>Middle image</a:t>
            </a:r>
            <a:endParaRPr/>
          </a:p>
        </p:txBody>
      </p:sp>
      <p:sp>
        <p:nvSpPr>
          <p:cNvPr id="2" name="Text Placeholder 4">
            <a:extLst>
              <a:ext uri="{FF2B5EF4-FFF2-40B4-BE49-F238E27FC236}">
                <a16:creationId xmlns:a16="http://schemas.microsoft.com/office/drawing/2014/main" id="{268CFDAC-21E1-B6CB-5526-A2AB72858990}"/>
              </a:ext>
            </a:extLst>
          </p:cNvPr>
          <p:cNvSpPr>
            <a:spLocks noGrp="1"/>
          </p:cNvSpPr>
          <p:nvPr>
            <p:ph type="body" sz="quarter" idx="14"/>
          </p:nvPr>
        </p:nvSpPr>
        <p:spPr>
          <a:xfrm>
            <a:off x="8240440" y="1221441"/>
            <a:ext cx="3673281" cy="4938059"/>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572114349"/>
      </p:ext>
    </p:extLst>
  </p:cSld>
  <p:clrMapOvr>
    <a:masterClrMapping/>
  </p:clrMapOvr>
  <p:transition spd="med"/>
  <p:extLst>
    <p:ext uri="{DCECCB84-F9BA-43D5-87BE-67443E8EF086}">
      <p15:sldGuideLst xmlns:p15="http://schemas.microsoft.com/office/powerpoint/2012/main">
        <p15:guide id="2" orient="horz" pos="4656">
          <p15:clr>
            <a:srgbClr val="F26B43"/>
          </p15:clr>
        </p15:guide>
        <p15:guide id="3" orient="horz" pos="912">
          <p15:clr>
            <a:srgbClr val="F26B43"/>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Left image">
    <p:bg>
      <p:bgPr>
        <a:solidFill>
          <a:schemeClr val="tx1"/>
        </a:solidFill>
        <a:effectLst/>
      </p:bgPr>
    </p:bg>
    <p:spTree>
      <p:nvGrpSpPr>
        <p:cNvPr id="1" name=""/>
        <p:cNvGrpSpPr/>
        <p:nvPr/>
      </p:nvGrpSpPr>
      <p:grpSpPr>
        <a:xfrm>
          <a:off x="0" y="0"/>
          <a:ext cx="0" cy="0"/>
          <a:chOff x="0" y="0"/>
          <a:chExt cx="0" cy="0"/>
        </a:xfrm>
      </p:grpSpPr>
      <p:sp>
        <p:nvSpPr>
          <p:cNvPr id="4" name="Picture Placeholder 5">
            <a:extLst>
              <a:ext uri="{FF2B5EF4-FFF2-40B4-BE49-F238E27FC236}">
                <a16:creationId xmlns:a16="http://schemas.microsoft.com/office/drawing/2014/main" id="{06CF6CF3-8491-8469-EF6E-6DF4249EBF58}"/>
              </a:ext>
            </a:extLst>
          </p:cNvPr>
          <p:cNvSpPr>
            <a:spLocks noGrp="1"/>
          </p:cNvSpPr>
          <p:nvPr>
            <p:ph type="pic" sz="quarter" idx="13" hasCustomPrompt="1"/>
          </p:nvPr>
        </p:nvSpPr>
        <p:spPr>
          <a:xfrm>
            <a:off x="0" y="0"/>
            <a:ext cx="5246688" cy="6858000"/>
          </a:xfrm>
          <a:solidFill>
            <a:schemeClr val="bg1"/>
          </a:solidFill>
        </p:spPr>
        <p:txBody>
          <a:bodyPr anchor="ctr"/>
          <a:lstStyle>
            <a:lvl1pPr algn="ctr">
              <a:defRPr>
                <a:solidFill>
                  <a:schemeClr val="tx1"/>
                </a:solidFill>
              </a:defRPr>
            </a:lvl1pPr>
          </a:lstStyle>
          <a:p>
            <a:r>
              <a:rPr lang="en-US"/>
              <a:t>[add image]</a:t>
            </a:r>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6246977" y="2265456"/>
            <a:ext cx="4952836" cy="3894044"/>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itle Text">
            <a:extLst>
              <a:ext uri="{FF2B5EF4-FFF2-40B4-BE49-F238E27FC236}">
                <a16:creationId xmlns:a16="http://schemas.microsoft.com/office/drawing/2014/main" id="{4B5980F9-A7B7-7DE7-65FD-745FC498DFDB}"/>
              </a:ext>
            </a:extLst>
          </p:cNvPr>
          <p:cNvSpPr txBox="1">
            <a:spLocks noGrp="1"/>
          </p:cNvSpPr>
          <p:nvPr>
            <p:ph type="title" hasCustomPrompt="1"/>
          </p:nvPr>
        </p:nvSpPr>
        <p:spPr>
          <a:xfrm>
            <a:off x="6238876" y="1270000"/>
            <a:ext cx="4959927" cy="38660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lang="en-US"/>
              <a:t>Left image short agenda</a:t>
            </a:r>
            <a:endParaRPr/>
          </a:p>
        </p:txBody>
      </p:sp>
      <p:sp>
        <p:nvSpPr>
          <p:cNvPr id="7" name="Text Placeholder 3">
            <a:extLst>
              <a:ext uri="{FF2B5EF4-FFF2-40B4-BE49-F238E27FC236}">
                <a16:creationId xmlns:a16="http://schemas.microsoft.com/office/drawing/2014/main" id="{C5EDB870-A99C-88B9-5C4B-1911ED2B4E5C}"/>
              </a:ext>
            </a:extLst>
          </p:cNvPr>
          <p:cNvSpPr txBox="1">
            <a:spLocks/>
          </p:cNvSpPr>
          <p:nvPr userDrawn="1"/>
        </p:nvSpPr>
        <p:spPr>
          <a:xfrm>
            <a:off x="288889" y="6458629"/>
            <a:ext cx="4088233" cy="150303"/>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Outfit Light" pitchFamily="2" charset="0"/>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1218948" rtl="0" eaLnBrk="1" fontAlgn="auto" latinLnBrk="0" hangingPunct="1">
              <a:lnSpc>
                <a:spcPct val="110000"/>
              </a:lnSpc>
              <a:spcBef>
                <a:spcPts val="0"/>
              </a:spcBef>
              <a:spcAft>
                <a:spcPts val="0"/>
              </a:spcAft>
              <a:buClrTx/>
              <a:buSzTx/>
              <a:buFontTx/>
              <a:buNone/>
              <a:tabLst/>
              <a:defRPr/>
            </a:pPr>
            <a:r>
              <a:rPr kumimoji="0" lang="en-US" sz="917" b="0" i="0" u="none" strike="noStrike" kern="0" cap="none" spc="0" normalizeH="0" baseline="0" noProof="0">
                <a:ln>
                  <a:noFill/>
                </a:ln>
                <a:solidFill>
                  <a:schemeClr val="tx1"/>
                </a:solidFill>
                <a:effectLst/>
                <a:uLnTx/>
                <a:uFillTx/>
                <a:latin typeface="Aptos Light" panose="020B0004020202020204" pitchFamily="34" charset="0"/>
                <a:ea typeface="+mj-ea"/>
                <a:cs typeface="+mj-cs"/>
                <a:sym typeface="IBM Plex Sans Light"/>
              </a:rPr>
              <a:t>Confidential</a:t>
            </a:r>
            <a:r>
              <a:rPr kumimoji="0" lang="en-US" sz="917" b="0" i="0" u="none" strike="noStrike" kern="0" cap="none" spc="0" normalizeH="0" baseline="0" noProof="0">
                <a:ln>
                  <a:noFill/>
                </a:ln>
                <a:solidFill>
                  <a:schemeClr val="tx1"/>
                </a:solidFill>
                <a:effectLst/>
                <a:uLnTx/>
                <a:uFillTx/>
                <a:latin typeface="Aptos" panose="020B0004020202020204" pitchFamily="34" charset="0"/>
                <a:ea typeface="+mj-ea"/>
                <a:cs typeface="+mj-cs"/>
                <a:sym typeface="IBM Plex Sans Light"/>
              </a:rPr>
              <a:t> </a:t>
            </a:r>
            <a:r>
              <a:rPr kumimoji="0" lang="en-US" sz="917" b="0" i="0" u="none" strike="noStrike" kern="0" cap="none" spc="0" normalizeH="0" baseline="0" noProof="0">
                <a:ln>
                  <a:noFill/>
                </a:ln>
                <a:solidFill>
                  <a:srgbClr val="2CC84D"/>
                </a:solidFill>
                <a:effectLst/>
                <a:uLnTx/>
                <a:uFillTx/>
                <a:latin typeface="Aptos" panose="020B0004020202020204" pitchFamily="34" charset="0"/>
                <a:ea typeface="+mj-ea"/>
                <a:cs typeface="+mj-cs"/>
                <a:sym typeface="IBM Plex Sans Light"/>
              </a:rPr>
              <a:t> /  </a:t>
            </a:r>
            <a:r>
              <a:rPr kumimoji="0" lang="en-US" sz="917" b="0" i="0" u="none" strike="noStrike" kern="0" cap="none" spc="0" normalizeH="0" baseline="0" noProof="0">
                <a:ln>
                  <a:noFill/>
                </a:ln>
                <a:solidFill>
                  <a:schemeClr val="tx1"/>
                </a:solidFill>
                <a:effectLst/>
                <a:uLnTx/>
                <a:uFillTx/>
                <a:latin typeface="Aptos Light" panose="020B0004020202020204" pitchFamily="34" charset="0"/>
                <a:ea typeface="+mj-ea"/>
                <a:cs typeface="+mj-cs"/>
                <a:sym typeface="IBM Plex Sans Light"/>
              </a:rPr>
              <a:t>Brillio Design</a:t>
            </a:r>
          </a:p>
        </p:txBody>
      </p:sp>
    </p:spTree>
    <p:extLst>
      <p:ext uri="{BB962C8B-B14F-4D97-AF65-F5344CB8AC3E}">
        <p14:creationId xmlns:p14="http://schemas.microsoft.com/office/powerpoint/2010/main" val="3209726315"/>
      </p:ext>
    </p:extLst>
  </p:cSld>
  <p:clrMapOvr>
    <a:masterClrMapping/>
  </p:clrMapOvr>
  <p:transition spd="med"/>
  <p:extLst>
    <p:ext uri="{DCECCB84-F9BA-43D5-87BE-67443E8EF086}">
      <p15:sldGuideLst xmlns:p15="http://schemas.microsoft.com/office/powerpoint/2012/main">
        <p15:guide id="2" orient="horz" pos="4656">
          <p15:clr>
            <a:srgbClr val="F26B43"/>
          </p15:clr>
        </p15:guide>
        <p15:guide id="3" orient="horz" pos="960">
          <p15:clr>
            <a:srgbClr val="F26B43"/>
          </p15:clr>
        </p15:guide>
        <p15:guide id="4" orient="horz" pos="1704">
          <p15:clr>
            <a:srgbClr val="F26B43"/>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Half image">
    <p:bg>
      <p:bgPr>
        <a:solidFill>
          <a:schemeClr val="tx1"/>
        </a:solidFill>
        <a:effectLst/>
      </p:bgPr>
    </p:bg>
    <p:spTree>
      <p:nvGrpSpPr>
        <p:cNvPr id="1" name=""/>
        <p:cNvGrpSpPr/>
        <p:nvPr/>
      </p:nvGrpSpPr>
      <p:grpSpPr>
        <a:xfrm>
          <a:off x="0" y="0"/>
          <a:ext cx="0" cy="0"/>
          <a:chOff x="0" y="0"/>
          <a:chExt cx="0" cy="0"/>
        </a:xfrm>
      </p:grpSpPr>
      <p:sp>
        <p:nvSpPr>
          <p:cNvPr id="4" name="Picture Placeholder 5">
            <a:extLst>
              <a:ext uri="{FF2B5EF4-FFF2-40B4-BE49-F238E27FC236}">
                <a16:creationId xmlns:a16="http://schemas.microsoft.com/office/drawing/2014/main" id="{06CF6CF3-8491-8469-EF6E-6DF4249EBF58}"/>
              </a:ext>
            </a:extLst>
          </p:cNvPr>
          <p:cNvSpPr>
            <a:spLocks noGrp="1"/>
          </p:cNvSpPr>
          <p:nvPr>
            <p:ph type="pic" sz="quarter" idx="13" hasCustomPrompt="1"/>
          </p:nvPr>
        </p:nvSpPr>
        <p:spPr>
          <a:xfrm>
            <a:off x="6238875" y="0"/>
            <a:ext cx="5953125" cy="6858000"/>
          </a:xfrm>
          <a:solidFill>
            <a:schemeClr val="bg1"/>
          </a:solidFill>
        </p:spPr>
        <p:txBody>
          <a:bodyPr anchor="ctr"/>
          <a:lstStyle>
            <a:lvl1pPr algn="ctr">
              <a:defRPr>
                <a:solidFill>
                  <a:schemeClr val="tx1"/>
                </a:solidFill>
              </a:defRPr>
            </a:lvl1pPr>
          </a:lstStyle>
          <a:p>
            <a:r>
              <a:rPr lang="en-US"/>
              <a:t>[add image]</a:t>
            </a:r>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95469" y="1221441"/>
            <a:ext cx="5657657" cy="4938059"/>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itle Text">
            <a:extLst>
              <a:ext uri="{FF2B5EF4-FFF2-40B4-BE49-F238E27FC236}">
                <a16:creationId xmlns:a16="http://schemas.microsoft.com/office/drawing/2014/main" id="{4B5980F9-A7B7-7DE7-65FD-745FC498DFDB}"/>
              </a:ext>
            </a:extLst>
          </p:cNvPr>
          <p:cNvSpPr txBox="1">
            <a:spLocks noGrp="1"/>
          </p:cNvSpPr>
          <p:nvPr>
            <p:ph type="title" hasCustomPrompt="1"/>
          </p:nvPr>
        </p:nvSpPr>
        <p:spPr>
          <a:xfrm>
            <a:off x="290211" y="274544"/>
            <a:ext cx="5657657" cy="386603"/>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p>
            <a:r>
              <a:rPr lang="en-US"/>
              <a:t>Half image</a:t>
            </a:r>
            <a:endParaRPr/>
          </a:p>
        </p:txBody>
      </p:sp>
      <p:sp>
        <p:nvSpPr>
          <p:cNvPr id="6" name="Text Placeholder 3">
            <a:extLst>
              <a:ext uri="{FF2B5EF4-FFF2-40B4-BE49-F238E27FC236}">
                <a16:creationId xmlns:a16="http://schemas.microsoft.com/office/drawing/2014/main" id="{97CF5AB9-188C-F7FE-47D0-616D908F404A}"/>
              </a:ext>
            </a:extLst>
          </p:cNvPr>
          <p:cNvSpPr txBox="1">
            <a:spLocks/>
          </p:cNvSpPr>
          <p:nvPr userDrawn="1"/>
        </p:nvSpPr>
        <p:spPr>
          <a:xfrm>
            <a:off x="11438259" y="6458629"/>
            <a:ext cx="462473" cy="150303"/>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Outfit Light" pitchFamily="2" charset="0"/>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r" defTabSz="1218948" rtl="0" eaLnBrk="1" fontAlgn="auto" latinLnBrk="0" hangingPunct="1">
              <a:lnSpc>
                <a:spcPct val="110000"/>
              </a:lnSpc>
              <a:spcBef>
                <a:spcPts val="0"/>
              </a:spcBef>
              <a:spcAft>
                <a:spcPts val="0"/>
              </a:spcAft>
              <a:buClrTx/>
              <a:buSzTx/>
              <a:buFontTx/>
              <a:buNone/>
              <a:tabLst/>
              <a:defRPr/>
            </a:pPr>
            <a:fld id="{64F0821C-65D3-DD4D-8DB2-745946DB9115}" type="slidenum">
              <a:rPr kumimoji="0" lang="en-US" sz="917" b="0" i="0" u="none" strike="noStrike" kern="0" cap="none" spc="0" normalizeH="0" baseline="0" noProof="0" smtClean="0">
                <a:ln>
                  <a:noFill/>
                </a:ln>
                <a:solidFill>
                  <a:schemeClr val="tx1"/>
                </a:solidFill>
                <a:effectLst/>
                <a:uLnTx/>
                <a:uFillTx/>
                <a:latin typeface="Aptos" panose="020B0004020202020204" pitchFamily="34" charset="0"/>
                <a:ea typeface="+mj-ea"/>
                <a:cs typeface="+mj-cs"/>
                <a:sym typeface="IBM Plex Sans Light"/>
              </a:rPr>
              <a:pPr marL="0" marR="0" lvl="0" indent="0" algn="r" defTabSz="1218948" rtl="0" eaLnBrk="1" fontAlgn="auto" latinLnBrk="0" hangingPunct="1">
                <a:lnSpc>
                  <a:spcPct val="110000"/>
                </a:lnSpc>
                <a:spcBef>
                  <a:spcPts val="0"/>
                </a:spcBef>
                <a:spcAft>
                  <a:spcPts val="0"/>
                </a:spcAft>
                <a:buClrTx/>
                <a:buSzTx/>
                <a:buFontTx/>
                <a:buNone/>
                <a:tabLst/>
                <a:defRPr/>
              </a:pPr>
              <a:t>‹#›</a:t>
            </a:fld>
            <a:endParaRPr kumimoji="0" lang="en-US" sz="917" b="0" i="0" u="none" strike="noStrike" kern="0" cap="none" spc="0" normalizeH="0" baseline="0" noProof="0">
              <a:ln>
                <a:noFill/>
              </a:ln>
              <a:solidFill>
                <a:schemeClr val="tx1"/>
              </a:solidFill>
              <a:effectLst/>
              <a:uLnTx/>
              <a:uFillTx/>
              <a:latin typeface="Aptos" panose="020B0004020202020204" pitchFamily="34" charset="0"/>
              <a:ea typeface="+mj-ea"/>
              <a:cs typeface="+mj-cs"/>
              <a:sym typeface="IBM Plex Sans Light"/>
            </a:endParaRPr>
          </a:p>
        </p:txBody>
      </p:sp>
      <p:pic>
        <p:nvPicPr>
          <p:cNvPr id="8" name="Graphic 7">
            <a:extLst>
              <a:ext uri="{FF2B5EF4-FFF2-40B4-BE49-F238E27FC236}">
                <a16:creationId xmlns:a16="http://schemas.microsoft.com/office/drawing/2014/main" id="{347BA4B1-3F51-247D-13A4-970446FB362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543540" y="6495499"/>
            <a:ext cx="167269" cy="81501"/>
          </a:xfrm>
          <a:prstGeom prst="rect">
            <a:avLst/>
          </a:prstGeom>
        </p:spPr>
      </p:pic>
    </p:spTree>
    <p:extLst>
      <p:ext uri="{BB962C8B-B14F-4D97-AF65-F5344CB8AC3E}">
        <p14:creationId xmlns:p14="http://schemas.microsoft.com/office/powerpoint/2010/main" val="3194635257"/>
      </p:ext>
    </p:extLst>
  </p:cSld>
  <p:clrMapOvr>
    <a:masterClrMapping/>
  </p:clrMapOvr>
  <p:transition spd="med"/>
  <p:extLst>
    <p:ext uri="{DCECCB84-F9BA-43D5-87BE-67443E8EF086}">
      <p15:sldGuideLst xmlns:p15="http://schemas.microsoft.com/office/powerpoint/2012/main">
        <p15:guide id="2" orient="horz" pos="4656">
          <p15:clr>
            <a:srgbClr val="F26B43"/>
          </p15:clr>
        </p15:guide>
        <p15:guide id="3" orient="horz" pos="912">
          <p15:clr>
            <a:srgbClr val="F26B43"/>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4 image">
    <p:bg>
      <p:bgPr>
        <a:solidFill>
          <a:schemeClr val="tx1"/>
        </a:solidFill>
        <a:effectLst/>
      </p:bgPr>
    </p:bg>
    <p:spTree>
      <p:nvGrpSpPr>
        <p:cNvPr id="1" name=""/>
        <p:cNvGrpSpPr/>
        <p:nvPr/>
      </p:nvGrpSpPr>
      <p:grpSpPr>
        <a:xfrm>
          <a:off x="0" y="0"/>
          <a:ext cx="0" cy="0"/>
          <a:chOff x="0" y="0"/>
          <a:chExt cx="0" cy="0"/>
        </a:xfrm>
      </p:grpSpPr>
      <p:sp>
        <p:nvSpPr>
          <p:cNvPr id="4" name="Picture Placeholder 5">
            <a:extLst>
              <a:ext uri="{FF2B5EF4-FFF2-40B4-BE49-F238E27FC236}">
                <a16:creationId xmlns:a16="http://schemas.microsoft.com/office/drawing/2014/main" id="{06CF6CF3-8491-8469-EF6E-6DF4249EBF58}"/>
              </a:ext>
            </a:extLst>
          </p:cNvPr>
          <p:cNvSpPr>
            <a:spLocks noGrp="1"/>
          </p:cNvSpPr>
          <p:nvPr>
            <p:ph type="pic" sz="quarter" idx="13" hasCustomPrompt="1"/>
          </p:nvPr>
        </p:nvSpPr>
        <p:spPr>
          <a:xfrm>
            <a:off x="9215437" y="0"/>
            <a:ext cx="2976562" cy="6858000"/>
          </a:xfrm>
          <a:solidFill>
            <a:schemeClr val="bg1"/>
          </a:solidFill>
        </p:spPr>
        <p:txBody>
          <a:bodyPr anchor="ctr"/>
          <a:lstStyle>
            <a:lvl1pPr algn="ctr">
              <a:defRPr>
                <a:solidFill>
                  <a:schemeClr val="tx1"/>
                </a:solidFill>
              </a:defRPr>
            </a:lvl1pPr>
          </a:lstStyle>
          <a:p>
            <a:r>
              <a:rPr lang="en-US"/>
              <a:t>[add image]</a:t>
            </a:r>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95469" y="1221441"/>
            <a:ext cx="8639478" cy="4938059"/>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itle Text">
            <a:extLst>
              <a:ext uri="{FF2B5EF4-FFF2-40B4-BE49-F238E27FC236}">
                <a16:creationId xmlns:a16="http://schemas.microsoft.com/office/drawing/2014/main" id="{4B5980F9-A7B7-7DE7-65FD-745FC498DFDB}"/>
              </a:ext>
            </a:extLst>
          </p:cNvPr>
          <p:cNvSpPr txBox="1">
            <a:spLocks noGrp="1"/>
          </p:cNvSpPr>
          <p:nvPr>
            <p:ph type="title" hasCustomPrompt="1"/>
          </p:nvPr>
        </p:nvSpPr>
        <p:spPr>
          <a:xfrm>
            <a:off x="290210" y="274544"/>
            <a:ext cx="8639478" cy="386603"/>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p>
            <a:r>
              <a:rPr lang="en-US"/>
              <a:t>1/4 image</a:t>
            </a:r>
            <a:endParaRPr/>
          </a:p>
        </p:txBody>
      </p:sp>
      <p:sp>
        <p:nvSpPr>
          <p:cNvPr id="6" name="Text Placeholder 3">
            <a:extLst>
              <a:ext uri="{FF2B5EF4-FFF2-40B4-BE49-F238E27FC236}">
                <a16:creationId xmlns:a16="http://schemas.microsoft.com/office/drawing/2014/main" id="{97CF5AB9-188C-F7FE-47D0-616D908F404A}"/>
              </a:ext>
            </a:extLst>
          </p:cNvPr>
          <p:cNvSpPr txBox="1">
            <a:spLocks/>
          </p:cNvSpPr>
          <p:nvPr userDrawn="1"/>
        </p:nvSpPr>
        <p:spPr>
          <a:xfrm>
            <a:off x="11438259" y="6458629"/>
            <a:ext cx="462473" cy="150303"/>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Outfit Light" pitchFamily="2" charset="0"/>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r" defTabSz="1218948" rtl="0" eaLnBrk="1" fontAlgn="auto" latinLnBrk="0" hangingPunct="1">
              <a:lnSpc>
                <a:spcPct val="110000"/>
              </a:lnSpc>
              <a:spcBef>
                <a:spcPts val="0"/>
              </a:spcBef>
              <a:spcAft>
                <a:spcPts val="0"/>
              </a:spcAft>
              <a:buClrTx/>
              <a:buSzTx/>
              <a:buFontTx/>
              <a:buNone/>
              <a:tabLst/>
              <a:defRPr/>
            </a:pPr>
            <a:fld id="{64F0821C-65D3-DD4D-8DB2-745946DB9115}" type="slidenum">
              <a:rPr kumimoji="0" lang="en-US" sz="917" b="0" i="0" u="none" strike="noStrike" kern="0" cap="none" spc="0" normalizeH="0" baseline="0" noProof="0" smtClean="0">
                <a:ln>
                  <a:noFill/>
                </a:ln>
                <a:solidFill>
                  <a:schemeClr val="tx1"/>
                </a:solidFill>
                <a:effectLst/>
                <a:uLnTx/>
                <a:uFillTx/>
                <a:latin typeface="Aptos" panose="020B0004020202020204" pitchFamily="34" charset="0"/>
                <a:ea typeface="+mj-ea"/>
                <a:cs typeface="+mj-cs"/>
                <a:sym typeface="IBM Plex Sans Light"/>
              </a:rPr>
              <a:pPr marL="0" marR="0" lvl="0" indent="0" algn="r" defTabSz="1218948" rtl="0" eaLnBrk="1" fontAlgn="auto" latinLnBrk="0" hangingPunct="1">
                <a:lnSpc>
                  <a:spcPct val="110000"/>
                </a:lnSpc>
                <a:spcBef>
                  <a:spcPts val="0"/>
                </a:spcBef>
                <a:spcAft>
                  <a:spcPts val="0"/>
                </a:spcAft>
                <a:buClrTx/>
                <a:buSzTx/>
                <a:buFontTx/>
                <a:buNone/>
                <a:tabLst/>
                <a:defRPr/>
              </a:pPr>
              <a:t>‹#›</a:t>
            </a:fld>
            <a:endParaRPr kumimoji="0" lang="en-US" sz="917" b="0" i="0" u="none" strike="noStrike" kern="0" cap="none" spc="0" normalizeH="0" baseline="0" noProof="0">
              <a:ln>
                <a:noFill/>
              </a:ln>
              <a:solidFill>
                <a:schemeClr val="tx1"/>
              </a:solidFill>
              <a:effectLst/>
              <a:uLnTx/>
              <a:uFillTx/>
              <a:latin typeface="Aptos" panose="020B0004020202020204" pitchFamily="34" charset="0"/>
              <a:ea typeface="+mj-ea"/>
              <a:cs typeface="+mj-cs"/>
              <a:sym typeface="IBM Plex Sans Light"/>
            </a:endParaRPr>
          </a:p>
        </p:txBody>
      </p:sp>
      <p:pic>
        <p:nvPicPr>
          <p:cNvPr id="8" name="Graphic 7">
            <a:extLst>
              <a:ext uri="{FF2B5EF4-FFF2-40B4-BE49-F238E27FC236}">
                <a16:creationId xmlns:a16="http://schemas.microsoft.com/office/drawing/2014/main" id="{347BA4B1-3F51-247D-13A4-970446FB362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543540" y="6495499"/>
            <a:ext cx="167269" cy="81501"/>
          </a:xfrm>
          <a:prstGeom prst="rect">
            <a:avLst/>
          </a:prstGeom>
        </p:spPr>
      </p:pic>
    </p:spTree>
    <p:extLst>
      <p:ext uri="{BB962C8B-B14F-4D97-AF65-F5344CB8AC3E}">
        <p14:creationId xmlns:p14="http://schemas.microsoft.com/office/powerpoint/2010/main" val="50363379"/>
      </p:ext>
    </p:extLst>
  </p:cSld>
  <p:clrMapOvr>
    <a:masterClrMapping/>
  </p:clrMapOvr>
  <p:transition spd="med"/>
  <p:extLst>
    <p:ext uri="{DCECCB84-F9BA-43D5-87BE-67443E8EF086}">
      <p15:sldGuideLst xmlns:p15="http://schemas.microsoft.com/office/powerpoint/2012/main">
        <p15:guide id="2" orient="horz" pos="4656">
          <p15:clr>
            <a:srgbClr val="F26B43"/>
          </p15:clr>
        </p15:guide>
        <p15:guide id="3" orient="horz" pos="912">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Middle image">
    <p:bg>
      <p:bgPr>
        <a:solidFill>
          <a:schemeClr val="tx1"/>
        </a:solidFill>
        <a:effectLst/>
      </p:bgPr>
    </p:bg>
    <p:spTree>
      <p:nvGrpSpPr>
        <p:cNvPr id="1" name=""/>
        <p:cNvGrpSpPr/>
        <p:nvPr/>
      </p:nvGrpSpPr>
      <p:grpSpPr>
        <a:xfrm>
          <a:off x="0" y="0"/>
          <a:ext cx="0" cy="0"/>
          <a:chOff x="0" y="0"/>
          <a:chExt cx="0" cy="0"/>
        </a:xfrm>
      </p:grpSpPr>
      <p:sp>
        <p:nvSpPr>
          <p:cNvPr id="4" name="Picture Placeholder 5">
            <a:extLst>
              <a:ext uri="{FF2B5EF4-FFF2-40B4-BE49-F238E27FC236}">
                <a16:creationId xmlns:a16="http://schemas.microsoft.com/office/drawing/2014/main" id="{06CF6CF3-8491-8469-EF6E-6DF4249EBF58}"/>
              </a:ext>
            </a:extLst>
          </p:cNvPr>
          <p:cNvSpPr>
            <a:spLocks noGrp="1"/>
          </p:cNvSpPr>
          <p:nvPr>
            <p:ph type="pic" sz="quarter" idx="13" hasCustomPrompt="1"/>
          </p:nvPr>
        </p:nvSpPr>
        <p:spPr>
          <a:xfrm>
            <a:off x="4258959" y="0"/>
            <a:ext cx="3678540" cy="6858000"/>
          </a:xfrm>
          <a:solidFill>
            <a:schemeClr val="bg1"/>
          </a:solidFill>
        </p:spPr>
        <p:txBody>
          <a:bodyPr anchor="ctr"/>
          <a:lstStyle>
            <a:lvl1pPr algn="ctr">
              <a:defRPr>
                <a:solidFill>
                  <a:schemeClr val="tx1"/>
                </a:solidFill>
              </a:defRPr>
            </a:lvl1pPr>
          </a:lstStyle>
          <a:p>
            <a:r>
              <a:rPr lang="en-US"/>
              <a:t>[add image]</a:t>
            </a:r>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95469" y="1221441"/>
            <a:ext cx="3673281" cy="4938059"/>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itle Text">
            <a:extLst>
              <a:ext uri="{FF2B5EF4-FFF2-40B4-BE49-F238E27FC236}">
                <a16:creationId xmlns:a16="http://schemas.microsoft.com/office/drawing/2014/main" id="{4B5980F9-A7B7-7DE7-65FD-745FC498DFDB}"/>
              </a:ext>
            </a:extLst>
          </p:cNvPr>
          <p:cNvSpPr txBox="1">
            <a:spLocks noGrp="1"/>
          </p:cNvSpPr>
          <p:nvPr>
            <p:ph type="title" hasCustomPrompt="1"/>
          </p:nvPr>
        </p:nvSpPr>
        <p:spPr>
          <a:xfrm>
            <a:off x="290211" y="295139"/>
            <a:ext cx="3678540" cy="38660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73152" rIns="0" bIns="0"/>
          <a:lstStyle/>
          <a:p>
            <a:r>
              <a:rPr lang="en-US"/>
              <a:t>Middle image</a:t>
            </a:r>
            <a:endParaRPr/>
          </a:p>
        </p:txBody>
      </p:sp>
      <p:sp>
        <p:nvSpPr>
          <p:cNvPr id="2" name="Text Placeholder 4">
            <a:extLst>
              <a:ext uri="{FF2B5EF4-FFF2-40B4-BE49-F238E27FC236}">
                <a16:creationId xmlns:a16="http://schemas.microsoft.com/office/drawing/2014/main" id="{268CFDAC-21E1-B6CB-5526-A2AB72858990}"/>
              </a:ext>
            </a:extLst>
          </p:cNvPr>
          <p:cNvSpPr>
            <a:spLocks noGrp="1"/>
          </p:cNvSpPr>
          <p:nvPr>
            <p:ph type="body" sz="quarter" idx="14"/>
          </p:nvPr>
        </p:nvSpPr>
        <p:spPr>
          <a:xfrm>
            <a:off x="8240440" y="1221441"/>
            <a:ext cx="3673281" cy="4938059"/>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633643281"/>
      </p:ext>
    </p:extLst>
  </p:cSld>
  <p:clrMapOvr>
    <a:masterClrMapping/>
  </p:clrMapOvr>
  <p:transition spd="med"/>
  <p:extLst>
    <p:ext uri="{DCECCB84-F9BA-43D5-87BE-67443E8EF086}">
      <p15:sldGuideLst xmlns:p15="http://schemas.microsoft.com/office/powerpoint/2012/main">
        <p15:guide id="2" orient="horz" pos="4656">
          <p15:clr>
            <a:srgbClr val="F26B43"/>
          </p15:clr>
        </p15:guide>
        <p15:guide id="3" orient="horz" pos="912">
          <p15:clr>
            <a:srgbClr val="F26B43"/>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3 image">
    <p:bg>
      <p:bgPr>
        <a:solidFill>
          <a:schemeClr val="tx1"/>
        </a:solidFill>
        <a:effectLst/>
      </p:bgPr>
    </p:bg>
    <p:spTree>
      <p:nvGrpSpPr>
        <p:cNvPr id="1" name=""/>
        <p:cNvGrpSpPr/>
        <p:nvPr/>
      </p:nvGrpSpPr>
      <p:grpSpPr>
        <a:xfrm>
          <a:off x="0" y="0"/>
          <a:ext cx="0" cy="0"/>
          <a:chOff x="0" y="0"/>
          <a:chExt cx="0" cy="0"/>
        </a:xfrm>
      </p:grpSpPr>
      <p:sp>
        <p:nvSpPr>
          <p:cNvPr id="4" name="Picture Placeholder 5">
            <a:extLst>
              <a:ext uri="{FF2B5EF4-FFF2-40B4-BE49-F238E27FC236}">
                <a16:creationId xmlns:a16="http://schemas.microsoft.com/office/drawing/2014/main" id="{06CF6CF3-8491-8469-EF6E-6DF4249EBF58}"/>
              </a:ext>
            </a:extLst>
          </p:cNvPr>
          <p:cNvSpPr>
            <a:spLocks noGrp="1"/>
          </p:cNvSpPr>
          <p:nvPr>
            <p:ph type="pic" sz="quarter" idx="13" hasCustomPrompt="1"/>
          </p:nvPr>
        </p:nvSpPr>
        <p:spPr>
          <a:xfrm>
            <a:off x="4254501" y="0"/>
            <a:ext cx="7937499" cy="6858000"/>
          </a:xfrm>
          <a:solidFill>
            <a:schemeClr val="bg1"/>
          </a:solidFill>
        </p:spPr>
        <p:txBody>
          <a:bodyPr anchor="ctr"/>
          <a:lstStyle>
            <a:lvl1pPr algn="ctr">
              <a:defRPr>
                <a:solidFill>
                  <a:schemeClr val="tx1"/>
                </a:solidFill>
              </a:defRPr>
            </a:lvl1pPr>
          </a:lstStyle>
          <a:p>
            <a:r>
              <a:rPr lang="en-US"/>
              <a:t>[add image]</a:t>
            </a:r>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95470" y="1221441"/>
            <a:ext cx="3673281" cy="4938059"/>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itle Text">
            <a:extLst>
              <a:ext uri="{FF2B5EF4-FFF2-40B4-BE49-F238E27FC236}">
                <a16:creationId xmlns:a16="http://schemas.microsoft.com/office/drawing/2014/main" id="{4B5980F9-A7B7-7DE7-65FD-745FC498DFDB}"/>
              </a:ext>
            </a:extLst>
          </p:cNvPr>
          <p:cNvSpPr txBox="1">
            <a:spLocks noGrp="1"/>
          </p:cNvSpPr>
          <p:nvPr>
            <p:ph type="title" hasCustomPrompt="1"/>
          </p:nvPr>
        </p:nvSpPr>
        <p:spPr>
          <a:xfrm>
            <a:off x="290211" y="274544"/>
            <a:ext cx="3673281" cy="386603"/>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p>
            <a:r>
              <a:rPr lang="en-US"/>
              <a:t>2/3 image</a:t>
            </a:r>
            <a:endParaRPr/>
          </a:p>
        </p:txBody>
      </p:sp>
      <p:sp>
        <p:nvSpPr>
          <p:cNvPr id="6" name="Text Placeholder 3">
            <a:extLst>
              <a:ext uri="{FF2B5EF4-FFF2-40B4-BE49-F238E27FC236}">
                <a16:creationId xmlns:a16="http://schemas.microsoft.com/office/drawing/2014/main" id="{97CF5AB9-188C-F7FE-47D0-616D908F404A}"/>
              </a:ext>
            </a:extLst>
          </p:cNvPr>
          <p:cNvSpPr txBox="1">
            <a:spLocks/>
          </p:cNvSpPr>
          <p:nvPr userDrawn="1"/>
        </p:nvSpPr>
        <p:spPr>
          <a:xfrm>
            <a:off x="11438259" y="6458629"/>
            <a:ext cx="462473" cy="150303"/>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Outfit Light" pitchFamily="2" charset="0"/>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r" defTabSz="1218948" rtl="0" eaLnBrk="1" fontAlgn="auto" latinLnBrk="0" hangingPunct="1">
              <a:lnSpc>
                <a:spcPct val="110000"/>
              </a:lnSpc>
              <a:spcBef>
                <a:spcPts val="0"/>
              </a:spcBef>
              <a:spcAft>
                <a:spcPts val="0"/>
              </a:spcAft>
              <a:buClrTx/>
              <a:buSzTx/>
              <a:buFontTx/>
              <a:buNone/>
              <a:tabLst/>
              <a:defRPr/>
            </a:pPr>
            <a:fld id="{64F0821C-65D3-DD4D-8DB2-745946DB9115}" type="slidenum">
              <a:rPr kumimoji="0" lang="en-US" sz="917" b="0" i="0" u="none" strike="noStrike" kern="0" cap="none" spc="0" normalizeH="0" baseline="0" noProof="0" smtClean="0">
                <a:ln>
                  <a:noFill/>
                </a:ln>
                <a:solidFill>
                  <a:schemeClr val="tx1"/>
                </a:solidFill>
                <a:effectLst/>
                <a:uLnTx/>
                <a:uFillTx/>
                <a:latin typeface="Aptos" panose="020B0004020202020204" pitchFamily="34" charset="0"/>
                <a:ea typeface="+mj-ea"/>
                <a:cs typeface="+mj-cs"/>
                <a:sym typeface="IBM Plex Sans Light"/>
              </a:rPr>
              <a:pPr marL="0" marR="0" lvl="0" indent="0" algn="r" defTabSz="1218948" rtl="0" eaLnBrk="1" fontAlgn="auto" latinLnBrk="0" hangingPunct="1">
                <a:lnSpc>
                  <a:spcPct val="110000"/>
                </a:lnSpc>
                <a:spcBef>
                  <a:spcPts val="0"/>
                </a:spcBef>
                <a:spcAft>
                  <a:spcPts val="0"/>
                </a:spcAft>
                <a:buClrTx/>
                <a:buSzTx/>
                <a:buFontTx/>
                <a:buNone/>
                <a:tabLst/>
                <a:defRPr/>
              </a:pPr>
              <a:t>‹#›</a:t>
            </a:fld>
            <a:endParaRPr kumimoji="0" lang="en-US" sz="917" b="0" i="0" u="none" strike="noStrike" kern="0" cap="none" spc="0" normalizeH="0" baseline="0" noProof="0">
              <a:ln>
                <a:noFill/>
              </a:ln>
              <a:solidFill>
                <a:schemeClr val="tx1"/>
              </a:solidFill>
              <a:effectLst/>
              <a:uLnTx/>
              <a:uFillTx/>
              <a:latin typeface="Aptos" panose="020B0004020202020204" pitchFamily="34" charset="0"/>
              <a:ea typeface="+mj-ea"/>
              <a:cs typeface="+mj-cs"/>
              <a:sym typeface="IBM Plex Sans Light"/>
            </a:endParaRPr>
          </a:p>
        </p:txBody>
      </p:sp>
      <p:pic>
        <p:nvPicPr>
          <p:cNvPr id="8" name="Graphic 7">
            <a:extLst>
              <a:ext uri="{FF2B5EF4-FFF2-40B4-BE49-F238E27FC236}">
                <a16:creationId xmlns:a16="http://schemas.microsoft.com/office/drawing/2014/main" id="{347BA4B1-3F51-247D-13A4-970446FB362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543540" y="6495499"/>
            <a:ext cx="167269" cy="81501"/>
          </a:xfrm>
          <a:prstGeom prst="rect">
            <a:avLst/>
          </a:prstGeom>
        </p:spPr>
      </p:pic>
    </p:spTree>
    <p:extLst>
      <p:ext uri="{BB962C8B-B14F-4D97-AF65-F5344CB8AC3E}">
        <p14:creationId xmlns:p14="http://schemas.microsoft.com/office/powerpoint/2010/main" val="3954739097"/>
      </p:ext>
    </p:extLst>
  </p:cSld>
  <p:clrMapOvr>
    <a:masterClrMapping/>
  </p:clrMapOvr>
  <p:transition spd="med"/>
  <p:extLst>
    <p:ext uri="{DCECCB84-F9BA-43D5-87BE-67443E8EF086}">
      <p15:sldGuideLst xmlns:p15="http://schemas.microsoft.com/office/powerpoint/2012/main">
        <p15:guide id="2" orient="horz" pos="4656">
          <p15:clr>
            <a:srgbClr val="F26B43"/>
          </p15:clr>
        </p15:guide>
        <p15:guide id="3" orient="horz" pos="912">
          <p15:clr>
            <a:srgbClr val="F26B43"/>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Full image">
    <p:bg>
      <p:bgPr>
        <a:solidFill>
          <a:schemeClr val="tx1"/>
        </a:solidFill>
        <a:effectLst/>
      </p:bgPr>
    </p:bg>
    <p:spTree>
      <p:nvGrpSpPr>
        <p:cNvPr id="1" name=""/>
        <p:cNvGrpSpPr/>
        <p:nvPr/>
      </p:nvGrpSpPr>
      <p:grpSpPr>
        <a:xfrm>
          <a:off x="0" y="0"/>
          <a:ext cx="0" cy="0"/>
          <a:chOff x="0" y="0"/>
          <a:chExt cx="0" cy="0"/>
        </a:xfrm>
      </p:grpSpPr>
      <p:sp>
        <p:nvSpPr>
          <p:cNvPr id="4" name="Picture Placeholder 5">
            <a:extLst>
              <a:ext uri="{FF2B5EF4-FFF2-40B4-BE49-F238E27FC236}">
                <a16:creationId xmlns:a16="http://schemas.microsoft.com/office/drawing/2014/main" id="{06CF6CF3-8491-8469-EF6E-6DF4249EBF58}"/>
              </a:ext>
            </a:extLst>
          </p:cNvPr>
          <p:cNvSpPr>
            <a:spLocks noGrp="1"/>
          </p:cNvSpPr>
          <p:nvPr>
            <p:ph type="pic" sz="quarter" idx="13" hasCustomPrompt="1"/>
          </p:nvPr>
        </p:nvSpPr>
        <p:spPr>
          <a:xfrm>
            <a:off x="1" y="0"/>
            <a:ext cx="12191999" cy="6858000"/>
          </a:xfrm>
          <a:solidFill>
            <a:schemeClr val="bg1"/>
          </a:solidFill>
        </p:spPr>
        <p:txBody>
          <a:bodyPr anchor="ctr"/>
          <a:lstStyle>
            <a:lvl1pPr algn="ctr">
              <a:defRPr>
                <a:solidFill>
                  <a:schemeClr val="tx1"/>
                </a:solidFill>
              </a:defRPr>
            </a:lvl1pPr>
          </a:lstStyle>
          <a:p>
            <a:r>
              <a:rPr lang="en-US"/>
              <a:t>[add full image]</a:t>
            </a:r>
          </a:p>
        </p:txBody>
      </p:sp>
      <p:sp>
        <p:nvSpPr>
          <p:cNvPr id="2" name="Text Placeholder 3">
            <a:extLst>
              <a:ext uri="{FF2B5EF4-FFF2-40B4-BE49-F238E27FC236}">
                <a16:creationId xmlns:a16="http://schemas.microsoft.com/office/drawing/2014/main" id="{58FB3813-5A01-A86A-A140-973431D7417F}"/>
              </a:ext>
            </a:extLst>
          </p:cNvPr>
          <p:cNvSpPr txBox="1">
            <a:spLocks/>
          </p:cNvSpPr>
          <p:nvPr userDrawn="1"/>
        </p:nvSpPr>
        <p:spPr>
          <a:xfrm>
            <a:off x="11438259" y="6458629"/>
            <a:ext cx="462473" cy="150303"/>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Outfit Light" pitchFamily="2" charset="0"/>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r" defTabSz="1218948" rtl="0" eaLnBrk="1" fontAlgn="auto" latinLnBrk="0" hangingPunct="1">
              <a:lnSpc>
                <a:spcPct val="110000"/>
              </a:lnSpc>
              <a:spcBef>
                <a:spcPts val="0"/>
              </a:spcBef>
              <a:spcAft>
                <a:spcPts val="0"/>
              </a:spcAft>
              <a:buClrTx/>
              <a:buSzTx/>
              <a:buFontTx/>
              <a:buNone/>
              <a:tabLst/>
              <a:defRPr/>
            </a:pPr>
            <a:fld id="{64F0821C-65D3-DD4D-8DB2-745946DB9115}" type="slidenum">
              <a:rPr kumimoji="0" lang="en-US" sz="917" b="0" i="0" u="none" strike="noStrike" kern="0" cap="none" spc="0" normalizeH="0" baseline="0" noProof="0" smtClean="0">
                <a:ln>
                  <a:noFill/>
                </a:ln>
                <a:solidFill>
                  <a:schemeClr val="tx1"/>
                </a:solidFill>
                <a:effectLst/>
                <a:uLnTx/>
                <a:uFillTx/>
                <a:latin typeface="Aptos" panose="020B0004020202020204" pitchFamily="34" charset="0"/>
                <a:ea typeface="+mj-ea"/>
                <a:cs typeface="+mj-cs"/>
                <a:sym typeface="IBM Plex Sans Light"/>
              </a:rPr>
              <a:pPr marL="0" marR="0" lvl="0" indent="0" algn="r" defTabSz="1218948" rtl="0" eaLnBrk="1" fontAlgn="auto" latinLnBrk="0" hangingPunct="1">
                <a:lnSpc>
                  <a:spcPct val="110000"/>
                </a:lnSpc>
                <a:spcBef>
                  <a:spcPts val="0"/>
                </a:spcBef>
                <a:spcAft>
                  <a:spcPts val="0"/>
                </a:spcAft>
                <a:buClrTx/>
                <a:buSzTx/>
                <a:buFontTx/>
                <a:buNone/>
                <a:tabLst/>
                <a:defRPr/>
              </a:pPr>
              <a:t>‹#›</a:t>
            </a:fld>
            <a:endParaRPr kumimoji="0" lang="en-US" sz="917" b="0" i="0" u="none" strike="noStrike" kern="0" cap="none" spc="0" normalizeH="0" baseline="0" noProof="0">
              <a:ln>
                <a:noFill/>
              </a:ln>
              <a:solidFill>
                <a:schemeClr val="tx1"/>
              </a:solidFill>
              <a:effectLst/>
              <a:uLnTx/>
              <a:uFillTx/>
              <a:latin typeface="Aptos" panose="020B0004020202020204" pitchFamily="34" charset="0"/>
              <a:ea typeface="+mj-ea"/>
              <a:cs typeface="+mj-cs"/>
              <a:sym typeface="IBM Plex Sans Light"/>
            </a:endParaRPr>
          </a:p>
        </p:txBody>
      </p:sp>
      <p:pic>
        <p:nvPicPr>
          <p:cNvPr id="7" name="Graphic 6">
            <a:extLst>
              <a:ext uri="{FF2B5EF4-FFF2-40B4-BE49-F238E27FC236}">
                <a16:creationId xmlns:a16="http://schemas.microsoft.com/office/drawing/2014/main" id="{45931F86-4C64-9FBF-098B-1ADD1A26506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543540" y="6495499"/>
            <a:ext cx="167269" cy="81501"/>
          </a:xfrm>
          <a:prstGeom prst="rect">
            <a:avLst/>
          </a:prstGeom>
        </p:spPr>
      </p:pic>
      <p:sp>
        <p:nvSpPr>
          <p:cNvPr id="9" name="Text Placeholder 3">
            <a:extLst>
              <a:ext uri="{FF2B5EF4-FFF2-40B4-BE49-F238E27FC236}">
                <a16:creationId xmlns:a16="http://schemas.microsoft.com/office/drawing/2014/main" id="{866CA566-8F60-03D9-049C-F5E33522BDB6}"/>
              </a:ext>
            </a:extLst>
          </p:cNvPr>
          <p:cNvSpPr txBox="1">
            <a:spLocks/>
          </p:cNvSpPr>
          <p:nvPr userDrawn="1"/>
        </p:nvSpPr>
        <p:spPr>
          <a:xfrm>
            <a:off x="288889" y="6458629"/>
            <a:ext cx="4088233" cy="150303"/>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Outfit Light" pitchFamily="2" charset="0"/>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1218948" rtl="0" eaLnBrk="1" fontAlgn="auto" latinLnBrk="0" hangingPunct="1">
              <a:lnSpc>
                <a:spcPct val="110000"/>
              </a:lnSpc>
              <a:spcBef>
                <a:spcPts val="0"/>
              </a:spcBef>
              <a:spcAft>
                <a:spcPts val="0"/>
              </a:spcAft>
              <a:buClrTx/>
              <a:buSzTx/>
              <a:buFontTx/>
              <a:buNone/>
              <a:tabLst/>
              <a:defRPr/>
            </a:pPr>
            <a:r>
              <a:rPr kumimoji="0" lang="en-US" sz="917" b="0" i="0" u="none" strike="noStrike" kern="0" cap="none" spc="0" normalizeH="0" baseline="0" noProof="0">
                <a:ln>
                  <a:noFill/>
                </a:ln>
                <a:solidFill>
                  <a:schemeClr val="tx1"/>
                </a:solidFill>
                <a:effectLst/>
                <a:uLnTx/>
                <a:uFillTx/>
                <a:latin typeface="Aptos Light" panose="020B0004020202020204" pitchFamily="34" charset="0"/>
                <a:ea typeface="+mj-ea"/>
                <a:cs typeface="+mj-cs"/>
                <a:sym typeface="IBM Plex Sans Light"/>
              </a:rPr>
              <a:t>Confidential</a:t>
            </a:r>
            <a:r>
              <a:rPr kumimoji="0" lang="en-US" sz="917" b="0" i="0" u="none" strike="noStrike" kern="0" cap="none" spc="0" normalizeH="0" baseline="0" noProof="0">
                <a:ln>
                  <a:noFill/>
                </a:ln>
                <a:solidFill>
                  <a:schemeClr val="tx1"/>
                </a:solidFill>
                <a:effectLst/>
                <a:uLnTx/>
                <a:uFillTx/>
                <a:latin typeface="Aptos" panose="020B0004020202020204" pitchFamily="34" charset="0"/>
                <a:ea typeface="+mj-ea"/>
                <a:cs typeface="+mj-cs"/>
                <a:sym typeface="IBM Plex Sans Light"/>
              </a:rPr>
              <a:t> </a:t>
            </a:r>
            <a:r>
              <a:rPr kumimoji="0" lang="en-US" sz="917" b="0" i="0" u="none" strike="noStrike" kern="0" cap="none" spc="0" normalizeH="0" baseline="0" noProof="0">
                <a:ln>
                  <a:noFill/>
                </a:ln>
                <a:solidFill>
                  <a:srgbClr val="2CC84D"/>
                </a:solidFill>
                <a:effectLst/>
                <a:uLnTx/>
                <a:uFillTx/>
                <a:latin typeface="Aptos" panose="020B0004020202020204" pitchFamily="34" charset="0"/>
                <a:ea typeface="+mj-ea"/>
                <a:cs typeface="+mj-cs"/>
                <a:sym typeface="IBM Plex Sans Light"/>
              </a:rPr>
              <a:t> /  </a:t>
            </a:r>
            <a:r>
              <a:rPr kumimoji="0" lang="en-US" sz="917" b="0" i="0" u="none" strike="noStrike" kern="0" cap="none" spc="0" normalizeH="0" baseline="0" noProof="0">
                <a:ln>
                  <a:noFill/>
                </a:ln>
                <a:solidFill>
                  <a:schemeClr val="tx1"/>
                </a:solidFill>
                <a:effectLst/>
                <a:uLnTx/>
                <a:uFillTx/>
                <a:latin typeface="Aptos Light" panose="020B0004020202020204" pitchFamily="34" charset="0"/>
                <a:ea typeface="+mj-ea"/>
                <a:cs typeface="+mj-cs"/>
                <a:sym typeface="IBM Plex Sans Light"/>
              </a:rPr>
              <a:t>Brillio Design</a:t>
            </a:r>
          </a:p>
        </p:txBody>
      </p:sp>
      <p:sp>
        <p:nvSpPr>
          <p:cNvPr id="10" name="Title Text">
            <a:extLst>
              <a:ext uri="{FF2B5EF4-FFF2-40B4-BE49-F238E27FC236}">
                <a16:creationId xmlns:a16="http://schemas.microsoft.com/office/drawing/2014/main" id="{2F82232D-23DD-4283-0987-40C92FF7B6C8}"/>
              </a:ext>
            </a:extLst>
          </p:cNvPr>
          <p:cNvSpPr txBox="1">
            <a:spLocks noGrp="1"/>
          </p:cNvSpPr>
          <p:nvPr>
            <p:ph type="title" hasCustomPrompt="1"/>
          </p:nvPr>
        </p:nvSpPr>
        <p:spPr>
          <a:xfrm>
            <a:off x="288555" y="274544"/>
            <a:ext cx="11606656" cy="386603"/>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lvl1pPr>
              <a:defRPr>
                <a:solidFill>
                  <a:schemeClr val="tx1"/>
                </a:solidFill>
              </a:defRPr>
            </a:lvl1pPr>
          </a:lstStyle>
          <a:p>
            <a:r>
              <a:rPr lang="en-US"/>
              <a:t>Full image</a:t>
            </a:r>
            <a:endParaRPr/>
          </a:p>
        </p:txBody>
      </p:sp>
    </p:spTree>
    <p:extLst>
      <p:ext uri="{BB962C8B-B14F-4D97-AF65-F5344CB8AC3E}">
        <p14:creationId xmlns:p14="http://schemas.microsoft.com/office/powerpoint/2010/main" val="2743062245"/>
      </p:ext>
    </p:extLst>
  </p:cSld>
  <p:clrMapOvr>
    <a:masterClrMapping/>
  </p:clrMapOvr>
  <p:transition spd="med"/>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Bottom color block">
    <p:bg>
      <p:bgPr>
        <a:solidFill>
          <a:schemeClr val="tx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95470" y="1217706"/>
            <a:ext cx="2681094" cy="4941794"/>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itle Text">
            <a:extLst>
              <a:ext uri="{FF2B5EF4-FFF2-40B4-BE49-F238E27FC236}">
                <a16:creationId xmlns:a16="http://schemas.microsoft.com/office/drawing/2014/main" id="{4B5980F9-A7B7-7DE7-65FD-745FC498DFDB}"/>
              </a:ext>
            </a:extLst>
          </p:cNvPr>
          <p:cNvSpPr txBox="1">
            <a:spLocks noGrp="1"/>
          </p:cNvSpPr>
          <p:nvPr>
            <p:ph type="title" hasCustomPrompt="1"/>
          </p:nvPr>
        </p:nvSpPr>
        <p:spPr>
          <a:xfrm>
            <a:off x="290212" y="274544"/>
            <a:ext cx="8639476" cy="38660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lang="en-US"/>
              <a:t>Half circle image</a:t>
            </a:r>
            <a:endParaRPr/>
          </a:p>
        </p:txBody>
      </p:sp>
      <p:sp>
        <p:nvSpPr>
          <p:cNvPr id="4" name="Text Placeholder 4">
            <a:extLst>
              <a:ext uri="{FF2B5EF4-FFF2-40B4-BE49-F238E27FC236}">
                <a16:creationId xmlns:a16="http://schemas.microsoft.com/office/drawing/2014/main" id="{6B78AFFA-760B-C379-5035-CB7ECAE05516}"/>
              </a:ext>
            </a:extLst>
          </p:cNvPr>
          <p:cNvSpPr>
            <a:spLocks noGrp="1"/>
          </p:cNvSpPr>
          <p:nvPr>
            <p:ph type="body" sz="quarter" idx="12"/>
          </p:nvPr>
        </p:nvSpPr>
        <p:spPr>
          <a:xfrm>
            <a:off x="3272031" y="1217706"/>
            <a:ext cx="2681094" cy="4941794"/>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ext Placeholder 4">
            <a:extLst>
              <a:ext uri="{FF2B5EF4-FFF2-40B4-BE49-F238E27FC236}">
                <a16:creationId xmlns:a16="http://schemas.microsoft.com/office/drawing/2014/main" id="{376D964F-C8A1-C871-5753-80704C0AE4DC}"/>
              </a:ext>
            </a:extLst>
          </p:cNvPr>
          <p:cNvSpPr>
            <a:spLocks noGrp="1"/>
          </p:cNvSpPr>
          <p:nvPr>
            <p:ph type="body" sz="quarter" idx="13"/>
          </p:nvPr>
        </p:nvSpPr>
        <p:spPr>
          <a:xfrm>
            <a:off x="6250082" y="1217706"/>
            <a:ext cx="2679606" cy="4941794"/>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Freeform: Shape 5">
            <a:extLst>
              <a:ext uri="{FF2B5EF4-FFF2-40B4-BE49-F238E27FC236}">
                <a16:creationId xmlns:a16="http://schemas.microsoft.com/office/drawing/2014/main" id="{E4B0EB2B-7117-FC86-E8DC-933DB03191EF}"/>
              </a:ext>
            </a:extLst>
          </p:cNvPr>
          <p:cNvSpPr>
            <a:spLocks noGrp="1"/>
          </p:cNvSpPr>
          <p:nvPr>
            <p:ph type="pic" sz="quarter" idx="10" hasCustomPrompt="1"/>
          </p:nvPr>
        </p:nvSpPr>
        <p:spPr>
          <a:xfrm flipH="1">
            <a:off x="9303437" y="299085"/>
            <a:ext cx="2890043" cy="5860415"/>
          </a:xfrm>
          <a:custGeom>
            <a:avLst/>
            <a:gdLst>
              <a:gd name="connsiteX0" fmla="*/ 0 w 2264458"/>
              <a:gd name="connsiteY0" fmla="*/ 0 h 4673463"/>
              <a:gd name="connsiteX1" fmla="*/ 163193 w 2264458"/>
              <a:gd name="connsiteY1" fmla="*/ 8241 h 4673463"/>
              <a:gd name="connsiteX2" fmla="*/ 2264458 w 2264458"/>
              <a:gd name="connsiteY2" fmla="*/ 2336732 h 4673463"/>
              <a:gd name="connsiteX3" fmla="*/ 163193 w 2264458"/>
              <a:gd name="connsiteY3" fmla="*/ 4665223 h 4673463"/>
              <a:gd name="connsiteX4" fmla="*/ 0 w 2264458"/>
              <a:gd name="connsiteY4" fmla="*/ 4673463 h 4673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4458" h="4673463">
                <a:moveTo>
                  <a:pt x="0" y="0"/>
                </a:moveTo>
                <a:lnTo>
                  <a:pt x="163193" y="8241"/>
                </a:lnTo>
                <a:cubicBezTo>
                  <a:pt x="1343443" y="128102"/>
                  <a:pt x="2264458" y="1124859"/>
                  <a:pt x="2264458" y="2336732"/>
                </a:cubicBezTo>
                <a:cubicBezTo>
                  <a:pt x="2264458" y="3548604"/>
                  <a:pt x="1343443" y="4545363"/>
                  <a:pt x="163193" y="4665223"/>
                </a:cubicBezTo>
                <a:lnTo>
                  <a:pt x="0" y="4673463"/>
                </a:lnTo>
                <a:close/>
              </a:path>
            </a:pathLst>
          </a:custGeom>
          <a:solidFill>
            <a:schemeClr val="bg1"/>
          </a:solidFill>
        </p:spPr>
        <p:txBody>
          <a:bodyPr wrap="square" anchor="ctr">
            <a:noAutofit/>
          </a:bodyPr>
          <a:lstStyle>
            <a:lvl1pPr marL="0" indent="0" algn="ctr">
              <a:buNone/>
              <a:defRPr>
                <a:solidFill>
                  <a:schemeClr val="tx1"/>
                </a:solidFill>
              </a:defRPr>
            </a:lvl1pPr>
          </a:lstStyle>
          <a:p>
            <a:pPr lvl="0"/>
            <a:r>
              <a:rPr lang="en-ID" noProof="0"/>
              <a:t>[add image]</a:t>
            </a:r>
          </a:p>
        </p:txBody>
      </p:sp>
    </p:spTree>
    <p:extLst>
      <p:ext uri="{BB962C8B-B14F-4D97-AF65-F5344CB8AC3E}">
        <p14:creationId xmlns:p14="http://schemas.microsoft.com/office/powerpoint/2010/main" val="4124488559"/>
      </p:ext>
    </p:extLst>
  </p:cSld>
  <p:clrMapOvr>
    <a:masterClrMapping/>
  </p:clrMapOvr>
  <p:transition spd="med"/>
  <p:extLst>
    <p:ext uri="{DCECCB84-F9BA-43D5-87BE-67443E8EF086}">
      <p15:sldGuideLst xmlns:p15="http://schemas.microsoft.com/office/powerpoint/2012/main">
        <p15:guide id="2" orient="horz" pos="4656">
          <p15:clr>
            <a:srgbClr val="F26B43"/>
          </p15:clr>
        </p15:guide>
        <p15:guide id="3" orient="horz" pos="912">
          <p15:clr>
            <a:srgbClr val="F26B43"/>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onut Image">
    <p:bg>
      <p:bgPr>
        <a:solidFill>
          <a:schemeClr val="tx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95470" y="1221441"/>
            <a:ext cx="5658439" cy="4938059"/>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itle Text">
            <a:extLst>
              <a:ext uri="{FF2B5EF4-FFF2-40B4-BE49-F238E27FC236}">
                <a16:creationId xmlns:a16="http://schemas.microsoft.com/office/drawing/2014/main" id="{4B5980F9-A7B7-7DE7-65FD-745FC498DFDB}"/>
              </a:ext>
            </a:extLst>
          </p:cNvPr>
          <p:cNvSpPr txBox="1">
            <a:spLocks noGrp="1"/>
          </p:cNvSpPr>
          <p:nvPr>
            <p:ph type="title" hasCustomPrompt="1"/>
          </p:nvPr>
        </p:nvSpPr>
        <p:spPr>
          <a:xfrm>
            <a:off x="290212" y="274544"/>
            <a:ext cx="5662913" cy="386603"/>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p>
            <a:r>
              <a:rPr lang="en-US"/>
              <a:t>Donut image</a:t>
            </a:r>
            <a:endParaRPr/>
          </a:p>
        </p:txBody>
      </p:sp>
      <p:sp>
        <p:nvSpPr>
          <p:cNvPr id="7" name="Rectangle 6">
            <a:extLst>
              <a:ext uri="{FF2B5EF4-FFF2-40B4-BE49-F238E27FC236}">
                <a16:creationId xmlns:a16="http://schemas.microsoft.com/office/drawing/2014/main" id="{92499C85-30F2-6EA7-FA46-49F8397A724D}"/>
              </a:ext>
            </a:extLst>
          </p:cNvPr>
          <p:cNvSpPr/>
          <p:nvPr userDrawn="1"/>
        </p:nvSpPr>
        <p:spPr bwMode="auto">
          <a:xfrm>
            <a:off x="8223251" y="0"/>
            <a:ext cx="3968750" cy="6858000"/>
          </a:xfrm>
          <a:prstGeom prst="rect">
            <a:avLst/>
          </a:prstGeom>
          <a:solidFill>
            <a:schemeClr val="tx2"/>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76200" tIns="76200" rIns="76200" bIns="76200" numCol="1" rtlCol="0" anchor="t" anchorCtr="0" compatLnSpc="1">
            <a:prstTxWarp prst="textNoShape">
              <a:avLst/>
            </a:prstTxWarp>
          </a:bodyPr>
          <a:lstStyle/>
          <a:p>
            <a:pPr marL="0" marR="0" indent="0" algn="l" defTabSz="761970" rtl="0" eaLnBrk="1" fontAlgn="base" latinLnBrk="0" hangingPunct="1">
              <a:lnSpc>
                <a:spcPct val="100000"/>
              </a:lnSpc>
              <a:spcBef>
                <a:spcPct val="0"/>
              </a:spcBef>
              <a:spcAft>
                <a:spcPct val="0"/>
              </a:spcAft>
              <a:buClrTx/>
              <a:buSzTx/>
              <a:buFont typeface="IBM Plex Sans Light"/>
              <a:buNone/>
              <a:tabLst/>
            </a:pPr>
            <a:endParaRPr kumimoji="0" lang="en-US" sz="1167" b="0" i="0" u="none" strike="noStrike" cap="none" normalizeH="0" baseline="0">
              <a:ln>
                <a:noFill/>
              </a:ln>
              <a:solidFill>
                <a:schemeClr val="bg1"/>
              </a:solidFill>
              <a:effectLst/>
              <a:latin typeface="+mn-lt"/>
            </a:endParaRPr>
          </a:p>
        </p:txBody>
      </p:sp>
      <p:sp>
        <p:nvSpPr>
          <p:cNvPr id="8" name="Text Placeholder 3">
            <a:extLst>
              <a:ext uri="{FF2B5EF4-FFF2-40B4-BE49-F238E27FC236}">
                <a16:creationId xmlns:a16="http://schemas.microsoft.com/office/drawing/2014/main" id="{33C5F6AC-C223-7C2D-70E0-C185CE6DC6CE}"/>
              </a:ext>
            </a:extLst>
          </p:cNvPr>
          <p:cNvSpPr txBox="1">
            <a:spLocks/>
          </p:cNvSpPr>
          <p:nvPr userDrawn="1"/>
        </p:nvSpPr>
        <p:spPr>
          <a:xfrm>
            <a:off x="11438259" y="6458629"/>
            <a:ext cx="462473" cy="150303"/>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Outfit Light" pitchFamily="2" charset="0"/>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r" defTabSz="1218948" rtl="0" eaLnBrk="1" fontAlgn="auto" latinLnBrk="0" hangingPunct="1">
              <a:lnSpc>
                <a:spcPct val="110000"/>
              </a:lnSpc>
              <a:spcBef>
                <a:spcPts val="0"/>
              </a:spcBef>
              <a:spcAft>
                <a:spcPts val="0"/>
              </a:spcAft>
              <a:buClrTx/>
              <a:buSzTx/>
              <a:buFontTx/>
              <a:buNone/>
              <a:tabLst/>
              <a:defRPr/>
            </a:pPr>
            <a:fld id="{64F0821C-65D3-DD4D-8DB2-745946DB9115}" type="slidenum">
              <a:rPr kumimoji="0" lang="en-US" sz="917" b="0" i="0" u="none" strike="noStrike" kern="0" cap="none" spc="0" normalizeH="0" baseline="0" noProof="0" smtClean="0">
                <a:ln>
                  <a:noFill/>
                </a:ln>
                <a:solidFill>
                  <a:srgbClr val="000000"/>
                </a:solidFill>
                <a:effectLst/>
                <a:uLnTx/>
                <a:uFillTx/>
                <a:latin typeface="Aptos" panose="020B0004020202020204" pitchFamily="34" charset="0"/>
                <a:ea typeface="+mj-ea"/>
                <a:cs typeface="+mj-cs"/>
                <a:sym typeface="IBM Plex Sans Light"/>
              </a:rPr>
              <a:pPr marL="0" marR="0" lvl="0" indent="0" algn="r" defTabSz="1218948" rtl="0" eaLnBrk="1" fontAlgn="auto" latinLnBrk="0" hangingPunct="1">
                <a:lnSpc>
                  <a:spcPct val="110000"/>
                </a:lnSpc>
                <a:spcBef>
                  <a:spcPts val="0"/>
                </a:spcBef>
                <a:spcAft>
                  <a:spcPts val="0"/>
                </a:spcAft>
                <a:buClrTx/>
                <a:buSzTx/>
                <a:buFontTx/>
                <a:buNone/>
                <a:tabLst/>
                <a:defRPr/>
              </a:pPr>
              <a:t>‹#›</a:t>
            </a:fld>
            <a:endParaRPr kumimoji="0" lang="en-US" sz="917" b="0" i="0" u="none" strike="noStrike" kern="0" cap="none" spc="0" normalizeH="0" baseline="0" noProof="0">
              <a:ln>
                <a:noFill/>
              </a:ln>
              <a:solidFill>
                <a:srgbClr val="000000"/>
              </a:solidFill>
              <a:effectLst/>
              <a:uLnTx/>
              <a:uFillTx/>
              <a:latin typeface="Aptos" panose="020B0004020202020204" pitchFamily="34" charset="0"/>
              <a:ea typeface="+mj-ea"/>
              <a:cs typeface="+mj-cs"/>
              <a:sym typeface="IBM Plex Sans Light"/>
            </a:endParaRPr>
          </a:p>
        </p:txBody>
      </p:sp>
      <p:pic>
        <p:nvPicPr>
          <p:cNvPr id="9" name="Graphic 8">
            <a:extLst>
              <a:ext uri="{FF2B5EF4-FFF2-40B4-BE49-F238E27FC236}">
                <a16:creationId xmlns:a16="http://schemas.microsoft.com/office/drawing/2014/main" id="{2C2E667E-748C-1FD6-BBC9-A8FCDA06743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543540" y="6495499"/>
            <a:ext cx="167269" cy="81501"/>
          </a:xfrm>
          <a:prstGeom prst="rect">
            <a:avLst/>
          </a:prstGeom>
        </p:spPr>
      </p:pic>
      <p:sp>
        <p:nvSpPr>
          <p:cNvPr id="2" name="Freeform: Shape 5">
            <a:extLst>
              <a:ext uri="{FF2B5EF4-FFF2-40B4-BE49-F238E27FC236}">
                <a16:creationId xmlns:a16="http://schemas.microsoft.com/office/drawing/2014/main" id="{E0ECF2DF-7B98-4586-E79B-667D49C0527B}"/>
              </a:ext>
            </a:extLst>
          </p:cNvPr>
          <p:cNvSpPr>
            <a:spLocks noGrp="1"/>
          </p:cNvSpPr>
          <p:nvPr>
            <p:ph type="pic" sz="quarter" idx="10" hasCustomPrompt="1"/>
          </p:nvPr>
        </p:nvSpPr>
        <p:spPr>
          <a:xfrm>
            <a:off x="6521356" y="307695"/>
            <a:ext cx="6264555" cy="6264555"/>
          </a:xfrm>
          <a:custGeom>
            <a:avLst/>
            <a:gdLst>
              <a:gd name="connsiteX0" fmla="*/ 2476500 w 4953000"/>
              <a:gd name="connsiteY0" fmla="*/ 1771639 h 4953000"/>
              <a:gd name="connsiteX1" fmla="*/ 1771639 w 4953000"/>
              <a:gd name="connsiteY1" fmla="*/ 2476500 h 4953000"/>
              <a:gd name="connsiteX2" fmla="*/ 2476500 w 4953000"/>
              <a:gd name="connsiteY2" fmla="*/ 3181361 h 4953000"/>
              <a:gd name="connsiteX3" fmla="*/ 3181361 w 4953000"/>
              <a:gd name="connsiteY3" fmla="*/ 2476500 h 4953000"/>
              <a:gd name="connsiteX4" fmla="*/ 2476500 w 4953000"/>
              <a:gd name="connsiteY4" fmla="*/ 1771639 h 4953000"/>
              <a:gd name="connsiteX5" fmla="*/ 2476500 w 4953000"/>
              <a:gd name="connsiteY5" fmla="*/ 0 h 4953000"/>
              <a:gd name="connsiteX6" fmla="*/ 4953000 w 4953000"/>
              <a:gd name="connsiteY6" fmla="*/ 2476500 h 4953000"/>
              <a:gd name="connsiteX7" fmla="*/ 2476500 w 4953000"/>
              <a:gd name="connsiteY7" fmla="*/ 4953000 h 4953000"/>
              <a:gd name="connsiteX8" fmla="*/ 0 w 4953000"/>
              <a:gd name="connsiteY8" fmla="*/ 2476500 h 4953000"/>
              <a:gd name="connsiteX9" fmla="*/ 2476500 w 4953000"/>
              <a:gd name="connsiteY9" fmla="*/ 0 h 495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53000" h="4953000">
                <a:moveTo>
                  <a:pt x="2476500" y="1771639"/>
                </a:moveTo>
                <a:cubicBezTo>
                  <a:pt x="2087216" y="1771639"/>
                  <a:pt x="1771639" y="2087216"/>
                  <a:pt x="1771639" y="2476500"/>
                </a:cubicBezTo>
                <a:cubicBezTo>
                  <a:pt x="1771639" y="2865784"/>
                  <a:pt x="2087216" y="3181361"/>
                  <a:pt x="2476500" y="3181361"/>
                </a:cubicBezTo>
                <a:cubicBezTo>
                  <a:pt x="2865784" y="3181361"/>
                  <a:pt x="3181361" y="2865784"/>
                  <a:pt x="3181361" y="2476500"/>
                </a:cubicBezTo>
                <a:cubicBezTo>
                  <a:pt x="3181361" y="2087216"/>
                  <a:pt x="2865784" y="1771639"/>
                  <a:pt x="2476500" y="1771639"/>
                </a:cubicBezTo>
                <a:close/>
                <a:moveTo>
                  <a:pt x="2476500" y="0"/>
                </a:moveTo>
                <a:cubicBezTo>
                  <a:pt x="3844233" y="0"/>
                  <a:pt x="4953000" y="1108767"/>
                  <a:pt x="4953000" y="2476500"/>
                </a:cubicBezTo>
                <a:cubicBezTo>
                  <a:pt x="4953000" y="3844233"/>
                  <a:pt x="3844233" y="4953000"/>
                  <a:pt x="2476500" y="4953000"/>
                </a:cubicBezTo>
                <a:cubicBezTo>
                  <a:pt x="1108767" y="4953000"/>
                  <a:pt x="0" y="3844233"/>
                  <a:pt x="0" y="2476500"/>
                </a:cubicBezTo>
                <a:cubicBezTo>
                  <a:pt x="0" y="1108767"/>
                  <a:pt x="1108767" y="0"/>
                  <a:pt x="2476500" y="0"/>
                </a:cubicBezTo>
                <a:close/>
              </a:path>
            </a:pathLst>
          </a:custGeom>
          <a:solidFill>
            <a:schemeClr val="bg1"/>
          </a:solidFill>
        </p:spPr>
        <p:txBody>
          <a:bodyPr wrap="square" anchor="ctr">
            <a:noAutofit/>
          </a:bodyPr>
          <a:lstStyle>
            <a:lvl1pPr algn="ctr">
              <a:defRPr/>
            </a:lvl1pPr>
          </a:lstStyle>
          <a:p>
            <a:pPr lvl="0"/>
            <a:r>
              <a:rPr lang="en-ID" noProof="0"/>
              <a:t>[add image]</a:t>
            </a:r>
          </a:p>
        </p:txBody>
      </p:sp>
    </p:spTree>
    <p:extLst>
      <p:ext uri="{BB962C8B-B14F-4D97-AF65-F5344CB8AC3E}">
        <p14:creationId xmlns:p14="http://schemas.microsoft.com/office/powerpoint/2010/main" val="2217880514"/>
      </p:ext>
    </p:extLst>
  </p:cSld>
  <p:clrMapOvr>
    <a:masterClrMapping/>
  </p:clrMapOvr>
  <p:transition spd="med"/>
  <p:extLst>
    <p:ext uri="{DCECCB84-F9BA-43D5-87BE-67443E8EF086}">
      <p15:sldGuideLst xmlns:p15="http://schemas.microsoft.com/office/powerpoint/2012/main">
        <p15:guide id="2" orient="horz" pos="4656">
          <p15:clr>
            <a:srgbClr val="F26B43"/>
          </p15:clr>
        </p15:guide>
        <p15:guide id="3" orient="horz" pos="912">
          <p15:clr>
            <a:srgbClr val="F26B43"/>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Long title + data callout donut image">
    <p:bg>
      <p:bgPr>
        <a:solidFill>
          <a:schemeClr val="tx1"/>
        </a:solidFill>
        <a:effectLst/>
      </p:bgPr>
    </p:bg>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376D964F-C8A1-C871-5753-80704C0AE4DC}"/>
              </a:ext>
            </a:extLst>
          </p:cNvPr>
          <p:cNvSpPr>
            <a:spLocks noGrp="1"/>
          </p:cNvSpPr>
          <p:nvPr>
            <p:ph type="body" sz="quarter" idx="13"/>
          </p:nvPr>
        </p:nvSpPr>
        <p:spPr>
          <a:xfrm>
            <a:off x="6250082" y="274545"/>
            <a:ext cx="2679606" cy="5884956"/>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BC3CC31F-CAF3-5950-1F6D-B721F038F566}"/>
              </a:ext>
            </a:extLst>
          </p:cNvPr>
          <p:cNvSpPr>
            <a:spLocks noGrp="1"/>
          </p:cNvSpPr>
          <p:nvPr>
            <p:ph type="body" sz="quarter" idx="14"/>
          </p:nvPr>
        </p:nvSpPr>
        <p:spPr>
          <a:xfrm>
            <a:off x="9219640" y="274545"/>
            <a:ext cx="2686611" cy="5884956"/>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4">
            <a:extLst>
              <a:ext uri="{FF2B5EF4-FFF2-40B4-BE49-F238E27FC236}">
                <a16:creationId xmlns:a16="http://schemas.microsoft.com/office/drawing/2014/main" id="{45E7ABC2-B6FB-0C1F-1966-D82DAA4A1561}"/>
              </a:ext>
            </a:extLst>
          </p:cNvPr>
          <p:cNvSpPr>
            <a:spLocks noGrp="1"/>
          </p:cNvSpPr>
          <p:nvPr>
            <p:ph type="pic" sz="quarter" idx="10" hasCustomPrompt="1"/>
          </p:nvPr>
        </p:nvSpPr>
        <p:spPr>
          <a:xfrm>
            <a:off x="1" y="2132155"/>
            <a:ext cx="4960936" cy="4725846"/>
          </a:xfrm>
          <a:custGeom>
            <a:avLst/>
            <a:gdLst>
              <a:gd name="connsiteX0" fmla="*/ 908955 w 5627911"/>
              <a:gd name="connsiteY0" fmla="*/ 0 h 5361214"/>
              <a:gd name="connsiteX1" fmla="*/ 5627911 w 5627911"/>
              <a:gd name="connsiteY1" fmla="*/ 4718957 h 5361214"/>
              <a:gd name="connsiteX2" fmla="*/ 5603548 w 5627911"/>
              <a:gd name="connsiteY2" fmla="*/ 5201443 h 5361214"/>
              <a:gd name="connsiteX3" fmla="*/ 5583246 w 5627911"/>
              <a:gd name="connsiteY3" fmla="*/ 5361214 h 5361214"/>
              <a:gd name="connsiteX4" fmla="*/ 2611863 w 5627911"/>
              <a:gd name="connsiteY4" fmla="*/ 5361214 h 5361214"/>
              <a:gd name="connsiteX5" fmla="*/ 2648671 w 5627911"/>
              <a:gd name="connsiteY5" fmla="*/ 5260649 h 5361214"/>
              <a:gd name="connsiteX6" fmla="*/ 2730567 w 5627911"/>
              <a:gd name="connsiteY6" fmla="*/ 4718957 h 5361214"/>
              <a:gd name="connsiteX7" fmla="*/ 908955 w 5627911"/>
              <a:gd name="connsiteY7" fmla="*/ 2897345 h 5361214"/>
              <a:gd name="connsiteX8" fmla="*/ 40666 w 5627911"/>
              <a:gd name="connsiteY8" fmla="*/ 3117204 h 5361214"/>
              <a:gd name="connsiteX9" fmla="*/ 0 w 5627911"/>
              <a:gd name="connsiteY9" fmla="*/ 3141911 h 5361214"/>
              <a:gd name="connsiteX10" fmla="*/ 0 w 5627911"/>
              <a:gd name="connsiteY10" fmla="*/ 88358 h 5361214"/>
              <a:gd name="connsiteX11" fmla="*/ 190304 w 5627911"/>
              <a:gd name="connsiteY11" fmla="*/ 54373 h 5361214"/>
              <a:gd name="connsiteX12" fmla="*/ 908955 w 5627911"/>
              <a:gd name="connsiteY12" fmla="*/ 0 h 5361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27911" h="5361214">
                <a:moveTo>
                  <a:pt x="908955" y="0"/>
                </a:moveTo>
                <a:cubicBezTo>
                  <a:pt x="3515163" y="0"/>
                  <a:pt x="5627911" y="2112749"/>
                  <a:pt x="5627911" y="4718957"/>
                </a:cubicBezTo>
                <a:cubicBezTo>
                  <a:pt x="5627911" y="4881845"/>
                  <a:pt x="5619660" y="5042806"/>
                  <a:pt x="5603548" y="5201443"/>
                </a:cubicBezTo>
                <a:lnTo>
                  <a:pt x="5583246" y="5361214"/>
                </a:lnTo>
                <a:lnTo>
                  <a:pt x="2611863" y="5361214"/>
                </a:lnTo>
                <a:lnTo>
                  <a:pt x="2648671" y="5260649"/>
                </a:lnTo>
                <a:cubicBezTo>
                  <a:pt x="2701895" y="5089529"/>
                  <a:pt x="2730567" y="4907591"/>
                  <a:pt x="2730567" y="4718957"/>
                </a:cubicBezTo>
                <a:cubicBezTo>
                  <a:pt x="2730567" y="3712908"/>
                  <a:pt x="1915004" y="2897345"/>
                  <a:pt x="908955" y="2897345"/>
                </a:cubicBezTo>
                <a:cubicBezTo>
                  <a:pt x="594565" y="2897345"/>
                  <a:pt x="298776" y="2976990"/>
                  <a:pt x="40666" y="3117204"/>
                </a:cubicBezTo>
                <a:lnTo>
                  <a:pt x="0" y="3141911"/>
                </a:lnTo>
                <a:lnTo>
                  <a:pt x="0" y="88358"/>
                </a:lnTo>
                <a:lnTo>
                  <a:pt x="190304" y="54373"/>
                </a:lnTo>
                <a:cubicBezTo>
                  <a:pt x="424628" y="18569"/>
                  <a:pt x="664623" y="0"/>
                  <a:pt x="908955" y="0"/>
                </a:cubicBezTo>
                <a:close/>
              </a:path>
            </a:pathLst>
          </a:custGeom>
          <a:solidFill>
            <a:schemeClr val="bg1"/>
          </a:solidFill>
        </p:spPr>
        <p:txBody>
          <a:bodyPr wrap="square" anchor="ctr">
            <a:noAutofit/>
          </a:bodyPr>
          <a:lstStyle>
            <a:lvl1pPr algn="ctr">
              <a:defRPr>
                <a:solidFill>
                  <a:schemeClr val="tx1"/>
                </a:solidFill>
              </a:defRPr>
            </a:lvl1pPr>
          </a:lstStyle>
          <a:p>
            <a:pPr lvl="0"/>
            <a:r>
              <a:rPr lang="en-ID" noProof="0"/>
              <a:t>[add image]</a:t>
            </a:r>
          </a:p>
        </p:txBody>
      </p:sp>
      <p:sp>
        <p:nvSpPr>
          <p:cNvPr id="8" name="Text Placeholder 9">
            <a:extLst>
              <a:ext uri="{FF2B5EF4-FFF2-40B4-BE49-F238E27FC236}">
                <a16:creationId xmlns:a16="http://schemas.microsoft.com/office/drawing/2014/main" id="{88D2A2DE-6BF0-D2F8-B826-36B16B4487C2}"/>
              </a:ext>
            </a:extLst>
          </p:cNvPr>
          <p:cNvSpPr>
            <a:spLocks noGrp="1"/>
          </p:cNvSpPr>
          <p:nvPr>
            <p:ph type="body" sz="quarter" idx="15" hasCustomPrompt="1"/>
          </p:nvPr>
        </p:nvSpPr>
        <p:spPr>
          <a:xfrm>
            <a:off x="1481765" y="4858522"/>
            <a:ext cx="4255861" cy="1771650"/>
          </a:xfrm>
          <a:prstGeom prst="rect">
            <a:avLst/>
          </a:prstGeom>
        </p:spPr>
        <p:txBody>
          <a:bodyPr anchor="b"/>
          <a:lstStyle>
            <a:lvl1pPr>
              <a:lnSpc>
                <a:spcPct val="90000"/>
              </a:lnSpc>
              <a:spcBef>
                <a:spcPts val="0"/>
              </a:spcBef>
              <a:defRPr sz="12897" b="0" i="0">
                <a:solidFill>
                  <a:schemeClr val="accent1"/>
                </a:solidFill>
                <a:latin typeface="Aptos" panose="020B0004020202020204" pitchFamily="34" charset="0"/>
              </a:defRPr>
            </a:lvl1pPr>
          </a:lstStyle>
          <a:p>
            <a:r>
              <a:rPr lang="en-US"/>
              <a:t>↗︎00M</a:t>
            </a:r>
          </a:p>
        </p:txBody>
      </p:sp>
      <p:sp>
        <p:nvSpPr>
          <p:cNvPr id="9" name="Title Text">
            <a:extLst>
              <a:ext uri="{FF2B5EF4-FFF2-40B4-BE49-F238E27FC236}">
                <a16:creationId xmlns:a16="http://schemas.microsoft.com/office/drawing/2014/main" id="{D0D1B9B5-15B7-4CA7-EE15-A2FFA81E9D9D}"/>
              </a:ext>
            </a:extLst>
          </p:cNvPr>
          <p:cNvSpPr txBox="1">
            <a:spLocks noGrp="1"/>
          </p:cNvSpPr>
          <p:nvPr>
            <p:ph type="title" hasCustomPrompt="1"/>
          </p:nvPr>
        </p:nvSpPr>
        <p:spPr>
          <a:xfrm>
            <a:off x="290212" y="252133"/>
            <a:ext cx="4670726" cy="19442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a:lnSpc>
                <a:spcPct val="90000"/>
              </a:lnSpc>
              <a:defRPr/>
            </a:lvl1pPr>
          </a:lstStyle>
          <a:p>
            <a:r>
              <a:rPr lang="en-US"/>
              <a:t>Long title + data callout donut image</a:t>
            </a:r>
            <a:endParaRPr/>
          </a:p>
        </p:txBody>
      </p:sp>
    </p:spTree>
    <p:extLst>
      <p:ext uri="{BB962C8B-B14F-4D97-AF65-F5344CB8AC3E}">
        <p14:creationId xmlns:p14="http://schemas.microsoft.com/office/powerpoint/2010/main" val="834135563"/>
      </p:ext>
    </p:extLst>
  </p:cSld>
  <p:clrMapOvr>
    <a:masterClrMapping/>
  </p:clrMapOvr>
  <p:transition spd="med"/>
  <p:extLst>
    <p:ext uri="{DCECCB84-F9BA-43D5-87BE-67443E8EF086}">
      <p15:sldGuideLst xmlns:p15="http://schemas.microsoft.com/office/powerpoint/2012/main">
        <p15:guide id="2" orient="horz" pos="4656">
          <p15:clr>
            <a:srgbClr val="F26B43"/>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allout + circle image">
    <p:bg>
      <p:bgPr>
        <a:solidFill>
          <a:schemeClr val="tx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2499C85-30F2-6EA7-FA46-49F8397A724D}"/>
              </a:ext>
            </a:extLst>
          </p:cNvPr>
          <p:cNvSpPr/>
          <p:nvPr userDrawn="1"/>
        </p:nvSpPr>
        <p:spPr bwMode="auto">
          <a:xfrm>
            <a:off x="0" y="0"/>
            <a:ext cx="4960938" cy="6858000"/>
          </a:xfrm>
          <a:prstGeom prst="rect">
            <a:avLst/>
          </a:prstGeom>
          <a:solidFill>
            <a:schemeClr val="tx2"/>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76200" tIns="76200" rIns="76200" bIns="76200" numCol="1" rtlCol="0" anchor="t" anchorCtr="0" compatLnSpc="1">
            <a:prstTxWarp prst="textNoShape">
              <a:avLst/>
            </a:prstTxWarp>
          </a:bodyPr>
          <a:lstStyle/>
          <a:p>
            <a:pPr marL="0" marR="0" indent="0" algn="l" defTabSz="761970" rtl="0" eaLnBrk="1" fontAlgn="base" latinLnBrk="0" hangingPunct="1">
              <a:lnSpc>
                <a:spcPct val="100000"/>
              </a:lnSpc>
              <a:spcBef>
                <a:spcPct val="0"/>
              </a:spcBef>
              <a:spcAft>
                <a:spcPct val="0"/>
              </a:spcAft>
              <a:buClrTx/>
              <a:buSzTx/>
              <a:buFont typeface="IBM Plex Sans Light"/>
              <a:buNone/>
              <a:tabLst/>
            </a:pPr>
            <a:endParaRPr kumimoji="0" lang="en-US" sz="1167" b="0" i="0" u="none" strike="noStrike" cap="none" normalizeH="0" baseline="0">
              <a:ln>
                <a:noFill/>
              </a:ln>
              <a:solidFill>
                <a:schemeClr val="bg1"/>
              </a:solidFill>
              <a:effectLst/>
              <a:latin typeface="+mn-lt"/>
            </a:endParaRPr>
          </a:p>
        </p:txBody>
      </p:sp>
      <p:sp>
        <p:nvSpPr>
          <p:cNvPr id="4" name="Freeform: Shape 4">
            <a:extLst>
              <a:ext uri="{FF2B5EF4-FFF2-40B4-BE49-F238E27FC236}">
                <a16:creationId xmlns:a16="http://schemas.microsoft.com/office/drawing/2014/main" id="{2F5E4313-3882-F6FE-ACD0-CF156FC3B153}"/>
              </a:ext>
            </a:extLst>
          </p:cNvPr>
          <p:cNvSpPr>
            <a:spLocks noGrp="1"/>
          </p:cNvSpPr>
          <p:nvPr>
            <p:ph type="pic" sz="quarter" idx="10" hasCustomPrompt="1"/>
          </p:nvPr>
        </p:nvSpPr>
        <p:spPr>
          <a:xfrm>
            <a:off x="285749" y="1011323"/>
            <a:ext cx="5149104" cy="5149113"/>
          </a:xfrm>
          <a:custGeom>
            <a:avLst/>
            <a:gdLst>
              <a:gd name="connsiteX0" fmla="*/ 2290604 w 4500400"/>
              <a:gd name="connsiteY0" fmla="*/ 353 h 4500408"/>
              <a:gd name="connsiteX1" fmla="*/ 3105014 w 4500400"/>
              <a:gd name="connsiteY1" fmla="*/ 168745 h 4500408"/>
              <a:gd name="connsiteX2" fmla="*/ 4500400 w 4500400"/>
              <a:gd name="connsiteY2" fmla="*/ 2250237 h 4500408"/>
              <a:gd name="connsiteX3" fmla="*/ 2808588 w 4500400"/>
              <a:gd name="connsiteY3" fmla="*/ 2250237 h 4500408"/>
              <a:gd name="connsiteX4" fmla="*/ 2462338 w 4500400"/>
              <a:gd name="connsiteY4" fmla="*/ 1733737 h 4500408"/>
              <a:gd name="connsiteX5" fmla="*/ 1853021 w 4500400"/>
              <a:gd name="connsiteY5" fmla="*/ 1857827 h 4500408"/>
              <a:gd name="connsiteX6" fmla="*/ 1736345 w 4500400"/>
              <a:gd name="connsiteY6" fmla="*/ 2468604 h 4500408"/>
              <a:gd name="connsiteX7" fmla="*/ 2257018 w 4500400"/>
              <a:gd name="connsiteY7" fmla="*/ 2808553 h 4500408"/>
              <a:gd name="connsiteX8" fmla="*/ 2277576 w 4500400"/>
              <a:gd name="connsiteY8" fmla="*/ 4500241 h 4500408"/>
              <a:gd name="connsiteX9" fmla="*/ 179281 w 4500400"/>
              <a:gd name="connsiteY9" fmla="*/ 3130253 h 4500408"/>
              <a:gd name="connsiteX10" fmla="*/ 649482 w 4500400"/>
              <a:gd name="connsiteY10" fmla="*/ 668825 h 4500408"/>
              <a:gd name="connsiteX11" fmla="*/ 2290604 w 4500400"/>
              <a:gd name="connsiteY11" fmla="*/ 353 h 4500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00400" h="4500408">
                <a:moveTo>
                  <a:pt x="2290604" y="353"/>
                </a:moveTo>
                <a:cubicBezTo>
                  <a:pt x="2565113" y="5221"/>
                  <a:pt x="2841205" y="60410"/>
                  <a:pt x="3105014" y="168745"/>
                </a:cubicBezTo>
                <a:cubicBezTo>
                  <a:pt x="3949201" y="515418"/>
                  <a:pt x="4500400" y="1337640"/>
                  <a:pt x="4500400" y="2250237"/>
                </a:cubicBezTo>
                <a:lnTo>
                  <a:pt x="2808588" y="2250237"/>
                </a:lnTo>
                <a:cubicBezTo>
                  <a:pt x="2808588" y="2023786"/>
                  <a:pt x="2671814" y="1819761"/>
                  <a:pt x="2462338" y="1733737"/>
                </a:cubicBezTo>
                <a:cubicBezTo>
                  <a:pt x="2252860" y="1647714"/>
                  <a:pt x="2012170" y="1696731"/>
                  <a:pt x="1853021" y="1857827"/>
                </a:cubicBezTo>
                <a:cubicBezTo>
                  <a:pt x="1693871" y="2018922"/>
                  <a:pt x="1647784" y="2260188"/>
                  <a:pt x="1736345" y="2468604"/>
                </a:cubicBezTo>
                <a:cubicBezTo>
                  <a:pt x="1824908" y="2677019"/>
                  <a:pt x="2030582" y="2811304"/>
                  <a:pt x="2257018" y="2808553"/>
                </a:cubicBezTo>
                <a:lnTo>
                  <a:pt x="2277576" y="4500241"/>
                </a:lnTo>
                <a:cubicBezTo>
                  <a:pt x="1365045" y="4511331"/>
                  <a:pt x="536187" y="3970165"/>
                  <a:pt x="179281" y="3130253"/>
                </a:cubicBezTo>
                <a:cubicBezTo>
                  <a:pt x="-177625" y="2290341"/>
                  <a:pt x="8111" y="1318038"/>
                  <a:pt x="649482" y="668825"/>
                </a:cubicBezTo>
                <a:cubicBezTo>
                  <a:pt x="1090424" y="222491"/>
                  <a:pt x="1686683" y="-10356"/>
                  <a:pt x="2290604" y="353"/>
                </a:cubicBezTo>
                <a:close/>
              </a:path>
            </a:pathLst>
          </a:custGeom>
          <a:solidFill>
            <a:schemeClr val="bg1"/>
          </a:solidFill>
        </p:spPr>
        <p:txBody>
          <a:bodyPr wrap="square" anchor="ctr">
            <a:noAutofit/>
          </a:bodyPr>
          <a:lstStyle>
            <a:lvl1pPr algn="ctr">
              <a:defRPr/>
            </a:lvl1pPr>
          </a:lstStyle>
          <a:p>
            <a:pPr lvl="0"/>
            <a:r>
              <a:rPr lang="en-ID" noProof="0"/>
              <a:t>[add image]</a:t>
            </a:r>
          </a:p>
        </p:txBody>
      </p:sp>
      <p:sp>
        <p:nvSpPr>
          <p:cNvPr id="3" name="Title Text">
            <a:extLst>
              <a:ext uri="{FF2B5EF4-FFF2-40B4-BE49-F238E27FC236}">
                <a16:creationId xmlns:a16="http://schemas.microsoft.com/office/drawing/2014/main" id="{4B5980F9-A7B7-7DE7-65FD-745FC498DFDB}"/>
              </a:ext>
            </a:extLst>
          </p:cNvPr>
          <p:cNvSpPr txBox="1">
            <a:spLocks noGrp="1"/>
          </p:cNvSpPr>
          <p:nvPr>
            <p:ph type="title" hasCustomPrompt="1"/>
          </p:nvPr>
        </p:nvSpPr>
        <p:spPr>
          <a:xfrm>
            <a:off x="290212" y="274544"/>
            <a:ext cx="3964290" cy="38660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lang="en-US"/>
              <a:t>Callout + circle image</a:t>
            </a:r>
            <a:endParaRPr/>
          </a:p>
        </p:txBody>
      </p:sp>
      <p:sp>
        <p:nvSpPr>
          <p:cNvPr id="2" name="Text Placeholder 4">
            <a:extLst>
              <a:ext uri="{FF2B5EF4-FFF2-40B4-BE49-F238E27FC236}">
                <a16:creationId xmlns:a16="http://schemas.microsoft.com/office/drawing/2014/main" id="{376D964F-C8A1-C871-5753-80704C0AE4DC}"/>
              </a:ext>
            </a:extLst>
          </p:cNvPr>
          <p:cNvSpPr>
            <a:spLocks noGrp="1"/>
          </p:cNvSpPr>
          <p:nvPr>
            <p:ph type="body" sz="quarter" idx="13"/>
          </p:nvPr>
        </p:nvSpPr>
        <p:spPr>
          <a:xfrm>
            <a:off x="6238875" y="1221441"/>
            <a:ext cx="5667376" cy="4938059"/>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9">
            <a:extLst>
              <a:ext uri="{FF2B5EF4-FFF2-40B4-BE49-F238E27FC236}">
                <a16:creationId xmlns:a16="http://schemas.microsoft.com/office/drawing/2014/main" id="{6A4BB714-3DAF-D4C6-C94C-23D6E3F68717}"/>
              </a:ext>
            </a:extLst>
          </p:cNvPr>
          <p:cNvSpPr>
            <a:spLocks noGrp="1"/>
          </p:cNvSpPr>
          <p:nvPr>
            <p:ph type="body" sz="quarter" idx="14" hasCustomPrompt="1"/>
          </p:nvPr>
        </p:nvSpPr>
        <p:spPr>
          <a:xfrm>
            <a:off x="1697265" y="4387850"/>
            <a:ext cx="4255861" cy="1771650"/>
          </a:xfrm>
          <a:prstGeom prst="rect">
            <a:avLst/>
          </a:prstGeom>
        </p:spPr>
        <p:txBody>
          <a:bodyPr anchor="b"/>
          <a:lstStyle>
            <a:lvl1pPr>
              <a:lnSpc>
                <a:spcPct val="90000"/>
              </a:lnSpc>
              <a:spcBef>
                <a:spcPts val="0"/>
              </a:spcBef>
              <a:defRPr sz="12897" b="0" i="0">
                <a:solidFill>
                  <a:schemeClr val="accent1"/>
                </a:solidFill>
                <a:latin typeface="Aptos" panose="020B0004020202020204" pitchFamily="34" charset="0"/>
              </a:defRPr>
            </a:lvl1pPr>
          </a:lstStyle>
          <a:p>
            <a:r>
              <a:rPr lang="en-US"/>
              <a:t>↗︎00M</a:t>
            </a:r>
          </a:p>
        </p:txBody>
      </p:sp>
    </p:spTree>
    <p:extLst>
      <p:ext uri="{BB962C8B-B14F-4D97-AF65-F5344CB8AC3E}">
        <p14:creationId xmlns:p14="http://schemas.microsoft.com/office/powerpoint/2010/main" val="706294611"/>
      </p:ext>
    </p:extLst>
  </p:cSld>
  <p:clrMapOvr>
    <a:masterClrMapping/>
  </p:clrMapOvr>
  <p:transition spd="med"/>
  <p:extLst>
    <p:ext uri="{DCECCB84-F9BA-43D5-87BE-67443E8EF086}">
      <p15:sldGuideLst xmlns:p15="http://schemas.microsoft.com/office/powerpoint/2012/main">
        <p15:guide id="2" orient="horz" pos="4656">
          <p15:clr>
            <a:srgbClr val="F26B43"/>
          </p15:clr>
        </p15:guide>
        <p15:guide id="3" orient="horz" pos="912">
          <p15:clr>
            <a:srgbClr val="F26B43"/>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allout + half circle image">
    <p:bg>
      <p:bgPr>
        <a:solidFill>
          <a:schemeClr val="tx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95470" y="1221441"/>
            <a:ext cx="5658439" cy="4938059"/>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itle Text">
            <a:extLst>
              <a:ext uri="{FF2B5EF4-FFF2-40B4-BE49-F238E27FC236}">
                <a16:creationId xmlns:a16="http://schemas.microsoft.com/office/drawing/2014/main" id="{4B5980F9-A7B7-7DE7-65FD-745FC498DFDB}"/>
              </a:ext>
            </a:extLst>
          </p:cNvPr>
          <p:cNvSpPr txBox="1">
            <a:spLocks noGrp="1"/>
          </p:cNvSpPr>
          <p:nvPr>
            <p:ph type="title" hasCustomPrompt="1"/>
          </p:nvPr>
        </p:nvSpPr>
        <p:spPr>
          <a:xfrm>
            <a:off x="290212" y="274544"/>
            <a:ext cx="5662913" cy="386603"/>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p>
            <a:r>
              <a:rPr lang="en-US"/>
              <a:t>Callout + half circle image</a:t>
            </a:r>
            <a:endParaRPr/>
          </a:p>
        </p:txBody>
      </p:sp>
      <p:sp>
        <p:nvSpPr>
          <p:cNvPr id="7" name="Rectangle 6">
            <a:extLst>
              <a:ext uri="{FF2B5EF4-FFF2-40B4-BE49-F238E27FC236}">
                <a16:creationId xmlns:a16="http://schemas.microsoft.com/office/drawing/2014/main" id="{92499C85-30F2-6EA7-FA46-49F8397A724D}"/>
              </a:ext>
            </a:extLst>
          </p:cNvPr>
          <p:cNvSpPr/>
          <p:nvPr userDrawn="1"/>
        </p:nvSpPr>
        <p:spPr bwMode="auto">
          <a:xfrm>
            <a:off x="8223251" y="0"/>
            <a:ext cx="3968750" cy="6858000"/>
          </a:xfrm>
          <a:prstGeom prst="rect">
            <a:avLst/>
          </a:prstGeom>
          <a:solidFill>
            <a:schemeClr val="tx2"/>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76200" tIns="76200" rIns="76200" bIns="76200" numCol="1" rtlCol="0" anchor="t" anchorCtr="0" compatLnSpc="1">
            <a:prstTxWarp prst="textNoShape">
              <a:avLst/>
            </a:prstTxWarp>
          </a:bodyPr>
          <a:lstStyle/>
          <a:p>
            <a:pPr marL="0" marR="0" indent="0" algn="l" defTabSz="761970" rtl="0" eaLnBrk="1" fontAlgn="base" latinLnBrk="0" hangingPunct="1">
              <a:lnSpc>
                <a:spcPct val="100000"/>
              </a:lnSpc>
              <a:spcBef>
                <a:spcPct val="0"/>
              </a:spcBef>
              <a:spcAft>
                <a:spcPct val="0"/>
              </a:spcAft>
              <a:buClrTx/>
              <a:buSzTx/>
              <a:buFont typeface="IBM Plex Sans Light"/>
              <a:buNone/>
              <a:tabLst/>
            </a:pPr>
            <a:endParaRPr kumimoji="0" lang="en-US" sz="1167" b="0" i="0" u="none" strike="noStrike" cap="none" normalizeH="0" baseline="0">
              <a:ln>
                <a:noFill/>
              </a:ln>
              <a:solidFill>
                <a:schemeClr val="bg1"/>
              </a:solidFill>
              <a:effectLst/>
              <a:latin typeface="+mn-lt"/>
            </a:endParaRPr>
          </a:p>
        </p:txBody>
      </p:sp>
      <p:sp>
        <p:nvSpPr>
          <p:cNvPr id="8" name="Text Placeholder 3">
            <a:extLst>
              <a:ext uri="{FF2B5EF4-FFF2-40B4-BE49-F238E27FC236}">
                <a16:creationId xmlns:a16="http://schemas.microsoft.com/office/drawing/2014/main" id="{33C5F6AC-C223-7C2D-70E0-C185CE6DC6CE}"/>
              </a:ext>
            </a:extLst>
          </p:cNvPr>
          <p:cNvSpPr txBox="1">
            <a:spLocks/>
          </p:cNvSpPr>
          <p:nvPr userDrawn="1"/>
        </p:nvSpPr>
        <p:spPr>
          <a:xfrm>
            <a:off x="11438259" y="6458629"/>
            <a:ext cx="462473" cy="150303"/>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Outfit Light" pitchFamily="2" charset="0"/>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r" defTabSz="1218948" rtl="0" eaLnBrk="1" fontAlgn="auto" latinLnBrk="0" hangingPunct="1">
              <a:lnSpc>
                <a:spcPct val="110000"/>
              </a:lnSpc>
              <a:spcBef>
                <a:spcPts val="0"/>
              </a:spcBef>
              <a:spcAft>
                <a:spcPts val="0"/>
              </a:spcAft>
              <a:buClrTx/>
              <a:buSzTx/>
              <a:buFontTx/>
              <a:buNone/>
              <a:tabLst/>
              <a:defRPr/>
            </a:pPr>
            <a:fld id="{64F0821C-65D3-DD4D-8DB2-745946DB9115}" type="slidenum">
              <a:rPr kumimoji="0" lang="en-US" sz="917" b="0" i="0" u="none" strike="noStrike" kern="0" cap="none" spc="0" normalizeH="0" baseline="0" noProof="0" smtClean="0">
                <a:ln>
                  <a:noFill/>
                </a:ln>
                <a:solidFill>
                  <a:srgbClr val="000000"/>
                </a:solidFill>
                <a:effectLst/>
                <a:uLnTx/>
                <a:uFillTx/>
                <a:latin typeface="Aptos" panose="020B0004020202020204" pitchFamily="34" charset="0"/>
                <a:ea typeface="+mj-ea"/>
                <a:cs typeface="+mj-cs"/>
                <a:sym typeface="IBM Plex Sans Light"/>
              </a:rPr>
              <a:pPr marL="0" marR="0" lvl="0" indent="0" algn="r" defTabSz="1218948" rtl="0" eaLnBrk="1" fontAlgn="auto" latinLnBrk="0" hangingPunct="1">
                <a:lnSpc>
                  <a:spcPct val="110000"/>
                </a:lnSpc>
                <a:spcBef>
                  <a:spcPts val="0"/>
                </a:spcBef>
                <a:spcAft>
                  <a:spcPts val="0"/>
                </a:spcAft>
                <a:buClrTx/>
                <a:buSzTx/>
                <a:buFontTx/>
                <a:buNone/>
                <a:tabLst/>
                <a:defRPr/>
              </a:pPr>
              <a:t>‹#›</a:t>
            </a:fld>
            <a:endParaRPr kumimoji="0" lang="en-US" sz="917" b="0" i="0" u="none" strike="noStrike" kern="0" cap="none" spc="0" normalizeH="0" baseline="0" noProof="0">
              <a:ln>
                <a:noFill/>
              </a:ln>
              <a:solidFill>
                <a:srgbClr val="000000"/>
              </a:solidFill>
              <a:effectLst/>
              <a:uLnTx/>
              <a:uFillTx/>
              <a:latin typeface="Aptos" panose="020B0004020202020204" pitchFamily="34" charset="0"/>
              <a:ea typeface="+mj-ea"/>
              <a:cs typeface="+mj-cs"/>
              <a:sym typeface="IBM Plex Sans Light"/>
            </a:endParaRPr>
          </a:p>
        </p:txBody>
      </p:sp>
      <p:pic>
        <p:nvPicPr>
          <p:cNvPr id="9" name="Graphic 8">
            <a:extLst>
              <a:ext uri="{FF2B5EF4-FFF2-40B4-BE49-F238E27FC236}">
                <a16:creationId xmlns:a16="http://schemas.microsoft.com/office/drawing/2014/main" id="{2C2E667E-748C-1FD6-BBC9-A8FCDA06743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543540" y="6495499"/>
            <a:ext cx="167269" cy="81501"/>
          </a:xfrm>
          <a:prstGeom prst="rect">
            <a:avLst/>
          </a:prstGeom>
        </p:spPr>
      </p:pic>
      <p:sp>
        <p:nvSpPr>
          <p:cNvPr id="4" name="Freeform: Shape 5">
            <a:extLst>
              <a:ext uri="{FF2B5EF4-FFF2-40B4-BE49-F238E27FC236}">
                <a16:creationId xmlns:a16="http://schemas.microsoft.com/office/drawing/2014/main" id="{2AFCE5D4-B1E9-0FAA-186A-FB447C3D0B5A}"/>
              </a:ext>
            </a:extLst>
          </p:cNvPr>
          <p:cNvSpPr>
            <a:spLocks noGrp="1"/>
          </p:cNvSpPr>
          <p:nvPr>
            <p:ph type="pic" sz="quarter" idx="10" hasCustomPrompt="1"/>
          </p:nvPr>
        </p:nvSpPr>
        <p:spPr>
          <a:xfrm>
            <a:off x="6239277" y="1221440"/>
            <a:ext cx="5669910" cy="3014383"/>
          </a:xfrm>
          <a:custGeom>
            <a:avLst/>
            <a:gdLst>
              <a:gd name="connsiteX0" fmla="*/ 2761230 w 5522459"/>
              <a:gd name="connsiteY0" fmla="*/ 0 h 2935991"/>
              <a:gd name="connsiteX1" fmla="*/ 5522459 w 5522459"/>
              <a:gd name="connsiteY1" fmla="*/ 2761230 h 2935991"/>
              <a:gd name="connsiteX2" fmla="*/ 5513634 w 5522459"/>
              <a:gd name="connsiteY2" fmla="*/ 2935991 h 2935991"/>
              <a:gd name="connsiteX3" fmla="*/ 8824 w 5522459"/>
              <a:gd name="connsiteY3" fmla="*/ 2935991 h 2935991"/>
              <a:gd name="connsiteX4" fmla="*/ 0 w 5522459"/>
              <a:gd name="connsiteY4" fmla="*/ 2761230 h 2935991"/>
              <a:gd name="connsiteX5" fmla="*/ 2761230 w 5522459"/>
              <a:gd name="connsiteY5" fmla="*/ 0 h 2935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22459" h="2935991">
                <a:moveTo>
                  <a:pt x="2761230" y="0"/>
                </a:moveTo>
                <a:cubicBezTo>
                  <a:pt x="4286214" y="0"/>
                  <a:pt x="5522459" y="1236245"/>
                  <a:pt x="5522459" y="2761230"/>
                </a:cubicBezTo>
                <a:lnTo>
                  <a:pt x="5513634" y="2935991"/>
                </a:lnTo>
                <a:lnTo>
                  <a:pt x="8824" y="2935991"/>
                </a:lnTo>
                <a:lnTo>
                  <a:pt x="0" y="2761230"/>
                </a:lnTo>
                <a:cubicBezTo>
                  <a:pt x="0" y="1236245"/>
                  <a:pt x="1236245" y="0"/>
                  <a:pt x="2761230" y="0"/>
                </a:cubicBezTo>
                <a:close/>
              </a:path>
            </a:pathLst>
          </a:custGeom>
          <a:solidFill>
            <a:schemeClr val="bg1"/>
          </a:solidFill>
        </p:spPr>
        <p:txBody>
          <a:bodyPr wrap="square" anchor="ctr">
            <a:noAutofit/>
          </a:bodyPr>
          <a:lstStyle>
            <a:lvl1pPr algn="ctr">
              <a:defRPr>
                <a:solidFill>
                  <a:schemeClr val="tx1"/>
                </a:solidFill>
              </a:defRPr>
            </a:lvl1pPr>
          </a:lstStyle>
          <a:p>
            <a:pPr lvl="0"/>
            <a:r>
              <a:rPr lang="en-ID" noProof="0"/>
              <a:t>[add image]</a:t>
            </a:r>
          </a:p>
        </p:txBody>
      </p:sp>
      <p:sp>
        <p:nvSpPr>
          <p:cNvPr id="6" name="Text Placeholder 9">
            <a:extLst>
              <a:ext uri="{FF2B5EF4-FFF2-40B4-BE49-F238E27FC236}">
                <a16:creationId xmlns:a16="http://schemas.microsoft.com/office/drawing/2014/main" id="{7AC1A966-319A-DBDE-4A3F-3DF48D3C4568}"/>
              </a:ext>
            </a:extLst>
          </p:cNvPr>
          <p:cNvSpPr>
            <a:spLocks noGrp="1"/>
          </p:cNvSpPr>
          <p:nvPr>
            <p:ph type="body" sz="quarter" idx="14" hasCustomPrompt="1"/>
          </p:nvPr>
        </p:nvSpPr>
        <p:spPr>
          <a:xfrm>
            <a:off x="6943952" y="3864910"/>
            <a:ext cx="4255861" cy="1771650"/>
          </a:xfrm>
          <a:prstGeom prst="rect">
            <a:avLst/>
          </a:prstGeom>
        </p:spPr>
        <p:txBody>
          <a:bodyPr anchor="b"/>
          <a:lstStyle>
            <a:lvl1pPr>
              <a:lnSpc>
                <a:spcPct val="90000"/>
              </a:lnSpc>
              <a:spcBef>
                <a:spcPts val="0"/>
              </a:spcBef>
              <a:defRPr sz="12897" b="0" i="0">
                <a:solidFill>
                  <a:schemeClr val="accent1"/>
                </a:solidFill>
                <a:latin typeface="Aptos" panose="020B0004020202020204" pitchFamily="34" charset="0"/>
              </a:defRPr>
            </a:lvl1pPr>
          </a:lstStyle>
          <a:p>
            <a:r>
              <a:rPr lang="en-US"/>
              <a:t>↗︎00M</a:t>
            </a:r>
          </a:p>
        </p:txBody>
      </p:sp>
    </p:spTree>
    <p:extLst>
      <p:ext uri="{BB962C8B-B14F-4D97-AF65-F5344CB8AC3E}">
        <p14:creationId xmlns:p14="http://schemas.microsoft.com/office/powerpoint/2010/main" val="1742095017"/>
      </p:ext>
    </p:extLst>
  </p:cSld>
  <p:clrMapOvr>
    <a:masterClrMapping/>
  </p:clrMapOvr>
  <p:transition spd="med"/>
  <p:extLst>
    <p:ext uri="{DCECCB84-F9BA-43D5-87BE-67443E8EF086}">
      <p15:sldGuideLst xmlns:p15="http://schemas.microsoft.com/office/powerpoint/2012/main">
        <p15:guide id="2" orient="horz" pos="4656">
          <p15:clr>
            <a:srgbClr val="F26B43"/>
          </p15:clr>
        </p15:guide>
        <p15:guide id="3" orient="horz" pos="912">
          <p15:clr>
            <a:srgbClr val="F26B43"/>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Vertical 3 Col Data Callouts">
    <p:bg>
      <p:bgPr>
        <a:solidFill>
          <a:schemeClr val="tx1"/>
        </a:solidFill>
        <a:effectLst/>
      </p:bgPr>
    </p:bg>
    <p:spTree>
      <p:nvGrpSpPr>
        <p:cNvPr id="1" name=""/>
        <p:cNvGrpSpPr/>
        <p:nvPr/>
      </p:nvGrpSpPr>
      <p:grpSpPr>
        <a:xfrm>
          <a:off x="0" y="0"/>
          <a:ext cx="0" cy="0"/>
          <a:chOff x="0" y="0"/>
          <a:chExt cx="0" cy="0"/>
        </a:xfrm>
      </p:grpSpPr>
      <p:sp>
        <p:nvSpPr>
          <p:cNvPr id="3" name="Title Text">
            <a:extLst>
              <a:ext uri="{FF2B5EF4-FFF2-40B4-BE49-F238E27FC236}">
                <a16:creationId xmlns:a16="http://schemas.microsoft.com/office/drawing/2014/main" id="{4B5980F9-A7B7-7DE7-65FD-745FC498DFDB}"/>
              </a:ext>
            </a:extLst>
          </p:cNvPr>
          <p:cNvSpPr txBox="1">
            <a:spLocks noGrp="1"/>
          </p:cNvSpPr>
          <p:nvPr>
            <p:ph type="title" hasCustomPrompt="1"/>
          </p:nvPr>
        </p:nvSpPr>
        <p:spPr>
          <a:xfrm>
            <a:off x="290211" y="274545"/>
            <a:ext cx="2686352" cy="9319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lang="en-US"/>
              <a:t>Vertical </a:t>
            </a:r>
            <a:br>
              <a:rPr lang="en-US"/>
            </a:br>
            <a:r>
              <a:rPr lang="en-US"/>
              <a:t>3 column data callouts</a:t>
            </a:r>
            <a:endParaRPr/>
          </a:p>
        </p:txBody>
      </p:sp>
      <p:sp>
        <p:nvSpPr>
          <p:cNvPr id="2" name="Text Placeholder 4">
            <a:extLst>
              <a:ext uri="{FF2B5EF4-FFF2-40B4-BE49-F238E27FC236}">
                <a16:creationId xmlns:a16="http://schemas.microsoft.com/office/drawing/2014/main" id="{4E5124E6-ADC3-5365-0866-3D4CAB4CAE95}"/>
              </a:ext>
            </a:extLst>
          </p:cNvPr>
          <p:cNvSpPr>
            <a:spLocks noGrp="1"/>
          </p:cNvSpPr>
          <p:nvPr>
            <p:ph type="body" sz="quarter" idx="12"/>
          </p:nvPr>
        </p:nvSpPr>
        <p:spPr>
          <a:xfrm>
            <a:off x="3277290" y="1221441"/>
            <a:ext cx="2681093" cy="4938059"/>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6394E0EF-43E2-28B1-FCC7-2EC2EB4727A5}"/>
              </a:ext>
            </a:extLst>
          </p:cNvPr>
          <p:cNvSpPr>
            <a:spLocks noGrp="1"/>
          </p:cNvSpPr>
          <p:nvPr>
            <p:ph type="body" sz="quarter" idx="13"/>
          </p:nvPr>
        </p:nvSpPr>
        <p:spPr>
          <a:xfrm>
            <a:off x="6258055" y="1221441"/>
            <a:ext cx="2681093" cy="4938059"/>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4">
            <a:extLst>
              <a:ext uri="{FF2B5EF4-FFF2-40B4-BE49-F238E27FC236}">
                <a16:creationId xmlns:a16="http://schemas.microsoft.com/office/drawing/2014/main" id="{60F5193B-8452-7552-6381-8E0C8601D667}"/>
              </a:ext>
            </a:extLst>
          </p:cNvPr>
          <p:cNvSpPr>
            <a:spLocks noGrp="1"/>
          </p:cNvSpPr>
          <p:nvPr>
            <p:ph type="body" sz="quarter" idx="14"/>
          </p:nvPr>
        </p:nvSpPr>
        <p:spPr>
          <a:xfrm>
            <a:off x="9227614" y="1221441"/>
            <a:ext cx="2681093" cy="4938059"/>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7">
            <a:extLst>
              <a:ext uri="{FF2B5EF4-FFF2-40B4-BE49-F238E27FC236}">
                <a16:creationId xmlns:a16="http://schemas.microsoft.com/office/drawing/2014/main" id="{2CA48826-54B2-A53F-9724-5A0B5829288C}"/>
              </a:ext>
            </a:extLst>
          </p:cNvPr>
          <p:cNvSpPr>
            <a:spLocks noGrp="1"/>
          </p:cNvSpPr>
          <p:nvPr>
            <p:ph type="body" sz="quarter" idx="16" hasCustomPrompt="1"/>
          </p:nvPr>
        </p:nvSpPr>
        <p:spPr>
          <a:xfrm>
            <a:off x="6211446" y="182525"/>
            <a:ext cx="2719884" cy="1024093"/>
          </a:xfrm>
          <a:prstGeom prst="rect">
            <a:avLst/>
          </a:prstGeom>
        </p:spPr>
        <p:txBody>
          <a:bodyPr/>
          <a:lstStyle>
            <a:lvl1pPr>
              <a:lnSpc>
                <a:spcPct val="90000"/>
              </a:lnSpc>
              <a:defRPr sz="6499">
                <a:solidFill>
                  <a:schemeClr val="accent1"/>
                </a:solidFill>
              </a:defRPr>
            </a:lvl1pPr>
          </a:lstStyle>
          <a:p>
            <a:pPr lvl="0"/>
            <a:r>
              <a:rPr lang="en-US"/>
              <a:t>00%</a:t>
            </a:r>
          </a:p>
        </p:txBody>
      </p:sp>
      <p:sp>
        <p:nvSpPr>
          <p:cNvPr id="14" name="Text Placeholder 19">
            <a:extLst>
              <a:ext uri="{FF2B5EF4-FFF2-40B4-BE49-F238E27FC236}">
                <a16:creationId xmlns:a16="http://schemas.microsoft.com/office/drawing/2014/main" id="{B6ECCCC4-EFD9-6EE1-1F2A-AADFAE3FF5ED}"/>
              </a:ext>
            </a:extLst>
          </p:cNvPr>
          <p:cNvSpPr>
            <a:spLocks noGrp="1"/>
          </p:cNvSpPr>
          <p:nvPr>
            <p:ph type="body" sz="quarter" idx="17" hasCustomPrompt="1"/>
          </p:nvPr>
        </p:nvSpPr>
        <p:spPr>
          <a:xfrm>
            <a:off x="9188824" y="184112"/>
            <a:ext cx="2719884" cy="1022388"/>
          </a:xfrm>
          <a:prstGeom prst="rect">
            <a:avLst/>
          </a:prstGeom>
        </p:spPr>
        <p:txBody>
          <a:bodyPr/>
          <a:lstStyle>
            <a:lvl1pPr>
              <a:lnSpc>
                <a:spcPct val="90000"/>
              </a:lnSpc>
              <a:defRPr sz="6499">
                <a:solidFill>
                  <a:schemeClr val="accent1"/>
                </a:solidFill>
              </a:defRPr>
            </a:lvl1pPr>
          </a:lstStyle>
          <a:p>
            <a:pPr lvl="0"/>
            <a:r>
              <a:rPr lang="en-US"/>
              <a:t>00%</a:t>
            </a:r>
          </a:p>
        </p:txBody>
      </p:sp>
      <p:sp>
        <p:nvSpPr>
          <p:cNvPr id="15" name="Text Placeholder 15">
            <a:extLst>
              <a:ext uri="{FF2B5EF4-FFF2-40B4-BE49-F238E27FC236}">
                <a16:creationId xmlns:a16="http://schemas.microsoft.com/office/drawing/2014/main" id="{652DB5B9-CDC4-82D2-0B62-B66204713691}"/>
              </a:ext>
            </a:extLst>
          </p:cNvPr>
          <p:cNvSpPr>
            <a:spLocks noGrp="1"/>
          </p:cNvSpPr>
          <p:nvPr>
            <p:ph type="body" sz="quarter" idx="15" hasCustomPrompt="1"/>
          </p:nvPr>
        </p:nvSpPr>
        <p:spPr>
          <a:xfrm>
            <a:off x="3228696" y="184169"/>
            <a:ext cx="2719884" cy="1024804"/>
          </a:xfrm>
          <a:prstGeom prst="rect">
            <a:avLst/>
          </a:prstGeom>
        </p:spPr>
        <p:txBody>
          <a:bodyPr/>
          <a:lstStyle>
            <a:lvl1pPr>
              <a:lnSpc>
                <a:spcPct val="90000"/>
              </a:lnSpc>
              <a:defRPr sz="6499">
                <a:solidFill>
                  <a:schemeClr val="accent1"/>
                </a:solidFill>
              </a:defRPr>
            </a:lvl1pPr>
            <a:lvl2pPr marL="0" indent="0">
              <a:buNone/>
              <a:defRPr/>
            </a:lvl2pPr>
          </a:lstStyle>
          <a:p>
            <a:pPr lvl="0"/>
            <a:r>
              <a:rPr lang="en-US"/>
              <a:t>00%</a:t>
            </a:r>
          </a:p>
        </p:txBody>
      </p:sp>
    </p:spTree>
    <p:extLst>
      <p:ext uri="{BB962C8B-B14F-4D97-AF65-F5344CB8AC3E}">
        <p14:creationId xmlns:p14="http://schemas.microsoft.com/office/powerpoint/2010/main" val="3793310453"/>
      </p:ext>
    </p:extLst>
  </p:cSld>
  <p:clrMapOvr>
    <a:masterClrMapping/>
  </p:clrMapOvr>
  <p:transition spd="med"/>
  <p:extLst>
    <p:ext uri="{DCECCB84-F9BA-43D5-87BE-67443E8EF086}">
      <p15:sldGuideLst xmlns:p15="http://schemas.microsoft.com/office/powerpoint/2012/main">
        <p15:guide id="2" orient="horz" pos="4656">
          <p15:clr>
            <a:srgbClr val="F26B43"/>
          </p15:clr>
        </p15:guide>
        <p15:guide id="3" orient="horz" pos="912">
          <p15:clr>
            <a:srgbClr val="F26B43"/>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Horizontal 3 Col Data Callouts">
    <p:bg>
      <p:bgPr>
        <a:solidFill>
          <a:schemeClr val="tx1"/>
        </a:solidFill>
        <a:effectLst/>
      </p:bgPr>
    </p:bg>
    <p:spTree>
      <p:nvGrpSpPr>
        <p:cNvPr id="1" name=""/>
        <p:cNvGrpSpPr/>
        <p:nvPr/>
      </p:nvGrpSpPr>
      <p:grpSpPr>
        <a:xfrm>
          <a:off x="0" y="0"/>
          <a:ext cx="0" cy="0"/>
          <a:chOff x="0" y="0"/>
          <a:chExt cx="0" cy="0"/>
        </a:xfrm>
      </p:grpSpPr>
      <p:sp>
        <p:nvSpPr>
          <p:cNvPr id="3" name="Title Text">
            <a:extLst>
              <a:ext uri="{FF2B5EF4-FFF2-40B4-BE49-F238E27FC236}">
                <a16:creationId xmlns:a16="http://schemas.microsoft.com/office/drawing/2014/main" id="{4B5980F9-A7B7-7DE7-65FD-745FC498DFDB}"/>
              </a:ext>
            </a:extLst>
          </p:cNvPr>
          <p:cNvSpPr txBox="1">
            <a:spLocks noGrp="1"/>
          </p:cNvSpPr>
          <p:nvPr>
            <p:ph type="title" hasCustomPrompt="1"/>
          </p:nvPr>
        </p:nvSpPr>
        <p:spPr>
          <a:xfrm>
            <a:off x="290211" y="274545"/>
            <a:ext cx="2686352" cy="9319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lang="en-US"/>
              <a:t>Horizontal </a:t>
            </a:r>
            <a:br>
              <a:rPr lang="en-US"/>
            </a:br>
            <a:r>
              <a:rPr lang="en-US"/>
              <a:t>3 column data callouts</a:t>
            </a:r>
            <a:endParaRPr/>
          </a:p>
        </p:txBody>
      </p:sp>
      <p:sp>
        <p:nvSpPr>
          <p:cNvPr id="2" name="Text Placeholder 4">
            <a:extLst>
              <a:ext uri="{FF2B5EF4-FFF2-40B4-BE49-F238E27FC236}">
                <a16:creationId xmlns:a16="http://schemas.microsoft.com/office/drawing/2014/main" id="{4E5124E6-ADC3-5365-0866-3D4CAB4CAE95}"/>
              </a:ext>
            </a:extLst>
          </p:cNvPr>
          <p:cNvSpPr>
            <a:spLocks noGrp="1"/>
          </p:cNvSpPr>
          <p:nvPr>
            <p:ph type="body" sz="quarter" idx="12"/>
          </p:nvPr>
        </p:nvSpPr>
        <p:spPr>
          <a:xfrm>
            <a:off x="6243422" y="285751"/>
            <a:ext cx="5662828" cy="1798543"/>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15">
            <a:extLst>
              <a:ext uri="{FF2B5EF4-FFF2-40B4-BE49-F238E27FC236}">
                <a16:creationId xmlns:a16="http://schemas.microsoft.com/office/drawing/2014/main" id="{652DB5B9-CDC4-82D2-0B62-B66204713691}"/>
              </a:ext>
            </a:extLst>
          </p:cNvPr>
          <p:cNvSpPr>
            <a:spLocks noGrp="1"/>
          </p:cNvSpPr>
          <p:nvPr>
            <p:ph type="body" sz="quarter" idx="15" hasCustomPrompt="1"/>
          </p:nvPr>
        </p:nvSpPr>
        <p:spPr>
          <a:xfrm>
            <a:off x="3262312" y="184169"/>
            <a:ext cx="2686267" cy="1900126"/>
          </a:xfrm>
          <a:prstGeom prst="rect">
            <a:avLst/>
          </a:prstGeom>
        </p:spPr>
        <p:txBody>
          <a:bodyPr/>
          <a:lstStyle>
            <a:lvl1pPr algn="r">
              <a:lnSpc>
                <a:spcPct val="90000"/>
              </a:lnSpc>
              <a:defRPr sz="6499">
                <a:solidFill>
                  <a:schemeClr val="accent1"/>
                </a:solidFill>
              </a:defRPr>
            </a:lvl1pPr>
            <a:lvl2pPr marL="0" indent="0">
              <a:buNone/>
              <a:defRPr/>
            </a:lvl2pPr>
          </a:lstStyle>
          <a:p>
            <a:pPr lvl="0"/>
            <a:r>
              <a:rPr lang="en-US"/>
              <a:t>00%</a:t>
            </a:r>
          </a:p>
        </p:txBody>
      </p:sp>
      <p:sp>
        <p:nvSpPr>
          <p:cNvPr id="16" name="Text Placeholder 4">
            <a:extLst>
              <a:ext uri="{FF2B5EF4-FFF2-40B4-BE49-F238E27FC236}">
                <a16:creationId xmlns:a16="http://schemas.microsoft.com/office/drawing/2014/main" id="{489A396A-EC4B-6C7D-9BC2-25F2413D4A51}"/>
              </a:ext>
            </a:extLst>
          </p:cNvPr>
          <p:cNvSpPr>
            <a:spLocks noGrp="1"/>
          </p:cNvSpPr>
          <p:nvPr>
            <p:ph type="body" sz="quarter" idx="16"/>
          </p:nvPr>
        </p:nvSpPr>
        <p:spPr>
          <a:xfrm>
            <a:off x="6243422" y="2342031"/>
            <a:ext cx="5662828" cy="1798543"/>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15">
            <a:extLst>
              <a:ext uri="{FF2B5EF4-FFF2-40B4-BE49-F238E27FC236}">
                <a16:creationId xmlns:a16="http://schemas.microsoft.com/office/drawing/2014/main" id="{F1283630-C45B-3FFD-0FF4-71EF8BAB1AF9}"/>
              </a:ext>
            </a:extLst>
          </p:cNvPr>
          <p:cNvSpPr>
            <a:spLocks noGrp="1"/>
          </p:cNvSpPr>
          <p:nvPr>
            <p:ph type="body" sz="quarter" idx="17" hasCustomPrompt="1"/>
          </p:nvPr>
        </p:nvSpPr>
        <p:spPr>
          <a:xfrm>
            <a:off x="3262312" y="2240448"/>
            <a:ext cx="2686267" cy="1896390"/>
          </a:xfrm>
          <a:prstGeom prst="rect">
            <a:avLst/>
          </a:prstGeom>
        </p:spPr>
        <p:txBody>
          <a:bodyPr/>
          <a:lstStyle>
            <a:lvl1pPr algn="r">
              <a:lnSpc>
                <a:spcPct val="90000"/>
              </a:lnSpc>
              <a:defRPr sz="6499">
                <a:solidFill>
                  <a:schemeClr val="accent1"/>
                </a:solidFill>
              </a:defRPr>
            </a:lvl1pPr>
            <a:lvl2pPr marL="0" indent="0">
              <a:buNone/>
              <a:defRPr/>
            </a:lvl2pPr>
          </a:lstStyle>
          <a:p>
            <a:pPr lvl="0"/>
            <a:r>
              <a:rPr lang="en-US"/>
              <a:t>00%</a:t>
            </a:r>
          </a:p>
        </p:txBody>
      </p:sp>
      <p:sp>
        <p:nvSpPr>
          <p:cNvPr id="18" name="Text Placeholder 4">
            <a:extLst>
              <a:ext uri="{FF2B5EF4-FFF2-40B4-BE49-F238E27FC236}">
                <a16:creationId xmlns:a16="http://schemas.microsoft.com/office/drawing/2014/main" id="{7D7903A5-9767-AD20-0F18-95FC5C16B39B}"/>
              </a:ext>
            </a:extLst>
          </p:cNvPr>
          <p:cNvSpPr>
            <a:spLocks noGrp="1"/>
          </p:cNvSpPr>
          <p:nvPr>
            <p:ph type="body" sz="quarter" idx="18"/>
          </p:nvPr>
        </p:nvSpPr>
        <p:spPr>
          <a:xfrm>
            <a:off x="6243422" y="4364693"/>
            <a:ext cx="5662828" cy="1798543"/>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15">
            <a:extLst>
              <a:ext uri="{FF2B5EF4-FFF2-40B4-BE49-F238E27FC236}">
                <a16:creationId xmlns:a16="http://schemas.microsoft.com/office/drawing/2014/main" id="{696349FA-3CB3-B6D9-CBCE-B3BA68AAB02A}"/>
              </a:ext>
            </a:extLst>
          </p:cNvPr>
          <p:cNvSpPr>
            <a:spLocks noGrp="1"/>
          </p:cNvSpPr>
          <p:nvPr>
            <p:ph type="body" sz="quarter" idx="19" hasCustomPrompt="1"/>
          </p:nvPr>
        </p:nvSpPr>
        <p:spPr>
          <a:xfrm>
            <a:off x="3262312" y="4263110"/>
            <a:ext cx="2686267" cy="1896390"/>
          </a:xfrm>
          <a:prstGeom prst="rect">
            <a:avLst/>
          </a:prstGeom>
        </p:spPr>
        <p:txBody>
          <a:bodyPr/>
          <a:lstStyle>
            <a:lvl1pPr algn="r">
              <a:lnSpc>
                <a:spcPct val="90000"/>
              </a:lnSpc>
              <a:defRPr sz="6499">
                <a:solidFill>
                  <a:schemeClr val="accent1"/>
                </a:solidFill>
              </a:defRPr>
            </a:lvl1pPr>
            <a:lvl2pPr marL="0" indent="0">
              <a:buNone/>
              <a:defRPr/>
            </a:lvl2pPr>
          </a:lstStyle>
          <a:p>
            <a:pPr lvl="0"/>
            <a:r>
              <a:rPr lang="en-US"/>
              <a:t>00%</a:t>
            </a:r>
          </a:p>
        </p:txBody>
      </p:sp>
    </p:spTree>
    <p:extLst>
      <p:ext uri="{BB962C8B-B14F-4D97-AF65-F5344CB8AC3E}">
        <p14:creationId xmlns:p14="http://schemas.microsoft.com/office/powerpoint/2010/main" val="4157868376"/>
      </p:ext>
    </p:extLst>
  </p:cSld>
  <p:clrMapOvr>
    <a:masterClrMapping/>
  </p:clrMapOvr>
  <p:transition spd="med"/>
  <p:extLst>
    <p:ext uri="{DCECCB84-F9BA-43D5-87BE-67443E8EF086}">
      <p15:sldGuideLst xmlns:p15="http://schemas.microsoft.com/office/powerpoint/2012/main">
        <p15:guide id="2" orient="horz" pos="4656">
          <p15:clr>
            <a:srgbClr val="F26B43"/>
          </p15:clr>
        </p15:guide>
        <p15:guide id="3" orient="horz" pos="912">
          <p15:clr>
            <a:srgbClr val="F26B43"/>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Large 2 col data callouts">
    <p:bg>
      <p:bgPr>
        <a:solidFill>
          <a:schemeClr val="tx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87998" y="4389374"/>
            <a:ext cx="5665121" cy="1771650"/>
          </a:xfrm>
          <a:prstGeom prst="rect">
            <a:avLst/>
          </a:prstGeom>
        </p:spPr>
        <p:txBody>
          <a:bodyPr anchor="b"/>
          <a:lstStyle>
            <a:lvl1pPr>
              <a:lnSpc>
                <a:spcPct val="90000"/>
              </a:lnSpc>
              <a:spcBef>
                <a:spcPts val="0"/>
              </a:spcBef>
              <a:defRPr sz="12897" b="0" i="0">
                <a:solidFill>
                  <a:schemeClr val="accent1"/>
                </a:solidFill>
                <a:latin typeface="Aptos" panose="020B0004020202020204" pitchFamily="34" charset="0"/>
              </a:defRPr>
            </a:lvl1pPr>
          </a:lstStyle>
          <a:p>
            <a:r>
              <a:rPr lang="en-US"/>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6238876" y="4387850"/>
            <a:ext cx="5665825" cy="1771650"/>
          </a:xfrm>
          <a:prstGeom prst="rect">
            <a:avLst/>
          </a:prstGeom>
        </p:spPr>
        <p:txBody>
          <a:bodyPr anchor="b"/>
          <a:lstStyle>
            <a:lvl1pPr>
              <a:lnSpc>
                <a:spcPct val="90000"/>
              </a:lnSpc>
              <a:spcBef>
                <a:spcPts val="0"/>
              </a:spcBef>
              <a:defRPr sz="12897" b="0" i="0">
                <a:solidFill>
                  <a:schemeClr val="accent1"/>
                </a:solidFill>
                <a:latin typeface="Aptos" panose="020B0004020202020204" pitchFamily="34" charset="0"/>
              </a:defRPr>
            </a:lvl1pPr>
          </a:lstStyle>
          <a:p>
            <a:r>
              <a:rPr lang="en-US"/>
              <a:t>+00%</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6096000" y="284957"/>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ext Placeholder 4">
            <a:extLst>
              <a:ext uri="{FF2B5EF4-FFF2-40B4-BE49-F238E27FC236}">
                <a16:creationId xmlns:a16="http://schemas.microsoft.com/office/drawing/2014/main" id="{0BF01BD5-9D58-62B6-D197-096BEF11002A}"/>
              </a:ext>
            </a:extLst>
          </p:cNvPr>
          <p:cNvSpPr>
            <a:spLocks noGrp="1"/>
          </p:cNvSpPr>
          <p:nvPr>
            <p:ph type="body" sz="quarter" idx="11"/>
          </p:nvPr>
        </p:nvSpPr>
        <p:spPr>
          <a:xfrm>
            <a:off x="295469" y="296956"/>
            <a:ext cx="5657648" cy="3950073"/>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ext Placeholder 4">
            <a:extLst>
              <a:ext uri="{FF2B5EF4-FFF2-40B4-BE49-F238E27FC236}">
                <a16:creationId xmlns:a16="http://schemas.microsoft.com/office/drawing/2014/main" id="{8B578D6B-A381-8EB1-A3B8-5B2CD96A4253}"/>
              </a:ext>
            </a:extLst>
          </p:cNvPr>
          <p:cNvSpPr>
            <a:spLocks noGrp="1"/>
          </p:cNvSpPr>
          <p:nvPr>
            <p:ph type="body" sz="quarter" idx="15"/>
          </p:nvPr>
        </p:nvSpPr>
        <p:spPr>
          <a:xfrm>
            <a:off x="6245793" y="296956"/>
            <a:ext cx="5657648" cy="3950073"/>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430870920"/>
      </p:ext>
    </p:extLst>
  </p:cSld>
  <p:clrMapOvr>
    <a:masterClrMapping/>
  </p:clrMapOvr>
  <p:transition spd="med"/>
  <p:extLst>
    <p:ext uri="{DCECCB84-F9BA-43D5-87BE-67443E8EF086}">
      <p15:sldGuideLst xmlns:p15="http://schemas.microsoft.com/office/powerpoint/2012/main">
        <p15:guide id="1" orient="horz" pos="4656">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eft image">
    <p:bg>
      <p:bgPr>
        <a:solidFill>
          <a:schemeClr val="tx1"/>
        </a:solidFill>
        <a:effectLst/>
      </p:bgPr>
    </p:bg>
    <p:spTree>
      <p:nvGrpSpPr>
        <p:cNvPr id="1" name=""/>
        <p:cNvGrpSpPr/>
        <p:nvPr/>
      </p:nvGrpSpPr>
      <p:grpSpPr>
        <a:xfrm>
          <a:off x="0" y="0"/>
          <a:ext cx="0" cy="0"/>
          <a:chOff x="0" y="0"/>
          <a:chExt cx="0" cy="0"/>
        </a:xfrm>
      </p:grpSpPr>
      <p:sp>
        <p:nvSpPr>
          <p:cNvPr id="4" name="Picture Placeholder 5">
            <a:extLst>
              <a:ext uri="{FF2B5EF4-FFF2-40B4-BE49-F238E27FC236}">
                <a16:creationId xmlns:a16="http://schemas.microsoft.com/office/drawing/2014/main" id="{06CF6CF3-8491-8469-EF6E-6DF4249EBF58}"/>
              </a:ext>
            </a:extLst>
          </p:cNvPr>
          <p:cNvSpPr>
            <a:spLocks noGrp="1"/>
          </p:cNvSpPr>
          <p:nvPr>
            <p:ph type="pic" sz="quarter" idx="13" hasCustomPrompt="1"/>
          </p:nvPr>
        </p:nvSpPr>
        <p:spPr>
          <a:xfrm>
            <a:off x="0" y="0"/>
            <a:ext cx="5246688" cy="6858000"/>
          </a:xfrm>
          <a:solidFill>
            <a:schemeClr val="bg1"/>
          </a:solidFill>
        </p:spPr>
        <p:txBody>
          <a:bodyPr anchor="ctr"/>
          <a:lstStyle>
            <a:lvl1pPr algn="ctr">
              <a:defRPr>
                <a:solidFill>
                  <a:schemeClr val="tx1"/>
                </a:solidFill>
              </a:defRPr>
            </a:lvl1pPr>
          </a:lstStyle>
          <a:p>
            <a:r>
              <a:rPr lang="en-US"/>
              <a:t>[add image]</a:t>
            </a:r>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6246977" y="2265456"/>
            <a:ext cx="4952836" cy="3894044"/>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itle Text">
            <a:extLst>
              <a:ext uri="{FF2B5EF4-FFF2-40B4-BE49-F238E27FC236}">
                <a16:creationId xmlns:a16="http://schemas.microsoft.com/office/drawing/2014/main" id="{4B5980F9-A7B7-7DE7-65FD-745FC498DFDB}"/>
              </a:ext>
            </a:extLst>
          </p:cNvPr>
          <p:cNvSpPr txBox="1">
            <a:spLocks noGrp="1"/>
          </p:cNvSpPr>
          <p:nvPr>
            <p:ph type="title" hasCustomPrompt="1"/>
          </p:nvPr>
        </p:nvSpPr>
        <p:spPr>
          <a:xfrm>
            <a:off x="6238876" y="1280298"/>
            <a:ext cx="4959927" cy="38660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73152" rIns="0" bIns="0"/>
          <a:lstStyle/>
          <a:p>
            <a:r>
              <a:rPr lang="en-US"/>
              <a:t>Left image short agenda</a:t>
            </a:r>
            <a:endParaRPr/>
          </a:p>
        </p:txBody>
      </p:sp>
      <p:sp>
        <p:nvSpPr>
          <p:cNvPr id="7" name="Text Placeholder 3">
            <a:extLst>
              <a:ext uri="{FF2B5EF4-FFF2-40B4-BE49-F238E27FC236}">
                <a16:creationId xmlns:a16="http://schemas.microsoft.com/office/drawing/2014/main" id="{C5EDB870-A99C-88B9-5C4B-1911ED2B4E5C}"/>
              </a:ext>
            </a:extLst>
          </p:cNvPr>
          <p:cNvSpPr txBox="1">
            <a:spLocks/>
          </p:cNvSpPr>
          <p:nvPr userDrawn="1"/>
        </p:nvSpPr>
        <p:spPr>
          <a:xfrm>
            <a:off x="288889" y="6458629"/>
            <a:ext cx="4088233" cy="150303"/>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Outfit Light" pitchFamily="2" charset="0"/>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1218948" rtl="0" eaLnBrk="1" fontAlgn="auto" latinLnBrk="0" hangingPunct="1">
              <a:lnSpc>
                <a:spcPct val="110000"/>
              </a:lnSpc>
              <a:spcBef>
                <a:spcPts val="0"/>
              </a:spcBef>
              <a:spcAft>
                <a:spcPts val="0"/>
              </a:spcAft>
              <a:buClrTx/>
              <a:buSzTx/>
              <a:buFontTx/>
              <a:buNone/>
              <a:tabLst/>
              <a:defRPr/>
            </a:pPr>
            <a:r>
              <a:rPr kumimoji="0" lang="en-US" sz="917" b="0" i="0" u="none" strike="noStrike" kern="0" cap="none" spc="0" normalizeH="0" baseline="0" noProof="0">
                <a:ln>
                  <a:noFill/>
                </a:ln>
                <a:solidFill>
                  <a:schemeClr val="tx1"/>
                </a:solidFill>
                <a:effectLst/>
                <a:uLnTx/>
                <a:uFillTx/>
                <a:latin typeface="Aptos Light" panose="020B0004020202020204" pitchFamily="34" charset="0"/>
                <a:ea typeface="+mj-ea"/>
                <a:cs typeface="+mj-cs"/>
                <a:sym typeface="IBM Plex Sans Light"/>
              </a:rPr>
              <a:t>Confidential</a:t>
            </a:r>
            <a:r>
              <a:rPr kumimoji="0" lang="en-US" sz="917" b="0" i="0" u="none" strike="noStrike" kern="0" cap="none" spc="0" normalizeH="0" baseline="0" noProof="0">
                <a:ln>
                  <a:noFill/>
                </a:ln>
                <a:solidFill>
                  <a:schemeClr val="tx1"/>
                </a:solidFill>
                <a:effectLst/>
                <a:uLnTx/>
                <a:uFillTx/>
                <a:latin typeface="Aptos" panose="020B0004020202020204" pitchFamily="34" charset="0"/>
                <a:ea typeface="+mj-ea"/>
                <a:cs typeface="+mj-cs"/>
                <a:sym typeface="IBM Plex Sans Light"/>
              </a:rPr>
              <a:t>  /  </a:t>
            </a:r>
            <a:r>
              <a:rPr kumimoji="0" lang="en-US" sz="917" b="0" i="0" u="none" strike="noStrike" kern="0" cap="none" spc="0" normalizeH="0" baseline="0" noProof="0">
                <a:ln>
                  <a:noFill/>
                </a:ln>
                <a:solidFill>
                  <a:schemeClr val="tx1"/>
                </a:solidFill>
                <a:effectLst/>
                <a:uLnTx/>
                <a:uFillTx/>
                <a:latin typeface="Aptos Light" panose="020B0004020202020204" pitchFamily="34" charset="0"/>
                <a:ea typeface="+mj-ea"/>
                <a:cs typeface="+mj-cs"/>
                <a:sym typeface="IBM Plex Sans Light"/>
              </a:rPr>
              <a:t>Brillio</a:t>
            </a:r>
          </a:p>
        </p:txBody>
      </p:sp>
    </p:spTree>
    <p:extLst>
      <p:ext uri="{BB962C8B-B14F-4D97-AF65-F5344CB8AC3E}">
        <p14:creationId xmlns:p14="http://schemas.microsoft.com/office/powerpoint/2010/main" val="2206299575"/>
      </p:ext>
    </p:extLst>
  </p:cSld>
  <p:clrMapOvr>
    <a:masterClrMapping/>
  </p:clrMapOvr>
  <p:transition spd="med"/>
  <p:extLst>
    <p:ext uri="{DCECCB84-F9BA-43D5-87BE-67443E8EF086}">
      <p15:sldGuideLst xmlns:p15="http://schemas.microsoft.com/office/powerpoint/2012/main">
        <p15:guide id="2" orient="horz" pos="4656">
          <p15:clr>
            <a:srgbClr val="F26B43"/>
          </p15:clr>
        </p15:guide>
        <p15:guide id="3" orient="horz" pos="960">
          <p15:clr>
            <a:srgbClr val="F26B43"/>
          </p15:clr>
        </p15:guide>
        <p15:guide id="4" orient="horz" pos="1704">
          <p15:clr>
            <a:srgbClr val="F26B43"/>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tx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F45FA02-9260-0C95-436B-0FD0CB867653}"/>
              </a:ext>
            </a:extLst>
          </p:cNvPr>
          <p:cNvSpPr>
            <a:spLocks noGrp="1" noRot="1" noMove="1" noResize="1" noEditPoints="1" noAdjustHandles="1" noChangeArrowheads="1" noChangeShapeType="1"/>
          </p:cNvSpPr>
          <p:nvPr userDrawn="1"/>
        </p:nvSpPr>
        <p:spPr bwMode="auto">
          <a:xfrm>
            <a:off x="1" y="1"/>
            <a:ext cx="12191999" cy="6858000"/>
          </a:xfrm>
          <a:prstGeom prst="rect">
            <a:avLst/>
          </a:prstGeom>
          <a:solidFill>
            <a:schemeClr val="tx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indent="0" algn="l" defTabSz="457106" rtl="0" eaLnBrk="1" fontAlgn="base" latinLnBrk="0" hangingPunct="1">
              <a:lnSpc>
                <a:spcPct val="100000"/>
              </a:lnSpc>
              <a:spcBef>
                <a:spcPct val="0"/>
              </a:spcBef>
              <a:spcAft>
                <a:spcPct val="0"/>
              </a:spcAft>
              <a:buClrTx/>
              <a:buSzTx/>
              <a:buFont typeface="IBM Plex Sans Light"/>
              <a:buNone/>
              <a:tabLst/>
            </a:pPr>
            <a:endParaRPr kumimoji="0" lang="en-US" sz="700" b="0" i="0" u="none" strike="noStrike" cap="none" normalizeH="0" baseline="0">
              <a:ln>
                <a:noFill/>
              </a:ln>
              <a:solidFill>
                <a:schemeClr val="bg1"/>
              </a:solidFill>
              <a:effectLst/>
              <a:latin typeface="+mn-lt"/>
            </a:endParaRPr>
          </a:p>
        </p:txBody>
      </p:sp>
    </p:spTree>
    <p:extLst>
      <p:ext uri="{BB962C8B-B14F-4D97-AF65-F5344CB8AC3E}">
        <p14:creationId xmlns:p14="http://schemas.microsoft.com/office/powerpoint/2010/main" val="2823821084"/>
      </p:ext>
    </p:extLst>
  </p:cSld>
  <p:clrMapOvr>
    <a:masterClrMapping/>
  </p:clrMapOvr>
  <p:transition spd="med"/>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Placeholder 15">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3E73A228-96FB-EFAC-3427-8E5031D82C93}"/>
              </a:ext>
            </a:extLst>
          </p:cNvPr>
          <p:cNvSpPr>
            <a:spLocks noGrp="1"/>
          </p:cNvSpPr>
          <p:nvPr>
            <p:ph type="pic" sz="quarter" idx="11"/>
          </p:nvPr>
        </p:nvSpPr>
        <p:spPr>
          <a:xfrm>
            <a:off x="1205145" y="1071880"/>
            <a:ext cx="5026830" cy="4995512"/>
          </a:xfrm>
          <a:prstGeom prst="ellipse">
            <a:avLst/>
          </a:prstGeom>
          <a:pattFill prst="pct30">
            <a:fgClr>
              <a:schemeClr val="bg2"/>
            </a:fgClr>
            <a:bgClr>
              <a:schemeClr val="bg1"/>
            </a:bgClr>
          </a:pattFill>
        </p:spPr>
        <p:txBody>
          <a:bodyPr/>
          <a:lstStyle>
            <a:lvl1pPr>
              <a:defRPr sz="1200">
                <a:latin typeface="Poppins" panose="00000500000000000000" pitchFamily="2" charset="0"/>
                <a:cs typeface="Poppins" panose="00000500000000000000" pitchFamily="2" charset="0"/>
              </a:defRPr>
            </a:lvl1pPr>
          </a:lstStyle>
          <a:p>
            <a:endParaRPr lang="en-US"/>
          </a:p>
        </p:txBody>
      </p:sp>
    </p:spTree>
    <p:extLst>
      <p:ext uri="{BB962C8B-B14F-4D97-AF65-F5344CB8AC3E}">
        <p14:creationId xmlns:p14="http://schemas.microsoft.com/office/powerpoint/2010/main" val="160879560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87999" y="288036"/>
            <a:ext cx="3711980" cy="953294"/>
          </a:xfrm>
          <a:prstGeom prst="rect">
            <a:avLst/>
          </a:prstGeom>
        </p:spPr>
        <p:txBody>
          <a:bodyPr/>
          <a:lstStyle>
            <a:lvl1pPr>
              <a:lnSpc>
                <a:spcPct val="110000"/>
              </a:lnSpc>
              <a:defRPr sz="18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87999" y="1714500"/>
            <a:ext cx="5049180" cy="4286250"/>
          </a:xfrm>
          <a:prstGeom prst="rect">
            <a:avLst/>
          </a:prstGeo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6380919" y="1714500"/>
            <a:ext cx="5047593" cy="4286250"/>
          </a:xfrm>
          <a:prstGeom prst="rect">
            <a:avLst/>
          </a:prstGeo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291717279"/>
      </p:ext>
    </p:extLst>
  </p:cSld>
  <p:clrMapOvr>
    <a:masterClrMapping/>
  </p:clrMapOvr>
  <p:transition spd="med"/>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20A701C-E85C-4CDE-8E72-B76CD5454606}"/>
              </a:ext>
            </a:extLst>
          </p:cNvPr>
          <p:cNvSpPr>
            <a:spLocks noGrp="1"/>
          </p:cNvSpPr>
          <p:nvPr>
            <p:ph type="dt" sz="half" idx="10"/>
          </p:nvPr>
        </p:nvSpPr>
        <p:spPr/>
        <p:txBody>
          <a:bodyPr/>
          <a:lstStyle/>
          <a:p>
            <a:fld id="{74CDACD8-15DE-429F-8304-A430BF3095F5}" type="datetime1">
              <a:rPr lang="en-IN" smtClean="0"/>
              <a:t>11-04-2025</a:t>
            </a:fld>
            <a:endParaRPr lang="en-IN"/>
          </a:p>
        </p:txBody>
      </p:sp>
      <p:sp>
        <p:nvSpPr>
          <p:cNvPr id="3" name="Footer Placeholder 2">
            <a:extLst>
              <a:ext uri="{FF2B5EF4-FFF2-40B4-BE49-F238E27FC236}">
                <a16:creationId xmlns:a16="http://schemas.microsoft.com/office/drawing/2014/main" id="{39D74028-9D6E-4833-9459-1492CF1F2826}"/>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896FD39B-BF21-40B4-8B8C-26AC561D175C}"/>
              </a:ext>
            </a:extLst>
          </p:cNvPr>
          <p:cNvSpPr>
            <a:spLocks noGrp="1"/>
          </p:cNvSpPr>
          <p:nvPr>
            <p:ph type="sldNum" sz="quarter" idx="12"/>
          </p:nvPr>
        </p:nvSpPr>
        <p:spPr/>
        <p:txBody>
          <a:bodyPr/>
          <a:lstStyle/>
          <a:p>
            <a:fld id="{CE8D28EE-DADA-4185-923A-61843F8176A9}" type="slidenum">
              <a:rPr lang="en-IN" smtClean="0"/>
              <a:t>‹#›</a:t>
            </a:fld>
            <a:endParaRPr lang="en-IN"/>
          </a:p>
        </p:txBody>
      </p:sp>
    </p:spTree>
    <p:extLst>
      <p:ext uri="{BB962C8B-B14F-4D97-AF65-F5344CB8AC3E}">
        <p14:creationId xmlns:p14="http://schemas.microsoft.com/office/powerpoint/2010/main" val="328128631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CA214D0E-65E9-4993-B7FC-7D65086658B0}"/>
              </a:ext>
            </a:extLst>
          </p:cNvPr>
          <p:cNvSpPr/>
          <p:nvPr userDrawn="1"/>
        </p:nvSpPr>
        <p:spPr>
          <a:xfrm>
            <a:off x="124642" y="6700"/>
            <a:ext cx="355391" cy="601457"/>
          </a:xfrm>
          <a:prstGeom prst="parallelogram">
            <a:avLst>
              <a:gd name="adj" fmla="val 50845"/>
            </a:avLst>
          </a:prstGeom>
          <a:gradFill flip="none" rotWithShape="1">
            <a:gsLst>
              <a:gs pos="0">
                <a:srgbClr val="00B0F0"/>
              </a:gs>
              <a:gs pos="100000">
                <a:srgbClr val="5DD39B"/>
              </a:gs>
            </a:gsLst>
            <a:lin ang="16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900"/>
          </a:p>
        </p:txBody>
      </p:sp>
      <p:sp>
        <p:nvSpPr>
          <p:cNvPr id="5" name="Slide Number Placeholder 5">
            <a:extLst>
              <a:ext uri="{FF2B5EF4-FFF2-40B4-BE49-F238E27FC236}">
                <a16:creationId xmlns:a16="http://schemas.microsoft.com/office/drawing/2014/main" id="{55F96628-F975-4742-97C1-B22E5EDD4FA7}"/>
              </a:ext>
            </a:extLst>
          </p:cNvPr>
          <p:cNvSpPr txBox="1">
            <a:spLocks/>
          </p:cNvSpPr>
          <p:nvPr userDrawn="1"/>
        </p:nvSpPr>
        <p:spPr>
          <a:xfrm>
            <a:off x="11526449" y="126798"/>
            <a:ext cx="123747" cy="291381"/>
          </a:xfrm>
          <a:prstGeom prst="rect">
            <a:avLst/>
          </a:prstGeom>
        </p:spPr>
        <p:txBody>
          <a:bodyPr vert="horz" wrap="none" lIns="60960" tIns="30480" rIns="60960" bIns="3048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90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pPr algn="ctr"/>
              <a:t>‹#›</a:t>
            </a:fld>
            <a:endParaRPr lang="en-US" sz="551">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6" name="Oval 5">
            <a:extLst>
              <a:ext uri="{FF2B5EF4-FFF2-40B4-BE49-F238E27FC236}">
                <a16:creationId xmlns:a16="http://schemas.microsoft.com/office/drawing/2014/main" id="{47D989D1-BAEE-4130-A488-FFDFE59F428E}"/>
              </a:ext>
            </a:extLst>
          </p:cNvPr>
          <p:cNvSpPr/>
          <p:nvPr userDrawn="1"/>
        </p:nvSpPr>
        <p:spPr>
          <a:xfrm>
            <a:off x="11440457" y="124630"/>
            <a:ext cx="295735" cy="295735"/>
          </a:xfrm>
          <a:prstGeom prst="ellipse">
            <a:avLst/>
          </a:prstGeom>
          <a:noFill/>
          <a:ln w="63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551">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8" name="Oval 7">
            <a:extLst>
              <a:ext uri="{FF2B5EF4-FFF2-40B4-BE49-F238E27FC236}">
                <a16:creationId xmlns:a16="http://schemas.microsoft.com/office/drawing/2014/main" id="{E3C6DBB7-796D-4417-8758-93ED1808A1B5}"/>
              </a:ext>
            </a:extLst>
          </p:cNvPr>
          <p:cNvSpPr/>
          <p:nvPr userDrawn="1"/>
        </p:nvSpPr>
        <p:spPr>
          <a:xfrm>
            <a:off x="11053291" y="124630"/>
            <a:ext cx="295735" cy="295735"/>
          </a:xfrm>
          <a:prstGeom prst="ellipse">
            <a:avLst/>
          </a:prstGeom>
          <a:noFill/>
          <a:ln w="63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551">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9" name="Rectangle 9">
            <a:extLst>
              <a:ext uri="{FF2B5EF4-FFF2-40B4-BE49-F238E27FC236}">
                <a16:creationId xmlns:a16="http://schemas.microsoft.com/office/drawing/2014/main" id="{29216A53-D5D8-467B-83EE-BA01689A0CC4}"/>
              </a:ext>
            </a:extLst>
          </p:cNvPr>
          <p:cNvSpPr/>
          <p:nvPr userDrawn="1"/>
        </p:nvSpPr>
        <p:spPr>
          <a:xfrm rot="2700000">
            <a:off x="11181863" y="232504"/>
            <a:ext cx="79984" cy="79984"/>
          </a:xfrm>
          <a:custGeom>
            <a:avLst/>
            <a:gdLst>
              <a:gd name="connsiteX0" fmla="*/ 0 w 531091"/>
              <a:gd name="connsiteY0" fmla="*/ 0 h 531091"/>
              <a:gd name="connsiteX1" fmla="*/ 531091 w 531091"/>
              <a:gd name="connsiteY1" fmla="*/ 0 h 531091"/>
              <a:gd name="connsiteX2" fmla="*/ 531091 w 531091"/>
              <a:gd name="connsiteY2" fmla="*/ 531091 h 531091"/>
              <a:gd name="connsiteX3" fmla="*/ 0 w 531091"/>
              <a:gd name="connsiteY3" fmla="*/ 531091 h 531091"/>
              <a:gd name="connsiteX4" fmla="*/ 0 w 531091"/>
              <a:gd name="connsiteY4" fmla="*/ 0 h 531091"/>
              <a:gd name="connsiteX0" fmla="*/ 0 w 531091"/>
              <a:gd name="connsiteY0" fmla="*/ 0 h 531091"/>
              <a:gd name="connsiteX1" fmla="*/ 531091 w 531091"/>
              <a:gd name="connsiteY1" fmla="*/ 531091 h 531091"/>
              <a:gd name="connsiteX2" fmla="*/ 0 w 531091"/>
              <a:gd name="connsiteY2" fmla="*/ 531091 h 531091"/>
              <a:gd name="connsiteX3" fmla="*/ 0 w 531091"/>
              <a:gd name="connsiteY3" fmla="*/ 0 h 531091"/>
              <a:gd name="connsiteX0" fmla="*/ 0 w 531091"/>
              <a:gd name="connsiteY0" fmla="*/ 0 h 531091"/>
              <a:gd name="connsiteX1" fmla="*/ 230909 w 531091"/>
              <a:gd name="connsiteY1" fmla="*/ 224312 h 531091"/>
              <a:gd name="connsiteX2" fmla="*/ 531091 w 531091"/>
              <a:gd name="connsiteY2" fmla="*/ 531091 h 531091"/>
              <a:gd name="connsiteX3" fmla="*/ 0 w 531091"/>
              <a:gd name="connsiteY3" fmla="*/ 531091 h 531091"/>
              <a:gd name="connsiteX4" fmla="*/ 0 w 531091"/>
              <a:gd name="connsiteY4" fmla="*/ 0 h 531091"/>
              <a:gd name="connsiteX0" fmla="*/ 230909 w 531091"/>
              <a:gd name="connsiteY0" fmla="*/ 224312 h 531091"/>
              <a:gd name="connsiteX1" fmla="*/ 531091 w 531091"/>
              <a:gd name="connsiteY1" fmla="*/ 531091 h 531091"/>
              <a:gd name="connsiteX2" fmla="*/ 0 w 531091"/>
              <a:gd name="connsiteY2" fmla="*/ 531091 h 531091"/>
              <a:gd name="connsiteX3" fmla="*/ 0 w 531091"/>
              <a:gd name="connsiteY3" fmla="*/ 0 h 531091"/>
              <a:gd name="connsiteX4" fmla="*/ 322349 w 531091"/>
              <a:gd name="connsiteY4" fmla="*/ 315752 h 531091"/>
              <a:gd name="connsiteX0" fmla="*/ 343065 w 531091"/>
              <a:gd name="connsiteY0" fmla="*/ 89066 h 531091"/>
              <a:gd name="connsiteX1" fmla="*/ 531091 w 531091"/>
              <a:gd name="connsiteY1" fmla="*/ 531091 h 531091"/>
              <a:gd name="connsiteX2" fmla="*/ 0 w 531091"/>
              <a:gd name="connsiteY2" fmla="*/ 531091 h 531091"/>
              <a:gd name="connsiteX3" fmla="*/ 0 w 531091"/>
              <a:gd name="connsiteY3" fmla="*/ 0 h 531091"/>
              <a:gd name="connsiteX4" fmla="*/ 322349 w 531091"/>
              <a:gd name="connsiteY4" fmla="*/ 315752 h 531091"/>
              <a:gd name="connsiteX0" fmla="*/ 531091 w 531091"/>
              <a:gd name="connsiteY0" fmla="*/ 531091 h 531091"/>
              <a:gd name="connsiteX1" fmla="*/ 0 w 531091"/>
              <a:gd name="connsiteY1" fmla="*/ 531091 h 531091"/>
              <a:gd name="connsiteX2" fmla="*/ 0 w 531091"/>
              <a:gd name="connsiteY2" fmla="*/ 0 h 531091"/>
              <a:gd name="connsiteX3" fmla="*/ 322349 w 531091"/>
              <a:gd name="connsiteY3" fmla="*/ 315752 h 531091"/>
              <a:gd name="connsiteX0" fmla="*/ 531091 w 531091"/>
              <a:gd name="connsiteY0" fmla="*/ 531091 h 531091"/>
              <a:gd name="connsiteX1" fmla="*/ 0 w 531091"/>
              <a:gd name="connsiteY1" fmla="*/ 531091 h 531091"/>
              <a:gd name="connsiteX2" fmla="*/ 0 w 531091"/>
              <a:gd name="connsiteY2" fmla="*/ 0 h 531091"/>
            </a:gdLst>
            <a:ahLst/>
            <a:cxnLst>
              <a:cxn ang="0">
                <a:pos x="connsiteX0" y="connsiteY0"/>
              </a:cxn>
              <a:cxn ang="0">
                <a:pos x="connsiteX1" y="connsiteY1"/>
              </a:cxn>
              <a:cxn ang="0">
                <a:pos x="connsiteX2" y="connsiteY2"/>
              </a:cxn>
            </a:cxnLst>
            <a:rect l="l" t="t" r="r" b="b"/>
            <a:pathLst>
              <a:path w="531091" h="531091">
                <a:moveTo>
                  <a:pt x="531091" y="531091"/>
                </a:moveTo>
                <a:lnTo>
                  <a:pt x="0" y="531091"/>
                </a:lnTo>
                <a:lnTo>
                  <a:pt x="0" y="0"/>
                </a:lnTo>
              </a:path>
            </a:pathLst>
          </a:custGeom>
          <a:noFill/>
          <a:ln w="63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551">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0" name="Oval 9">
            <a:extLst>
              <a:ext uri="{FF2B5EF4-FFF2-40B4-BE49-F238E27FC236}">
                <a16:creationId xmlns:a16="http://schemas.microsoft.com/office/drawing/2014/main" id="{DBEFC3C5-CBFA-4BEA-93B4-49F52DA74D45}"/>
              </a:ext>
            </a:extLst>
          </p:cNvPr>
          <p:cNvSpPr/>
          <p:nvPr userDrawn="1"/>
        </p:nvSpPr>
        <p:spPr>
          <a:xfrm rot="10800000">
            <a:off x="11827621" y="124630"/>
            <a:ext cx="295735" cy="295735"/>
          </a:xfrm>
          <a:prstGeom prst="ellipse">
            <a:avLst/>
          </a:prstGeom>
          <a:noFill/>
          <a:ln w="63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551">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1" name="Rectangle 9">
            <a:extLst>
              <a:ext uri="{FF2B5EF4-FFF2-40B4-BE49-F238E27FC236}">
                <a16:creationId xmlns:a16="http://schemas.microsoft.com/office/drawing/2014/main" id="{1D94E97D-4A7E-4E69-BDDA-D6EC9FA30AC2}"/>
              </a:ext>
            </a:extLst>
          </p:cNvPr>
          <p:cNvSpPr/>
          <p:nvPr userDrawn="1"/>
        </p:nvSpPr>
        <p:spPr>
          <a:xfrm rot="13500000">
            <a:off x="11914799" y="232504"/>
            <a:ext cx="79984" cy="79984"/>
          </a:xfrm>
          <a:custGeom>
            <a:avLst/>
            <a:gdLst>
              <a:gd name="connsiteX0" fmla="*/ 0 w 531091"/>
              <a:gd name="connsiteY0" fmla="*/ 0 h 531091"/>
              <a:gd name="connsiteX1" fmla="*/ 531091 w 531091"/>
              <a:gd name="connsiteY1" fmla="*/ 0 h 531091"/>
              <a:gd name="connsiteX2" fmla="*/ 531091 w 531091"/>
              <a:gd name="connsiteY2" fmla="*/ 531091 h 531091"/>
              <a:gd name="connsiteX3" fmla="*/ 0 w 531091"/>
              <a:gd name="connsiteY3" fmla="*/ 531091 h 531091"/>
              <a:gd name="connsiteX4" fmla="*/ 0 w 531091"/>
              <a:gd name="connsiteY4" fmla="*/ 0 h 531091"/>
              <a:gd name="connsiteX0" fmla="*/ 0 w 531091"/>
              <a:gd name="connsiteY0" fmla="*/ 0 h 531091"/>
              <a:gd name="connsiteX1" fmla="*/ 531091 w 531091"/>
              <a:gd name="connsiteY1" fmla="*/ 531091 h 531091"/>
              <a:gd name="connsiteX2" fmla="*/ 0 w 531091"/>
              <a:gd name="connsiteY2" fmla="*/ 531091 h 531091"/>
              <a:gd name="connsiteX3" fmla="*/ 0 w 531091"/>
              <a:gd name="connsiteY3" fmla="*/ 0 h 531091"/>
              <a:gd name="connsiteX0" fmla="*/ 0 w 531091"/>
              <a:gd name="connsiteY0" fmla="*/ 0 h 531091"/>
              <a:gd name="connsiteX1" fmla="*/ 230909 w 531091"/>
              <a:gd name="connsiteY1" fmla="*/ 224312 h 531091"/>
              <a:gd name="connsiteX2" fmla="*/ 531091 w 531091"/>
              <a:gd name="connsiteY2" fmla="*/ 531091 h 531091"/>
              <a:gd name="connsiteX3" fmla="*/ 0 w 531091"/>
              <a:gd name="connsiteY3" fmla="*/ 531091 h 531091"/>
              <a:gd name="connsiteX4" fmla="*/ 0 w 531091"/>
              <a:gd name="connsiteY4" fmla="*/ 0 h 531091"/>
              <a:gd name="connsiteX0" fmla="*/ 230909 w 531091"/>
              <a:gd name="connsiteY0" fmla="*/ 224312 h 531091"/>
              <a:gd name="connsiteX1" fmla="*/ 531091 w 531091"/>
              <a:gd name="connsiteY1" fmla="*/ 531091 h 531091"/>
              <a:gd name="connsiteX2" fmla="*/ 0 w 531091"/>
              <a:gd name="connsiteY2" fmla="*/ 531091 h 531091"/>
              <a:gd name="connsiteX3" fmla="*/ 0 w 531091"/>
              <a:gd name="connsiteY3" fmla="*/ 0 h 531091"/>
              <a:gd name="connsiteX4" fmla="*/ 322349 w 531091"/>
              <a:gd name="connsiteY4" fmla="*/ 315752 h 531091"/>
              <a:gd name="connsiteX0" fmla="*/ 343065 w 531091"/>
              <a:gd name="connsiteY0" fmla="*/ 89066 h 531091"/>
              <a:gd name="connsiteX1" fmla="*/ 531091 w 531091"/>
              <a:gd name="connsiteY1" fmla="*/ 531091 h 531091"/>
              <a:gd name="connsiteX2" fmla="*/ 0 w 531091"/>
              <a:gd name="connsiteY2" fmla="*/ 531091 h 531091"/>
              <a:gd name="connsiteX3" fmla="*/ 0 w 531091"/>
              <a:gd name="connsiteY3" fmla="*/ 0 h 531091"/>
              <a:gd name="connsiteX4" fmla="*/ 322349 w 531091"/>
              <a:gd name="connsiteY4" fmla="*/ 315752 h 531091"/>
              <a:gd name="connsiteX0" fmla="*/ 531091 w 531091"/>
              <a:gd name="connsiteY0" fmla="*/ 531091 h 531091"/>
              <a:gd name="connsiteX1" fmla="*/ 0 w 531091"/>
              <a:gd name="connsiteY1" fmla="*/ 531091 h 531091"/>
              <a:gd name="connsiteX2" fmla="*/ 0 w 531091"/>
              <a:gd name="connsiteY2" fmla="*/ 0 h 531091"/>
              <a:gd name="connsiteX3" fmla="*/ 322349 w 531091"/>
              <a:gd name="connsiteY3" fmla="*/ 315752 h 531091"/>
              <a:gd name="connsiteX0" fmla="*/ 531091 w 531091"/>
              <a:gd name="connsiteY0" fmla="*/ 531091 h 531091"/>
              <a:gd name="connsiteX1" fmla="*/ 0 w 531091"/>
              <a:gd name="connsiteY1" fmla="*/ 531091 h 531091"/>
              <a:gd name="connsiteX2" fmla="*/ 0 w 531091"/>
              <a:gd name="connsiteY2" fmla="*/ 0 h 531091"/>
            </a:gdLst>
            <a:ahLst/>
            <a:cxnLst>
              <a:cxn ang="0">
                <a:pos x="connsiteX0" y="connsiteY0"/>
              </a:cxn>
              <a:cxn ang="0">
                <a:pos x="connsiteX1" y="connsiteY1"/>
              </a:cxn>
              <a:cxn ang="0">
                <a:pos x="connsiteX2" y="connsiteY2"/>
              </a:cxn>
            </a:cxnLst>
            <a:rect l="l" t="t" r="r" b="b"/>
            <a:pathLst>
              <a:path w="531091" h="531091">
                <a:moveTo>
                  <a:pt x="531091" y="531091"/>
                </a:moveTo>
                <a:lnTo>
                  <a:pt x="0" y="531091"/>
                </a:lnTo>
                <a:lnTo>
                  <a:pt x="0" y="0"/>
                </a:lnTo>
              </a:path>
            </a:pathLst>
          </a:custGeom>
          <a:noFill/>
          <a:ln w="63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551">
              <a:latin typeface="Open Sans Light" panose="020B0306030504020204" pitchFamily="34" charset="0"/>
              <a:ea typeface="Open Sans Light" panose="020B0306030504020204" pitchFamily="34" charset="0"/>
              <a:cs typeface="Open Sans Light" panose="020B0306030504020204" pitchFamily="34" charset="0"/>
            </a:endParaRPr>
          </a:p>
        </p:txBody>
      </p:sp>
      <p:cxnSp>
        <p:nvCxnSpPr>
          <p:cNvPr id="12" name="Straight Connector 11">
            <a:extLst>
              <a:ext uri="{FF2B5EF4-FFF2-40B4-BE49-F238E27FC236}">
                <a16:creationId xmlns:a16="http://schemas.microsoft.com/office/drawing/2014/main" id="{A07CD735-6963-4673-9442-2DA544EDE10B}"/>
              </a:ext>
            </a:extLst>
          </p:cNvPr>
          <p:cNvCxnSpPr>
            <a:cxnSpLocks/>
          </p:cNvCxnSpPr>
          <p:nvPr userDrawn="1"/>
        </p:nvCxnSpPr>
        <p:spPr>
          <a:xfrm>
            <a:off x="1234440" y="126797"/>
            <a:ext cx="0" cy="52092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itle 6">
            <a:extLst>
              <a:ext uri="{FF2B5EF4-FFF2-40B4-BE49-F238E27FC236}">
                <a16:creationId xmlns:a16="http://schemas.microsoft.com/office/drawing/2014/main" id="{34F92042-2EE8-4213-AED5-1EAF0FE503D5}"/>
              </a:ext>
            </a:extLst>
          </p:cNvPr>
          <p:cNvSpPr>
            <a:spLocks noGrp="1"/>
          </p:cNvSpPr>
          <p:nvPr>
            <p:ph type="title"/>
          </p:nvPr>
        </p:nvSpPr>
        <p:spPr>
          <a:xfrm>
            <a:off x="885298" y="258849"/>
            <a:ext cx="10118887" cy="698611"/>
          </a:xfrm>
          <a:prstGeom prst="rect">
            <a:avLst/>
          </a:prstGeom>
        </p:spPr>
        <p:txBody>
          <a:bodyPr anchor="ctr">
            <a:normAutofit/>
          </a:bodyPr>
          <a:lstStyle>
            <a:lvl1pPr>
              <a:defRPr sz="1800" cap="all" spc="300" baseline="0">
                <a:solidFill>
                  <a:schemeClr val="tx1"/>
                </a:solidFill>
              </a:defRPr>
            </a:lvl1pPr>
          </a:lstStyle>
          <a:p>
            <a:r>
              <a:rPr lang="en-US"/>
              <a:t>Click to edit Master title style</a:t>
            </a:r>
            <a:endParaRPr lang="en-IN"/>
          </a:p>
        </p:txBody>
      </p:sp>
      <p:sp>
        <p:nvSpPr>
          <p:cNvPr id="14" name="Parallelogram 13">
            <a:extLst>
              <a:ext uri="{FF2B5EF4-FFF2-40B4-BE49-F238E27FC236}">
                <a16:creationId xmlns:a16="http://schemas.microsoft.com/office/drawing/2014/main" id="{6248726C-CDC3-4F7E-A735-607E64549715}"/>
              </a:ext>
            </a:extLst>
          </p:cNvPr>
          <p:cNvSpPr/>
          <p:nvPr userDrawn="1"/>
        </p:nvSpPr>
        <p:spPr>
          <a:xfrm rot="10800000">
            <a:off x="315135" y="215941"/>
            <a:ext cx="355391" cy="601457"/>
          </a:xfrm>
          <a:prstGeom prst="parallelogram">
            <a:avLst>
              <a:gd name="adj" fmla="val 50845"/>
            </a:avLst>
          </a:prstGeom>
          <a:gradFill flip="none" rotWithShape="1">
            <a:gsLst>
              <a:gs pos="0">
                <a:srgbClr val="00B0F0"/>
              </a:gs>
              <a:gs pos="100000">
                <a:srgbClr val="5DD39B"/>
              </a:gs>
            </a:gsLst>
            <a:lin ang="16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900"/>
          </a:p>
        </p:txBody>
      </p:sp>
      <p:sp>
        <p:nvSpPr>
          <p:cNvPr id="15" name="Action Button: Forward or Next 26">
            <a:hlinkClick r:id="" action="ppaction://hlinkshowjump?jump=nextslide" highlightClick="1"/>
            <a:extLst>
              <a:ext uri="{FF2B5EF4-FFF2-40B4-BE49-F238E27FC236}">
                <a16:creationId xmlns:a16="http://schemas.microsoft.com/office/drawing/2014/main" id="{A4B42931-6881-4987-8C52-D2B10304DCA2}"/>
              </a:ext>
            </a:extLst>
          </p:cNvPr>
          <p:cNvSpPr/>
          <p:nvPr userDrawn="1"/>
        </p:nvSpPr>
        <p:spPr>
          <a:xfrm>
            <a:off x="11799047" y="61288"/>
            <a:ext cx="357096" cy="357096"/>
          </a:xfrm>
          <a:prstGeom prst="actionButtonForwardNext">
            <a:avLst/>
          </a:prstGeom>
          <a:solidFill>
            <a:srgbClr val="00CAC5">
              <a:alpha val="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00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6" name="Action Button: Back or Previous 27">
            <a:hlinkClick r:id="" action="ppaction://hlinkshowjump?jump=previousslide" highlightClick="1"/>
            <a:extLst>
              <a:ext uri="{FF2B5EF4-FFF2-40B4-BE49-F238E27FC236}">
                <a16:creationId xmlns:a16="http://schemas.microsoft.com/office/drawing/2014/main" id="{85F9F5F3-5580-4B83-9D17-8D97F759D1BF}"/>
              </a:ext>
            </a:extLst>
          </p:cNvPr>
          <p:cNvSpPr/>
          <p:nvPr userDrawn="1"/>
        </p:nvSpPr>
        <p:spPr>
          <a:xfrm>
            <a:off x="11020553" y="100108"/>
            <a:ext cx="357096" cy="357096"/>
          </a:xfrm>
          <a:prstGeom prst="actionButtonBackPrevious">
            <a:avLst/>
          </a:prstGeom>
          <a:solidFill>
            <a:srgbClr val="00CAC5">
              <a:alpha val="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00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7" name="Text Placeholder 7">
            <a:extLst>
              <a:ext uri="{FF2B5EF4-FFF2-40B4-BE49-F238E27FC236}">
                <a16:creationId xmlns:a16="http://schemas.microsoft.com/office/drawing/2014/main" id="{CAA8F239-4E60-4C19-9DCB-0EC1674AA2F8}"/>
              </a:ext>
            </a:extLst>
          </p:cNvPr>
          <p:cNvSpPr>
            <a:spLocks noGrp="1"/>
          </p:cNvSpPr>
          <p:nvPr>
            <p:ph type="body" sz="quarter" idx="10"/>
          </p:nvPr>
        </p:nvSpPr>
        <p:spPr>
          <a:xfrm>
            <a:off x="885032" y="845271"/>
            <a:ext cx="10135395" cy="272257"/>
          </a:xfrm>
        </p:spPr>
        <p:txBody>
          <a:bodyPr anchor="ctr">
            <a:noAutofit/>
          </a:bodyPr>
          <a:lstStyle>
            <a:lvl1pPr marL="0" indent="0" algn="l" defTabSz="457189" rtl="0" eaLnBrk="1" latinLnBrk="0" hangingPunct="1">
              <a:lnSpc>
                <a:spcPct val="90000"/>
              </a:lnSpc>
              <a:spcBef>
                <a:spcPct val="0"/>
              </a:spcBef>
              <a:buNone/>
              <a:defRPr lang="en-US" sz="1200" kern="1200" cap="all" spc="300" baseline="0" dirty="0" smtClean="0">
                <a:solidFill>
                  <a:schemeClr val="tx1">
                    <a:lumMod val="50000"/>
                    <a:lumOff val="50000"/>
                  </a:schemeClr>
                </a:solidFill>
                <a:latin typeface="+mj-lt"/>
                <a:ea typeface="+mj-ea"/>
                <a:cs typeface="+mj-cs"/>
              </a:defRPr>
            </a:lvl1pPr>
            <a:lvl2pPr marL="228594" indent="0" algn="l" defTabSz="457189" rtl="0" eaLnBrk="1" latinLnBrk="0" hangingPunct="1">
              <a:lnSpc>
                <a:spcPct val="90000"/>
              </a:lnSpc>
              <a:spcBef>
                <a:spcPct val="0"/>
              </a:spcBef>
              <a:buNone/>
              <a:defRPr lang="en-US" sz="2400" kern="1200" cap="all" spc="300" baseline="0" dirty="0" smtClean="0">
                <a:solidFill>
                  <a:schemeClr val="tx1"/>
                </a:solidFill>
                <a:latin typeface="+mj-lt"/>
                <a:ea typeface="+mj-ea"/>
                <a:cs typeface="+mj-cs"/>
              </a:defRPr>
            </a:lvl2pPr>
            <a:lvl3pPr marL="457189" indent="0" algn="l" defTabSz="457189" rtl="0" eaLnBrk="1" latinLnBrk="0" hangingPunct="1">
              <a:lnSpc>
                <a:spcPct val="90000"/>
              </a:lnSpc>
              <a:spcBef>
                <a:spcPct val="0"/>
              </a:spcBef>
              <a:buNone/>
              <a:defRPr lang="en-US" sz="2400" kern="1200" cap="all" spc="300" baseline="0" dirty="0" smtClean="0">
                <a:solidFill>
                  <a:schemeClr val="tx1"/>
                </a:solidFill>
                <a:latin typeface="+mj-lt"/>
                <a:ea typeface="+mj-ea"/>
                <a:cs typeface="+mj-cs"/>
              </a:defRPr>
            </a:lvl3pPr>
            <a:lvl4pPr marL="685783" indent="0" algn="l" defTabSz="457189" rtl="0" eaLnBrk="1" latinLnBrk="0" hangingPunct="1">
              <a:lnSpc>
                <a:spcPct val="90000"/>
              </a:lnSpc>
              <a:spcBef>
                <a:spcPct val="0"/>
              </a:spcBef>
              <a:buNone/>
              <a:defRPr lang="en-US" sz="2400" kern="1200" cap="all" spc="300" baseline="0" dirty="0" smtClean="0">
                <a:solidFill>
                  <a:schemeClr val="tx1"/>
                </a:solidFill>
                <a:latin typeface="+mj-lt"/>
                <a:ea typeface="+mj-ea"/>
                <a:cs typeface="+mj-cs"/>
              </a:defRPr>
            </a:lvl4pPr>
            <a:lvl5pPr marL="914377" indent="0" algn="l" defTabSz="457189" rtl="0" eaLnBrk="1" latinLnBrk="0" hangingPunct="1">
              <a:lnSpc>
                <a:spcPct val="90000"/>
              </a:lnSpc>
              <a:spcBef>
                <a:spcPct val="0"/>
              </a:spcBef>
              <a:buNone/>
              <a:defRPr lang="en-IN" sz="2400" kern="1200" cap="all" spc="300" baseline="0" dirty="0">
                <a:solidFill>
                  <a:schemeClr val="tx1"/>
                </a:solidFill>
                <a:latin typeface="+mj-lt"/>
                <a:ea typeface="+mj-ea"/>
                <a:cs typeface="+mj-cs"/>
              </a:defRPr>
            </a:lvl5pPr>
          </a:lstStyle>
          <a:p>
            <a:pPr lvl="0"/>
            <a:r>
              <a:rPr lang="en-US"/>
              <a:t>Click to edit Master text style</a:t>
            </a:r>
          </a:p>
        </p:txBody>
      </p:sp>
    </p:spTree>
    <p:extLst>
      <p:ext uri="{BB962C8B-B14F-4D97-AF65-F5344CB8AC3E}">
        <p14:creationId xmlns:p14="http://schemas.microsoft.com/office/powerpoint/2010/main" val="356623704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F4F6DD-43C4-455E-85A4-718F8649A339}"/>
              </a:ext>
            </a:extLst>
          </p:cNvPr>
          <p:cNvSpPr>
            <a:spLocks noGrp="1"/>
          </p:cNvSpPr>
          <p:nvPr>
            <p:ph type="title" hasCustomPrompt="1"/>
          </p:nvPr>
        </p:nvSpPr>
        <p:spPr>
          <a:xfrm>
            <a:off x="346368" y="323564"/>
            <a:ext cx="11610109" cy="757093"/>
          </a:xfrm>
        </p:spPr>
        <p:txBody>
          <a:bodyPr>
            <a:normAutofit/>
          </a:bodyPr>
          <a:lstStyle>
            <a:lvl1pPr>
              <a:defRPr lang="en-IN" sz="2400" kern="1200" cap="all" baseline="0" dirty="0">
                <a:solidFill>
                  <a:schemeClr val="tx1">
                    <a:lumMod val="75000"/>
                    <a:lumOff val="25000"/>
                  </a:schemeClr>
                </a:solidFill>
                <a:latin typeface="Arial Black" panose="020B0A04020102020204" pitchFamily="34" charset="0"/>
                <a:ea typeface="Open Sans Extrabold" panose="020B0906030804020204" pitchFamily="34" charset="0"/>
                <a:cs typeface="Open Sans Extrabold" panose="020B0906030804020204" pitchFamily="34" charset="0"/>
              </a:defRPr>
            </a:lvl1pPr>
          </a:lstStyle>
          <a:p>
            <a:pPr lvl="0" algn="l" defTabSz="914580" rtl="0" eaLnBrk="1" latinLnBrk="0" hangingPunct="1">
              <a:lnSpc>
                <a:spcPct val="90000"/>
              </a:lnSpc>
              <a:spcBef>
                <a:spcPct val="0"/>
              </a:spcBef>
              <a:buNone/>
            </a:pPr>
            <a:r>
              <a:rPr lang="en-US"/>
              <a:t>Click to edit master title style</a:t>
            </a:r>
            <a:endParaRPr lang="en-IN"/>
          </a:p>
        </p:txBody>
      </p:sp>
      <p:sp>
        <p:nvSpPr>
          <p:cNvPr id="3" name="Date Placeholder 2">
            <a:extLst>
              <a:ext uri="{FF2B5EF4-FFF2-40B4-BE49-F238E27FC236}">
                <a16:creationId xmlns:a16="http://schemas.microsoft.com/office/drawing/2014/main" id="{83EF9161-0E1C-4A9D-B157-C25AC748B970}"/>
              </a:ext>
            </a:extLst>
          </p:cNvPr>
          <p:cNvSpPr>
            <a:spLocks noGrp="1"/>
          </p:cNvSpPr>
          <p:nvPr>
            <p:ph type="dt" sz="half" idx="10"/>
          </p:nvPr>
        </p:nvSpPr>
        <p:spPr/>
        <p:txBody>
          <a:bodyPr/>
          <a:lstStyle/>
          <a:p>
            <a:fld id="{8B599BC6-FFCC-48ED-82A2-EECD283AC28B}" type="datetime1">
              <a:rPr lang="en-IN" smtClean="0"/>
              <a:t>11-04-2025</a:t>
            </a:fld>
            <a:endParaRPr lang="en-IN"/>
          </a:p>
        </p:txBody>
      </p:sp>
      <p:sp>
        <p:nvSpPr>
          <p:cNvPr id="4" name="Footer Placeholder 3">
            <a:extLst>
              <a:ext uri="{FF2B5EF4-FFF2-40B4-BE49-F238E27FC236}">
                <a16:creationId xmlns:a16="http://schemas.microsoft.com/office/drawing/2014/main" id="{A5BFF4B3-047D-4194-99AA-A3A041F58877}"/>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FBB1963F-FDBC-45A1-A2FE-B34928658A63}"/>
              </a:ext>
            </a:extLst>
          </p:cNvPr>
          <p:cNvSpPr>
            <a:spLocks noGrp="1"/>
          </p:cNvSpPr>
          <p:nvPr>
            <p:ph type="sldNum" sz="quarter" idx="12"/>
          </p:nvPr>
        </p:nvSpPr>
        <p:spPr/>
        <p:txBody>
          <a:bodyPr/>
          <a:lstStyle/>
          <a:p>
            <a:fld id="{CE8D28EE-DADA-4185-923A-61843F8176A9}" type="slidenum">
              <a:rPr lang="en-IN" smtClean="0"/>
              <a:t>‹#›</a:t>
            </a:fld>
            <a:endParaRPr lang="en-IN"/>
          </a:p>
        </p:txBody>
      </p:sp>
      <p:cxnSp>
        <p:nvCxnSpPr>
          <p:cNvPr id="7" name="Straight Connector 6">
            <a:extLst>
              <a:ext uri="{FF2B5EF4-FFF2-40B4-BE49-F238E27FC236}">
                <a16:creationId xmlns:a16="http://schemas.microsoft.com/office/drawing/2014/main" id="{DDC949F5-DEF2-46F9-AB38-2AB8ED8825A7}"/>
              </a:ext>
            </a:extLst>
          </p:cNvPr>
          <p:cNvCxnSpPr/>
          <p:nvPr userDrawn="1"/>
        </p:nvCxnSpPr>
        <p:spPr>
          <a:xfrm>
            <a:off x="346367" y="323561"/>
            <a:ext cx="942109" cy="0"/>
          </a:xfrm>
          <a:prstGeom prst="line">
            <a:avLst/>
          </a:prstGeom>
          <a:ln w="38100" cap="rnd">
            <a:gradFill>
              <a:gsLst>
                <a:gs pos="0">
                  <a:srgbClr val="00FFB2"/>
                </a:gs>
                <a:gs pos="100000">
                  <a:srgbClr val="0079FF"/>
                </a:gs>
              </a:gsLst>
              <a:lin ang="0" scaled="0"/>
            </a:gradFill>
            <a:round/>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07214908-6B86-49B1-876D-4BDB7239D3A7}"/>
              </a:ext>
            </a:extLst>
          </p:cNvPr>
          <p:cNvSpPr>
            <a:spLocks noGrp="1"/>
          </p:cNvSpPr>
          <p:nvPr>
            <p:ph type="body" sz="quarter" idx="13" hasCustomPrompt="1"/>
          </p:nvPr>
        </p:nvSpPr>
        <p:spPr>
          <a:xfrm>
            <a:off x="1384974" y="221484"/>
            <a:ext cx="10571500" cy="249763"/>
          </a:xfrm>
        </p:spPr>
        <p:txBody>
          <a:bodyPr anchor="ctr">
            <a:normAutofit/>
          </a:bodyPr>
          <a:lstStyle>
            <a:lvl1pPr marL="0" indent="0">
              <a:buNone/>
              <a:defRPr sz="1333" b="0" i="1" cap="all" spc="533" baseline="0">
                <a:solidFill>
                  <a:schemeClr val="tx2"/>
                </a:solidFill>
              </a:defRPr>
            </a:lvl1pPr>
            <a:lvl2pPr marL="457291" indent="0">
              <a:buNone/>
              <a:defRPr/>
            </a:lvl2pPr>
            <a:lvl3pPr marL="914580" indent="0">
              <a:buNone/>
              <a:defRPr/>
            </a:lvl3pPr>
            <a:lvl4pPr marL="1371871" indent="0">
              <a:buNone/>
              <a:defRPr/>
            </a:lvl4pPr>
            <a:lvl5pPr marL="1829161" indent="0">
              <a:buNone/>
              <a:defRPr/>
            </a:lvl5pPr>
          </a:lstStyle>
          <a:p>
            <a:pPr lvl="0"/>
            <a:r>
              <a:rPr lang="en-US"/>
              <a:t>CLICK HERE to edit subtitle</a:t>
            </a:r>
            <a:endParaRPr lang="en-IN"/>
          </a:p>
        </p:txBody>
      </p:sp>
    </p:spTree>
    <p:extLst>
      <p:ext uri="{BB962C8B-B14F-4D97-AF65-F5344CB8AC3E}">
        <p14:creationId xmlns:p14="http://schemas.microsoft.com/office/powerpoint/2010/main" val="103363498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F4F6DD-43C4-455E-85A4-718F8649A339}"/>
              </a:ext>
            </a:extLst>
          </p:cNvPr>
          <p:cNvSpPr>
            <a:spLocks noGrp="1"/>
          </p:cNvSpPr>
          <p:nvPr>
            <p:ph type="title" hasCustomPrompt="1"/>
          </p:nvPr>
        </p:nvSpPr>
        <p:spPr>
          <a:xfrm>
            <a:off x="346368" y="323564"/>
            <a:ext cx="11610109" cy="757093"/>
          </a:xfrm>
        </p:spPr>
        <p:txBody>
          <a:bodyPr>
            <a:normAutofit/>
          </a:bodyPr>
          <a:lstStyle>
            <a:lvl1pPr algn="ctr">
              <a:defRPr sz="2400" cap="all" baseline="0">
                <a:solidFill>
                  <a:schemeClr val="tx1">
                    <a:lumMod val="75000"/>
                    <a:lumOff val="25000"/>
                  </a:schemeClr>
                </a:solidFill>
              </a:defRPr>
            </a:lvl1pPr>
          </a:lstStyle>
          <a:p>
            <a:r>
              <a:rPr lang="en-US"/>
              <a:t>Click to edit master title style</a:t>
            </a:r>
            <a:endParaRPr lang="en-IN"/>
          </a:p>
        </p:txBody>
      </p:sp>
      <p:sp>
        <p:nvSpPr>
          <p:cNvPr id="3" name="Date Placeholder 2">
            <a:extLst>
              <a:ext uri="{FF2B5EF4-FFF2-40B4-BE49-F238E27FC236}">
                <a16:creationId xmlns:a16="http://schemas.microsoft.com/office/drawing/2014/main" id="{83EF9161-0E1C-4A9D-B157-C25AC748B970}"/>
              </a:ext>
            </a:extLst>
          </p:cNvPr>
          <p:cNvSpPr>
            <a:spLocks noGrp="1"/>
          </p:cNvSpPr>
          <p:nvPr>
            <p:ph type="dt" sz="half" idx="10"/>
          </p:nvPr>
        </p:nvSpPr>
        <p:spPr/>
        <p:txBody>
          <a:bodyPr/>
          <a:lstStyle/>
          <a:p>
            <a:fld id="{5F872374-1311-4C02-B8B6-2BDE49089C2B}" type="datetime1">
              <a:rPr lang="en-IN" smtClean="0"/>
              <a:t>11-04-2025</a:t>
            </a:fld>
            <a:endParaRPr lang="en-IN"/>
          </a:p>
        </p:txBody>
      </p:sp>
      <p:sp>
        <p:nvSpPr>
          <p:cNvPr id="4" name="Footer Placeholder 3">
            <a:extLst>
              <a:ext uri="{FF2B5EF4-FFF2-40B4-BE49-F238E27FC236}">
                <a16:creationId xmlns:a16="http://schemas.microsoft.com/office/drawing/2014/main" id="{A5BFF4B3-047D-4194-99AA-A3A041F58877}"/>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FBB1963F-FDBC-45A1-A2FE-B34928658A63}"/>
              </a:ext>
            </a:extLst>
          </p:cNvPr>
          <p:cNvSpPr>
            <a:spLocks noGrp="1"/>
          </p:cNvSpPr>
          <p:nvPr>
            <p:ph type="sldNum" sz="quarter" idx="12"/>
          </p:nvPr>
        </p:nvSpPr>
        <p:spPr/>
        <p:txBody>
          <a:bodyPr/>
          <a:lstStyle/>
          <a:p>
            <a:fld id="{CE8D28EE-DADA-4185-923A-61843F8176A9}" type="slidenum">
              <a:rPr lang="en-IN" smtClean="0"/>
              <a:t>‹#›</a:t>
            </a:fld>
            <a:endParaRPr lang="en-IN"/>
          </a:p>
        </p:txBody>
      </p:sp>
      <p:cxnSp>
        <p:nvCxnSpPr>
          <p:cNvPr id="6" name="Straight Connector 5">
            <a:extLst>
              <a:ext uri="{FF2B5EF4-FFF2-40B4-BE49-F238E27FC236}">
                <a16:creationId xmlns:a16="http://schemas.microsoft.com/office/drawing/2014/main" id="{B43E377D-2210-44F0-90DB-D33A6343A61E}"/>
              </a:ext>
            </a:extLst>
          </p:cNvPr>
          <p:cNvCxnSpPr/>
          <p:nvPr userDrawn="1"/>
        </p:nvCxnSpPr>
        <p:spPr>
          <a:xfrm>
            <a:off x="5624948" y="327809"/>
            <a:ext cx="942109" cy="0"/>
          </a:xfrm>
          <a:prstGeom prst="line">
            <a:avLst/>
          </a:prstGeom>
          <a:ln w="38100" cap="rnd">
            <a:gradFill>
              <a:gsLst>
                <a:gs pos="0">
                  <a:srgbClr val="00FFB2"/>
                </a:gs>
                <a:gs pos="100000">
                  <a:srgbClr val="0079FF"/>
                </a:gs>
              </a:gsLst>
              <a:lin ang="0" scaled="0"/>
            </a:gra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010031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F4F6DD-43C4-455E-85A4-718F8649A339}"/>
              </a:ext>
            </a:extLst>
          </p:cNvPr>
          <p:cNvSpPr>
            <a:spLocks noGrp="1"/>
          </p:cNvSpPr>
          <p:nvPr>
            <p:ph type="title" hasCustomPrompt="1"/>
          </p:nvPr>
        </p:nvSpPr>
        <p:spPr>
          <a:xfrm>
            <a:off x="346368" y="323564"/>
            <a:ext cx="11610109" cy="757093"/>
          </a:xfrm>
        </p:spPr>
        <p:txBody>
          <a:bodyPr>
            <a:normAutofit/>
          </a:bodyPr>
          <a:lstStyle>
            <a:lvl1pPr algn="ctr">
              <a:defRPr sz="2400" cap="all" baseline="0">
                <a:solidFill>
                  <a:schemeClr val="tx1">
                    <a:lumMod val="75000"/>
                    <a:lumOff val="25000"/>
                  </a:schemeClr>
                </a:solidFill>
              </a:defRPr>
            </a:lvl1pPr>
          </a:lstStyle>
          <a:p>
            <a:r>
              <a:rPr lang="en-US"/>
              <a:t>Click to edit master title style</a:t>
            </a:r>
            <a:endParaRPr lang="en-IN"/>
          </a:p>
        </p:txBody>
      </p:sp>
      <p:sp>
        <p:nvSpPr>
          <p:cNvPr id="3" name="Date Placeholder 2">
            <a:extLst>
              <a:ext uri="{FF2B5EF4-FFF2-40B4-BE49-F238E27FC236}">
                <a16:creationId xmlns:a16="http://schemas.microsoft.com/office/drawing/2014/main" id="{83EF9161-0E1C-4A9D-B157-C25AC748B970}"/>
              </a:ext>
            </a:extLst>
          </p:cNvPr>
          <p:cNvSpPr>
            <a:spLocks noGrp="1"/>
          </p:cNvSpPr>
          <p:nvPr>
            <p:ph type="dt" sz="half" idx="10"/>
          </p:nvPr>
        </p:nvSpPr>
        <p:spPr/>
        <p:txBody>
          <a:bodyPr/>
          <a:lstStyle/>
          <a:p>
            <a:fld id="{8BB9E1C1-07C8-40E6-9CDA-C42E81A72085}" type="datetime1">
              <a:rPr lang="en-IN" smtClean="0"/>
              <a:t>11-04-2025</a:t>
            </a:fld>
            <a:endParaRPr lang="en-IN"/>
          </a:p>
        </p:txBody>
      </p:sp>
      <p:sp>
        <p:nvSpPr>
          <p:cNvPr id="4" name="Footer Placeholder 3">
            <a:extLst>
              <a:ext uri="{FF2B5EF4-FFF2-40B4-BE49-F238E27FC236}">
                <a16:creationId xmlns:a16="http://schemas.microsoft.com/office/drawing/2014/main" id="{A5BFF4B3-047D-4194-99AA-A3A041F58877}"/>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FBB1963F-FDBC-45A1-A2FE-B34928658A63}"/>
              </a:ext>
            </a:extLst>
          </p:cNvPr>
          <p:cNvSpPr>
            <a:spLocks noGrp="1"/>
          </p:cNvSpPr>
          <p:nvPr>
            <p:ph type="sldNum" sz="quarter" idx="12"/>
          </p:nvPr>
        </p:nvSpPr>
        <p:spPr/>
        <p:txBody>
          <a:bodyPr/>
          <a:lstStyle/>
          <a:p>
            <a:fld id="{CE8D28EE-DADA-4185-923A-61843F8176A9}" type="slidenum">
              <a:rPr lang="en-IN" smtClean="0"/>
              <a:t>‹#›</a:t>
            </a:fld>
            <a:endParaRPr lang="en-IN"/>
          </a:p>
        </p:txBody>
      </p:sp>
      <p:cxnSp>
        <p:nvCxnSpPr>
          <p:cNvPr id="6" name="Straight Connector 5">
            <a:extLst>
              <a:ext uri="{FF2B5EF4-FFF2-40B4-BE49-F238E27FC236}">
                <a16:creationId xmlns:a16="http://schemas.microsoft.com/office/drawing/2014/main" id="{B43E377D-2210-44F0-90DB-D33A6343A61E}"/>
              </a:ext>
            </a:extLst>
          </p:cNvPr>
          <p:cNvCxnSpPr/>
          <p:nvPr userDrawn="1"/>
        </p:nvCxnSpPr>
        <p:spPr>
          <a:xfrm>
            <a:off x="5624948" y="327809"/>
            <a:ext cx="942109" cy="0"/>
          </a:xfrm>
          <a:prstGeom prst="line">
            <a:avLst/>
          </a:prstGeom>
          <a:ln w="38100" cap="rnd">
            <a:gradFill>
              <a:gsLst>
                <a:gs pos="0">
                  <a:srgbClr val="00FFB2"/>
                </a:gs>
                <a:gs pos="100000">
                  <a:srgbClr val="0079FF"/>
                </a:gs>
              </a:gsLst>
              <a:lin ang="0" scaled="0"/>
            </a:gradFill>
            <a:round/>
          </a:ln>
        </p:spPr>
        <p:style>
          <a:lnRef idx="1">
            <a:schemeClr val="accent1"/>
          </a:lnRef>
          <a:fillRef idx="0">
            <a:schemeClr val="accent1"/>
          </a:fillRef>
          <a:effectRef idx="0">
            <a:schemeClr val="accent1"/>
          </a:effectRef>
          <a:fontRef idx="minor">
            <a:schemeClr val="tx1"/>
          </a:fontRef>
        </p:style>
      </p:cxnSp>
      <p:sp>
        <p:nvSpPr>
          <p:cNvPr id="7" name="Text Placeholder 8">
            <a:extLst>
              <a:ext uri="{FF2B5EF4-FFF2-40B4-BE49-F238E27FC236}">
                <a16:creationId xmlns:a16="http://schemas.microsoft.com/office/drawing/2014/main" id="{0431D36B-6FDD-4E95-842D-2AB94270A0A5}"/>
              </a:ext>
            </a:extLst>
          </p:cNvPr>
          <p:cNvSpPr>
            <a:spLocks noGrp="1"/>
          </p:cNvSpPr>
          <p:nvPr>
            <p:ph type="body" sz="quarter" idx="13" hasCustomPrompt="1"/>
          </p:nvPr>
        </p:nvSpPr>
        <p:spPr>
          <a:xfrm>
            <a:off x="865670" y="981653"/>
            <a:ext cx="10571500" cy="249763"/>
          </a:xfrm>
        </p:spPr>
        <p:txBody>
          <a:bodyPr anchor="ctr">
            <a:normAutofit/>
          </a:bodyPr>
          <a:lstStyle>
            <a:lvl1pPr marL="0" indent="0" algn="ctr">
              <a:buNone/>
              <a:defRPr sz="1333" b="0" i="1" cap="all" spc="533" baseline="0">
                <a:solidFill>
                  <a:schemeClr val="tx2"/>
                </a:solidFill>
              </a:defRPr>
            </a:lvl1pPr>
            <a:lvl2pPr marL="457291" indent="0">
              <a:buNone/>
              <a:defRPr/>
            </a:lvl2pPr>
            <a:lvl3pPr marL="914580" indent="0">
              <a:buNone/>
              <a:defRPr/>
            </a:lvl3pPr>
            <a:lvl4pPr marL="1371871" indent="0">
              <a:buNone/>
              <a:defRPr/>
            </a:lvl4pPr>
            <a:lvl5pPr marL="1829161" indent="0">
              <a:buNone/>
              <a:defRPr/>
            </a:lvl5pPr>
          </a:lstStyle>
          <a:p>
            <a:pPr lvl="0"/>
            <a:r>
              <a:rPr lang="en-US"/>
              <a:t>CLICK HERE to edit subtitle</a:t>
            </a:r>
            <a:endParaRPr lang="en-IN"/>
          </a:p>
        </p:txBody>
      </p:sp>
    </p:spTree>
    <p:extLst>
      <p:ext uri="{BB962C8B-B14F-4D97-AF65-F5344CB8AC3E}">
        <p14:creationId xmlns:p14="http://schemas.microsoft.com/office/powerpoint/2010/main" val="250983160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20A701C-E85C-4CDE-8E72-B76CD5454606}"/>
              </a:ext>
            </a:extLst>
          </p:cNvPr>
          <p:cNvSpPr>
            <a:spLocks noGrp="1"/>
          </p:cNvSpPr>
          <p:nvPr>
            <p:ph type="dt" sz="half" idx="10"/>
          </p:nvPr>
        </p:nvSpPr>
        <p:spPr/>
        <p:txBody>
          <a:bodyPr/>
          <a:lstStyle/>
          <a:p>
            <a:fld id="{0E2B7F90-94C4-4F31-92DD-E1E9F4F695F7}" type="datetime1">
              <a:rPr lang="en-IN" smtClean="0"/>
              <a:t>11-04-2025</a:t>
            </a:fld>
            <a:endParaRPr lang="en-IN"/>
          </a:p>
        </p:txBody>
      </p:sp>
      <p:sp>
        <p:nvSpPr>
          <p:cNvPr id="3" name="Footer Placeholder 2">
            <a:extLst>
              <a:ext uri="{FF2B5EF4-FFF2-40B4-BE49-F238E27FC236}">
                <a16:creationId xmlns:a16="http://schemas.microsoft.com/office/drawing/2014/main" id="{39D74028-9D6E-4833-9459-1492CF1F2826}"/>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896FD39B-BF21-40B4-8B8C-26AC561D175C}"/>
              </a:ext>
            </a:extLst>
          </p:cNvPr>
          <p:cNvSpPr>
            <a:spLocks noGrp="1"/>
          </p:cNvSpPr>
          <p:nvPr>
            <p:ph type="sldNum" sz="quarter" idx="12"/>
          </p:nvPr>
        </p:nvSpPr>
        <p:spPr/>
        <p:txBody>
          <a:bodyPr/>
          <a:lstStyle/>
          <a:p>
            <a:fld id="{CE8D28EE-DADA-4185-923A-61843F8176A9}" type="slidenum">
              <a:rPr lang="en-IN" smtClean="0"/>
              <a:t>‹#›</a:t>
            </a:fld>
            <a:endParaRPr lang="en-IN"/>
          </a:p>
        </p:txBody>
      </p:sp>
      <p:sp>
        <p:nvSpPr>
          <p:cNvPr id="5" name="Picture Placeholder 4">
            <a:extLst>
              <a:ext uri="{FF2B5EF4-FFF2-40B4-BE49-F238E27FC236}">
                <a16:creationId xmlns:a16="http://schemas.microsoft.com/office/drawing/2014/main" id="{74FD4D31-C84E-4471-A9CB-AE8F7F00662C}"/>
              </a:ext>
            </a:extLst>
          </p:cNvPr>
          <p:cNvSpPr>
            <a:spLocks noGrp="1"/>
          </p:cNvSpPr>
          <p:nvPr>
            <p:ph type="pic" sz="quarter" idx="13"/>
          </p:nvPr>
        </p:nvSpPr>
        <p:spPr>
          <a:xfrm>
            <a:off x="1037937" y="1405755"/>
            <a:ext cx="3030631" cy="3017293"/>
          </a:xfrm>
          <a:custGeom>
            <a:avLst/>
            <a:gdLst>
              <a:gd name="connsiteX0" fmla="*/ 1260900 w 4545947"/>
              <a:gd name="connsiteY0" fmla="*/ 4513278 h 4525940"/>
              <a:gd name="connsiteX1" fmla="*/ 1267459 w 4545947"/>
              <a:gd name="connsiteY1" fmla="*/ 4519609 h 4525940"/>
              <a:gd name="connsiteX2" fmla="*/ 1260900 w 4545947"/>
              <a:gd name="connsiteY2" fmla="*/ 4525940 h 4525940"/>
              <a:gd name="connsiteX3" fmla="*/ 1254340 w 4545947"/>
              <a:gd name="connsiteY3" fmla="*/ 4519609 h 4525940"/>
              <a:gd name="connsiteX4" fmla="*/ 1260900 w 4545947"/>
              <a:gd name="connsiteY4" fmla="*/ 4513278 h 4525940"/>
              <a:gd name="connsiteX5" fmla="*/ 1096915 w 4545947"/>
              <a:gd name="connsiteY5" fmla="*/ 4392992 h 4525940"/>
              <a:gd name="connsiteX6" fmla="*/ 1101288 w 4545947"/>
              <a:gd name="connsiteY6" fmla="*/ 4402488 h 4525940"/>
              <a:gd name="connsiteX7" fmla="*/ 1096915 w 4545947"/>
              <a:gd name="connsiteY7" fmla="*/ 4411984 h 4525940"/>
              <a:gd name="connsiteX8" fmla="*/ 1092542 w 4545947"/>
              <a:gd name="connsiteY8" fmla="*/ 4402488 h 4525940"/>
              <a:gd name="connsiteX9" fmla="*/ 1096915 w 4545947"/>
              <a:gd name="connsiteY9" fmla="*/ 4392992 h 4525940"/>
              <a:gd name="connsiteX10" fmla="*/ 3812502 w 4545947"/>
              <a:gd name="connsiteY10" fmla="*/ 4386661 h 4525940"/>
              <a:gd name="connsiteX11" fmla="*/ 3816875 w 4545947"/>
              <a:gd name="connsiteY11" fmla="*/ 4392992 h 4525940"/>
              <a:gd name="connsiteX12" fmla="*/ 3812502 w 4545947"/>
              <a:gd name="connsiteY12" fmla="*/ 4399322 h 4525940"/>
              <a:gd name="connsiteX13" fmla="*/ 3808129 w 4545947"/>
              <a:gd name="connsiteY13" fmla="*/ 4392992 h 4525940"/>
              <a:gd name="connsiteX14" fmla="*/ 3812502 w 4545947"/>
              <a:gd name="connsiteY14" fmla="*/ 4386661 h 4525940"/>
              <a:gd name="connsiteX15" fmla="*/ 972287 w 4545947"/>
              <a:gd name="connsiteY15" fmla="*/ 4355006 h 4525940"/>
              <a:gd name="connsiteX16" fmla="*/ 978846 w 4545947"/>
              <a:gd name="connsiteY16" fmla="*/ 4364503 h 4525940"/>
              <a:gd name="connsiteX17" fmla="*/ 972287 w 4545947"/>
              <a:gd name="connsiteY17" fmla="*/ 4373999 h 4525940"/>
              <a:gd name="connsiteX18" fmla="*/ 965727 w 4545947"/>
              <a:gd name="connsiteY18" fmla="*/ 4364503 h 4525940"/>
              <a:gd name="connsiteX19" fmla="*/ 972287 w 4545947"/>
              <a:gd name="connsiteY19" fmla="*/ 4355006 h 4525940"/>
              <a:gd name="connsiteX20" fmla="*/ 3695599 w 4545947"/>
              <a:gd name="connsiteY20" fmla="*/ 4285367 h 4525940"/>
              <a:gd name="connsiteX21" fmla="*/ 3704795 w 4545947"/>
              <a:gd name="connsiteY21" fmla="*/ 4299611 h 4525940"/>
              <a:gd name="connsiteX22" fmla="*/ 3703751 w 4545947"/>
              <a:gd name="connsiteY22" fmla="*/ 4355006 h 4525940"/>
              <a:gd name="connsiteX23" fmla="*/ 3697362 w 4545947"/>
              <a:gd name="connsiteY23" fmla="*/ 4334431 h 4525940"/>
              <a:gd name="connsiteX24" fmla="*/ 3691906 w 4545947"/>
              <a:gd name="connsiteY24" fmla="*/ 4299611 h 4525940"/>
              <a:gd name="connsiteX25" fmla="*/ 3695599 w 4545947"/>
              <a:gd name="connsiteY25" fmla="*/ 4285367 h 4525940"/>
              <a:gd name="connsiteX26" fmla="*/ 3791489 w 4545947"/>
              <a:gd name="connsiteY26" fmla="*/ 4247982 h 4525940"/>
              <a:gd name="connsiteX27" fmla="*/ 3797678 w 4545947"/>
              <a:gd name="connsiteY27" fmla="*/ 4254863 h 4525940"/>
              <a:gd name="connsiteX28" fmla="*/ 3802997 w 4545947"/>
              <a:gd name="connsiteY28" fmla="*/ 4279809 h 4525940"/>
              <a:gd name="connsiteX29" fmla="*/ 3793855 w 4545947"/>
              <a:gd name="connsiteY29" fmla="*/ 4273261 h 4525940"/>
              <a:gd name="connsiteX30" fmla="*/ 3791489 w 4545947"/>
              <a:gd name="connsiteY30" fmla="*/ 4247982 h 4525940"/>
              <a:gd name="connsiteX31" fmla="*/ 932930 w 4545947"/>
              <a:gd name="connsiteY31" fmla="*/ 4222058 h 4525940"/>
              <a:gd name="connsiteX32" fmla="*/ 939490 w 4545947"/>
              <a:gd name="connsiteY32" fmla="*/ 4234720 h 4525940"/>
              <a:gd name="connsiteX33" fmla="*/ 932930 w 4545947"/>
              <a:gd name="connsiteY33" fmla="*/ 4247382 h 4525940"/>
              <a:gd name="connsiteX34" fmla="*/ 926371 w 4545947"/>
              <a:gd name="connsiteY34" fmla="*/ 4234720 h 4525940"/>
              <a:gd name="connsiteX35" fmla="*/ 932930 w 4545947"/>
              <a:gd name="connsiteY35" fmla="*/ 4222058 h 4525940"/>
              <a:gd name="connsiteX36" fmla="*/ 1267119 w 4545947"/>
              <a:gd name="connsiteY36" fmla="*/ 4212536 h 4525940"/>
              <a:gd name="connsiteX37" fmla="*/ 1271832 w 4545947"/>
              <a:gd name="connsiteY37" fmla="*/ 4222432 h 4525940"/>
              <a:gd name="connsiteX38" fmla="*/ 1259340 w 4545947"/>
              <a:gd name="connsiteY38" fmla="*/ 4222753 h 4525940"/>
              <a:gd name="connsiteX39" fmla="*/ 1258247 w 4545947"/>
              <a:gd name="connsiteY39" fmla="*/ 4212980 h 4525940"/>
              <a:gd name="connsiteX40" fmla="*/ 1267119 w 4545947"/>
              <a:gd name="connsiteY40" fmla="*/ 4212536 h 4525940"/>
              <a:gd name="connsiteX41" fmla="*/ 3606974 w 4545947"/>
              <a:gd name="connsiteY41" fmla="*/ 4158750 h 4525940"/>
              <a:gd name="connsiteX42" fmla="*/ 3611347 w 4545947"/>
              <a:gd name="connsiteY42" fmla="*/ 4165081 h 4525940"/>
              <a:gd name="connsiteX43" fmla="*/ 3606974 w 4545947"/>
              <a:gd name="connsiteY43" fmla="*/ 4171411 h 4525940"/>
              <a:gd name="connsiteX44" fmla="*/ 3602601 w 4545947"/>
              <a:gd name="connsiteY44" fmla="*/ 4165081 h 4525940"/>
              <a:gd name="connsiteX45" fmla="*/ 3606974 w 4545947"/>
              <a:gd name="connsiteY45" fmla="*/ 4158750 h 4525940"/>
              <a:gd name="connsiteX46" fmla="*/ 1253971 w 4545947"/>
              <a:gd name="connsiteY46" fmla="*/ 4155079 h 4525940"/>
              <a:gd name="connsiteX47" fmla="*/ 1263086 w 4545947"/>
              <a:gd name="connsiteY47" fmla="*/ 4181282 h 4525940"/>
              <a:gd name="connsiteX48" fmla="*/ 1254814 w 4545947"/>
              <a:gd name="connsiteY48" fmla="*/ 4203066 h 4525940"/>
              <a:gd name="connsiteX49" fmla="*/ 1243753 w 4545947"/>
              <a:gd name="connsiteY49" fmla="*/ 4186974 h 4525940"/>
              <a:gd name="connsiteX50" fmla="*/ 1247618 w 4545947"/>
              <a:gd name="connsiteY50" fmla="*/ 4161246 h 4525940"/>
              <a:gd name="connsiteX51" fmla="*/ 1253971 w 4545947"/>
              <a:gd name="connsiteY51" fmla="*/ 4155079 h 4525940"/>
              <a:gd name="connsiteX52" fmla="*/ 2452780 w 4545947"/>
              <a:gd name="connsiteY52" fmla="*/ 4146088 h 4525940"/>
              <a:gd name="connsiteX53" fmla="*/ 2456895 w 4545947"/>
              <a:gd name="connsiteY53" fmla="*/ 4155585 h 4525940"/>
              <a:gd name="connsiteX54" fmla="*/ 2446810 w 4545947"/>
              <a:gd name="connsiteY54" fmla="*/ 4161032 h 4525940"/>
              <a:gd name="connsiteX55" fmla="*/ 2452780 w 4545947"/>
              <a:gd name="connsiteY55" fmla="*/ 4146088 h 4525940"/>
              <a:gd name="connsiteX56" fmla="*/ 3700993 w 4545947"/>
              <a:gd name="connsiteY56" fmla="*/ 4127095 h 4525940"/>
              <a:gd name="connsiteX57" fmla="*/ 3707552 w 4545947"/>
              <a:gd name="connsiteY57" fmla="*/ 4136592 h 4525940"/>
              <a:gd name="connsiteX58" fmla="*/ 3697347 w 4545947"/>
              <a:gd name="connsiteY58" fmla="*/ 4141867 h 4525940"/>
              <a:gd name="connsiteX59" fmla="*/ 3700993 w 4545947"/>
              <a:gd name="connsiteY59" fmla="*/ 4127095 h 4525940"/>
              <a:gd name="connsiteX60" fmla="*/ 879089 w 4545947"/>
              <a:gd name="connsiteY60" fmla="*/ 4115046 h 4525940"/>
              <a:gd name="connsiteX61" fmla="*/ 887014 w 4545947"/>
              <a:gd name="connsiteY61" fmla="*/ 4127095 h 4525940"/>
              <a:gd name="connsiteX62" fmla="*/ 877084 w 4545947"/>
              <a:gd name="connsiteY62" fmla="*/ 4132845 h 4525940"/>
              <a:gd name="connsiteX63" fmla="*/ 871875 w 4545947"/>
              <a:gd name="connsiteY63" fmla="*/ 4120376 h 4525940"/>
              <a:gd name="connsiteX64" fmla="*/ 879089 w 4545947"/>
              <a:gd name="connsiteY64" fmla="*/ 4115046 h 4525940"/>
              <a:gd name="connsiteX65" fmla="*/ 1862177 w 4545947"/>
              <a:gd name="connsiteY65" fmla="*/ 4108103 h 4525940"/>
              <a:gd name="connsiteX66" fmla="*/ 1866550 w 4545947"/>
              <a:gd name="connsiteY66" fmla="*/ 4114434 h 4525940"/>
              <a:gd name="connsiteX67" fmla="*/ 1862177 w 4545947"/>
              <a:gd name="connsiteY67" fmla="*/ 4120765 h 4525940"/>
              <a:gd name="connsiteX68" fmla="*/ 1857804 w 4545947"/>
              <a:gd name="connsiteY68" fmla="*/ 4114434 h 4525940"/>
              <a:gd name="connsiteX69" fmla="*/ 1862177 w 4545947"/>
              <a:gd name="connsiteY69" fmla="*/ 4108103 h 4525940"/>
              <a:gd name="connsiteX70" fmla="*/ 1183790 w 4545947"/>
              <a:gd name="connsiteY70" fmla="*/ 4089207 h 4525940"/>
              <a:gd name="connsiteX71" fmla="*/ 1177152 w 4545947"/>
              <a:gd name="connsiteY71" fmla="*/ 4126770 h 4525940"/>
              <a:gd name="connsiteX72" fmla="*/ 1180982 w 4545947"/>
              <a:gd name="connsiteY72" fmla="*/ 4116926 h 4525940"/>
              <a:gd name="connsiteX73" fmla="*/ 1184868 w 4545947"/>
              <a:gd name="connsiteY73" fmla="*/ 4094865 h 4525940"/>
              <a:gd name="connsiteX74" fmla="*/ 1183790 w 4545947"/>
              <a:gd name="connsiteY74" fmla="*/ 4089207 h 4525940"/>
              <a:gd name="connsiteX75" fmla="*/ 1852771 w 4545947"/>
              <a:gd name="connsiteY75" fmla="*/ 4080379 h 4525940"/>
              <a:gd name="connsiteX76" fmla="*/ 1859380 w 4545947"/>
              <a:gd name="connsiteY76" fmla="*/ 4080841 h 4525940"/>
              <a:gd name="connsiteX77" fmla="*/ 1858062 w 4545947"/>
              <a:gd name="connsiteY77" fmla="*/ 4095441 h 4525940"/>
              <a:gd name="connsiteX78" fmla="*/ 1851431 w 4545947"/>
              <a:gd name="connsiteY78" fmla="*/ 4089548 h 4525940"/>
              <a:gd name="connsiteX79" fmla="*/ 1852771 w 4545947"/>
              <a:gd name="connsiteY79" fmla="*/ 4080379 h 4525940"/>
              <a:gd name="connsiteX80" fmla="*/ 3747913 w 4545947"/>
              <a:gd name="connsiteY80" fmla="*/ 4076860 h 4525940"/>
              <a:gd name="connsiteX81" fmla="*/ 3759152 w 4545947"/>
              <a:gd name="connsiteY81" fmla="*/ 4084046 h 4525940"/>
              <a:gd name="connsiteX82" fmla="*/ 3756383 w 4545947"/>
              <a:gd name="connsiteY82" fmla="*/ 4108103 h 4525940"/>
              <a:gd name="connsiteX83" fmla="*/ 3745450 w 4545947"/>
              <a:gd name="connsiteY83" fmla="*/ 4103882 h 4525940"/>
              <a:gd name="connsiteX84" fmla="*/ 3742535 w 4545947"/>
              <a:gd name="connsiteY84" fmla="*/ 4088055 h 4525940"/>
              <a:gd name="connsiteX85" fmla="*/ 3747913 w 4545947"/>
              <a:gd name="connsiteY85" fmla="*/ 4076860 h 4525940"/>
              <a:gd name="connsiteX86" fmla="*/ 1114457 w 4545947"/>
              <a:gd name="connsiteY86" fmla="*/ 4072746 h 4525940"/>
              <a:gd name="connsiteX87" fmla="*/ 1107340 w 4545947"/>
              <a:gd name="connsiteY87" fmla="*/ 4105307 h 4525940"/>
              <a:gd name="connsiteX88" fmla="*/ 1117549 w 4545947"/>
              <a:gd name="connsiteY88" fmla="*/ 4113700 h 4525940"/>
              <a:gd name="connsiteX89" fmla="*/ 1117687 w 4545947"/>
              <a:gd name="connsiteY89" fmla="*/ 4110070 h 4525940"/>
              <a:gd name="connsiteX90" fmla="*/ 1115500 w 4545947"/>
              <a:gd name="connsiteY90" fmla="*/ 4074720 h 4525940"/>
              <a:gd name="connsiteX91" fmla="*/ 1114457 w 4545947"/>
              <a:gd name="connsiteY91" fmla="*/ 4072746 h 4525940"/>
              <a:gd name="connsiteX92" fmla="*/ 2356317 w 4545947"/>
              <a:gd name="connsiteY92" fmla="*/ 4044794 h 4525940"/>
              <a:gd name="connsiteX93" fmla="*/ 2360690 w 4545947"/>
              <a:gd name="connsiteY93" fmla="*/ 4050752 h 4525940"/>
              <a:gd name="connsiteX94" fmla="*/ 2356317 w 4545947"/>
              <a:gd name="connsiteY94" fmla="*/ 4060622 h 4525940"/>
              <a:gd name="connsiteX95" fmla="*/ 2351944 w 4545947"/>
              <a:gd name="connsiteY95" fmla="*/ 4054664 h 4525940"/>
              <a:gd name="connsiteX96" fmla="*/ 2356317 w 4545947"/>
              <a:gd name="connsiteY96" fmla="*/ 4044794 h 4525940"/>
              <a:gd name="connsiteX97" fmla="*/ 1890281 w 4545947"/>
              <a:gd name="connsiteY97" fmla="*/ 4038463 h 4525940"/>
              <a:gd name="connsiteX98" fmla="*/ 1903064 w 4545947"/>
              <a:gd name="connsiteY98" fmla="*/ 4057456 h 4525940"/>
              <a:gd name="connsiteX99" fmla="*/ 1908851 w 4545947"/>
              <a:gd name="connsiteY99" fmla="*/ 4075870 h 4525940"/>
              <a:gd name="connsiteX100" fmla="*/ 1896075 w 4545947"/>
              <a:gd name="connsiteY100" fmla="*/ 4064790 h 4525940"/>
              <a:gd name="connsiteX101" fmla="*/ 1890281 w 4545947"/>
              <a:gd name="connsiteY101" fmla="*/ 4038463 h 4525940"/>
              <a:gd name="connsiteX102" fmla="*/ 1534930 w 4545947"/>
              <a:gd name="connsiteY102" fmla="*/ 4031057 h 4525940"/>
              <a:gd name="connsiteX103" fmla="*/ 1547326 w 4545947"/>
              <a:gd name="connsiteY103" fmla="*/ 4034071 h 4525940"/>
              <a:gd name="connsiteX104" fmla="*/ 1556559 w 4545947"/>
              <a:gd name="connsiteY104" fmla="*/ 4057456 h 4525940"/>
              <a:gd name="connsiteX105" fmla="*/ 1556072 w 4545947"/>
              <a:gd name="connsiteY105" fmla="*/ 4082779 h 4525940"/>
              <a:gd name="connsiteX106" fmla="*/ 1569191 w 4545947"/>
              <a:gd name="connsiteY106" fmla="*/ 4122875 h 4525940"/>
              <a:gd name="connsiteX107" fmla="*/ 1577937 w 4545947"/>
              <a:gd name="connsiteY107" fmla="*/ 4146088 h 4525940"/>
              <a:gd name="connsiteX108" fmla="*/ 1586682 w 4545947"/>
              <a:gd name="connsiteY108" fmla="*/ 4168537 h 4525940"/>
              <a:gd name="connsiteX109" fmla="*/ 1593242 w 4545947"/>
              <a:gd name="connsiteY109" fmla="*/ 4180031 h 4525940"/>
              <a:gd name="connsiteX110" fmla="*/ 1596521 w 4545947"/>
              <a:gd name="connsiteY110" fmla="*/ 4203041 h 4525940"/>
              <a:gd name="connsiteX111" fmla="*/ 1561308 w 4545947"/>
              <a:gd name="connsiteY111" fmla="*/ 4157141 h 4525940"/>
              <a:gd name="connsiteX112" fmla="*/ 1521156 w 4545947"/>
              <a:gd name="connsiteY112" fmla="*/ 4087528 h 4525940"/>
              <a:gd name="connsiteX113" fmla="*/ 1535320 w 4545947"/>
              <a:gd name="connsiteY113" fmla="*/ 4090693 h 4525940"/>
              <a:gd name="connsiteX114" fmla="*/ 1540362 w 4545947"/>
              <a:gd name="connsiteY114" fmla="*/ 4074041 h 4525940"/>
              <a:gd name="connsiteX115" fmla="*/ 1538885 w 4545947"/>
              <a:gd name="connsiteY115" fmla="*/ 4042703 h 4525940"/>
              <a:gd name="connsiteX116" fmla="*/ 1534930 w 4545947"/>
              <a:gd name="connsiteY116" fmla="*/ 4031057 h 4525940"/>
              <a:gd name="connsiteX117" fmla="*/ 843613 w 4545947"/>
              <a:gd name="connsiteY117" fmla="*/ 4027015 h 4525940"/>
              <a:gd name="connsiteX118" fmla="*/ 848314 w 4545947"/>
              <a:gd name="connsiteY118" fmla="*/ 4035298 h 4525940"/>
              <a:gd name="connsiteX119" fmla="*/ 843613 w 4545947"/>
              <a:gd name="connsiteY119" fmla="*/ 4043581 h 4525940"/>
              <a:gd name="connsiteX120" fmla="*/ 838912 w 4545947"/>
              <a:gd name="connsiteY120" fmla="*/ 4035298 h 4525940"/>
              <a:gd name="connsiteX121" fmla="*/ 843613 w 4545947"/>
              <a:gd name="connsiteY121" fmla="*/ 4027015 h 4525940"/>
              <a:gd name="connsiteX122" fmla="*/ 2342527 w 4545947"/>
              <a:gd name="connsiteY122" fmla="*/ 4008437 h 4525940"/>
              <a:gd name="connsiteX123" fmla="*/ 2347571 w 4545947"/>
              <a:gd name="connsiteY123" fmla="*/ 4015778 h 4525940"/>
              <a:gd name="connsiteX124" fmla="*/ 2340648 w 4545947"/>
              <a:gd name="connsiteY124" fmla="*/ 4025802 h 4525940"/>
              <a:gd name="connsiteX125" fmla="*/ 2335455 w 4545947"/>
              <a:gd name="connsiteY125" fmla="*/ 4018284 h 4525940"/>
              <a:gd name="connsiteX126" fmla="*/ 2342527 w 4545947"/>
              <a:gd name="connsiteY126" fmla="*/ 4008437 h 4525940"/>
              <a:gd name="connsiteX127" fmla="*/ 3724941 w 4545947"/>
              <a:gd name="connsiteY127" fmla="*/ 4000570 h 4525940"/>
              <a:gd name="connsiteX128" fmla="*/ 3742535 w 4545947"/>
              <a:gd name="connsiteY128" fmla="*/ 4019019 h 4525940"/>
              <a:gd name="connsiteX129" fmla="*/ 3724767 w 4545947"/>
              <a:gd name="connsiteY129" fmla="*/ 4015823 h 4525940"/>
              <a:gd name="connsiteX130" fmla="*/ 3724941 w 4545947"/>
              <a:gd name="connsiteY130" fmla="*/ 4000570 h 4525940"/>
              <a:gd name="connsiteX131" fmla="*/ 1367217 w 4545947"/>
              <a:gd name="connsiteY131" fmla="*/ 3939176 h 4525940"/>
              <a:gd name="connsiteX132" fmla="*/ 1375598 w 4545947"/>
              <a:gd name="connsiteY132" fmla="*/ 3939675 h 4525940"/>
              <a:gd name="connsiteX133" fmla="*/ 1369858 w 4545947"/>
              <a:gd name="connsiteY133" fmla="*/ 3943001 h 4525940"/>
              <a:gd name="connsiteX134" fmla="*/ 1367216 w 4545947"/>
              <a:gd name="connsiteY134" fmla="*/ 3939176 h 4525940"/>
              <a:gd name="connsiteX135" fmla="*/ 1367217 w 4545947"/>
              <a:gd name="connsiteY135" fmla="*/ 3939176 h 4525940"/>
              <a:gd name="connsiteX136" fmla="*/ 1367216 w 4545947"/>
              <a:gd name="connsiteY136" fmla="*/ 3939176 h 4525940"/>
              <a:gd name="connsiteX137" fmla="*/ 2495323 w 4545947"/>
              <a:gd name="connsiteY137" fmla="*/ 3937371 h 4525940"/>
              <a:gd name="connsiteX138" fmla="*/ 2506090 w 4545947"/>
              <a:gd name="connsiteY138" fmla="*/ 3945983 h 4525940"/>
              <a:gd name="connsiteX139" fmla="*/ 2508860 w 4545947"/>
              <a:gd name="connsiteY139" fmla="*/ 3987817 h 4525940"/>
              <a:gd name="connsiteX140" fmla="*/ 2506067 w 4545947"/>
              <a:gd name="connsiteY140" fmla="*/ 4003644 h 4525940"/>
              <a:gd name="connsiteX141" fmla="*/ 2494768 w 4545947"/>
              <a:gd name="connsiteY141" fmla="*/ 4014723 h 4525940"/>
              <a:gd name="connsiteX142" fmla="*/ 2495323 w 4545947"/>
              <a:gd name="connsiteY142" fmla="*/ 3937371 h 4525940"/>
              <a:gd name="connsiteX143" fmla="*/ 3895920 w 4545947"/>
              <a:gd name="connsiteY143" fmla="*/ 3935463 h 4525940"/>
              <a:gd name="connsiteX144" fmla="*/ 3899960 w 4545947"/>
              <a:gd name="connsiteY144" fmla="*/ 3959837 h 4525940"/>
              <a:gd name="connsiteX145" fmla="*/ 3911406 w 4545947"/>
              <a:gd name="connsiteY145" fmla="*/ 3989307 h 4525940"/>
              <a:gd name="connsiteX146" fmla="*/ 3930692 w 4545947"/>
              <a:gd name="connsiteY146" fmla="*/ 3982841 h 4525940"/>
              <a:gd name="connsiteX147" fmla="*/ 3949909 w 4545947"/>
              <a:gd name="connsiteY147" fmla="*/ 3984943 h 4525940"/>
              <a:gd name="connsiteX148" fmla="*/ 3939464 w 4545947"/>
              <a:gd name="connsiteY148" fmla="*/ 4010043 h 4525940"/>
              <a:gd name="connsiteX149" fmla="*/ 3929769 w 4545947"/>
              <a:gd name="connsiteY149" fmla="*/ 4024499 h 4525940"/>
              <a:gd name="connsiteX150" fmla="*/ 3933346 w 4545947"/>
              <a:gd name="connsiteY150" fmla="*/ 4049881 h 4525940"/>
              <a:gd name="connsiteX151" fmla="*/ 3940956 w 4545947"/>
              <a:gd name="connsiteY151" fmla="*/ 4120846 h 4525940"/>
              <a:gd name="connsiteX152" fmla="*/ 3929478 w 4545947"/>
              <a:gd name="connsiteY152" fmla="*/ 4120056 h 4525940"/>
              <a:gd name="connsiteX153" fmla="*/ 3921825 w 4545947"/>
              <a:gd name="connsiteY153" fmla="*/ 4086004 h 4525940"/>
              <a:gd name="connsiteX154" fmla="*/ 3917386 w 4545947"/>
              <a:gd name="connsiteY154" fmla="*/ 4054232 h 4525940"/>
              <a:gd name="connsiteX155" fmla="*/ 3906676 w 4545947"/>
              <a:gd name="connsiteY155" fmla="*/ 4028534 h 4525940"/>
              <a:gd name="connsiteX156" fmla="*/ 3891911 w 4545947"/>
              <a:gd name="connsiteY156" fmla="*/ 4006809 h 4525940"/>
              <a:gd name="connsiteX157" fmla="*/ 3885345 w 4545947"/>
              <a:gd name="connsiteY157" fmla="*/ 3953575 h 4525940"/>
              <a:gd name="connsiteX158" fmla="*/ 3895920 w 4545947"/>
              <a:gd name="connsiteY158" fmla="*/ 3935463 h 4525940"/>
              <a:gd name="connsiteX159" fmla="*/ 2337188 w 4545947"/>
              <a:gd name="connsiteY159" fmla="*/ 3930839 h 4525940"/>
              <a:gd name="connsiteX160" fmla="*/ 2342396 w 4545947"/>
              <a:gd name="connsiteY160" fmla="*/ 3947761 h 4525940"/>
              <a:gd name="connsiteX161" fmla="*/ 2327982 w 4545947"/>
              <a:gd name="connsiteY161" fmla="*/ 3956568 h 4525940"/>
              <a:gd name="connsiteX162" fmla="*/ 2337188 w 4545947"/>
              <a:gd name="connsiteY162" fmla="*/ 3930839 h 4525940"/>
              <a:gd name="connsiteX163" fmla="*/ 2224989 w 4545947"/>
              <a:gd name="connsiteY163" fmla="*/ 3912997 h 4525940"/>
              <a:gd name="connsiteX164" fmla="*/ 2230083 w 4545947"/>
              <a:gd name="connsiteY164" fmla="*/ 3916486 h 4525940"/>
              <a:gd name="connsiteX165" fmla="*/ 2225735 w 4545947"/>
              <a:gd name="connsiteY165" fmla="*/ 3943501 h 4525940"/>
              <a:gd name="connsiteX166" fmla="*/ 2218895 w 4545947"/>
              <a:gd name="connsiteY166" fmla="*/ 3932946 h 4525940"/>
              <a:gd name="connsiteX167" fmla="*/ 2224989 w 4545947"/>
              <a:gd name="connsiteY167" fmla="*/ 3912997 h 4525940"/>
              <a:gd name="connsiteX168" fmla="*/ 1388112 w 4545947"/>
              <a:gd name="connsiteY168" fmla="*/ 3908577 h 4525940"/>
              <a:gd name="connsiteX169" fmla="*/ 1380454 w 4545947"/>
              <a:gd name="connsiteY169" fmla="*/ 3917982 h 4525940"/>
              <a:gd name="connsiteX170" fmla="*/ 1363663 w 4545947"/>
              <a:gd name="connsiteY170" fmla="*/ 3924107 h 4525940"/>
              <a:gd name="connsiteX171" fmla="*/ 1349452 w 4545947"/>
              <a:gd name="connsiteY171" fmla="*/ 3919359 h 4525940"/>
              <a:gd name="connsiteX172" fmla="*/ 1335239 w 4545947"/>
              <a:gd name="connsiteY172" fmla="*/ 3936885 h 4525940"/>
              <a:gd name="connsiteX173" fmla="*/ 1346172 w 4545947"/>
              <a:gd name="connsiteY173" fmla="*/ 3956132 h 4525940"/>
              <a:gd name="connsiteX174" fmla="*/ 1361141 w 4545947"/>
              <a:gd name="connsiteY174" fmla="*/ 3983244 h 4525940"/>
              <a:gd name="connsiteX175" fmla="*/ 1390289 w 4545947"/>
              <a:gd name="connsiteY175" fmla="*/ 3999733 h 4525940"/>
              <a:gd name="connsiteX176" fmla="*/ 1400728 w 4545947"/>
              <a:gd name="connsiteY176" fmla="*/ 4011262 h 4525940"/>
              <a:gd name="connsiteX177" fmla="*/ 1410270 w 4545947"/>
              <a:gd name="connsiteY177" fmla="*/ 4087809 h 4525940"/>
              <a:gd name="connsiteX178" fmla="*/ 1426873 w 4545947"/>
              <a:gd name="connsiteY178" fmla="*/ 4091597 h 4525940"/>
              <a:gd name="connsiteX179" fmla="*/ 1435407 w 4545947"/>
              <a:gd name="connsiteY179" fmla="*/ 4088151 h 4525940"/>
              <a:gd name="connsiteX180" fmla="*/ 1458399 w 4545947"/>
              <a:gd name="connsiteY180" fmla="*/ 4085520 h 4525940"/>
              <a:gd name="connsiteX181" fmla="*/ 1456075 w 4545947"/>
              <a:gd name="connsiteY181" fmla="*/ 4068426 h 4525940"/>
              <a:gd name="connsiteX182" fmla="*/ 1451122 w 4545947"/>
              <a:gd name="connsiteY182" fmla="*/ 4049797 h 4525940"/>
              <a:gd name="connsiteX183" fmla="*/ 1442376 w 4545947"/>
              <a:gd name="connsiteY183" fmla="*/ 4027499 h 4525940"/>
              <a:gd name="connsiteX184" fmla="*/ 1433630 w 4545947"/>
              <a:gd name="connsiteY184" fmla="*/ 4008506 h 4525940"/>
              <a:gd name="connsiteX185" fmla="*/ 1425108 w 4545947"/>
              <a:gd name="connsiteY185" fmla="*/ 3989791 h 4525940"/>
              <a:gd name="connsiteX186" fmla="*/ 1418520 w 4545947"/>
              <a:gd name="connsiteY186" fmla="*/ 3974698 h 4525940"/>
              <a:gd name="connsiteX187" fmla="*/ 1397617 w 4545947"/>
              <a:gd name="connsiteY187" fmla="*/ 3915240 h 4525940"/>
              <a:gd name="connsiteX188" fmla="*/ 1388112 w 4545947"/>
              <a:gd name="connsiteY188" fmla="*/ 3908577 h 4525940"/>
              <a:gd name="connsiteX189" fmla="*/ 523559 w 4545947"/>
              <a:gd name="connsiteY189" fmla="*/ 3899185 h 4525940"/>
              <a:gd name="connsiteX190" fmla="*/ 543663 w 4545947"/>
              <a:gd name="connsiteY190" fmla="*/ 3937349 h 4525940"/>
              <a:gd name="connsiteX191" fmla="*/ 526248 w 4545947"/>
              <a:gd name="connsiteY191" fmla="*/ 3930839 h 4525940"/>
              <a:gd name="connsiteX192" fmla="*/ 519394 w 4545947"/>
              <a:gd name="connsiteY192" fmla="*/ 3918177 h 4525940"/>
              <a:gd name="connsiteX193" fmla="*/ 515316 w 4545947"/>
              <a:gd name="connsiteY193" fmla="*/ 3908681 h 4525940"/>
              <a:gd name="connsiteX194" fmla="*/ 523559 w 4545947"/>
              <a:gd name="connsiteY194" fmla="*/ 3899185 h 4525940"/>
              <a:gd name="connsiteX195" fmla="*/ 4105488 w 4545947"/>
              <a:gd name="connsiteY195" fmla="*/ 3892854 h 4525940"/>
              <a:gd name="connsiteX196" fmla="*/ 4109861 w 4545947"/>
              <a:gd name="connsiteY196" fmla="*/ 3899185 h 4525940"/>
              <a:gd name="connsiteX197" fmla="*/ 4105488 w 4545947"/>
              <a:gd name="connsiteY197" fmla="*/ 3905515 h 4525940"/>
              <a:gd name="connsiteX198" fmla="*/ 4101115 w 4545947"/>
              <a:gd name="connsiteY198" fmla="*/ 3899185 h 4525940"/>
              <a:gd name="connsiteX199" fmla="*/ 4105488 w 4545947"/>
              <a:gd name="connsiteY199" fmla="*/ 3892854 h 4525940"/>
              <a:gd name="connsiteX200" fmla="*/ 2909492 w 4545947"/>
              <a:gd name="connsiteY200" fmla="*/ 3892854 h 4525940"/>
              <a:gd name="connsiteX201" fmla="*/ 2916052 w 4545947"/>
              <a:gd name="connsiteY201" fmla="*/ 3908681 h 4525940"/>
              <a:gd name="connsiteX202" fmla="*/ 2909492 w 4545947"/>
              <a:gd name="connsiteY202" fmla="*/ 3924508 h 4525940"/>
              <a:gd name="connsiteX203" fmla="*/ 2902933 w 4545947"/>
              <a:gd name="connsiteY203" fmla="*/ 3908681 h 4525940"/>
              <a:gd name="connsiteX204" fmla="*/ 2909492 w 4545947"/>
              <a:gd name="connsiteY204" fmla="*/ 3892854 h 4525940"/>
              <a:gd name="connsiteX205" fmla="*/ 2655863 w 4545947"/>
              <a:gd name="connsiteY205" fmla="*/ 3892854 h 4525940"/>
              <a:gd name="connsiteX206" fmla="*/ 2662423 w 4545947"/>
              <a:gd name="connsiteY206" fmla="*/ 3898811 h 4525940"/>
              <a:gd name="connsiteX207" fmla="*/ 2652101 w 4545947"/>
              <a:gd name="connsiteY207" fmla="*/ 3907454 h 4525940"/>
              <a:gd name="connsiteX208" fmla="*/ 2655863 w 4545947"/>
              <a:gd name="connsiteY208" fmla="*/ 3892854 h 4525940"/>
              <a:gd name="connsiteX209" fmla="*/ 2015126 w 4545947"/>
              <a:gd name="connsiteY209" fmla="*/ 3890471 h 4525940"/>
              <a:gd name="connsiteX210" fmla="*/ 2024850 w 4545947"/>
              <a:gd name="connsiteY210" fmla="*/ 3891588 h 4525940"/>
              <a:gd name="connsiteX211" fmla="*/ 2042341 w 4545947"/>
              <a:gd name="connsiteY211" fmla="*/ 3899185 h 4525940"/>
              <a:gd name="connsiteX212" fmla="*/ 2054585 w 4545947"/>
              <a:gd name="connsiteY212" fmla="*/ 3909307 h 4525940"/>
              <a:gd name="connsiteX213" fmla="*/ 2071849 w 4545947"/>
              <a:gd name="connsiteY213" fmla="*/ 3968824 h 4525940"/>
              <a:gd name="connsiteX214" fmla="*/ 2091632 w 4545947"/>
              <a:gd name="connsiteY214" fmla="*/ 4018461 h 4525940"/>
              <a:gd name="connsiteX215" fmla="*/ 2093696 w 4545947"/>
              <a:gd name="connsiteY215" fmla="*/ 4051792 h 4525940"/>
              <a:gd name="connsiteX216" fmla="*/ 2096463 w 4545947"/>
              <a:gd name="connsiteY216" fmla="*/ 4068015 h 4525940"/>
              <a:gd name="connsiteX217" fmla="*/ 2100916 w 4545947"/>
              <a:gd name="connsiteY217" fmla="*/ 4106782 h 4525940"/>
              <a:gd name="connsiteX218" fmla="*/ 2106951 w 4545947"/>
              <a:gd name="connsiteY218" fmla="*/ 4150489 h 4525940"/>
              <a:gd name="connsiteX219" fmla="*/ 2115806 w 4545947"/>
              <a:gd name="connsiteY219" fmla="*/ 4170504 h 4525940"/>
              <a:gd name="connsiteX220" fmla="*/ 2120728 w 4545947"/>
              <a:gd name="connsiteY220" fmla="*/ 4188665 h 4525940"/>
              <a:gd name="connsiteX221" fmla="*/ 2116702 w 4545947"/>
              <a:gd name="connsiteY221" fmla="*/ 4240650 h 4525940"/>
              <a:gd name="connsiteX222" fmla="*/ 2103781 w 4545947"/>
              <a:gd name="connsiteY222" fmla="*/ 4234523 h 4525940"/>
              <a:gd name="connsiteX223" fmla="*/ 2103781 w 4545947"/>
              <a:gd name="connsiteY223" fmla="*/ 4234523 h 4525940"/>
              <a:gd name="connsiteX224" fmla="*/ 2093194 w 4545947"/>
              <a:gd name="connsiteY224" fmla="*/ 4217514 h 4525940"/>
              <a:gd name="connsiteX225" fmla="*/ 2091953 w 4545947"/>
              <a:gd name="connsiteY225" fmla="*/ 4196119 h 4525940"/>
              <a:gd name="connsiteX226" fmla="*/ 2062695 w 4545947"/>
              <a:gd name="connsiteY226" fmla="*/ 4151056 h 4525940"/>
              <a:gd name="connsiteX227" fmla="*/ 2063875 w 4545947"/>
              <a:gd name="connsiteY227" fmla="*/ 4119655 h 4525940"/>
              <a:gd name="connsiteX228" fmla="*/ 2063743 w 4545947"/>
              <a:gd name="connsiteY228" fmla="*/ 4053303 h 4525940"/>
              <a:gd name="connsiteX229" fmla="*/ 2054756 w 4545947"/>
              <a:gd name="connsiteY229" fmla="*/ 4006601 h 4525940"/>
              <a:gd name="connsiteX230" fmla="*/ 2048334 w 4545947"/>
              <a:gd name="connsiteY230" fmla="*/ 3977186 h 4525940"/>
              <a:gd name="connsiteX231" fmla="*/ 2036846 w 4545947"/>
              <a:gd name="connsiteY231" fmla="*/ 3946341 h 4525940"/>
              <a:gd name="connsiteX232" fmla="*/ 2028348 w 4545947"/>
              <a:gd name="connsiteY232" fmla="*/ 3927674 h 4525940"/>
              <a:gd name="connsiteX233" fmla="*/ 2019499 w 4545947"/>
              <a:gd name="connsiteY233" fmla="*/ 3908546 h 4525940"/>
              <a:gd name="connsiteX234" fmla="*/ 2015126 w 4545947"/>
              <a:gd name="connsiteY234" fmla="*/ 3890471 h 4525940"/>
              <a:gd name="connsiteX235" fmla="*/ 3762359 w 4545947"/>
              <a:gd name="connsiteY235" fmla="*/ 3882921 h 4525940"/>
              <a:gd name="connsiteX236" fmla="*/ 3771539 w 4545947"/>
              <a:gd name="connsiteY236" fmla="*/ 3895761 h 4525940"/>
              <a:gd name="connsiteX237" fmla="*/ 3763380 w 4545947"/>
              <a:gd name="connsiteY237" fmla="*/ 3918177 h 4525940"/>
              <a:gd name="connsiteX238" fmla="*/ 3756456 w 4545947"/>
              <a:gd name="connsiteY238" fmla="*/ 3901256 h 4525940"/>
              <a:gd name="connsiteX239" fmla="*/ 3762359 w 4545947"/>
              <a:gd name="connsiteY239" fmla="*/ 3882921 h 4525940"/>
              <a:gd name="connsiteX240" fmla="*/ 4054105 w 4545947"/>
              <a:gd name="connsiteY240" fmla="*/ 3868673 h 4525940"/>
              <a:gd name="connsiteX241" fmla="*/ 4064349 w 4545947"/>
              <a:gd name="connsiteY241" fmla="*/ 3897845 h 4525940"/>
              <a:gd name="connsiteX242" fmla="*/ 4062113 w 4545947"/>
              <a:gd name="connsiteY242" fmla="*/ 3927356 h 4525940"/>
              <a:gd name="connsiteX243" fmla="*/ 4047496 w 4545947"/>
              <a:gd name="connsiteY243" fmla="*/ 3917089 h 4525940"/>
              <a:gd name="connsiteX244" fmla="*/ 4039894 w 4545947"/>
              <a:gd name="connsiteY244" fmla="*/ 3886523 h 4525940"/>
              <a:gd name="connsiteX245" fmla="*/ 4044267 w 4545947"/>
              <a:gd name="connsiteY245" fmla="*/ 3876586 h 4525940"/>
              <a:gd name="connsiteX246" fmla="*/ 4054105 w 4545947"/>
              <a:gd name="connsiteY246" fmla="*/ 3868673 h 4525940"/>
              <a:gd name="connsiteX247" fmla="*/ 2218103 w 4545947"/>
              <a:gd name="connsiteY247" fmla="*/ 3867530 h 4525940"/>
              <a:gd name="connsiteX248" fmla="*/ 2226711 w 4545947"/>
              <a:gd name="connsiteY248" fmla="*/ 3877027 h 4525940"/>
              <a:gd name="connsiteX249" fmla="*/ 2220619 w 4545947"/>
              <a:gd name="connsiteY249" fmla="*/ 3886523 h 4525940"/>
              <a:gd name="connsiteX250" fmla="*/ 2212011 w 4545947"/>
              <a:gd name="connsiteY250" fmla="*/ 3877027 h 4525940"/>
              <a:gd name="connsiteX251" fmla="*/ 2218103 w 4545947"/>
              <a:gd name="connsiteY251" fmla="*/ 3867530 h 4525940"/>
              <a:gd name="connsiteX252" fmla="*/ 1971688 w 4545947"/>
              <a:gd name="connsiteY252" fmla="*/ 3857866 h 4525940"/>
              <a:gd name="connsiteX253" fmla="*/ 1986087 w 4545947"/>
              <a:gd name="connsiteY253" fmla="*/ 3910735 h 4525940"/>
              <a:gd name="connsiteX254" fmla="*/ 1988610 w 4545947"/>
              <a:gd name="connsiteY254" fmla="*/ 3927333 h 4525940"/>
              <a:gd name="connsiteX255" fmla="*/ 1993364 w 4545947"/>
              <a:gd name="connsiteY255" fmla="*/ 3952596 h 4525940"/>
              <a:gd name="connsiteX256" fmla="*/ 1999487 w 4545947"/>
              <a:gd name="connsiteY256" fmla="*/ 3980960 h 4525940"/>
              <a:gd name="connsiteX257" fmla="*/ 2005609 w 4545947"/>
              <a:gd name="connsiteY257" fmla="*/ 4011042 h 4525940"/>
              <a:gd name="connsiteX258" fmla="*/ 2009731 w 4545947"/>
              <a:gd name="connsiteY258" fmla="*/ 4037699 h 4525940"/>
              <a:gd name="connsiteX259" fmla="*/ 2016619 w 4545947"/>
              <a:gd name="connsiteY259" fmla="*/ 4062204 h 4525940"/>
              <a:gd name="connsiteX260" fmla="*/ 2002084 w 4545947"/>
              <a:gd name="connsiteY260" fmla="*/ 4070047 h 4525940"/>
              <a:gd name="connsiteX261" fmla="*/ 1998475 w 4545947"/>
              <a:gd name="connsiteY261" fmla="*/ 4049471 h 4525940"/>
              <a:gd name="connsiteX262" fmla="*/ 1980092 w 4545947"/>
              <a:gd name="connsiteY262" fmla="*/ 4013140 h 4525940"/>
              <a:gd name="connsiteX263" fmla="*/ 1971500 w 4545947"/>
              <a:gd name="connsiteY263" fmla="*/ 4003644 h 4525940"/>
              <a:gd name="connsiteX264" fmla="*/ 1975873 w 4545947"/>
              <a:gd name="connsiteY264" fmla="*/ 3994147 h 4525940"/>
              <a:gd name="connsiteX265" fmla="*/ 1976112 w 4545947"/>
              <a:gd name="connsiteY265" fmla="*/ 3967769 h 4525940"/>
              <a:gd name="connsiteX266" fmla="*/ 1971688 w 4545947"/>
              <a:gd name="connsiteY266" fmla="*/ 3857866 h 4525940"/>
              <a:gd name="connsiteX267" fmla="*/ 502197 w 4545947"/>
              <a:gd name="connsiteY267" fmla="*/ 3851703 h 4525940"/>
              <a:gd name="connsiteX268" fmla="*/ 506570 w 4545947"/>
              <a:gd name="connsiteY268" fmla="*/ 3857660 h 4525940"/>
              <a:gd name="connsiteX269" fmla="*/ 502197 w 4545947"/>
              <a:gd name="connsiteY269" fmla="*/ 3867530 h 4525940"/>
              <a:gd name="connsiteX270" fmla="*/ 497824 w 4545947"/>
              <a:gd name="connsiteY270" fmla="*/ 3861573 h 4525940"/>
              <a:gd name="connsiteX271" fmla="*/ 502197 w 4545947"/>
              <a:gd name="connsiteY271" fmla="*/ 3851703 h 4525940"/>
              <a:gd name="connsiteX272" fmla="*/ 2255504 w 4545947"/>
              <a:gd name="connsiteY272" fmla="*/ 3849289 h 4525940"/>
              <a:gd name="connsiteX273" fmla="*/ 2260113 w 4545947"/>
              <a:gd name="connsiteY273" fmla="*/ 3867157 h 4525940"/>
              <a:gd name="connsiteX274" fmla="*/ 2245726 w 4545947"/>
              <a:gd name="connsiteY274" fmla="*/ 3881626 h 4525940"/>
              <a:gd name="connsiteX275" fmla="*/ 2244530 w 4545947"/>
              <a:gd name="connsiteY275" fmla="*/ 3859617 h 4525940"/>
              <a:gd name="connsiteX276" fmla="*/ 2255504 w 4545947"/>
              <a:gd name="connsiteY276" fmla="*/ 3849289 h 4525940"/>
              <a:gd name="connsiteX277" fmla="*/ 3417010 w 4545947"/>
              <a:gd name="connsiteY277" fmla="*/ 3829545 h 4525940"/>
              <a:gd name="connsiteX278" fmla="*/ 3423312 w 4545947"/>
              <a:gd name="connsiteY278" fmla="*/ 3839042 h 4525940"/>
              <a:gd name="connsiteX279" fmla="*/ 3408853 w 4545947"/>
              <a:gd name="connsiteY279" fmla="*/ 3844489 h 4525940"/>
              <a:gd name="connsiteX280" fmla="*/ 3417010 w 4545947"/>
              <a:gd name="connsiteY280" fmla="*/ 3829545 h 4525940"/>
              <a:gd name="connsiteX281" fmla="*/ 2738431 w 4545947"/>
              <a:gd name="connsiteY281" fmla="*/ 3824454 h 4525940"/>
              <a:gd name="connsiteX282" fmla="*/ 2750318 w 4545947"/>
              <a:gd name="connsiteY282" fmla="*/ 3826407 h 4525940"/>
              <a:gd name="connsiteX283" fmla="*/ 2765687 w 4545947"/>
              <a:gd name="connsiteY283" fmla="*/ 3831867 h 4525940"/>
              <a:gd name="connsiteX284" fmla="*/ 2769047 w 4545947"/>
              <a:gd name="connsiteY284" fmla="*/ 3865187 h 4525940"/>
              <a:gd name="connsiteX285" fmla="*/ 2760550 w 4545947"/>
              <a:gd name="connsiteY285" fmla="*/ 3900807 h 4525940"/>
              <a:gd name="connsiteX286" fmla="*/ 2747649 w 4545947"/>
              <a:gd name="connsiteY286" fmla="*/ 3896820 h 4525940"/>
              <a:gd name="connsiteX287" fmla="*/ 2744287 w 4545947"/>
              <a:gd name="connsiteY287" fmla="*/ 3867530 h 4525940"/>
              <a:gd name="connsiteX288" fmla="*/ 2738958 w 4545947"/>
              <a:gd name="connsiteY288" fmla="*/ 3833582 h 4525940"/>
              <a:gd name="connsiteX289" fmla="*/ 2738431 w 4545947"/>
              <a:gd name="connsiteY289" fmla="*/ 3824454 h 4525940"/>
              <a:gd name="connsiteX290" fmla="*/ 1314629 w 4545947"/>
              <a:gd name="connsiteY290" fmla="*/ 3823496 h 4525940"/>
              <a:gd name="connsiteX291" fmla="*/ 1304002 w 4545947"/>
              <a:gd name="connsiteY291" fmla="*/ 3832791 h 4525940"/>
              <a:gd name="connsiteX292" fmla="*/ 1306949 w 4545947"/>
              <a:gd name="connsiteY292" fmla="*/ 3851937 h 4525940"/>
              <a:gd name="connsiteX293" fmla="*/ 1311067 w 4545947"/>
              <a:gd name="connsiteY293" fmla="*/ 3841880 h 4525940"/>
              <a:gd name="connsiteX294" fmla="*/ 1317140 w 4545947"/>
              <a:gd name="connsiteY294" fmla="*/ 3830926 h 4525940"/>
              <a:gd name="connsiteX295" fmla="*/ 1326103 w 4545947"/>
              <a:gd name="connsiteY295" fmla="*/ 3828631 h 4525940"/>
              <a:gd name="connsiteX296" fmla="*/ 1314629 w 4545947"/>
              <a:gd name="connsiteY296" fmla="*/ 3823496 h 4525940"/>
              <a:gd name="connsiteX297" fmla="*/ 3892163 w 4545947"/>
              <a:gd name="connsiteY297" fmla="*/ 3819903 h 4525940"/>
              <a:gd name="connsiteX298" fmla="*/ 3911267 w 4545947"/>
              <a:gd name="connsiteY298" fmla="*/ 3821285 h 4525940"/>
              <a:gd name="connsiteX299" fmla="*/ 3924522 w 4545947"/>
              <a:gd name="connsiteY299" fmla="*/ 3853537 h 4525940"/>
              <a:gd name="connsiteX300" fmla="*/ 3917443 w 4545947"/>
              <a:gd name="connsiteY300" fmla="*/ 3880192 h 4525940"/>
              <a:gd name="connsiteX301" fmla="*/ 3908706 w 4545947"/>
              <a:gd name="connsiteY301" fmla="*/ 3864893 h 4525940"/>
              <a:gd name="connsiteX302" fmla="*/ 3896680 w 4545947"/>
              <a:gd name="connsiteY302" fmla="*/ 3836855 h 4525940"/>
              <a:gd name="connsiteX303" fmla="*/ 3892163 w 4545947"/>
              <a:gd name="connsiteY303" fmla="*/ 3819903 h 4525940"/>
              <a:gd name="connsiteX304" fmla="*/ 1959090 w 4545947"/>
              <a:gd name="connsiteY304" fmla="*/ 3812273 h 4525940"/>
              <a:gd name="connsiteX305" fmla="*/ 1968903 w 4545947"/>
              <a:gd name="connsiteY305" fmla="*/ 3825000 h 4525940"/>
              <a:gd name="connsiteX306" fmla="*/ 1968122 w 4545947"/>
              <a:gd name="connsiteY306" fmla="*/ 3843299 h 4525940"/>
              <a:gd name="connsiteX307" fmla="*/ 1962236 w 4545947"/>
              <a:gd name="connsiteY307" fmla="*/ 3845056 h 4525940"/>
              <a:gd name="connsiteX308" fmla="*/ 1962236 w 4545947"/>
              <a:gd name="connsiteY308" fmla="*/ 3834293 h 4525940"/>
              <a:gd name="connsiteX309" fmla="*/ 1958381 w 4545947"/>
              <a:gd name="connsiteY309" fmla="*/ 3829545 h 4525940"/>
              <a:gd name="connsiteX310" fmla="*/ 1954008 w 4545947"/>
              <a:gd name="connsiteY310" fmla="*/ 3819521 h 4525940"/>
              <a:gd name="connsiteX311" fmla="*/ 1959090 w 4545947"/>
              <a:gd name="connsiteY311" fmla="*/ 3812273 h 4525940"/>
              <a:gd name="connsiteX312" fmla="*/ 486892 w 4545947"/>
              <a:gd name="connsiteY312" fmla="*/ 3810553 h 4525940"/>
              <a:gd name="connsiteX313" fmla="*/ 493451 w 4545947"/>
              <a:gd name="connsiteY313" fmla="*/ 3820049 h 4525940"/>
              <a:gd name="connsiteX314" fmla="*/ 486892 w 4545947"/>
              <a:gd name="connsiteY314" fmla="*/ 3829545 h 4525940"/>
              <a:gd name="connsiteX315" fmla="*/ 480332 w 4545947"/>
              <a:gd name="connsiteY315" fmla="*/ 3820049 h 4525940"/>
              <a:gd name="connsiteX316" fmla="*/ 486892 w 4545947"/>
              <a:gd name="connsiteY316" fmla="*/ 3810553 h 4525940"/>
              <a:gd name="connsiteX317" fmla="*/ 4113305 w 4545947"/>
              <a:gd name="connsiteY317" fmla="*/ 3809050 h 4525940"/>
              <a:gd name="connsiteX318" fmla="*/ 4110156 w 4545947"/>
              <a:gd name="connsiteY318" fmla="*/ 3823215 h 4525940"/>
              <a:gd name="connsiteX319" fmla="*/ 4098927 w 4545947"/>
              <a:gd name="connsiteY319" fmla="*/ 3835877 h 4525940"/>
              <a:gd name="connsiteX320" fmla="*/ 4087996 w 4545947"/>
              <a:gd name="connsiteY320" fmla="*/ 3830284 h 4525940"/>
              <a:gd name="connsiteX321" fmla="*/ 4098000 w 4545947"/>
              <a:gd name="connsiteY321" fmla="*/ 3809260 h 4525940"/>
              <a:gd name="connsiteX322" fmla="*/ 4113305 w 4545947"/>
              <a:gd name="connsiteY322" fmla="*/ 3809050 h 4525940"/>
              <a:gd name="connsiteX323" fmla="*/ 2043084 w 4545947"/>
              <a:gd name="connsiteY323" fmla="*/ 3794750 h 4525940"/>
              <a:gd name="connsiteX324" fmla="*/ 2041467 w 4545947"/>
              <a:gd name="connsiteY324" fmla="*/ 3801376 h 4525940"/>
              <a:gd name="connsiteX325" fmla="*/ 2045840 w 4545947"/>
              <a:gd name="connsiteY325" fmla="*/ 3807387 h 4525940"/>
              <a:gd name="connsiteX326" fmla="*/ 2050212 w 4545947"/>
              <a:gd name="connsiteY326" fmla="*/ 3810179 h 4525940"/>
              <a:gd name="connsiteX327" fmla="*/ 2054585 w 4545947"/>
              <a:gd name="connsiteY327" fmla="*/ 3816883 h 4525940"/>
              <a:gd name="connsiteX328" fmla="*/ 2058958 w 4545947"/>
              <a:gd name="connsiteY328" fmla="*/ 3812075 h 4525940"/>
              <a:gd name="connsiteX329" fmla="*/ 2050212 w 4545947"/>
              <a:gd name="connsiteY329" fmla="*/ 3799360 h 4525940"/>
              <a:gd name="connsiteX330" fmla="*/ 2043084 w 4545947"/>
              <a:gd name="connsiteY330" fmla="*/ 3794750 h 4525940"/>
              <a:gd name="connsiteX331" fmla="*/ 1790937 w 4545947"/>
              <a:gd name="connsiteY331" fmla="*/ 3787564 h 4525940"/>
              <a:gd name="connsiteX332" fmla="*/ 1789378 w 4545947"/>
              <a:gd name="connsiteY332" fmla="*/ 3795919 h 4525940"/>
              <a:gd name="connsiteX333" fmla="*/ 1779916 w 4545947"/>
              <a:gd name="connsiteY333" fmla="*/ 3812965 h 4525940"/>
              <a:gd name="connsiteX334" fmla="*/ 1781278 w 4545947"/>
              <a:gd name="connsiteY334" fmla="*/ 3814873 h 4525940"/>
              <a:gd name="connsiteX335" fmla="*/ 1790740 w 4545947"/>
              <a:gd name="connsiteY335" fmla="*/ 3797826 h 4525940"/>
              <a:gd name="connsiteX336" fmla="*/ 1790937 w 4545947"/>
              <a:gd name="connsiteY336" fmla="*/ 3787564 h 4525940"/>
              <a:gd name="connsiteX337" fmla="*/ 2023582 w 4545947"/>
              <a:gd name="connsiteY337" fmla="*/ 3786360 h 4525940"/>
              <a:gd name="connsiteX338" fmla="*/ 2017887 w 4545947"/>
              <a:gd name="connsiteY338" fmla="*/ 3793139 h 4525940"/>
              <a:gd name="connsiteX339" fmla="*/ 2016323 w 4545947"/>
              <a:gd name="connsiteY339" fmla="*/ 3808973 h 4525940"/>
              <a:gd name="connsiteX340" fmla="*/ 2023354 w 4545947"/>
              <a:gd name="connsiteY340" fmla="*/ 3794649 h 4525940"/>
              <a:gd name="connsiteX341" fmla="*/ 2023582 w 4545947"/>
              <a:gd name="connsiteY341" fmla="*/ 3786360 h 4525940"/>
              <a:gd name="connsiteX342" fmla="*/ 2013093 w 4545947"/>
              <a:gd name="connsiteY342" fmla="*/ 3774587 h 4525940"/>
              <a:gd name="connsiteX343" fmla="*/ 2003926 w 4545947"/>
              <a:gd name="connsiteY343" fmla="*/ 3785302 h 4525940"/>
              <a:gd name="connsiteX344" fmla="*/ 2005238 w 4545947"/>
              <a:gd name="connsiteY344" fmla="*/ 3787201 h 4525940"/>
              <a:gd name="connsiteX345" fmla="*/ 2014405 w 4545947"/>
              <a:gd name="connsiteY345" fmla="*/ 3776486 h 4525940"/>
              <a:gd name="connsiteX346" fmla="*/ 2013093 w 4545947"/>
              <a:gd name="connsiteY346" fmla="*/ 3774587 h 4525940"/>
              <a:gd name="connsiteX347" fmla="*/ 2633998 w 4545947"/>
              <a:gd name="connsiteY347" fmla="*/ 3759906 h 4525940"/>
              <a:gd name="connsiteX348" fmla="*/ 2640558 w 4545947"/>
              <a:gd name="connsiteY348" fmla="*/ 3769402 h 4525940"/>
              <a:gd name="connsiteX349" fmla="*/ 2633998 w 4545947"/>
              <a:gd name="connsiteY349" fmla="*/ 3778898 h 4525940"/>
              <a:gd name="connsiteX350" fmla="*/ 2627439 w 4545947"/>
              <a:gd name="connsiteY350" fmla="*/ 3769402 h 4525940"/>
              <a:gd name="connsiteX351" fmla="*/ 2633998 w 4545947"/>
              <a:gd name="connsiteY351" fmla="*/ 3759906 h 4525940"/>
              <a:gd name="connsiteX352" fmla="*/ 4107673 w 4545947"/>
              <a:gd name="connsiteY352" fmla="*/ 3751286 h 4525940"/>
              <a:gd name="connsiteX353" fmla="*/ 4111580 w 4545947"/>
              <a:gd name="connsiteY353" fmla="*/ 3768885 h 4525940"/>
              <a:gd name="connsiteX354" fmla="*/ 4101115 w 4545947"/>
              <a:gd name="connsiteY354" fmla="*/ 3763270 h 4525940"/>
              <a:gd name="connsiteX355" fmla="*/ 4107673 w 4545947"/>
              <a:gd name="connsiteY355" fmla="*/ 3751286 h 4525940"/>
              <a:gd name="connsiteX356" fmla="*/ 1769471 w 4545947"/>
              <a:gd name="connsiteY356" fmla="*/ 3740913 h 4525940"/>
              <a:gd name="connsiteX357" fmla="*/ 1766156 w 4545947"/>
              <a:gd name="connsiteY357" fmla="*/ 3773065 h 4525940"/>
              <a:gd name="connsiteX358" fmla="*/ 1779275 w 4545947"/>
              <a:gd name="connsiteY358" fmla="*/ 3778756 h 4525940"/>
              <a:gd name="connsiteX359" fmla="*/ 1787837 w 4545947"/>
              <a:gd name="connsiteY359" fmla="*/ 3764115 h 4525940"/>
              <a:gd name="connsiteX360" fmla="*/ 1769471 w 4545947"/>
              <a:gd name="connsiteY360" fmla="*/ 3740913 h 4525940"/>
              <a:gd name="connsiteX361" fmla="*/ 2273182 w 4545947"/>
              <a:gd name="connsiteY361" fmla="*/ 3737793 h 4525940"/>
              <a:gd name="connsiteX362" fmla="*/ 2268859 w 4545947"/>
              <a:gd name="connsiteY362" fmla="*/ 3747618 h 4525940"/>
              <a:gd name="connsiteX363" fmla="*/ 2274901 w 4545947"/>
              <a:gd name="connsiteY363" fmla="*/ 3743750 h 4525940"/>
              <a:gd name="connsiteX364" fmla="*/ 2273182 w 4545947"/>
              <a:gd name="connsiteY364" fmla="*/ 3737793 h 4525940"/>
              <a:gd name="connsiteX365" fmla="*/ 2067015 w 4545947"/>
              <a:gd name="connsiteY365" fmla="*/ 3729938 h 4525940"/>
              <a:gd name="connsiteX366" fmla="*/ 2060477 w 4545947"/>
              <a:gd name="connsiteY366" fmla="*/ 3736003 h 4525940"/>
              <a:gd name="connsiteX367" fmla="*/ 2067999 w 4545947"/>
              <a:gd name="connsiteY367" fmla="*/ 3772567 h 4525940"/>
              <a:gd name="connsiteX368" fmla="*/ 2076450 w 4545947"/>
              <a:gd name="connsiteY368" fmla="*/ 3778898 h 4525940"/>
              <a:gd name="connsiteX369" fmla="*/ 2091750 w 4545947"/>
              <a:gd name="connsiteY369" fmla="*/ 3777750 h 4525940"/>
              <a:gd name="connsiteX370" fmla="*/ 2089569 w 4545947"/>
              <a:gd name="connsiteY370" fmla="*/ 3741890 h 4525940"/>
              <a:gd name="connsiteX371" fmla="*/ 2072951 w 4545947"/>
              <a:gd name="connsiteY371" fmla="*/ 3732937 h 4525940"/>
              <a:gd name="connsiteX372" fmla="*/ 2067015 w 4545947"/>
              <a:gd name="connsiteY372" fmla="*/ 3729938 h 4525940"/>
              <a:gd name="connsiteX373" fmla="*/ 1479546 w 4545947"/>
              <a:gd name="connsiteY373" fmla="*/ 3728251 h 4525940"/>
              <a:gd name="connsiteX374" fmla="*/ 1486105 w 4545947"/>
              <a:gd name="connsiteY374" fmla="*/ 3737748 h 4525940"/>
              <a:gd name="connsiteX375" fmla="*/ 1479546 w 4545947"/>
              <a:gd name="connsiteY375" fmla="*/ 3747244 h 4525940"/>
              <a:gd name="connsiteX376" fmla="*/ 1472986 w 4545947"/>
              <a:gd name="connsiteY376" fmla="*/ 3737748 h 4525940"/>
              <a:gd name="connsiteX377" fmla="*/ 1479546 w 4545947"/>
              <a:gd name="connsiteY377" fmla="*/ 3728251 h 4525940"/>
              <a:gd name="connsiteX378" fmla="*/ 2608904 w 4545947"/>
              <a:gd name="connsiteY378" fmla="*/ 3725099 h 4525940"/>
              <a:gd name="connsiteX379" fmla="*/ 2607432 w 4545947"/>
              <a:gd name="connsiteY379" fmla="*/ 3734424 h 4525940"/>
              <a:gd name="connsiteX380" fmla="*/ 2597518 w 4545947"/>
              <a:gd name="connsiteY380" fmla="*/ 3735200 h 4525940"/>
              <a:gd name="connsiteX381" fmla="*/ 2599274 w 4545947"/>
              <a:gd name="connsiteY381" fmla="*/ 3725818 h 4525940"/>
              <a:gd name="connsiteX382" fmla="*/ 2608904 w 4545947"/>
              <a:gd name="connsiteY382" fmla="*/ 3725099 h 4525940"/>
              <a:gd name="connsiteX383" fmla="*/ 2581523 w 4545947"/>
              <a:gd name="connsiteY383" fmla="*/ 3714641 h 4525940"/>
              <a:gd name="connsiteX384" fmla="*/ 2587244 w 4545947"/>
              <a:gd name="connsiteY384" fmla="*/ 3721446 h 4525940"/>
              <a:gd name="connsiteX385" fmla="*/ 2581523 w 4545947"/>
              <a:gd name="connsiteY385" fmla="*/ 3728251 h 4525940"/>
              <a:gd name="connsiteX386" fmla="*/ 2575802 w 4545947"/>
              <a:gd name="connsiteY386" fmla="*/ 3721446 h 4525940"/>
              <a:gd name="connsiteX387" fmla="*/ 2581523 w 4545947"/>
              <a:gd name="connsiteY387" fmla="*/ 3714641 h 4525940"/>
              <a:gd name="connsiteX388" fmla="*/ 1636912 w 4545947"/>
              <a:gd name="connsiteY388" fmla="*/ 3707003 h 4525940"/>
              <a:gd name="connsiteX389" fmla="*/ 1641308 w 4545947"/>
              <a:gd name="connsiteY389" fmla="*/ 3709343 h 4525940"/>
              <a:gd name="connsiteX390" fmla="*/ 1649617 w 4545947"/>
              <a:gd name="connsiteY390" fmla="*/ 3721661 h 4525940"/>
              <a:gd name="connsiteX391" fmla="*/ 1666924 w 4545947"/>
              <a:gd name="connsiteY391" fmla="*/ 3745404 h 4525940"/>
              <a:gd name="connsiteX392" fmla="*/ 1682439 w 4545947"/>
              <a:gd name="connsiteY392" fmla="*/ 3775146 h 4525940"/>
              <a:gd name="connsiteX393" fmla="*/ 1691633 w 4545947"/>
              <a:gd name="connsiteY393" fmla="*/ 3798355 h 4525940"/>
              <a:gd name="connsiteX394" fmla="*/ 1707406 w 4545947"/>
              <a:gd name="connsiteY394" fmla="*/ 3829545 h 4525940"/>
              <a:gd name="connsiteX395" fmla="*/ 1705845 w 4545947"/>
              <a:gd name="connsiteY395" fmla="*/ 3849700 h 4525940"/>
              <a:gd name="connsiteX396" fmla="*/ 1692422 w 4545947"/>
              <a:gd name="connsiteY396" fmla="*/ 3865948 h 4525940"/>
              <a:gd name="connsiteX397" fmla="*/ 1670861 w 4545947"/>
              <a:gd name="connsiteY397" fmla="*/ 3868731 h 4525940"/>
              <a:gd name="connsiteX398" fmla="*/ 1656649 w 4545947"/>
              <a:gd name="connsiteY398" fmla="*/ 3850875 h 4525940"/>
              <a:gd name="connsiteX399" fmla="*/ 1648997 w 4545947"/>
              <a:gd name="connsiteY399" fmla="*/ 3835823 h 4525940"/>
              <a:gd name="connsiteX400" fmla="*/ 1646810 w 4545947"/>
              <a:gd name="connsiteY400" fmla="*/ 3825485 h 4525940"/>
              <a:gd name="connsiteX401" fmla="*/ 1652276 w 4545947"/>
              <a:gd name="connsiteY401" fmla="*/ 3810800 h 4525940"/>
              <a:gd name="connsiteX402" fmla="*/ 1632598 w 4545947"/>
              <a:gd name="connsiteY402" fmla="*/ 3791898 h 4525940"/>
              <a:gd name="connsiteX403" fmla="*/ 1617293 w 4545947"/>
              <a:gd name="connsiteY403" fmla="*/ 3788754 h 4525940"/>
              <a:gd name="connsiteX404" fmla="*/ 1626485 w 4545947"/>
              <a:gd name="connsiteY404" fmla="*/ 3770295 h 4525940"/>
              <a:gd name="connsiteX405" fmla="*/ 1632758 w 4545947"/>
              <a:gd name="connsiteY405" fmla="*/ 3735953 h 4525940"/>
              <a:gd name="connsiteX406" fmla="*/ 1636912 w 4545947"/>
              <a:gd name="connsiteY406" fmla="*/ 3707003 h 4525940"/>
              <a:gd name="connsiteX407" fmla="*/ 777691 w 4545947"/>
              <a:gd name="connsiteY407" fmla="*/ 3702928 h 4525940"/>
              <a:gd name="connsiteX408" fmla="*/ 786437 w 4545947"/>
              <a:gd name="connsiteY408" fmla="*/ 3715590 h 4525940"/>
              <a:gd name="connsiteX409" fmla="*/ 774193 w 4545947"/>
              <a:gd name="connsiteY409" fmla="*/ 3720654 h 4525940"/>
              <a:gd name="connsiteX410" fmla="*/ 777691 w 4545947"/>
              <a:gd name="connsiteY410" fmla="*/ 3702928 h 4525940"/>
              <a:gd name="connsiteX411" fmla="*/ 2265717 w 4545947"/>
              <a:gd name="connsiteY411" fmla="*/ 3690468 h 4525940"/>
              <a:gd name="connsiteX412" fmla="*/ 2265579 w 4545947"/>
              <a:gd name="connsiteY412" fmla="*/ 3699080 h 4525940"/>
              <a:gd name="connsiteX413" fmla="*/ 2273577 w 4545947"/>
              <a:gd name="connsiteY413" fmla="*/ 3716288 h 4525940"/>
              <a:gd name="connsiteX414" fmla="*/ 2276176 w 4545947"/>
              <a:gd name="connsiteY414" fmla="*/ 3716964 h 4525940"/>
              <a:gd name="connsiteX415" fmla="*/ 2275968 w 4545947"/>
              <a:gd name="connsiteY415" fmla="*/ 3699554 h 4525940"/>
              <a:gd name="connsiteX416" fmla="*/ 2265717 w 4545947"/>
              <a:gd name="connsiteY416" fmla="*/ 3690468 h 4525940"/>
              <a:gd name="connsiteX417" fmla="*/ 4393541 w 4545947"/>
              <a:gd name="connsiteY417" fmla="*/ 3685390 h 4525940"/>
              <a:gd name="connsiteX418" fmla="*/ 4405396 w 4545947"/>
              <a:gd name="connsiteY418" fmla="*/ 3698051 h 4525940"/>
              <a:gd name="connsiteX419" fmla="*/ 4406971 w 4545947"/>
              <a:gd name="connsiteY419" fmla="*/ 3759714 h 4525940"/>
              <a:gd name="connsiteX420" fmla="*/ 4415127 w 4545947"/>
              <a:gd name="connsiteY420" fmla="*/ 3786745 h 4525940"/>
              <a:gd name="connsiteX421" fmla="*/ 4401479 w 4545947"/>
              <a:gd name="connsiteY421" fmla="*/ 3806464 h 4525940"/>
              <a:gd name="connsiteX422" fmla="*/ 4398473 w 4545947"/>
              <a:gd name="connsiteY422" fmla="*/ 3784626 h 4525940"/>
              <a:gd name="connsiteX423" fmla="*/ 4391914 w 4545947"/>
              <a:gd name="connsiteY423" fmla="*/ 3757645 h 4525940"/>
              <a:gd name="connsiteX424" fmla="*/ 4385355 w 4545947"/>
              <a:gd name="connsiteY424" fmla="*/ 3728704 h 4525940"/>
              <a:gd name="connsiteX425" fmla="*/ 4378795 w 4545947"/>
              <a:gd name="connsiteY425" fmla="*/ 3709259 h 4525940"/>
              <a:gd name="connsiteX426" fmla="*/ 4372303 w 4545947"/>
              <a:gd name="connsiteY426" fmla="*/ 3704511 h 4525940"/>
              <a:gd name="connsiteX427" fmla="*/ 4393541 w 4545947"/>
              <a:gd name="connsiteY427" fmla="*/ 3685390 h 4525940"/>
              <a:gd name="connsiteX428" fmla="*/ 444041 w 4545947"/>
              <a:gd name="connsiteY428" fmla="*/ 3678411 h 4525940"/>
              <a:gd name="connsiteX429" fmla="*/ 453220 w 4545947"/>
              <a:gd name="connsiteY429" fmla="*/ 3685202 h 4525940"/>
              <a:gd name="connsiteX430" fmla="*/ 449722 w 4545947"/>
              <a:gd name="connsiteY430" fmla="*/ 3709259 h 4525940"/>
              <a:gd name="connsiteX431" fmla="*/ 440976 w 4545947"/>
              <a:gd name="connsiteY431" fmla="*/ 3693432 h 4525940"/>
              <a:gd name="connsiteX432" fmla="*/ 444041 w 4545947"/>
              <a:gd name="connsiteY432" fmla="*/ 3678411 h 4525940"/>
              <a:gd name="connsiteX433" fmla="*/ 4470885 w 4545947"/>
              <a:gd name="connsiteY433" fmla="*/ 3671274 h 4525940"/>
              <a:gd name="connsiteX434" fmla="*/ 4472813 w 4545947"/>
              <a:gd name="connsiteY434" fmla="*/ 3677605 h 4525940"/>
              <a:gd name="connsiteX435" fmla="*/ 4468182 w 4545947"/>
              <a:gd name="connsiteY435" fmla="*/ 3683935 h 4525940"/>
              <a:gd name="connsiteX436" fmla="*/ 4466253 w 4545947"/>
              <a:gd name="connsiteY436" fmla="*/ 3677605 h 4525940"/>
              <a:gd name="connsiteX437" fmla="*/ 4470885 w 4545947"/>
              <a:gd name="connsiteY437" fmla="*/ 3671274 h 4525940"/>
              <a:gd name="connsiteX438" fmla="*/ 4171728 w 4545947"/>
              <a:gd name="connsiteY438" fmla="*/ 3669684 h 4525940"/>
              <a:gd name="connsiteX439" fmla="*/ 4194226 w 4545947"/>
              <a:gd name="connsiteY439" fmla="*/ 3722097 h 4525940"/>
              <a:gd name="connsiteX440" fmla="*/ 4198412 w 4545947"/>
              <a:gd name="connsiteY440" fmla="*/ 3740901 h 4525940"/>
              <a:gd name="connsiteX441" fmla="*/ 4201692 w 4545947"/>
              <a:gd name="connsiteY441" fmla="*/ 3750410 h 4525940"/>
              <a:gd name="connsiteX442" fmla="*/ 4195132 w 4545947"/>
              <a:gd name="connsiteY442" fmla="*/ 3759906 h 4525940"/>
              <a:gd name="connsiteX443" fmla="*/ 4188573 w 4545947"/>
              <a:gd name="connsiteY443" fmla="*/ 3750410 h 4525940"/>
              <a:gd name="connsiteX444" fmla="*/ 4183725 w 4545947"/>
              <a:gd name="connsiteY444" fmla="*/ 3740913 h 4525940"/>
              <a:gd name="connsiteX445" fmla="*/ 4181714 w 4545947"/>
              <a:gd name="connsiteY445" fmla="*/ 3724559 h 4525940"/>
              <a:gd name="connsiteX446" fmla="*/ 4176068 w 4545947"/>
              <a:gd name="connsiteY446" fmla="*/ 3704994 h 4525940"/>
              <a:gd name="connsiteX447" fmla="*/ 4165810 w 4545947"/>
              <a:gd name="connsiteY447" fmla="*/ 3684278 h 4525940"/>
              <a:gd name="connsiteX448" fmla="*/ 4171728 w 4545947"/>
              <a:gd name="connsiteY448" fmla="*/ 3669684 h 4525940"/>
              <a:gd name="connsiteX449" fmla="*/ 3781533 w 4545947"/>
              <a:gd name="connsiteY449" fmla="*/ 3666259 h 4525940"/>
              <a:gd name="connsiteX450" fmla="*/ 3772184 w 4545947"/>
              <a:gd name="connsiteY450" fmla="*/ 3676181 h 4525940"/>
              <a:gd name="connsiteX451" fmla="*/ 3767900 w 4545947"/>
              <a:gd name="connsiteY451" fmla="*/ 3703257 h 4525940"/>
              <a:gd name="connsiteX452" fmla="*/ 3770849 w 4545947"/>
              <a:gd name="connsiteY452" fmla="*/ 3722178 h 4525940"/>
              <a:gd name="connsiteX453" fmla="*/ 3772888 w 4545947"/>
              <a:gd name="connsiteY453" fmla="*/ 3728251 h 4525940"/>
              <a:gd name="connsiteX454" fmla="*/ 3777518 w 4545947"/>
              <a:gd name="connsiteY454" fmla="*/ 3735634 h 4525940"/>
              <a:gd name="connsiteX455" fmla="*/ 3797197 w 4545947"/>
              <a:gd name="connsiteY455" fmla="*/ 3763763 h 4525940"/>
              <a:gd name="connsiteX456" fmla="*/ 3802839 w 4545947"/>
              <a:gd name="connsiteY456" fmla="*/ 3743591 h 4525940"/>
              <a:gd name="connsiteX457" fmla="*/ 3789493 w 4545947"/>
              <a:gd name="connsiteY457" fmla="*/ 3668785 h 4525940"/>
              <a:gd name="connsiteX458" fmla="*/ 3781533 w 4545947"/>
              <a:gd name="connsiteY458" fmla="*/ 3666259 h 4525940"/>
              <a:gd name="connsiteX459" fmla="*/ 440976 w 4545947"/>
              <a:gd name="connsiteY459" fmla="*/ 3652281 h 4525940"/>
              <a:gd name="connsiteX460" fmla="*/ 445349 w 4545947"/>
              <a:gd name="connsiteY460" fmla="*/ 3658238 h 4525940"/>
              <a:gd name="connsiteX461" fmla="*/ 440976 w 4545947"/>
              <a:gd name="connsiteY461" fmla="*/ 3668109 h 4525940"/>
              <a:gd name="connsiteX462" fmla="*/ 436603 w 4545947"/>
              <a:gd name="connsiteY462" fmla="*/ 3662151 h 4525940"/>
              <a:gd name="connsiteX463" fmla="*/ 440976 w 4545947"/>
              <a:gd name="connsiteY463" fmla="*/ 3652281 h 4525940"/>
              <a:gd name="connsiteX464" fmla="*/ 3171373 w 4545947"/>
              <a:gd name="connsiteY464" fmla="*/ 3641045 h 4525940"/>
              <a:gd name="connsiteX465" fmla="*/ 3181007 w 4545947"/>
              <a:gd name="connsiteY465" fmla="*/ 3687671 h 4525940"/>
              <a:gd name="connsiteX466" fmla="*/ 3187158 w 4545947"/>
              <a:gd name="connsiteY466" fmla="*/ 3730762 h 4525940"/>
              <a:gd name="connsiteX467" fmla="*/ 3183347 w 4545947"/>
              <a:gd name="connsiteY467" fmla="*/ 3759906 h 4525940"/>
              <a:gd name="connsiteX468" fmla="*/ 3172415 w 4545947"/>
              <a:gd name="connsiteY468" fmla="*/ 3740122 h 4525940"/>
              <a:gd name="connsiteX469" fmla="*/ 3169682 w 4545947"/>
              <a:gd name="connsiteY469" fmla="*/ 3702136 h 4525940"/>
              <a:gd name="connsiteX470" fmla="*/ 3165309 w 4545947"/>
              <a:gd name="connsiteY470" fmla="*/ 3683935 h 4525940"/>
              <a:gd name="connsiteX471" fmla="*/ 3165690 w 4545947"/>
              <a:gd name="connsiteY471" fmla="*/ 3642444 h 4525940"/>
              <a:gd name="connsiteX472" fmla="*/ 3171373 w 4545947"/>
              <a:gd name="connsiteY472" fmla="*/ 3641045 h 4525940"/>
              <a:gd name="connsiteX473" fmla="*/ 4333348 w 4545947"/>
              <a:gd name="connsiteY473" fmla="*/ 3639619 h 4525940"/>
              <a:gd name="connsiteX474" fmla="*/ 4337253 w 4545947"/>
              <a:gd name="connsiteY474" fmla="*/ 3655447 h 4525940"/>
              <a:gd name="connsiteX475" fmla="*/ 4326564 w 4545947"/>
              <a:gd name="connsiteY475" fmla="*/ 3665514 h 4525940"/>
              <a:gd name="connsiteX476" fmla="*/ 4333348 w 4545947"/>
              <a:gd name="connsiteY476" fmla="*/ 3639619 h 4525940"/>
              <a:gd name="connsiteX477" fmla="*/ 3189618 w 4545947"/>
              <a:gd name="connsiteY477" fmla="*/ 3639619 h 4525940"/>
              <a:gd name="connsiteX478" fmla="*/ 3191547 w 4545947"/>
              <a:gd name="connsiteY478" fmla="*/ 3645950 h 4525940"/>
              <a:gd name="connsiteX479" fmla="*/ 3186916 w 4545947"/>
              <a:gd name="connsiteY479" fmla="*/ 3652281 h 4525940"/>
              <a:gd name="connsiteX480" fmla="*/ 3184987 w 4545947"/>
              <a:gd name="connsiteY480" fmla="*/ 3645950 h 4525940"/>
              <a:gd name="connsiteX481" fmla="*/ 3189618 w 4545947"/>
              <a:gd name="connsiteY481" fmla="*/ 3639619 h 4525940"/>
              <a:gd name="connsiteX482" fmla="*/ 682150 w 4545947"/>
              <a:gd name="connsiteY482" fmla="*/ 3636920 h 4525940"/>
              <a:gd name="connsiteX483" fmla="*/ 700310 w 4545947"/>
              <a:gd name="connsiteY483" fmla="*/ 3638085 h 4525940"/>
              <a:gd name="connsiteX484" fmla="*/ 715615 w 4545947"/>
              <a:gd name="connsiteY484" fmla="*/ 3654597 h 4525940"/>
              <a:gd name="connsiteX485" fmla="*/ 688710 w 4545947"/>
              <a:gd name="connsiteY485" fmla="*/ 3654982 h 4525940"/>
              <a:gd name="connsiteX486" fmla="*/ 682150 w 4545947"/>
              <a:gd name="connsiteY486" fmla="*/ 3636920 h 4525940"/>
              <a:gd name="connsiteX487" fmla="*/ 1590882 w 4545947"/>
              <a:gd name="connsiteY487" fmla="*/ 3636609 h 4525940"/>
              <a:gd name="connsiteX488" fmla="*/ 1604107 w 4545947"/>
              <a:gd name="connsiteY488" fmla="*/ 3653864 h 4525940"/>
              <a:gd name="connsiteX489" fmla="*/ 1593415 w 4545947"/>
              <a:gd name="connsiteY489" fmla="*/ 3650082 h 4525940"/>
              <a:gd name="connsiteX490" fmla="*/ 1590882 w 4545947"/>
              <a:gd name="connsiteY490" fmla="*/ 3636609 h 4525940"/>
              <a:gd name="connsiteX491" fmla="*/ 4351611 w 4545947"/>
              <a:gd name="connsiteY491" fmla="*/ 3620852 h 4525940"/>
              <a:gd name="connsiteX492" fmla="*/ 4353385 w 4545947"/>
              <a:gd name="connsiteY492" fmla="*/ 3628541 h 4525940"/>
              <a:gd name="connsiteX493" fmla="*/ 4363301 w 4545947"/>
              <a:gd name="connsiteY493" fmla="*/ 3639620 h 4525940"/>
              <a:gd name="connsiteX494" fmla="*/ 4372776 w 4545947"/>
              <a:gd name="connsiteY494" fmla="*/ 3671956 h 4525940"/>
              <a:gd name="connsiteX495" fmla="*/ 4370269 w 4545947"/>
              <a:gd name="connsiteY495" fmla="*/ 3673264 h 4525940"/>
              <a:gd name="connsiteX496" fmla="*/ 4360839 w 4545947"/>
              <a:gd name="connsiteY496" fmla="*/ 3655351 h 4525940"/>
              <a:gd name="connsiteX497" fmla="*/ 4350879 w 4545947"/>
              <a:gd name="connsiteY497" fmla="*/ 3628828 h 4525940"/>
              <a:gd name="connsiteX498" fmla="*/ 4351611 w 4545947"/>
              <a:gd name="connsiteY498" fmla="*/ 3620852 h 4525940"/>
              <a:gd name="connsiteX499" fmla="*/ 1737013 w 4545947"/>
              <a:gd name="connsiteY499" fmla="*/ 3614296 h 4525940"/>
              <a:gd name="connsiteX500" fmla="*/ 1726616 w 4545947"/>
              <a:gd name="connsiteY500" fmla="*/ 3629068 h 4525940"/>
              <a:gd name="connsiteX501" fmla="*/ 1751414 w 4545947"/>
              <a:gd name="connsiteY501" fmla="*/ 3642608 h 4525940"/>
              <a:gd name="connsiteX502" fmla="*/ 1737013 w 4545947"/>
              <a:gd name="connsiteY502" fmla="*/ 3614296 h 4525940"/>
              <a:gd name="connsiteX503" fmla="*/ 807126 w 4545947"/>
              <a:gd name="connsiteY503" fmla="*/ 3610806 h 4525940"/>
              <a:gd name="connsiteX504" fmla="*/ 805224 w 4545947"/>
              <a:gd name="connsiteY504" fmla="*/ 3621284 h 4525940"/>
              <a:gd name="connsiteX505" fmla="*/ 797792 w 4545947"/>
              <a:gd name="connsiteY505" fmla="*/ 3621616 h 4525940"/>
              <a:gd name="connsiteX506" fmla="*/ 799775 w 4545947"/>
              <a:gd name="connsiteY506" fmla="*/ 3610934 h 4525940"/>
              <a:gd name="connsiteX507" fmla="*/ 807126 w 4545947"/>
              <a:gd name="connsiteY507" fmla="*/ 3610806 h 4525940"/>
              <a:gd name="connsiteX508" fmla="*/ 2205452 w 4545947"/>
              <a:gd name="connsiteY508" fmla="*/ 3601634 h 4525940"/>
              <a:gd name="connsiteX509" fmla="*/ 2198892 w 4545947"/>
              <a:gd name="connsiteY509" fmla="*/ 3607965 h 4525940"/>
              <a:gd name="connsiteX510" fmla="*/ 2205452 w 4545947"/>
              <a:gd name="connsiteY510" fmla="*/ 3614296 h 4525940"/>
              <a:gd name="connsiteX511" fmla="*/ 2212011 w 4545947"/>
              <a:gd name="connsiteY511" fmla="*/ 3607965 h 4525940"/>
              <a:gd name="connsiteX512" fmla="*/ 2205452 w 4545947"/>
              <a:gd name="connsiteY512" fmla="*/ 3601634 h 4525940"/>
              <a:gd name="connsiteX513" fmla="*/ 2052748 w 4545947"/>
              <a:gd name="connsiteY513" fmla="*/ 3583925 h 4525940"/>
              <a:gd name="connsiteX514" fmla="*/ 2050662 w 4545947"/>
              <a:gd name="connsiteY514" fmla="*/ 3643478 h 4525940"/>
              <a:gd name="connsiteX515" fmla="*/ 2072077 w 4545947"/>
              <a:gd name="connsiteY515" fmla="*/ 3648742 h 4525940"/>
              <a:gd name="connsiteX516" fmla="*/ 2077017 w 4545947"/>
              <a:gd name="connsiteY516" fmla="*/ 3643293 h 4525940"/>
              <a:gd name="connsiteX517" fmla="*/ 2079985 w 4545947"/>
              <a:gd name="connsiteY517" fmla="*/ 3642083 h 4525940"/>
              <a:gd name="connsiteX518" fmla="*/ 2069928 w 4545947"/>
              <a:gd name="connsiteY518" fmla="*/ 3609249 h 4525940"/>
              <a:gd name="connsiteX519" fmla="*/ 2052748 w 4545947"/>
              <a:gd name="connsiteY519" fmla="*/ 3583925 h 4525940"/>
              <a:gd name="connsiteX520" fmla="*/ 2102688 w 4545947"/>
              <a:gd name="connsiteY520" fmla="*/ 3582642 h 4525940"/>
              <a:gd name="connsiteX521" fmla="*/ 2091367 w 4545947"/>
              <a:gd name="connsiteY521" fmla="*/ 3617476 h 4525940"/>
              <a:gd name="connsiteX522" fmla="*/ 2102688 w 4545947"/>
              <a:gd name="connsiteY522" fmla="*/ 3633289 h 4525940"/>
              <a:gd name="connsiteX523" fmla="*/ 2114008 w 4545947"/>
              <a:gd name="connsiteY523" fmla="*/ 3617476 h 4525940"/>
              <a:gd name="connsiteX524" fmla="*/ 2102688 w 4545947"/>
              <a:gd name="connsiteY524" fmla="*/ 3582642 h 4525940"/>
              <a:gd name="connsiteX525" fmla="*/ 2147146 w 4545947"/>
              <a:gd name="connsiteY525" fmla="*/ 3571020 h 4525940"/>
              <a:gd name="connsiteX526" fmla="*/ 2137738 w 4545947"/>
              <a:gd name="connsiteY526" fmla="*/ 3608493 h 4525940"/>
              <a:gd name="connsiteX527" fmla="*/ 2152797 w 4545947"/>
              <a:gd name="connsiteY527" fmla="*/ 3638304 h 4525940"/>
              <a:gd name="connsiteX528" fmla="*/ 2161723 w 4545947"/>
              <a:gd name="connsiteY528" fmla="*/ 3608655 h 4525940"/>
              <a:gd name="connsiteX529" fmla="*/ 2153945 w 4545947"/>
              <a:gd name="connsiteY529" fmla="*/ 3573836 h 4525940"/>
              <a:gd name="connsiteX530" fmla="*/ 2147146 w 4545947"/>
              <a:gd name="connsiteY530" fmla="*/ 3571020 h 4525940"/>
              <a:gd name="connsiteX531" fmla="*/ 1798001 w 4545947"/>
              <a:gd name="connsiteY531" fmla="*/ 3564738 h 4525940"/>
              <a:gd name="connsiteX532" fmla="*/ 1804404 w 4545947"/>
              <a:gd name="connsiteY532" fmla="*/ 3690298 h 4525940"/>
              <a:gd name="connsiteX533" fmla="*/ 1825007 w 4545947"/>
              <a:gd name="connsiteY533" fmla="*/ 3705989 h 4525940"/>
              <a:gd name="connsiteX534" fmla="*/ 1854833 w 4545947"/>
              <a:gd name="connsiteY534" fmla="*/ 3708350 h 4525940"/>
              <a:gd name="connsiteX535" fmla="*/ 1852022 w 4545947"/>
              <a:gd name="connsiteY535" fmla="*/ 3687323 h 4525940"/>
              <a:gd name="connsiteX536" fmla="*/ 1844685 w 4545947"/>
              <a:gd name="connsiteY536" fmla="*/ 3667656 h 4525940"/>
              <a:gd name="connsiteX537" fmla="*/ 1839844 w 4545947"/>
              <a:gd name="connsiteY537" fmla="*/ 3658612 h 4525940"/>
              <a:gd name="connsiteX538" fmla="*/ 1837584 w 4545947"/>
              <a:gd name="connsiteY538" fmla="*/ 3648876 h 4525940"/>
              <a:gd name="connsiteX539" fmla="*/ 1834195 w 4545947"/>
              <a:gd name="connsiteY539" fmla="*/ 3635824 h 4525940"/>
              <a:gd name="connsiteX540" fmla="*/ 1825589 w 4545947"/>
              <a:gd name="connsiteY540" fmla="*/ 3608642 h 4525940"/>
              <a:gd name="connsiteX541" fmla="*/ 1798001 w 4545947"/>
              <a:gd name="connsiteY541" fmla="*/ 3564738 h 4525940"/>
              <a:gd name="connsiteX542" fmla="*/ 4146521 w 4545947"/>
              <a:gd name="connsiteY542" fmla="*/ 3557318 h 4525940"/>
              <a:gd name="connsiteX543" fmla="*/ 4155093 w 4545947"/>
              <a:gd name="connsiteY543" fmla="*/ 3571287 h 4525940"/>
              <a:gd name="connsiteX544" fmla="*/ 4148124 w 4545947"/>
              <a:gd name="connsiteY544" fmla="*/ 3584178 h 4525940"/>
              <a:gd name="connsiteX545" fmla="*/ 4146521 w 4545947"/>
              <a:gd name="connsiteY545" fmla="*/ 3557318 h 4525940"/>
              <a:gd name="connsiteX546" fmla="*/ 1509191 w 4545947"/>
              <a:gd name="connsiteY546" fmla="*/ 3547053 h 4525940"/>
              <a:gd name="connsiteX547" fmla="*/ 1508315 w 4545947"/>
              <a:gd name="connsiteY547" fmla="*/ 3553625 h 4525940"/>
              <a:gd name="connsiteX548" fmla="*/ 1510612 w 4545947"/>
              <a:gd name="connsiteY548" fmla="*/ 3561935 h 4525940"/>
              <a:gd name="connsiteX549" fmla="*/ 1510957 w 4545947"/>
              <a:gd name="connsiteY549" fmla="*/ 3549800 h 4525940"/>
              <a:gd name="connsiteX550" fmla="*/ 1510957 w 4545947"/>
              <a:gd name="connsiteY550" fmla="*/ 3549800 h 4525940"/>
              <a:gd name="connsiteX551" fmla="*/ 1509191 w 4545947"/>
              <a:gd name="connsiteY551" fmla="*/ 3547053 h 4525940"/>
              <a:gd name="connsiteX552" fmla="*/ 4384535 w 4545947"/>
              <a:gd name="connsiteY552" fmla="*/ 3546663 h 4525940"/>
              <a:gd name="connsiteX553" fmla="*/ 4387177 w 4545947"/>
              <a:gd name="connsiteY553" fmla="*/ 3550488 h 4525940"/>
              <a:gd name="connsiteX554" fmla="*/ 4392916 w 4545947"/>
              <a:gd name="connsiteY554" fmla="*/ 3547163 h 4525940"/>
              <a:gd name="connsiteX555" fmla="*/ 4392916 w 4545947"/>
              <a:gd name="connsiteY555" fmla="*/ 3547162 h 4525940"/>
              <a:gd name="connsiteX556" fmla="*/ 4384535 w 4545947"/>
              <a:gd name="connsiteY556" fmla="*/ 3546663 h 4525940"/>
              <a:gd name="connsiteX557" fmla="*/ 2522488 w 4545947"/>
              <a:gd name="connsiteY557" fmla="*/ 3535161 h 4525940"/>
              <a:gd name="connsiteX558" fmla="*/ 2512028 w 4545947"/>
              <a:gd name="connsiteY558" fmla="*/ 3569062 h 4525940"/>
              <a:gd name="connsiteX559" fmla="*/ 2537303 w 4545947"/>
              <a:gd name="connsiteY559" fmla="*/ 3568397 h 4525940"/>
              <a:gd name="connsiteX560" fmla="*/ 2522488 w 4545947"/>
              <a:gd name="connsiteY560" fmla="*/ 3535161 h 4525940"/>
              <a:gd name="connsiteX561" fmla="*/ 4512472 w 4545947"/>
              <a:gd name="connsiteY561" fmla="*/ 3529100 h 4525940"/>
              <a:gd name="connsiteX562" fmla="*/ 4509725 w 4545947"/>
              <a:gd name="connsiteY562" fmla="*/ 3538326 h 4525940"/>
              <a:gd name="connsiteX563" fmla="*/ 4505654 w 4545947"/>
              <a:gd name="connsiteY563" fmla="*/ 3531892 h 4525940"/>
              <a:gd name="connsiteX564" fmla="*/ 4512472 w 4545947"/>
              <a:gd name="connsiteY564" fmla="*/ 3529100 h 4525940"/>
              <a:gd name="connsiteX565" fmla="*/ 1784685 w 4545947"/>
              <a:gd name="connsiteY565" fmla="*/ 3528061 h 4525940"/>
              <a:gd name="connsiteX566" fmla="*/ 1786451 w 4545947"/>
              <a:gd name="connsiteY566" fmla="*/ 3530808 h 4525940"/>
              <a:gd name="connsiteX567" fmla="*/ 1786106 w 4545947"/>
              <a:gd name="connsiteY567" fmla="*/ 3542942 h 4525940"/>
              <a:gd name="connsiteX568" fmla="*/ 1783809 w 4545947"/>
              <a:gd name="connsiteY568" fmla="*/ 3534633 h 4525940"/>
              <a:gd name="connsiteX569" fmla="*/ 1784685 w 4545947"/>
              <a:gd name="connsiteY569" fmla="*/ 3528061 h 4525940"/>
              <a:gd name="connsiteX570" fmla="*/ 2708921 w 4545947"/>
              <a:gd name="connsiteY570" fmla="*/ 3527919 h 4525940"/>
              <a:gd name="connsiteX571" fmla="*/ 2719644 w 4545947"/>
              <a:gd name="connsiteY571" fmla="*/ 3532655 h 4525940"/>
              <a:gd name="connsiteX572" fmla="*/ 2712711 w 4545947"/>
              <a:gd name="connsiteY572" fmla="*/ 3550987 h 4525940"/>
              <a:gd name="connsiteX573" fmla="*/ 2701779 w 4545947"/>
              <a:gd name="connsiteY573" fmla="*/ 3541293 h 4525940"/>
              <a:gd name="connsiteX574" fmla="*/ 2708921 w 4545947"/>
              <a:gd name="connsiteY574" fmla="*/ 3527919 h 4525940"/>
              <a:gd name="connsiteX575" fmla="*/ 4454649 w 4545947"/>
              <a:gd name="connsiteY575" fmla="*/ 3527292 h 4525940"/>
              <a:gd name="connsiteX576" fmla="*/ 4459694 w 4545947"/>
              <a:gd name="connsiteY576" fmla="*/ 3534633 h 4525940"/>
              <a:gd name="connsiteX577" fmla="*/ 4452770 w 4545947"/>
              <a:gd name="connsiteY577" fmla="*/ 3544657 h 4525940"/>
              <a:gd name="connsiteX578" fmla="*/ 4447578 w 4545947"/>
              <a:gd name="connsiteY578" fmla="*/ 3537139 h 4525940"/>
              <a:gd name="connsiteX579" fmla="*/ 4454649 w 4545947"/>
              <a:gd name="connsiteY579" fmla="*/ 3527292 h 4525940"/>
              <a:gd name="connsiteX580" fmla="*/ 4330693 w 4545947"/>
              <a:gd name="connsiteY580" fmla="*/ 3513002 h 4525940"/>
              <a:gd name="connsiteX581" fmla="*/ 4337253 w 4545947"/>
              <a:gd name="connsiteY581" fmla="*/ 3522872 h 4525940"/>
              <a:gd name="connsiteX582" fmla="*/ 4341625 w 4545947"/>
              <a:gd name="connsiteY582" fmla="*/ 3528830 h 4525940"/>
              <a:gd name="connsiteX583" fmla="*/ 4345998 w 4545947"/>
              <a:gd name="connsiteY583" fmla="*/ 3531621 h 4525940"/>
              <a:gd name="connsiteX584" fmla="*/ 4331787 w 4545947"/>
              <a:gd name="connsiteY584" fmla="*/ 3533962 h 4525940"/>
              <a:gd name="connsiteX585" fmla="*/ 4330693 w 4545947"/>
              <a:gd name="connsiteY585" fmla="*/ 3513002 h 4525940"/>
              <a:gd name="connsiteX586" fmla="*/ 1781278 w 4545947"/>
              <a:gd name="connsiteY586" fmla="*/ 3513002 h 4525940"/>
              <a:gd name="connsiteX587" fmla="*/ 1770345 w 4545947"/>
              <a:gd name="connsiteY587" fmla="*/ 3522499 h 4525940"/>
              <a:gd name="connsiteX588" fmla="*/ 1770345 w 4545947"/>
              <a:gd name="connsiteY588" fmla="*/ 3541491 h 4525940"/>
              <a:gd name="connsiteX589" fmla="*/ 1781278 w 4545947"/>
              <a:gd name="connsiteY589" fmla="*/ 3550987 h 4525940"/>
              <a:gd name="connsiteX590" fmla="*/ 1792210 w 4545947"/>
              <a:gd name="connsiteY590" fmla="*/ 3541491 h 4525940"/>
              <a:gd name="connsiteX591" fmla="*/ 1792210 w 4545947"/>
              <a:gd name="connsiteY591" fmla="*/ 3522499 h 4525940"/>
              <a:gd name="connsiteX592" fmla="*/ 1781278 w 4545947"/>
              <a:gd name="connsiteY592" fmla="*/ 3513002 h 4525940"/>
              <a:gd name="connsiteX593" fmla="*/ 2765727 w 4545947"/>
              <a:gd name="connsiteY593" fmla="*/ 3506671 h 4525940"/>
              <a:gd name="connsiteX594" fmla="*/ 2771915 w 4545947"/>
              <a:gd name="connsiteY594" fmla="*/ 3549820 h 4525940"/>
              <a:gd name="connsiteX595" fmla="*/ 2777517 w 4545947"/>
              <a:gd name="connsiteY595" fmla="*/ 3587805 h 4525940"/>
              <a:gd name="connsiteX596" fmla="*/ 2777592 w 4545947"/>
              <a:gd name="connsiteY596" fmla="*/ 3645950 h 4525940"/>
              <a:gd name="connsiteX597" fmla="*/ 2767140 w 4545947"/>
              <a:gd name="connsiteY597" fmla="*/ 3632658 h 4525940"/>
              <a:gd name="connsiteX598" fmla="*/ 2750756 w 4545947"/>
              <a:gd name="connsiteY598" fmla="*/ 3622540 h 4525940"/>
              <a:gd name="connsiteX599" fmla="*/ 2733789 w 4545947"/>
              <a:gd name="connsiteY599" fmla="*/ 3615257 h 4525940"/>
              <a:gd name="connsiteX600" fmla="*/ 2734887 w 4545947"/>
              <a:gd name="connsiteY600" fmla="*/ 3595303 h 4525940"/>
              <a:gd name="connsiteX601" fmla="*/ 2757753 w 4545947"/>
              <a:gd name="connsiteY601" fmla="*/ 3540827 h 4525940"/>
              <a:gd name="connsiteX602" fmla="*/ 2765727 w 4545947"/>
              <a:gd name="connsiteY602" fmla="*/ 3506671 h 4525940"/>
              <a:gd name="connsiteX603" fmla="*/ 740522 w 4545947"/>
              <a:gd name="connsiteY603" fmla="*/ 3475017 h 4525940"/>
              <a:gd name="connsiteX604" fmla="*/ 747081 w 4545947"/>
              <a:gd name="connsiteY604" fmla="*/ 3484514 h 4525940"/>
              <a:gd name="connsiteX605" fmla="*/ 740522 w 4545947"/>
              <a:gd name="connsiteY605" fmla="*/ 3494010 h 4525940"/>
              <a:gd name="connsiteX606" fmla="*/ 733962 w 4545947"/>
              <a:gd name="connsiteY606" fmla="*/ 3484514 h 4525940"/>
              <a:gd name="connsiteX607" fmla="*/ 740522 w 4545947"/>
              <a:gd name="connsiteY607" fmla="*/ 3475017 h 4525940"/>
              <a:gd name="connsiteX608" fmla="*/ 2881943 w 4545947"/>
              <a:gd name="connsiteY608" fmla="*/ 3462355 h 4525940"/>
              <a:gd name="connsiteX609" fmla="*/ 2878636 w 4545947"/>
              <a:gd name="connsiteY609" fmla="*/ 3495324 h 4525940"/>
              <a:gd name="connsiteX610" fmla="*/ 2869346 w 4545947"/>
              <a:gd name="connsiteY610" fmla="*/ 3523011 h 4525940"/>
              <a:gd name="connsiteX611" fmla="*/ 2885957 w 4545947"/>
              <a:gd name="connsiteY611" fmla="*/ 3557318 h 4525940"/>
              <a:gd name="connsiteX612" fmla="*/ 2892001 w 4545947"/>
              <a:gd name="connsiteY612" fmla="*/ 3550987 h 4525940"/>
              <a:gd name="connsiteX613" fmla="*/ 2898525 w 4545947"/>
              <a:gd name="connsiteY613" fmla="*/ 3544657 h 4525940"/>
              <a:gd name="connsiteX614" fmla="*/ 2906022 w 4545947"/>
              <a:gd name="connsiteY614" fmla="*/ 3571563 h 4525940"/>
              <a:gd name="connsiteX615" fmla="*/ 2895961 w 4545947"/>
              <a:gd name="connsiteY615" fmla="*/ 3600666 h 4525940"/>
              <a:gd name="connsiteX616" fmla="*/ 2883473 w 4545947"/>
              <a:gd name="connsiteY616" fmla="*/ 3608579 h 4525940"/>
              <a:gd name="connsiteX617" fmla="*/ 2866193 w 4545947"/>
              <a:gd name="connsiteY617" fmla="*/ 3600603 h 4525940"/>
              <a:gd name="connsiteX618" fmla="*/ 2861950 w 4545947"/>
              <a:gd name="connsiteY618" fmla="*/ 3581332 h 4525940"/>
              <a:gd name="connsiteX619" fmla="*/ 2859095 w 4545947"/>
              <a:gd name="connsiteY619" fmla="*/ 3566625 h 4525940"/>
              <a:gd name="connsiteX620" fmla="*/ 2855607 w 4545947"/>
              <a:gd name="connsiteY620" fmla="*/ 3535822 h 4525940"/>
              <a:gd name="connsiteX621" fmla="*/ 2845247 w 4545947"/>
              <a:gd name="connsiteY621" fmla="*/ 3503796 h 4525940"/>
              <a:gd name="connsiteX622" fmla="*/ 2838518 w 4545947"/>
              <a:gd name="connsiteY622" fmla="*/ 3479481 h 4525940"/>
              <a:gd name="connsiteX623" fmla="*/ 2844567 w 4545947"/>
              <a:gd name="connsiteY623" fmla="*/ 3463500 h 4525940"/>
              <a:gd name="connsiteX624" fmla="*/ 2854296 w 4545947"/>
              <a:gd name="connsiteY624" fmla="*/ 3469672 h 4525940"/>
              <a:gd name="connsiteX625" fmla="*/ 2868715 w 4545947"/>
              <a:gd name="connsiteY625" fmla="*/ 3470111 h 4525940"/>
              <a:gd name="connsiteX626" fmla="*/ 2881943 w 4545947"/>
              <a:gd name="connsiteY626" fmla="*/ 3462355 h 4525940"/>
              <a:gd name="connsiteX627" fmla="*/ 3212720 w 4545947"/>
              <a:gd name="connsiteY627" fmla="*/ 3424461 h 4525940"/>
              <a:gd name="connsiteX628" fmla="*/ 3204212 w 4545947"/>
              <a:gd name="connsiteY628" fmla="*/ 3429702 h 4525940"/>
              <a:gd name="connsiteX629" fmla="*/ 3191529 w 4545947"/>
              <a:gd name="connsiteY629" fmla="*/ 3430662 h 4525940"/>
              <a:gd name="connsiteX630" fmla="*/ 3172515 w 4545947"/>
              <a:gd name="connsiteY630" fmla="*/ 3443537 h 4525940"/>
              <a:gd name="connsiteX631" fmla="*/ 3184563 w 4545947"/>
              <a:gd name="connsiteY631" fmla="*/ 3508254 h 4525940"/>
              <a:gd name="connsiteX632" fmla="*/ 3208164 w 4545947"/>
              <a:gd name="connsiteY632" fmla="*/ 3511736 h 4525940"/>
              <a:gd name="connsiteX633" fmla="*/ 3209038 w 4545947"/>
              <a:gd name="connsiteY633" fmla="*/ 3481348 h 4525940"/>
              <a:gd name="connsiteX634" fmla="*/ 3213411 w 4545947"/>
              <a:gd name="connsiteY634" fmla="*/ 3460521 h 4525940"/>
              <a:gd name="connsiteX635" fmla="*/ 3217851 w 4545947"/>
              <a:gd name="connsiteY635" fmla="*/ 3430701 h 4525940"/>
              <a:gd name="connsiteX636" fmla="*/ 3212720 w 4545947"/>
              <a:gd name="connsiteY636" fmla="*/ 3424461 h 4525940"/>
              <a:gd name="connsiteX637" fmla="*/ 4431270 w 4545947"/>
              <a:gd name="connsiteY637" fmla="*/ 3405378 h 4525940"/>
              <a:gd name="connsiteX638" fmla="*/ 4442203 w 4545947"/>
              <a:gd name="connsiteY638" fmla="*/ 3417522 h 4525940"/>
              <a:gd name="connsiteX639" fmla="*/ 4444857 w 4545947"/>
              <a:gd name="connsiteY639" fmla="*/ 3439680 h 4525940"/>
              <a:gd name="connsiteX640" fmla="*/ 4430057 w 4545947"/>
              <a:gd name="connsiteY640" fmla="*/ 3439839 h 4525940"/>
              <a:gd name="connsiteX641" fmla="*/ 4431270 w 4545947"/>
              <a:gd name="connsiteY641" fmla="*/ 3405378 h 4525940"/>
              <a:gd name="connsiteX642" fmla="*/ 549890 w 4545947"/>
              <a:gd name="connsiteY642" fmla="*/ 3399047 h 4525940"/>
              <a:gd name="connsiteX643" fmla="*/ 548842 w 4545947"/>
              <a:gd name="connsiteY643" fmla="*/ 3426481 h 4525940"/>
              <a:gd name="connsiteX644" fmla="*/ 558681 w 4545947"/>
              <a:gd name="connsiteY644" fmla="*/ 3429967 h 4525940"/>
              <a:gd name="connsiteX645" fmla="*/ 557546 w 4545947"/>
              <a:gd name="connsiteY645" fmla="*/ 3426224 h 4525940"/>
              <a:gd name="connsiteX646" fmla="*/ 551671 w 4545947"/>
              <a:gd name="connsiteY646" fmla="*/ 3411132 h 4525940"/>
              <a:gd name="connsiteX647" fmla="*/ 549890 w 4545947"/>
              <a:gd name="connsiteY647" fmla="*/ 3399047 h 4525940"/>
              <a:gd name="connsiteX648" fmla="*/ 4493782 w 4545947"/>
              <a:gd name="connsiteY648" fmla="*/ 3361062 h 4525940"/>
              <a:gd name="connsiteX649" fmla="*/ 4515201 w 4545947"/>
              <a:gd name="connsiteY649" fmla="*/ 3429955 h 4525940"/>
              <a:gd name="connsiteX650" fmla="*/ 4510617 w 4545947"/>
              <a:gd name="connsiteY650" fmla="*/ 3475017 h 4525940"/>
              <a:gd name="connsiteX651" fmla="*/ 4503423 w 4545947"/>
              <a:gd name="connsiteY651" fmla="*/ 3459717 h 4525940"/>
              <a:gd name="connsiteX652" fmla="*/ 4499676 w 4545947"/>
              <a:gd name="connsiteY652" fmla="*/ 3442307 h 4525940"/>
              <a:gd name="connsiteX653" fmla="*/ 4493782 w 4545947"/>
              <a:gd name="connsiteY653" fmla="*/ 3361062 h 4525940"/>
              <a:gd name="connsiteX654" fmla="*/ 2909492 w 4545947"/>
              <a:gd name="connsiteY654" fmla="*/ 3361062 h 4525940"/>
              <a:gd name="connsiteX655" fmla="*/ 2916052 w 4545947"/>
              <a:gd name="connsiteY655" fmla="*/ 3376889 h 4525940"/>
              <a:gd name="connsiteX656" fmla="*/ 2914958 w 4545947"/>
              <a:gd name="connsiteY656" fmla="*/ 3392216 h 4525940"/>
              <a:gd name="connsiteX657" fmla="*/ 2908399 w 4545947"/>
              <a:gd name="connsiteY657" fmla="*/ 3388523 h 4525940"/>
              <a:gd name="connsiteX658" fmla="*/ 2909492 w 4545947"/>
              <a:gd name="connsiteY658" fmla="*/ 3361062 h 4525940"/>
              <a:gd name="connsiteX659" fmla="*/ 4276032 w 4545947"/>
              <a:gd name="connsiteY659" fmla="*/ 3354731 h 4525940"/>
              <a:gd name="connsiteX660" fmla="*/ 4265567 w 4545947"/>
              <a:gd name="connsiteY660" fmla="*/ 3364745 h 4525940"/>
              <a:gd name="connsiteX661" fmla="*/ 4267117 w 4545947"/>
              <a:gd name="connsiteY661" fmla="*/ 3405378 h 4525940"/>
              <a:gd name="connsiteX662" fmla="*/ 4276032 w 4545947"/>
              <a:gd name="connsiteY662" fmla="*/ 3430701 h 4525940"/>
              <a:gd name="connsiteX663" fmla="*/ 4302037 w 4545947"/>
              <a:gd name="connsiteY663" fmla="*/ 3446933 h 4525940"/>
              <a:gd name="connsiteX664" fmla="*/ 4293369 w 4545947"/>
              <a:gd name="connsiteY664" fmla="*/ 3411709 h 4525940"/>
              <a:gd name="connsiteX665" fmla="*/ 4289150 w 4545947"/>
              <a:gd name="connsiteY665" fmla="*/ 3393234 h 4525940"/>
              <a:gd name="connsiteX666" fmla="*/ 4276032 w 4545947"/>
              <a:gd name="connsiteY666" fmla="*/ 3354731 h 4525940"/>
              <a:gd name="connsiteX667" fmla="*/ 2669069 w 4545947"/>
              <a:gd name="connsiteY667" fmla="*/ 3336073 h 4525940"/>
              <a:gd name="connsiteX668" fmla="*/ 2661312 w 4545947"/>
              <a:gd name="connsiteY668" fmla="*/ 3343652 h 4525940"/>
              <a:gd name="connsiteX669" fmla="*/ 2652411 w 4545947"/>
              <a:gd name="connsiteY669" fmla="*/ 3343129 h 4525940"/>
              <a:gd name="connsiteX670" fmla="*/ 2636395 w 4545947"/>
              <a:gd name="connsiteY670" fmla="*/ 3338808 h 4525940"/>
              <a:gd name="connsiteX671" fmla="*/ 2627439 w 4545947"/>
              <a:gd name="connsiteY671" fmla="*/ 3373095 h 4525940"/>
              <a:gd name="connsiteX672" fmla="*/ 2630354 w 4545947"/>
              <a:gd name="connsiteY672" fmla="*/ 3407488 h 4525940"/>
              <a:gd name="connsiteX673" fmla="*/ 2652210 w 4545947"/>
              <a:gd name="connsiteY673" fmla="*/ 3403795 h 4525940"/>
              <a:gd name="connsiteX674" fmla="*/ 2655748 w 4545947"/>
              <a:gd name="connsiteY674" fmla="*/ 3386385 h 4525940"/>
              <a:gd name="connsiteX675" fmla="*/ 2665384 w 4545947"/>
              <a:gd name="connsiteY675" fmla="*/ 3374926 h 4525940"/>
              <a:gd name="connsiteX676" fmla="*/ 2679914 w 4545947"/>
              <a:gd name="connsiteY676" fmla="*/ 3345235 h 4525940"/>
              <a:gd name="connsiteX677" fmla="*/ 2669069 w 4545947"/>
              <a:gd name="connsiteY677" fmla="*/ 3336073 h 4525940"/>
              <a:gd name="connsiteX678" fmla="*/ 587549 w 4545947"/>
              <a:gd name="connsiteY678" fmla="*/ 3300251 h 4525940"/>
              <a:gd name="connsiteX679" fmla="*/ 574278 w 4545947"/>
              <a:gd name="connsiteY679" fmla="*/ 3300379 h 4525940"/>
              <a:gd name="connsiteX680" fmla="*/ 564236 w 4545947"/>
              <a:gd name="connsiteY680" fmla="*/ 3321715 h 4525940"/>
              <a:gd name="connsiteX681" fmla="*/ 575444 w 4545947"/>
              <a:gd name="connsiteY681" fmla="*/ 3340927 h 4525940"/>
              <a:gd name="connsiteX682" fmla="*/ 585283 w 4545947"/>
              <a:gd name="connsiteY682" fmla="*/ 3354654 h 4525940"/>
              <a:gd name="connsiteX683" fmla="*/ 606273 w 4545947"/>
              <a:gd name="connsiteY683" fmla="*/ 3378788 h 4525940"/>
              <a:gd name="connsiteX684" fmla="*/ 601264 w 4545947"/>
              <a:gd name="connsiteY684" fmla="*/ 3348772 h 4525940"/>
              <a:gd name="connsiteX685" fmla="*/ 590611 w 4545947"/>
              <a:gd name="connsiteY685" fmla="*/ 3322956 h 4525940"/>
              <a:gd name="connsiteX686" fmla="*/ 587549 w 4545947"/>
              <a:gd name="connsiteY686" fmla="*/ 3300251 h 4525940"/>
              <a:gd name="connsiteX687" fmla="*/ 4154664 w 4545947"/>
              <a:gd name="connsiteY687" fmla="*/ 3279903 h 4525940"/>
              <a:gd name="connsiteX688" fmla="*/ 4148160 w 4545947"/>
              <a:gd name="connsiteY688" fmla="*/ 3310449 h 4525940"/>
              <a:gd name="connsiteX689" fmla="*/ 4154873 w 4545947"/>
              <a:gd name="connsiteY689" fmla="*/ 3347448 h 4525940"/>
              <a:gd name="connsiteX690" fmla="*/ 4157387 w 4545947"/>
              <a:gd name="connsiteY690" fmla="*/ 3373723 h 4525940"/>
              <a:gd name="connsiteX691" fmla="*/ 4162336 w 4545947"/>
              <a:gd name="connsiteY691" fmla="*/ 3393890 h 4525940"/>
              <a:gd name="connsiteX692" fmla="*/ 4171844 w 4545947"/>
              <a:gd name="connsiteY692" fmla="*/ 3428710 h 4525940"/>
              <a:gd name="connsiteX693" fmla="*/ 4190840 w 4545947"/>
              <a:gd name="connsiteY693" fmla="*/ 3430334 h 4525940"/>
              <a:gd name="connsiteX694" fmla="*/ 4184264 w 4545947"/>
              <a:gd name="connsiteY694" fmla="*/ 3354731 h 4525940"/>
              <a:gd name="connsiteX695" fmla="*/ 4178032 w 4545947"/>
              <a:gd name="connsiteY695" fmla="*/ 3338904 h 4525940"/>
              <a:gd name="connsiteX696" fmla="*/ 4168795 w 4545947"/>
              <a:gd name="connsiteY696" fmla="*/ 3323077 h 4525940"/>
              <a:gd name="connsiteX697" fmla="*/ 4163412 w 4545947"/>
              <a:gd name="connsiteY697" fmla="*/ 3302505 h 4525940"/>
              <a:gd name="connsiteX698" fmla="*/ 4154664 w 4545947"/>
              <a:gd name="connsiteY698" fmla="*/ 3279903 h 4525940"/>
              <a:gd name="connsiteX699" fmla="*/ 3384462 w 4545947"/>
              <a:gd name="connsiteY699" fmla="*/ 3266400 h 4525940"/>
              <a:gd name="connsiteX700" fmla="*/ 3379525 w 4545947"/>
              <a:gd name="connsiteY700" fmla="*/ 3272430 h 4525940"/>
              <a:gd name="connsiteX701" fmla="*/ 3379925 w 4545947"/>
              <a:gd name="connsiteY701" fmla="*/ 3355951 h 4525940"/>
              <a:gd name="connsiteX702" fmla="*/ 3385390 w 4545947"/>
              <a:gd name="connsiteY702" fmla="*/ 3380219 h 4525940"/>
              <a:gd name="connsiteX703" fmla="*/ 3373548 w 4545947"/>
              <a:gd name="connsiteY703" fmla="*/ 3404295 h 4525940"/>
              <a:gd name="connsiteX704" fmla="*/ 3363543 w 4545947"/>
              <a:gd name="connsiteY704" fmla="*/ 3438014 h 4525940"/>
              <a:gd name="connsiteX705" fmla="*/ 3377229 w 4545947"/>
              <a:gd name="connsiteY705" fmla="*/ 3482289 h 4525940"/>
              <a:gd name="connsiteX706" fmla="*/ 3388329 w 4545947"/>
              <a:gd name="connsiteY706" fmla="*/ 3506757 h 4525940"/>
              <a:gd name="connsiteX707" fmla="*/ 3392701 w 4545947"/>
              <a:gd name="connsiteY707" fmla="*/ 3522499 h 4525940"/>
              <a:gd name="connsiteX708" fmla="*/ 3397074 w 4545947"/>
              <a:gd name="connsiteY708" fmla="*/ 3538273 h 4525940"/>
              <a:gd name="connsiteX709" fmla="*/ 3405820 w 4545947"/>
              <a:gd name="connsiteY709" fmla="*/ 3554153 h 4525940"/>
              <a:gd name="connsiteX710" fmla="*/ 3414566 w 4545947"/>
              <a:gd name="connsiteY710" fmla="*/ 3570407 h 4525940"/>
              <a:gd name="connsiteX711" fmla="*/ 3418939 w 4545947"/>
              <a:gd name="connsiteY711" fmla="*/ 3582642 h 4525940"/>
              <a:gd name="connsiteX712" fmla="*/ 3423312 w 4545947"/>
              <a:gd name="connsiteY712" fmla="*/ 3597414 h 4525940"/>
              <a:gd name="connsiteX713" fmla="*/ 3426227 w 4545947"/>
              <a:gd name="connsiteY713" fmla="*/ 3616406 h 4525940"/>
              <a:gd name="connsiteX714" fmla="*/ 3446895 w 4545947"/>
              <a:gd name="connsiteY714" fmla="*/ 3610613 h 4525940"/>
              <a:gd name="connsiteX715" fmla="*/ 3445741 w 4545947"/>
              <a:gd name="connsiteY715" fmla="*/ 3569980 h 4525940"/>
              <a:gd name="connsiteX716" fmla="*/ 3438964 w 4545947"/>
              <a:gd name="connsiteY716" fmla="*/ 3531995 h 4525940"/>
              <a:gd name="connsiteX717" fmla="*/ 3432296 w 4545947"/>
              <a:gd name="connsiteY717" fmla="*/ 3494010 h 4525940"/>
              <a:gd name="connsiteX718" fmla="*/ 3425497 w 4545947"/>
              <a:gd name="connsiteY718" fmla="*/ 3443363 h 4525940"/>
              <a:gd name="connsiteX719" fmla="*/ 3418484 w 4545947"/>
              <a:gd name="connsiteY719" fmla="*/ 3392716 h 4525940"/>
              <a:gd name="connsiteX720" fmla="*/ 3414566 w 4545947"/>
              <a:gd name="connsiteY720" fmla="*/ 3374498 h 4525940"/>
              <a:gd name="connsiteX721" fmla="*/ 3408222 w 4545947"/>
              <a:gd name="connsiteY721" fmla="*/ 3348660 h 4525940"/>
              <a:gd name="connsiteX722" fmla="*/ 3400570 w 4545947"/>
              <a:gd name="connsiteY722" fmla="*/ 3308969 h 4525940"/>
              <a:gd name="connsiteX723" fmla="*/ 3391484 w 4545947"/>
              <a:gd name="connsiteY723" fmla="*/ 3269917 h 4525940"/>
              <a:gd name="connsiteX724" fmla="*/ 3384462 w 4545947"/>
              <a:gd name="connsiteY724" fmla="*/ 3266400 h 4525940"/>
              <a:gd name="connsiteX725" fmla="*/ 3348864 w 4545947"/>
              <a:gd name="connsiteY725" fmla="*/ 3248793 h 4525940"/>
              <a:gd name="connsiteX726" fmla="*/ 3339131 w 4545947"/>
              <a:gd name="connsiteY726" fmla="*/ 3252124 h 4525940"/>
              <a:gd name="connsiteX727" fmla="*/ 3346508 w 4545947"/>
              <a:gd name="connsiteY727" fmla="*/ 3297753 h 4525940"/>
              <a:gd name="connsiteX728" fmla="*/ 3356934 w 4545947"/>
              <a:gd name="connsiteY728" fmla="*/ 3289624 h 4525940"/>
              <a:gd name="connsiteX729" fmla="*/ 3348864 w 4545947"/>
              <a:gd name="connsiteY729" fmla="*/ 3248793 h 4525940"/>
              <a:gd name="connsiteX730" fmla="*/ 313287 w 4545947"/>
              <a:gd name="connsiteY730" fmla="*/ 3234445 h 4525940"/>
              <a:gd name="connsiteX731" fmla="*/ 305415 w 4545947"/>
              <a:gd name="connsiteY731" fmla="*/ 3256085 h 4525940"/>
              <a:gd name="connsiteX732" fmla="*/ 318534 w 4545947"/>
              <a:gd name="connsiteY732" fmla="*/ 3297753 h 4525940"/>
              <a:gd name="connsiteX733" fmla="*/ 328998 w 4545947"/>
              <a:gd name="connsiteY733" fmla="*/ 3287739 h 4525940"/>
              <a:gd name="connsiteX734" fmla="*/ 313287 w 4545947"/>
              <a:gd name="connsiteY734" fmla="*/ 3234445 h 4525940"/>
              <a:gd name="connsiteX735" fmla="*/ 4380392 w 4545947"/>
              <a:gd name="connsiteY735" fmla="*/ 3159521 h 4525940"/>
              <a:gd name="connsiteX736" fmla="*/ 4371629 w 4545947"/>
              <a:gd name="connsiteY736" fmla="*/ 3212287 h 4525940"/>
              <a:gd name="connsiteX737" fmla="*/ 4377095 w 4545947"/>
              <a:gd name="connsiteY737" fmla="*/ 3265043 h 4525940"/>
              <a:gd name="connsiteX738" fmla="*/ 4380982 w 4545947"/>
              <a:gd name="connsiteY738" fmla="*/ 3275924 h 4525940"/>
              <a:gd name="connsiteX739" fmla="*/ 4396210 w 4545947"/>
              <a:gd name="connsiteY739" fmla="*/ 3266447 h 4525940"/>
              <a:gd name="connsiteX740" fmla="*/ 4395554 w 4545947"/>
              <a:gd name="connsiteY740" fmla="*/ 3164378 h 4525940"/>
              <a:gd name="connsiteX741" fmla="*/ 4380392 w 4545947"/>
              <a:gd name="connsiteY741" fmla="*/ 3159521 h 4525940"/>
              <a:gd name="connsiteX742" fmla="*/ 608431 w 4545947"/>
              <a:gd name="connsiteY742" fmla="*/ 3076110 h 4525940"/>
              <a:gd name="connsiteX743" fmla="*/ 602272 w 4545947"/>
              <a:gd name="connsiteY743" fmla="*/ 3083464 h 4525940"/>
              <a:gd name="connsiteX744" fmla="*/ 603005 w 4545947"/>
              <a:gd name="connsiteY744" fmla="*/ 3130192 h 4525940"/>
              <a:gd name="connsiteX745" fmla="*/ 605816 w 4545947"/>
              <a:gd name="connsiteY745" fmla="*/ 3141644 h 4525940"/>
              <a:gd name="connsiteX746" fmla="*/ 621984 w 4545947"/>
              <a:gd name="connsiteY746" fmla="*/ 3177467 h 4525940"/>
              <a:gd name="connsiteX747" fmla="*/ 639944 w 4545947"/>
              <a:gd name="connsiteY747" fmla="*/ 3205956 h 4525940"/>
              <a:gd name="connsiteX748" fmla="*/ 626855 w 4545947"/>
              <a:gd name="connsiteY748" fmla="*/ 3208107 h 4525940"/>
              <a:gd name="connsiteX749" fmla="*/ 601711 w 4545947"/>
              <a:gd name="connsiteY749" fmla="*/ 3189354 h 4525940"/>
              <a:gd name="connsiteX750" fmla="*/ 589378 w 4545947"/>
              <a:gd name="connsiteY750" fmla="*/ 3174540 h 4525940"/>
              <a:gd name="connsiteX751" fmla="*/ 585043 w 4545947"/>
              <a:gd name="connsiteY751" fmla="*/ 3165981 h 4525940"/>
              <a:gd name="connsiteX752" fmla="*/ 577206 w 4545947"/>
              <a:gd name="connsiteY752" fmla="*/ 3154710 h 4525940"/>
              <a:gd name="connsiteX753" fmla="*/ 575492 w 4545947"/>
              <a:gd name="connsiteY753" fmla="*/ 3142456 h 4525940"/>
              <a:gd name="connsiteX754" fmla="*/ 581420 w 4545947"/>
              <a:gd name="connsiteY754" fmla="*/ 3126820 h 4525940"/>
              <a:gd name="connsiteX755" fmla="*/ 574489 w 4545947"/>
              <a:gd name="connsiteY755" fmla="*/ 3102739 h 4525940"/>
              <a:gd name="connsiteX756" fmla="*/ 556997 w 4545947"/>
              <a:gd name="connsiteY756" fmla="*/ 3109463 h 4525940"/>
              <a:gd name="connsiteX757" fmla="*/ 556129 w 4545947"/>
              <a:gd name="connsiteY757" fmla="*/ 3135846 h 4525940"/>
              <a:gd name="connsiteX758" fmla="*/ 560000 w 4545947"/>
              <a:gd name="connsiteY758" fmla="*/ 3151929 h 4525940"/>
              <a:gd name="connsiteX759" fmla="*/ 563838 w 4545947"/>
              <a:gd name="connsiteY759" fmla="*/ 3181366 h 4525940"/>
              <a:gd name="connsiteX760" fmla="*/ 574180 w 4545947"/>
              <a:gd name="connsiteY760" fmla="*/ 3202392 h 4525940"/>
              <a:gd name="connsiteX761" fmla="*/ 600152 w 4545947"/>
              <a:gd name="connsiteY761" fmla="*/ 3246045 h 4525940"/>
              <a:gd name="connsiteX762" fmla="*/ 601046 w 4545947"/>
              <a:gd name="connsiteY762" fmla="*/ 3251855 h 4525940"/>
              <a:gd name="connsiteX763" fmla="*/ 603100 w 4545947"/>
              <a:gd name="connsiteY763" fmla="*/ 3266099 h 4525940"/>
              <a:gd name="connsiteX764" fmla="*/ 609854 w 4545947"/>
              <a:gd name="connsiteY764" fmla="*/ 3283509 h 4525940"/>
              <a:gd name="connsiteX765" fmla="*/ 617032 w 4545947"/>
              <a:gd name="connsiteY765" fmla="*/ 3308832 h 4525940"/>
              <a:gd name="connsiteX766" fmla="*/ 617946 w 4545947"/>
              <a:gd name="connsiteY766" fmla="*/ 3316746 h 4525940"/>
              <a:gd name="connsiteX767" fmla="*/ 623970 w 4545947"/>
              <a:gd name="connsiteY767" fmla="*/ 3328567 h 4525940"/>
              <a:gd name="connsiteX768" fmla="*/ 633385 w 4545947"/>
              <a:gd name="connsiteY768" fmla="*/ 3352836 h 4525940"/>
              <a:gd name="connsiteX769" fmla="*/ 658577 w 4545947"/>
              <a:gd name="connsiteY769" fmla="*/ 3369716 h 4525940"/>
              <a:gd name="connsiteX770" fmla="*/ 671077 w 4545947"/>
              <a:gd name="connsiteY770" fmla="*/ 3350809 h 4525940"/>
              <a:gd name="connsiteX771" fmla="*/ 690819 w 4545947"/>
              <a:gd name="connsiteY771" fmla="*/ 3346003 h 4525940"/>
              <a:gd name="connsiteX772" fmla="*/ 704860 w 4545947"/>
              <a:gd name="connsiteY772" fmla="*/ 3315662 h 4525940"/>
              <a:gd name="connsiteX773" fmla="*/ 683069 w 4545947"/>
              <a:gd name="connsiteY773" fmla="*/ 3313581 h 4525940"/>
              <a:gd name="connsiteX774" fmla="*/ 648396 w 4545947"/>
              <a:gd name="connsiteY774" fmla="*/ 3281551 h 4525940"/>
              <a:gd name="connsiteX775" fmla="*/ 638964 w 4545947"/>
              <a:gd name="connsiteY775" fmla="*/ 3252310 h 4525940"/>
              <a:gd name="connsiteX776" fmla="*/ 636844 w 4545947"/>
              <a:gd name="connsiteY776" fmla="*/ 3230703 h 4525940"/>
              <a:gd name="connsiteX777" fmla="*/ 644091 w 4545947"/>
              <a:gd name="connsiteY777" fmla="*/ 3233414 h 4525940"/>
              <a:gd name="connsiteX778" fmla="*/ 653357 w 4545947"/>
              <a:gd name="connsiteY778" fmla="*/ 3247106 h 4525940"/>
              <a:gd name="connsiteX779" fmla="*/ 659622 w 4545947"/>
              <a:gd name="connsiteY779" fmla="*/ 3255622 h 4525940"/>
              <a:gd name="connsiteX780" fmla="*/ 668613 w 4545947"/>
              <a:gd name="connsiteY780" fmla="*/ 3275916 h 4525940"/>
              <a:gd name="connsiteX781" fmla="*/ 686690 w 4545947"/>
              <a:gd name="connsiteY781" fmla="*/ 3279479 h 4525940"/>
              <a:gd name="connsiteX782" fmla="*/ 698996 w 4545947"/>
              <a:gd name="connsiteY782" fmla="*/ 3278800 h 4525940"/>
              <a:gd name="connsiteX783" fmla="*/ 718657 w 4545947"/>
              <a:gd name="connsiteY783" fmla="*/ 3266012 h 4525940"/>
              <a:gd name="connsiteX784" fmla="*/ 702258 w 4545947"/>
              <a:gd name="connsiteY784" fmla="*/ 3248307 h 4525940"/>
              <a:gd name="connsiteX785" fmla="*/ 685860 w 4545947"/>
              <a:gd name="connsiteY785" fmla="*/ 3218686 h 4525940"/>
              <a:gd name="connsiteX786" fmla="*/ 671132 w 4545947"/>
              <a:gd name="connsiteY786" fmla="*/ 3168421 h 4525940"/>
              <a:gd name="connsiteX787" fmla="*/ 649936 w 4545947"/>
              <a:gd name="connsiteY787" fmla="*/ 3145813 h 4525940"/>
              <a:gd name="connsiteX788" fmla="*/ 623889 w 4545947"/>
              <a:gd name="connsiteY788" fmla="*/ 3101236 h 4525940"/>
              <a:gd name="connsiteX789" fmla="*/ 608431 w 4545947"/>
              <a:gd name="connsiteY789" fmla="*/ 3076110 h 4525940"/>
              <a:gd name="connsiteX790" fmla="*/ 299116 w 4545947"/>
              <a:gd name="connsiteY790" fmla="*/ 2844933 h 4525940"/>
              <a:gd name="connsiteX791" fmla="*/ 305415 w 4545947"/>
              <a:gd name="connsiteY791" fmla="*/ 2859317 h 4525940"/>
              <a:gd name="connsiteX792" fmla="*/ 312354 w 4545947"/>
              <a:gd name="connsiteY792" fmla="*/ 2885111 h 4525940"/>
              <a:gd name="connsiteX793" fmla="*/ 314006 w 4545947"/>
              <a:gd name="connsiteY793" fmla="*/ 2908678 h 4525940"/>
              <a:gd name="connsiteX794" fmla="*/ 303161 w 4545947"/>
              <a:gd name="connsiteY794" fmla="*/ 2917902 h 4525940"/>
              <a:gd name="connsiteX795" fmla="*/ 295229 w 4545947"/>
              <a:gd name="connsiteY795" fmla="*/ 2926867 h 4525940"/>
              <a:gd name="connsiteX796" fmla="*/ 301032 w 4545947"/>
              <a:gd name="connsiteY796" fmla="*/ 3016030 h 4525940"/>
              <a:gd name="connsiteX797" fmla="*/ 307082 w 4545947"/>
              <a:gd name="connsiteY797" fmla="*/ 3039770 h 4525940"/>
              <a:gd name="connsiteX798" fmla="*/ 314244 w 4545947"/>
              <a:gd name="connsiteY798" fmla="*/ 3057181 h 4525940"/>
              <a:gd name="connsiteX799" fmla="*/ 311975 w 4545947"/>
              <a:gd name="connsiteY799" fmla="*/ 3120489 h 4525940"/>
              <a:gd name="connsiteX800" fmla="*/ 314431 w 4545947"/>
              <a:gd name="connsiteY800" fmla="*/ 3160411 h 4525940"/>
              <a:gd name="connsiteX801" fmla="*/ 322659 w 4545947"/>
              <a:gd name="connsiteY801" fmla="*/ 3172228 h 4525940"/>
              <a:gd name="connsiteX802" fmla="*/ 333101 w 4545947"/>
              <a:gd name="connsiteY802" fmla="*/ 3196459 h 4525940"/>
              <a:gd name="connsiteX803" fmla="*/ 351673 w 4545947"/>
              <a:gd name="connsiteY803" fmla="*/ 3244221 h 4525940"/>
              <a:gd name="connsiteX804" fmla="*/ 357674 w 4545947"/>
              <a:gd name="connsiteY804" fmla="*/ 3270391 h 4525940"/>
              <a:gd name="connsiteX805" fmla="*/ 360077 w 4545947"/>
              <a:gd name="connsiteY805" fmla="*/ 3300043 h 4525940"/>
              <a:gd name="connsiteX806" fmla="*/ 362263 w 4545947"/>
              <a:gd name="connsiteY806" fmla="*/ 3345235 h 4525940"/>
              <a:gd name="connsiteX807" fmla="*/ 371009 w 4545947"/>
              <a:gd name="connsiteY807" fmla="*/ 3371539 h 4525940"/>
              <a:gd name="connsiteX808" fmla="*/ 359940 w 4545947"/>
              <a:gd name="connsiteY808" fmla="*/ 3386385 h 4525940"/>
              <a:gd name="connsiteX809" fmla="*/ 348358 w 4545947"/>
              <a:gd name="connsiteY809" fmla="*/ 3410274 h 4525940"/>
              <a:gd name="connsiteX810" fmla="*/ 353518 w 4545947"/>
              <a:gd name="connsiteY810" fmla="*/ 3431779 h 4525940"/>
              <a:gd name="connsiteX811" fmla="*/ 366316 w 4545947"/>
              <a:gd name="connsiteY811" fmla="*/ 3457788 h 4525940"/>
              <a:gd name="connsiteX812" fmla="*/ 388501 w 4545947"/>
              <a:gd name="connsiteY812" fmla="*/ 3503581 h 4525940"/>
              <a:gd name="connsiteX813" fmla="*/ 397247 w 4545947"/>
              <a:gd name="connsiteY813" fmla="*/ 3519333 h 4525940"/>
              <a:gd name="connsiteX814" fmla="*/ 405993 w 4545947"/>
              <a:gd name="connsiteY814" fmla="*/ 3538971 h 4525940"/>
              <a:gd name="connsiteX815" fmla="*/ 416925 w 4545947"/>
              <a:gd name="connsiteY815" fmla="*/ 3572583 h 4525940"/>
              <a:gd name="connsiteX816" fmla="*/ 400289 w 4545947"/>
              <a:gd name="connsiteY816" fmla="*/ 3581960 h 4525940"/>
              <a:gd name="connsiteX817" fmla="*/ 374258 w 4545947"/>
              <a:gd name="connsiteY817" fmla="*/ 3529946 h 4525940"/>
              <a:gd name="connsiteX818" fmla="*/ 357004 w 4545947"/>
              <a:gd name="connsiteY818" fmla="*/ 3495233 h 4525940"/>
              <a:gd name="connsiteX819" fmla="*/ 349145 w 4545947"/>
              <a:gd name="connsiteY819" fmla="*/ 3472244 h 4525940"/>
              <a:gd name="connsiteX820" fmla="*/ 333840 w 4545947"/>
              <a:gd name="connsiteY820" fmla="*/ 3440626 h 4525940"/>
              <a:gd name="connsiteX821" fmla="*/ 318534 w 4545947"/>
              <a:gd name="connsiteY821" fmla="*/ 3411084 h 4525940"/>
              <a:gd name="connsiteX822" fmla="*/ 307602 w 4545947"/>
              <a:gd name="connsiteY822" fmla="*/ 3383774 h 4525940"/>
              <a:gd name="connsiteX823" fmla="*/ 296670 w 4545947"/>
              <a:gd name="connsiteY823" fmla="*/ 3361833 h 4525940"/>
              <a:gd name="connsiteX824" fmla="*/ 291204 w 4545947"/>
              <a:gd name="connsiteY824" fmla="*/ 3341156 h 4525940"/>
              <a:gd name="connsiteX825" fmla="*/ 291204 w 4545947"/>
              <a:gd name="connsiteY825" fmla="*/ 3324887 h 4525940"/>
              <a:gd name="connsiteX826" fmla="*/ 292297 w 4545947"/>
              <a:gd name="connsiteY826" fmla="*/ 3288257 h 4525940"/>
              <a:gd name="connsiteX827" fmla="*/ 287924 w 4545947"/>
              <a:gd name="connsiteY827" fmla="*/ 3268298 h 4525940"/>
              <a:gd name="connsiteX828" fmla="*/ 279316 w 4545947"/>
              <a:gd name="connsiteY828" fmla="*/ 3248993 h 4525940"/>
              <a:gd name="connsiteX829" fmla="*/ 271663 w 4545947"/>
              <a:gd name="connsiteY829" fmla="*/ 3209582 h 4525940"/>
              <a:gd name="connsiteX830" fmla="*/ 255824 w 4545947"/>
              <a:gd name="connsiteY830" fmla="*/ 3151135 h 4525940"/>
              <a:gd name="connsiteX831" fmla="*/ 240519 w 4545947"/>
              <a:gd name="connsiteY831" fmla="*/ 3114065 h 4525940"/>
              <a:gd name="connsiteX832" fmla="*/ 275363 w 4545947"/>
              <a:gd name="connsiteY832" fmla="*/ 3076636 h 4525940"/>
              <a:gd name="connsiteX833" fmla="*/ 287016 w 4545947"/>
              <a:gd name="connsiteY833" fmla="*/ 3068260 h 4525940"/>
              <a:gd name="connsiteX834" fmla="*/ 271736 w 4545947"/>
              <a:gd name="connsiteY834" fmla="*/ 3019134 h 4525940"/>
              <a:gd name="connsiteX835" fmla="*/ 248567 w 4545947"/>
              <a:gd name="connsiteY835" fmla="*/ 2993872 h 4525940"/>
              <a:gd name="connsiteX836" fmla="*/ 219553 w 4545947"/>
              <a:gd name="connsiteY836" fmla="*/ 2968611 h 4525940"/>
              <a:gd name="connsiteX837" fmla="*/ 198550 w 4545947"/>
              <a:gd name="connsiteY837" fmla="*/ 2952433 h 4525940"/>
              <a:gd name="connsiteX838" fmla="*/ 209422 w 4545947"/>
              <a:gd name="connsiteY838" fmla="*/ 2911571 h 4525940"/>
              <a:gd name="connsiteX839" fmla="*/ 225158 w 4545947"/>
              <a:gd name="connsiteY839" fmla="*/ 2894161 h 4525940"/>
              <a:gd name="connsiteX840" fmla="*/ 245762 w 4545947"/>
              <a:gd name="connsiteY840" fmla="*/ 2861125 h 4525940"/>
              <a:gd name="connsiteX841" fmla="*/ 247013 w 4545947"/>
              <a:gd name="connsiteY841" fmla="*/ 2875360 h 4525940"/>
              <a:gd name="connsiteX842" fmla="*/ 275118 w 4545947"/>
              <a:gd name="connsiteY842" fmla="*/ 2914326 h 4525940"/>
              <a:gd name="connsiteX843" fmla="*/ 276532 w 4545947"/>
              <a:gd name="connsiteY843" fmla="*/ 2870294 h 4525940"/>
              <a:gd name="connsiteX844" fmla="*/ 281659 w 4545947"/>
              <a:gd name="connsiteY844" fmla="*/ 2848100 h 4525940"/>
              <a:gd name="connsiteX845" fmla="*/ 299116 w 4545947"/>
              <a:gd name="connsiteY845" fmla="*/ 2844933 h 4525940"/>
              <a:gd name="connsiteX846" fmla="*/ 4347140 w 4545947"/>
              <a:gd name="connsiteY846" fmla="*/ 2808314 h 4525940"/>
              <a:gd name="connsiteX847" fmla="*/ 4335975 w 4545947"/>
              <a:gd name="connsiteY847" fmla="*/ 2820272 h 4525940"/>
              <a:gd name="connsiteX848" fmla="*/ 4313472 w 4545947"/>
              <a:gd name="connsiteY848" fmla="*/ 2830622 h 4525940"/>
              <a:gd name="connsiteX849" fmla="*/ 4287024 w 4545947"/>
              <a:gd name="connsiteY849" fmla="*/ 2841656 h 4525940"/>
              <a:gd name="connsiteX850" fmla="*/ 4290942 w 4545947"/>
              <a:gd name="connsiteY850" fmla="*/ 2866625 h 4525940"/>
              <a:gd name="connsiteX851" fmla="*/ 4293523 w 4545947"/>
              <a:gd name="connsiteY851" fmla="*/ 2892578 h 4525940"/>
              <a:gd name="connsiteX852" fmla="*/ 4298383 w 4545947"/>
              <a:gd name="connsiteY852" fmla="*/ 2914961 h 4525940"/>
              <a:gd name="connsiteX853" fmla="*/ 4316481 w 4545947"/>
              <a:gd name="connsiteY853" fmla="*/ 2894457 h 4525940"/>
              <a:gd name="connsiteX854" fmla="*/ 4322232 w 4545947"/>
              <a:gd name="connsiteY854" fmla="*/ 2867098 h 4525940"/>
              <a:gd name="connsiteX855" fmla="*/ 4344228 w 4545947"/>
              <a:gd name="connsiteY855" fmla="*/ 2883547 h 4525940"/>
              <a:gd name="connsiteX856" fmla="*/ 4341331 w 4545947"/>
              <a:gd name="connsiteY856" fmla="*/ 2930563 h 4525940"/>
              <a:gd name="connsiteX857" fmla="*/ 4341235 w 4545947"/>
              <a:gd name="connsiteY857" fmla="*/ 2950611 h 4525940"/>
              <a:gd name="connsiteX858" fmla="*/ 4346422 w 4545947"/>
              <a:gd name="connsiteY858" fmla="*/ 2978045 h 4525940"/>
              <a:gd name="connsiteX859" fmla="*/ 4351599 w 4545947"/>
              <a:gd name="connsiteY859" fmla="*/ 3011069 h 4525940"/>
              <a:gd name="connsiteX860" fmla="*/ 4353681 w 4545947"/>
              <a:gd name="connsiteY860" fmla="*/ 3026896 h 4525940"/>
              <a:gd name="connsiteX861" fmla="*/ 4358733 w 4545947"/>
              <a:gd name="connsiteY861" fmla="*/ 3042735 h 4525940"/>
              <a:gd name="connsiteX862" fmla="*/ 4374735 w 4545947"/>
              <a:gd name="connsiteY862" fmla="*/ 3041806 h 4525940"/>
              <a:gd name="connsiteX863" fmla="*/ 4376609 w 4545947"/>
              <a:gd name="connsiteY863" fmla="*/ 3009699 h 4525940"/>
              <a:gd name="connsiteX864" fmla="*/ 4372236 w 4545947"/>
              <a:gd name="connsiteY864" fmla="*/ 2977671 h 4525940"/>
              <a:gd name="connsiteX865" fmla="*/ 4376609 w 4545947"/>
              <a:gd name="connsiteY865" fmla="*/ 2949556 h 4525940"/>
              <a:gd name="connsiteX866" fmla="*/ 4375625 w 4545947"/>
              <a:gd name="connsiteY866" fmla="*/ 2919010 h 4525940"/>
              <a:gd name="connsiteX867" fmla="*/ 4374793 w 4545947"/>
              <a:gd name="connsiteY867" fmla="*/ 2900334 h 4525940"/>
              <a:gd name="connsiteX868" fmla="*/ 4376745 w 4545947"/>
              <a:gd name="connsiteY868" fmla="*/ 2841931 h 4525940"/>
              <a:gd name="connsiteX869" fmla="*/ 4372236 w 4545947"/>
              <a:gd name="connsiteY869" fmla="*/ 2835149 h 4525940"/>
              <a:gd name="connsiteX870" fmla="*/ 4347140 w 4545947"/>
              <a:gd name="connsiteY870" fmla="*/ 2808314 h 4525940"/>
              <a:gd name="connsiteX871" fmla="*/ 185194 w 4545947"/>
              <a:gd name="connsiteY871" fmla="*/ 2800466 h 4525940"/>
              <a:gd name="connsiteX872" fmla="*/ 202843 w 4545947"/>
              <a:gd name="connsiteY872" fmla="*/ 2804051 h 4525940"/>
              <a:gd name="connsiteX873" fmla="*/ 209063 w 4545947"/>
              <a:gd name="connsiteY873" fmla="*/ 2816874 h 4525940"/>
              <a:gd name="connsiteX874" fmla="*/ 178601 w 4545947"/>
              <a:gd name="connsiteY874" fmla="*/ 2813244 h 4525940"/>
              <a:gd name="connsiteX875" fmla="*/ 185194 w 4545947"/>
              <a:gd name="connsiteY875" fmla="*/ 2800466 h 4525940"/>
              <a:gd name="connsiteX876" fmla="*/ 222256 w 4545947"/>
              <a:gd name="connsiteY876" fmla="*/ 2788186 h 4525940"/>
              <a:gd name="connsiteX877" fmla="*/ 241934 w 4545947"/>
              <a:gd name="connsiteY877" fmla="*/ 2788517 h 4525940"/>
              <a:gd name="connsiteX878" fmla="*/ 257313 w 4545947"/>
              <a:gd name="connsiteY878" fmla="*/ 2810982 h 4525940"/>
              <a:gd name="connsiteX879" fmla="*/ 249103 w 4545947"/>
              <a:gd name="connsiteY879" fmla="*/ 2829270 h 4525940"/>
              <a:gd name="connsiteX880" fmla="*/ 235449 w 4545947"/>
              <a:gd name="connsiteY880" fmla="*/ 2819774 h 4525940"/>
              <a:gd name="connsiteX881" fmla="*/ 223981 w 4545947"/>
              <a:gd name="connsiteY881" fmla="*/ 2810277 h 4525940"/>
              <a:gd name="connsiteX882" fmla="*/ 222256 w 4545947"/>
              <a:gd name="connsiteY882" fmla="*/ 2788186 h 4525940"/>
              <a:gd name="connsiteX883" fmla="*/ 4412081 w 4545947"/>
              <a:gd name="connsiteY883" fmla="*/ 2689991 h 4525940"/>
              <a:gd name="connsiteX884" fmla="*/ 4428685 w 4545947"/>
              <a:gd name="connsiteY884" fmla="*/ 2766566 h 4525940"/>
              <a:gd name="connsiteX885" fmla="*/ 4416240 w 4545947"/>
              <a:gd name="connsiteY885" fmla="*/ 2811021 h 4525940"/>
              <a:gd name="connsiteX886" fmla="*/ 4408816 w 4545947"/>
              <a:gd name="connsiteY886" fmla="*/ 2744370 h 4525940"/>
              <a:gd name="connsiteX887" fmla="*/ 4412081 w 4545947"/>
              <a:gd name="connsiteY887" fmla="*/ 2689991 h 4525940"/>
              <a:gd name="connsiteX888" fmla="*/ 127218 w 4545947"/>
              <a:gd name="connsiteY888" fmla="*/ 2621494 h 4525940"/>
              <a:gd name="connsiteX889" fmla="*/ 122846 w 4545947"/>
              <a:gd name="connsiteY889" fmla="*/ 2670901 h 4525940"/>
              <a:gd name="connsiteX890" fmla="*/ 117380 w 4545947"/>
              <a:gd name="connsiteY890" fmla="*/ 2645235 h 4525940"/>
              <a:gd name="connsiteX891" fmla="*/ 127218 w 4545947"/>
              <a:gd name="connsiteY891" fmla="*/ 2621494 h 4525940"/>
              <a:gd name="connsiteX892" fmla="*/ 202062 w 4545947"/>
              <a:gd name="connsiteY892" fmla="*/ 2494799 h 4525940"/>
              <a:gd name="connsiteX893" fmla="*/ 208469 w 4545947"/>
              <a:gd name="connsiteY893" fmla="*/ 2507415 h 4525940"/>
              <a:gd name="connsiteX894" fmla="*/ 216859 w 4545947"/>
              <a:gd name="connsiteY894" fmla="*/ 2533762 h 4525940"/>
              <a:gd name="connsiteX895" fmla="*/ 226703 w 4545947"/>
              <a:gd name="connsiteY895" fmla="*/ 2556236 h 4525940"/>
              <a:gd name="connsiteX896" fmla="*/ 231595 w 4545947"/>
              <a:gd name="connsiteY896" fmla="*/ 2574254 h 4525940"/>
              <a:gd name="connsiteX897" fmla="*/ 227222 w 4545947"/>
              <a:gd name="connsiteY897" fmla="*/ 2624068 h 4525940"/>
              <a:gd name="connsiteX898" fmla="*/ 224867 w 4545947"/>
              <a:gd name="connsiteY898" fmla="*/ 2696743 h 4525940"/>
              <a:gd name="connsiteX899" fmla="*/ 244545 w 4545947"/>
              <a:gd name="connsiteY899" fmla="*/ 2698068 h 4525940"/>
              <a:gd name="connsiteX900" fmla="*/ 257313 w 4545947"/>
              <a:gd name="connsiteY900" fmla="*/ 2706368 h 4525940"/>
              <a:gd name="connsiteX901" fmla="*/ 242983 w 4545947"/>
              <a:gd name="connsiteY901" fmla="*/ 2721645 h 4525940"/>
              <a:gd name="connsiteX902" fmla="*/ 214289 w 4545947"/>
              <a:gd name="connsiteY902" fmla="*/ 2740638 h 4525940"/>
              <a:gd name="connsiteX903" fmla="*/ 187346 w 4545947"/>
              <a:gd name="connsiteY903" fmla="*/ 2731669 h 4525940"/>
              <a:gd name="connsiteX904" fmla="*/ 182313 w 4545947"/>
              <a:gd name="connsiteY904" fmla="*/ 2701279 h 4525940"/>
              <a:gd name="connsiteX905" fmla="*/ 175205 w 4545947"/>
              <a:gd name="connsiteY905" fmla="*/ 2662649 h 4525940"/>
              <a:gd name="connsiteX906" fmla="*/ 169307 w 4545947"/>
              <a:gd name="connsiteY906" fmla="*/ 2623027 h 4525940"/>
              <a:gd name="connsiteX907" fmla="*/ 165482 w 4545947"/>
              <a:gd name="connsiteY907" fmla="*/ 2600985 h 4525940"/>
              <a:gd name="connsiteX908" fmla="*/ 176156 w 4545947"/>
              <a:gd name="connsiteY908" fmla="*/ 2582366 h 4525940"/>
              <a:gd name="connsiteX909" fmla="*/ 193816 w 4545947"/>
              <a:gd name="connsiteY909" fmla="*/ 2531949 h 4525940"/>
              <a:gd name="connsiteX910" fmla="*/ 202062 w 4545947"/>
              <a:gd name="connsiteY910" fmla="*/ 2494799 h 4525940"/>
              <a:gd name="connsiteX911" fmla="*/ 154003 w 4545947"/>
              <a:gd name="connsiteY911" fmla="*/ 2487403 h 4525940"/>
              <a:gd name="connsiteX912" fmla="*/ 165482 w 4545947"/>
              <a:gd name="connsiteY912" fmla="*/ 2545173 h 4525940"/>
              <a:gd name="connsiteX913" fmla="*/ 140337 w 4545947"/>
              <a:gd name="connsiteY913" fmla="*/ 2556845 h 4525940"/>
              <a:gd name="connsiteX914" fmla="*/ 139428 w 4545947"/>
              <a:gd name="connsiteY914" fmla="*/ 2529713 h 4525940"/>
              <a:gd name="connsiteX915" fmla="*/ 147656 w 4545947"/>
              <a:gd name="connsiteY915" fmla="*/ 2515110 h 4525940"/>
              <a:gd name="connsiteX916" fmla="*/ 154003 w 4545947"/>
              <a:gd name="connsiteY916" fmla="*/ 2487403 h 4525940"/>
              <a:gd name="connsiteX917" fmla="*/ 4489212 w 4545947"/>
              <a:gd name="connsiteY917" fmla="*/ 2459669 h 4525940"/>
              <a:gd name="connsiteX918" fmla="*/ 4507796 w 4545947"/>
              <a:gd name="connsiteY918" fmla="*/ 2490415 h 4525940"/>
              <a:gd name="connsiteX919" fmla="*/ 4512956 w 4545947"/>
              <a:gd name="connsiteY919" fmla="*/ 2514162 h 4525940"/>
              <a:gd name="connsiteX920" fmla="*/ 4514448 w 4545947"/>
              <a:gd name="connsiteY920" fmla="*/ 2528934 h 4525940"/>
              <a:gd name="connsiteX921" fmla="*/ 4511569 w 4545947"/>
              <a:gd name="connsiteY921" fmla="*/ 2546369 h 4525940"/>
              <a:gd name="connsiteX922" fmla="*/ 4507545 w 4545947"/>
              <a:gd name="connsiteY922" fmla="*/ 2577386 h 4525940"/>
              <a:gd name="connsiteX923" fmla="*/ 4513150 w 4545947"/>
              <a:gd name="connsiteY923" fmla="*/ 2616549 h 4525940"/>
              <a:gd name="connsiteX924" fmla="*/ 4531819 w 4545947"/>
              <a:gd name="connsiteY924" fmla="*/ 2636631 h 4525940"/>
              <a:gd name="connsiteX925" fmla="*/ 4544130 w 4545947"/>
              <a:gd name="connsiteY925" fmla="*/ 2661031 h 4525940"/>
              <a:gd name="connsiteX926" fmla="*/ 4539364 w 4545947"/>
              <a:gd name="connsiteY926" fmla="*/ 2691419 h 4525940"/>
              <a:gd name="connsiteX927" fmla="*/ 4520915 w 4545947"/>
              <a:gd name="connsiteY927" fmla="*/ 2683088 h 4525940"/>
              <a:gd name="connsiteX928" fmla="*/ 4514355 w 4545947"/>
              <a:gd name="connsiteY928" fmla="*/ 2666957 h 4525940"/>
              <a:gd name="connsiteX929" fmla="*/ 4507796 w 4545947"/>
              <a:gd name="connsiteY929" fmla="*/ 2648681 h 4525940"/>
              <a:gd name="connsiteX930" fmla="*/ 4476606 w 4545947"/>
              <a:gd name="connsiteY930" fmla="*/ 2627651 h 4525940"/>
              <a:gd name="connsiteX931" fmla="*/ 4472248 w 4545947"/>
              <a:gd name="connsiteY931" fmla="*/ 2654666 h 4525940"/>
              <a:gd name="connsiteX932" fmla="*/ 4478572 w 4545947"/>
              <a:gd name="connsiteY932" fmla="*/ 2676289 h 4525940"/>
              <a:gd name="connsiteX933" fmla="*/ 4516779 w 4545947"/>
              <a:gd name="connsiteY933" fmla="*/ 2707060 h 4525940"/>
              <a:gd name="connsiteX934" fmla="*/ 4523632 w 4545947"/>
              <a:gd name="connsiteY934" fmla="*/ 2733459 h 4525940"/>
              <a:gd name="connsiteX935" fmla="*/ 4516542 w 4545947"/>
              <a:gd name="connsiteY935" fmla="*/ 2777165 h 4525940"/>
              <a:gd name="connsiteX936" fmla="*/ 4500806 w 4545947"/>
              <a:gd name="connsiteY936" fmla="*/ 2805311 h 4525940"/>
              <a:gd name="connsiteX937" fmla="*/ 4500806 w 4545947"/>
              <a:gd name="connsiteY937" fmla="*/ 2805310 h 4525940"/>
              <a:gd name="connsiteX938" fmla="*/ 4487024 w 4545947"/>
              <a:gd name="connsiteY938" fmla="*/ 2793817 h 4525940"/>
              <a:gd name="connsiteX939" fmla="*/ 4475000 w 4545947"/>
              <a:gd name="connsiteY939" fmla="*/ 2792234 h 4525940"/>
              <a:gd name="connsiteX940" fmla="*/ 4468440 w 4545947"/>
              <a:gd name="connsiteY940" fmla="*/ 2775457 h 4525940"/>
              <a:gd name="connsiteX941" fmla="*/ 4464067 w 4545947"/>
              <a:gd name="connsiteY941" fmla="*/ 2759630 h 4525940"/>
              <a:gd name="connsiteX942" fmla="*/ 4459694 w 4545947"/>
              <a:gd name="connsiteY942" fmla="*/ 2747342 h 4525940"/>
              <a:gd name="connsiteX943" fmla="*/ 4464067 w 4545947"/>
              <a:gd name="connsiteY943" fmla="*/ 2731141 h 4525940"/>
              <a:gd name="connsiteX944" fmla="*/ 4463558 w 4545947"/>
              <a:gd name="connsiteY944" fmla="*/ 2689991 h 4525940"/>
              <a:gd name="connsiteX945" fmla="*/ 4460961 w 4545947"/>
              <a:gd name="connsiteY945" fmla="*/ 2677329 h 4525940"/>
              <a:gd name="connsiteX946" fmla="*/ 4459285 w 4545947"/>
              <a:gd name="connsiteY946" fmla="*/ 2664667 h 4525940"/>
              <a:gd name="connsiteX947" fmla="*/ 4455321 w 4545947"/>
              <a:gd name="connsiteY947" fmla="*/ 2629110 h 4525940"/>
              <a:gd name="connsiteX948" fmla="*/ 4464775 w 4545947"/>
              <a:gd name="connsiteY948" fmla="*/ 2597130 h 4525940"/>
              <a:gd name="connsiteX949" fmla="*/ 4484058 w 4545947"/>
              <a:gd name="connsiteY949" fmla="*/ 2553425 h 4525940"/>
              <a:gd name="connsiteX950" fmla="*/ 4463930 w 4545947"/>
              <a:gd name="connsiteY950" fmla="*/ 2554058 h 4525940"/>
              <a:gd name="connsiteX951" fmla="*/ 4417058 w 4545947"/>
              <a:gd name="connsiteY951" fmla="*/ 2525589 h 4525940"/>
              <a:gd name="connsiteX952" fmla="*/ 4398473 w 4545947"/>
              <a:gd name="connsiteY952" fmla="*/ 2483464 h 4525940"/>
              <a:gd name="connsiteX953" fmla="*/ 4413779 w 4545947"/>
              <a:gd name="connsiteY953" fmla="*/ 2471995 h 4525940"/>
              <a:gd name="connsiteX954" fmla="*/ 4429084 w 4545947"/>
              <a:gd name="connsiteY954" fmla="*/ 2469116 h 4525940"/>
              <a:gd name="connsiteX955" fmla="*/ 4451173 w 4545947"/>
              <a:gd name="connsiteY955" fmla="*/ 2475117 h 4525940"/>
              <a:gd name="connsiteX956" fmla="*/ 4468085 w 4545947"/>
              <a:gd name="connsiteY956" fmla="*/ 2479925 h 4525940"/>
              <a:gd name="connsiteX957" fmla="*/ 4477186 w 4545947"/>
              <a:gd name="connsiteY957" fmla="*/ 2463602 h 4525940"/>
              <a:gd name="connsiteX958" fmla="*/ 4489212 w 4545947"/>
              <a:gd name="connsiteY958" fmla="*/ 2459669 h 4525940"/>
              <a:gd name="connsiteX959" fmla="*/ 7746 w 4545947"/>
              <a:gd name="connsiteY959" fmla="*/ 2436756 h 4525940"/>
              <a:gd name="connsiteX960" fmla="*/ 15909 w 4545947"/>
              <a:gd name="connsiteY960" fmla="*/ 2478985 h 4525940"/>
              <a:gd name="connsiteX961" fmla="*/ 9149 w 4545947"/>
              <a:gd name="connsiteY961" fmla="*/ 2523829 h 4525940"/>
              <a:gd name="connsiteX962" fmla="*/ 3624 w 4545947"/>
              <a:gd name="connsiteY962" fmla="*/ 2495844 h 4525940"/>
              <a:gd name="connsiteX963" fmla="*/ 927 w 4545947"/>
              <a:gd name="connsiteY963" fmla="*/ 2451001 h 4525940"/>
              <a:gd name="connsiteX964" fmla="*/ 7746 w 4545947"/>
              <a:gd name="connsiteY964" fmla="*/ 2436756 h 4525940"/>
              <a:gd name="connsiteX965" fmla="*/ 4451449 w 4545947"/>
              <a:gd name="connsiteY965" fmla="*/ 2180169 h 4525940"/>
              <a:gd name="connsiteX966" fmla="*/ 4461168 w 4545947"/>
              <a:gd name="connsiteY966" fmla="*/ 2183599 h 4525940"/>
              <a:gd name="connsiteX967" fmla="*/ 4460788 w 4545947"/>
              <a:gd name="connsiteY967" fmla="*/ 2194337 h 4525940"/>
              <a:gd name="connsiteX968" fmla="*/ 4455322 w 4545947"/>
              <a:gd name="connsiteY968" fmla="*/ 2218869 h 4525940"/>
              <a:gd name="connsiteX969" fmla="*/ 4450949 w 4545947"/>
              <a:gd name="connsiteY969" fmla="*/ 2240500 h 4525940"/>
              <a:gd name="connsiteX970" fmla="*/ 4453135 w 4545947"/>
              <a:gd name="connsiteY970" fmla="*/ 2272154 h 4525940"/>
              <a:gd name="connsiteX971" fmla="*/ 4452776 w 4545947"/>
              <a:gd name="connsiteY971" fmla="*/ 2299966 h 4525940"/>
              <a:gd name="connsiteX972" fmla="*/ 4445124 w 4545947"/>
              <a:gd name="connsiteY972" fmla="*/ 2303309 h 4525940"/>
              <a:gd name="connsiteX973" fmla="*/ 4438922 w 4545947"/>
              <a:gd name="connsiteY973" fmla="*/ 2299616 h 4525940"/>
              <a:gd name="connsiteX974" fmla="*/ 4438923 w 4545947"/>
              <a:gd name="connsiteY974" fmla="*/ 2299616 h 4525940"/>
              <a:gd name="connsiteX975" fmla="*/ 4438704 w 4545947"/>
              <a:gd name="connsiteY975" fmla="*/ 2248097 h 4525940"/>
              <a:gd name="connsiteX976" fmla="*/ 4438704 w 4545947"/>
              <a:gd name="connsiteY976" fmla="*/ 2240500 h 4525940"/>
              <a:gd name="connsiteX977" fmla="*/ 4433457 w 4545947"/>
              <a:gd name="connsiteY977" fmla="*/ 2227838 h 4525940"/>
              <a:gd name="connsiteX978" fmla="*/ 4437830 w 4545947"/>
              <a:gd name="connsiteY978" fmla="*/ 2215176 h 4525940"/>
              <a:gd name="connsiteX979" fmla="*/ 4442203 w 4545947"/>
              <a:gd name="connsiteY979" fmla="*/ 2205680 h 4525940"/>
              <a:gd name="connsiteX980" fmla="*/ 4446833 w 4545947"/>
              <a:gd name="connsiteY980" fmla="*/ 2196184 h 4525940"/>
              <a:gd name="connsiteX981" fmla="*/ 4448948 w 4545947"/>
              <a:gd name="connsiteY981" fmla="*/ 2190290 h 4525940"/>
              <a:gd name="connsiteX982" fmla="*/ 4451449 w 4545947"/>
              <a:gd name="connsiteY982" fmla="*/ 2180169 h 4525940"/>
              <a:gd name="connsiteX983" fmla="*/ 34606 w 4545947"/>
              <a:gd name="connsiteY983" fmla="*/ 2069567 h 4525940"/>
              <a:gd name="connsiteX984" fmla="*/ 53749 w 4545947"/>
              <a:gd name="connsiteY984" fmla="*/ 2077480 h 4525940"/>
              <a:gd name="connsiteX985" fmla="*/ 68742 w 4545947"/>
              <a:gd name="connsiteY985" fmla="*/ 2094705 h 4525940"/>
              <a:gd name="connsiteX986" fmla="*/ 78162 w 4545947"/>
              <a:gd name="connsiteY986" fmla="*/ 2113698 h 4525940"/>
              <a:gd name="connsiteX987" fmla="*/ 84722 w 4545947"/>
              <a:gd name="connsiteY987" fmla="*/ 2135668 h 4525940"/>
              <a:gd name="connsiteX988" fmla="*/ 91142 w 4545947"/>
              <a:gd name="connsiteY988" fmla="*/ 2159094 h 4525940"/>
              <a:gd name="connsiteX989" fmla="*/ 98649 w 4545947"/>
              <a:gd name="connsiteY989" fmla="*/ 2176313 h 4525940"/>
              <a:gd name="connsiteX990" fmla="*/ 100678 w 4545947"/>
              <a:gd name="connsiteY990" fmla="*/ 2197213 h 4525940"/>
              <a:gd name="connsiteX991" fmla="*/ 94264 w 4545947"/>
              <a:gd name="connsiteY991" fmla="*/ 2240455 h 4525940"/>
              <a:gd name="connsiteX992" fmla="*/ 103228 w 4545947"/>
              <a:gd name="connsiteY992" fmla="*/ 2275221 h 4525940"/>
              <a:gd name="connsiteX993" fmla="*/ 111157 w 4545947"/>
              <a:gd name="connsiteY993" fmla="*/ 2288996 h 4525940"/>
              <a:gd name="connsiteX994" fmla="*/ 115154 w 4545947"/>
              <a:gd name="connsiteY994" fmla="*/ 2299745 h 4525940"/>
              <a:gd name="connsiteX995" fmla="*/ 119839 w 4545947"/>
              <a:gd name="connsiteY995" fmla="*/ 2335089 h 4525940"/>
              <a:gd name="connsiteX996" fmla="*/ 121247 w 4545947"/>
              <a:gd name="connsiteY996" fmla="*/ 2367166 h 4525940"/>
              <a:gd name="connsiteX997" fmla="*/ 134871 w 4545947"/>
              <a:gd name="connsiteY997" fmla="*/ 2434853 h 4525940"/>
              <a:gd name="connsiteX998" fmla="*/ 105354 w 4545947"/>
              <a:gd name="connsiteY998" fmla="*/ 2463831 h 4525940"/>
              <a:gd name="connsiteX999" fmla="*/ 91142 w 4545947"/>
              <a:gd name="connsiteY999" fmla="*/ 2442687 h 4525940"/>
              <a:gd name="connsiteX1000" fmla="*/ 86424 w 4545947"/>
              <a:gd name="connsiteY1000" fmla="*/ 2424095 h 4525940"/>
              <a:gd name="connsiteX1001" fmla="*/ 83144 w 4545947"/>
              <a:gd name="connsiteY1001" fmla="*/ 2376598 h 4525940"/>
              <a:gd name="connsiteX1002" fmla="*/ 81303 w 4545947"/>
              <a:gd name="connsiteY1002" fmla="*/ 2329117 h 4525940"/>
              <a:gd name="connsiteX1003" fmla="*/ 78023 w 4545947"/>
              <a:gd name="connsiteY1003" fmla="*/ 2282860 h 4525940"/>
              <a:gd name="connsiteX1004" fmla="*/ 56084 w 4545947"/>
              <a:gd name="connsiteY1004" fmla="*/ 2206845 h 4525940"/>
              <a:gd name="connsiteX1005" fmla="*/ 43040 w 4545947"/>
              <a:gd name="connsiteY1005" fmla="*/ 2151714 h 4525940"/>
              <a:gd name="connsiteX1006" fmla="*/ 31014 w 4545947"/>
              <a:gd name="connsiteY1006" fmla="*/ 2102364 h 4525940"/>
              <a:gd name="connsiteX1007" fmla="*/ 21175 w 4545947"/>
              <a:gd name="connsiteY1007" fmla="*/ 2084954 h 4525940"/>
              <a:gd name="connsiteX1008" fmla="*/ 34606 w 4545947"/>
              <a:gd name="connsiteY1008" fmla="*/ 2069567 h 4525940"/>
              <a:gd name="connsiteX1009" fmla="*/ 4460614 w 4545947"/>
              <a:gd name="connsiteY1009" fmla="*/ 2037913 h 4525940"/>
              <a:gd name="connsiteX1010" fmla="*/ 4466134 w 4545947"/>
              <a:gd name="connsiteY1010" fmla="*/ 2064819 h 4525940"/>
              <a:gd name="connsiteX1011" fmla="*/ 4453412 w 4545947"/>
              <a:gd name="connsiteY1011" fmla="*/ 2101221 h 4525940"/>
              <a:gd name="connsiteX1012" fmla="*/ 4442203 w 4545947"/>
              <a:gd name="connsiteY1012" fmla="*/ 2110717 h 4525940"/>
              <a:gd name="connsiteX1013" fmla="*/ 4432921 w 4545947"/>
              <a:gd name="connsiteY1013" fmla="*/ 2120214 h 4525940"/>
              <a:gd name="connsiteX1014" fmla="*/ 4429084 w 4545947"/>
              <a:gd name="connsiteY1014" fmla="*/ 2110717 h 4525940"/>
              <a:gd name="connsiteX1015" fmla="*/ 4424711 w 4545947"/>
              <a:gd name="connsiteY1015" fmla="*/ 2101221 h 4525940"/>
              <a:gd name="connsiteX1016" fmla="*/ 4420338 w 4545947"/>
              <a:gd name="connsiteY1016" fmla="*/ 2092252 h 4525940"/>
              <a:gd name="connsiteX1017" fmla="*/ 4415178 w 4545947"/>
              <a:gd name="connsiteY1017" fmla="*/ 2080794 h 4525940"/>
              <a:gd name="connsiteX1018" fmla="*/ 4428412 w 4545947"/>
              <a:gd name="connsiteY1018" fmla="*/ 2056905 h 4525940"/>
              <a:gd name="connsiteX1019" fmla="*/ 4446576 w 4545947"/>
              <a:gd name="connsiteY1019" fmla="*/ 2047409 h 4525940"/>
              <a:gd name="connsiteX1020" fmla="*/ 4460614 w 4545947"/>
              <a:gd name="connsiteY1020" fmla="*/ 2037913 h 4525940"/>
              <a:gd name="connsiteX1021" fmla="*/ 103803 w 4545947"/>
              <a:gd name="connsiteY1021" fmla="*/ 1997172 h 4525940"/>
              <a:gd name="connsiteX1022" fmla="*/ 109790 w 4545947"/>
              <a:gd name="connsiteY1022" fmla="*/ 2015136 h 4525940"/>
              <a:gd name="connsiteX1023" fmla="*/ 99888 w 4545947"/>
              <a:gd name="connsiteY1023" fmla="*/ 2009798 h 4525940"/>
              <a:gd name="connsiteX1024" fmla="*/ 103803 w 4545947"/>
              <a:gd name="connsiteY1024" fmla="*/ 1997172 h 4525940"/>
              <a:gd name="connsiteX1025" fmla="*/ 4417411 w 4545947"/>
              <a:gd name="connsiteY1025" fmla="*/ 1842865 h 4525940"/>
              <a:gd name="connsiteX1026" fmla="*/ 4440321 w 4545947"/>
              <a:gd name="connsiteY1026" fmla="*/ 1848354 h 4525940"/>
              <a:gd name="connsiteX1027" fmla="*/ 4446576 w 4545947"/>
              <a:gd name="connsiteY1027" fmla="*/ 1896026 h 4525940"/>
              <a:gd name="connsiteX1028" fmla="*/ 4433604 w 4545947"/>
              <a:gd name="connsiteY1028" fmla="*/ 1955393 h 4525940"/>
              <a:gd name="connsiteX1029" fmla="*/ 4410134 w 4545947"/>
              <a:gd name="connsiteY1029" fmla="*/ 1970383 h 4525940"/>
              <a:gd name="connsiteX1030" fmla="*/ 4407219 w 4545947"/>
              <a:gd name="connsiteY1030" fmla="*/ 1948678 h 4525940"/>
              <a:gd name="connsiteX1031" fmla="*/ 4400659 w 4545947"/>
              <a:gd name="connsiteY1031" fmla="*/ 1921696 h 4525940"/>
              <a:gd name="connsiteX1032" fmla="*/ 4398473 w 4545947"/>
              <a:gd name="connsiteY1032" fmla="*/ 1860649 h 4525940"/>
              <a:gd name="connsiteX1033" fmla="*/ 4401754 w 4545947"/>
              <a:gd name="connsiteY1033" fmla="*/ 1852735 h 4525940"/>
              <a:gd name="connsiteX1034" fmla="*/ 4417411 w 4545947"/>
              <a:gd name="connsiteY1034" fmla="*/ 1842865 h 4525940"/>
              <a:gd name="connsiteX1035" fmla="*/ 4344905 w 4545947"/>
              <a:gd name="connsiteY1035" fmla="*/ 1614950 h 4525940"/>
              <a:gd name="connsiteX1036" fmla="*/ 4352557 w 4545947"/>
              <a:gd name="connsiteY1036" fmla="*/ 1626407 h 4525940"/>
              <a:gd name="connsiteX1037" fmla="*/ 4344905 w 4545947"/>
              <a:gd name="connsiteY1037" fmla="*/ 1637863 h 4525940"/>
              <a:gd name="connsiteX1038" fmla="*/ 4337253 w 4545947"/>
              <a:gd name="connsiteY1038" fmla="*/ 1626407 h 4525940"/>
              <a:gd name="connsiteX1039" fmla="*/ 4344905 w 4545947"/>
              <a:gd name="connsiteY1039" fmla="*/ 1614950 h 4525940"/>
              <a:gd name="connsiteX1040" fmla="*/ 4204363 w 4545947"/>
              <a:gd name="connsiteY1040" fmla="*/ 1582188 h 4525940"/>
              <a:gd name="connsiteX1041" fmla="*/ 4198605 w 4545947"/>
              <a:gd name="connsiteY1041" fmla="*/ 1612163 h 4525940"/>
              <a:gd name="connsiteX1042" fmla="*/ 4221888 w 4545947"/>
              <a:gd name="connsiteY1042" fmla="*/ 1704182 h 4525940"/>
              <a:gd name="connsiteX1043" fmla="*/ 4243234 w 4545947"/>
              <a:gd name="connsiteY1043" fmla="*/ 1696654 h 4525940"/>
              <a:gd name="connsiteX1044" fmla="*/ 4257843 w 4545947"/>
              <a:gd name="connsiteY1044" fmla="*/ 1674394 h 4525940"/>
              <a:gd name="connsiteX1045" fmla="*/ 4235464 w 4545947"/>
              <a:gd name="connsiteY1045" fmla="*/ 1634601 h 4525940"/>
              <a:gd name="connsiteX1046" fmla="*/ 4226892 w 4545947"/>
              <a:gd name="connsiteY1046" fmla="*/ 1613755 h 4525940"/>
              <a:gd name="connsiteX1047" fmla="*/ 4204363 w 4545947"/>
              <a:gd name="connsiteY1047" fmla="*/ 1582188 h 4525940"/>
              <a:gd name="connsiteX1048" fmla="*/ 4407219 w 4545947"/>
              <a:gd name="connsiteY1048" fmla="*/ 1487128 h 4525940"/>
              <a:gd name="connsiteX1049" fmla="*/ 4411592 w 4545947"/>
              <a:gd name="connsiteY1049" fmla="*/ 1496625 h 4525940"/>
              <a:gd name="connsiteX1050" fmla="*/ 4407219 w 4545947"/>
              <a:gd name="connsiteY1050" fmla="*/ 1506120 h 4525940"/>
              <a:gd name="connsiteX1051" fmla="*/ 4402846 w 4545947"/>
              <a:gd name="connsiteY1051" fmla="*/ 1496625 h 4525940"/>
              <a:gd name="connsiteX1052" fmla="*/ 4407219 w 4545947"/>
              <a:gd name="connsiteY1052" fmla="*/ 1487128 h 4525940"/>
              <a:gd name="connsiteX1053" fmla="*/ 4317718 w 4545947"/>
              <a:gd name="connsiteY1053" fmla="*/ 1474466 h 4525940"/>
              <a:gd name="connsiteX1054" fmla="*/ 4345998 w 4545947"/>
              <a:gd name="connsiteY1054" fmla="*/ 1518157 h 4525940"/>
              <a:gd name="connsiteX1055" fmla="*/ 4327663 w 4545947"/>
              <a:gd name="connsiteY1055" fmla="*/ 1517200 h 4525940"/>
              <a:gd name="connsiteX1056" fmla="*/ 4317718 w 4545947"/>
              <a:gd name="connsiteY1056" fmla="*/ 1474466 h 4525940"/>
              <a:gd name="connsiteX1057" fmla="*/ 4293987 w 4545947"/>
              <a:gd name="connsiteY1057" fmla="*/ 1306730 h 4525940"/>
              <a:gd name="connsiteX1058" fmla="*/ 4303395 w 4545947"/>
              <a:gd name="connsiteY1058" fmla="*/ 1311043 h 4525940"/>
              <a:gd name="connsiteX1059" fmla="*/ 4318980 w 4545947"/>
              <a:gd name="connsiteY1059" fmla="*/ 1376275 h 4525940"/>
              <a:gd name="connsiteX1060" fmla="*/ 4300491 w 4545947"/>
              <a:gd name="connsiteY1060" fmla="*/ 1383107 h 4525940"/>
              <a:gd name="connsiteX1061" fmla="*/ 4285001 w 4545947"/>
              <a:gd name="connsiteY1061" fmla="*/ 1360511 h 4525940"/>
              <a:gd name="connsiteX1062" fmla="*/ 4282590 w 4545947"/>
              <a:gd name="connsiteY1062" fmla="*/ 1335187 h 4525940"/>
              <a:gd name="connsiteX1063" fmla="*/ 4289150 w 4545947"/>
              <a:gd name="connsiteY1063" fmla="*/ 1318959 h 4525940"/>
              <a:gd name="connsiteX1064" fmla="*/ 4293987 w 4545947"/>
              <a:gd name="connsiteY1064" fmla="*/ 1306730 h 4525940"/>
              <a:gd name="connsiteX1065" fmla="*/ 4289150 w 4545947"/>
              <a:gd name="connsiteY1065" fmla="*/ 1180082 h 4525940"/>
              <a:gd name="connsiteX1066" fmla="*/ 4293523 w 4545947"/>
              <a:gd name="connsiteY1066" fmla="*/ 1186038 h 4525940"/>
              <a:gd name="connsiteX1067" fmla="*/ 4289150 w 4545947"/>
              <a:gd name="connsiteY1067" fmla="*/ 1195908 h 4525940"/>
              <a:gd name="connsiteX1068" fmla="*/ 4284778 w 4545947"/>
              <a:gd name="connsiteY1068" fmla="*/ 1189951 h 4525940"/>
              <a:gd name="connsiteX1069" fmla="*/ 4289150 w 4545947"/>
              <a:gd name="connsiteY1069" fmla="*/ 1180082 h 4525940"/>
              <a:gd name="connsiteX1070" fmla="*/ 4345236 w 4545947"/>
              <a:gd name="connsiteY1070" fmla="*/ 1176916 h 4525940"/>
              <a:gd name="connsiteX1071" fmla="*/ 4370740 w 4545947"/>
              <a:gd name="connsiteY1071" fmla="*/ 1217745 h 4525940"/>
              <a:gd name="connsiteX1072" fmla="*/ 4345998 w 4545947"/>
              <a:gd name="connsiteY1072" fmla="*/ 1218067 h 4525940"/>
              <a:gd name="connsiteX1073" fmla="*/ 4341625 w 4545947"/>
              <a:gd name="connsiteY1073" fmla="*/ 1208570 h 4525940"/>
              <a:gd name="connsiteX1074" fmla="*/ 4337253 w 4545947"/>
              <a:gd name="connsiteY1074" fmla="*/ 1192743 h 4525940"/>
              <a:gd name="connsiteX1075" fmla="*/ 4345236 w 4545947"/>
              <a:gd name="connsiteY1075" fmla="*/ 1176916 h 4525940"/>
              <a:gd name="connsiteX1076" fmla="*/ 4039894 w 4545947"/>
              <a:gd name="connsiteY1076" fmla="*/ 1107277 h 4525940"/>
              <a:gd name="connsiteX1077" fmla="*/ 4039019 w 4545947"/>
              <a:gd name="connsiteY1077" fmla="*/ 1162988 h 4525940"/>
              <a:gd name="connsiteX1078" fmla="*/ 4019800 w 4545947"/>
              <a:gd name="connsiteY1078" fmla="*/ 1156998 h 4525940"/>
              <a:gd name="connsiteX1079" fmla="*/ 4016936 w 4545947"/>
              <a:gd name="connsiteY1079" fmla="*/ 1140644 h 4525940"/>
              <a:gd name="connsiteX1080" fmla="*/ 4022402 w 4545947"/>
              <a:gd name="connsiteY1080" fmla="*/ 1128907 h 4525940"/>
              <a:gd name="connsiteX1081" fmla="*/ 4028961 w 4545947"/>
              <a:gd name="connsiteY1081" fmla="*/ 1119938 h 4525940"/>
              <a:gd name="connsiteX1082" fmla="*/ 4035521 w 4545947"/>
              <a:gd name="connsiteY1082" fmla="*/ 1113607 h 4525940"/>
              <a:gd name="connsiteX1083" fmla="*/ 4039894 w 4545947"/>
              <a:gd name="connsiteY1083" fmla="*/ 1107277 h 4525940"/>
              <a:gd name="connsiteX1084" fmla="*/ 4144916 w 4545947"/>
              <a:gd name="connsiteY1084" fmla="*/ 1053528 h 4525940"/>
              <a:gd name="connsiteX1085" fmla="*/ 4140471 w 4545947"/>
              <a:gd name="connsiteY1085" fmla="*/ 1069291 h 4525940"/>
              <a:gd name="connsiteX1086" fmla="*/ 4134098 w 4545947"/>
              <a:gd name="connsiteY1086" fmla="*/ 1063398 h 4525940"/>
              <a:gd name="connsiteX1087" fmla="*/ 4144916 w 4545947"/>
              <a:gd name="connsiteY1087" fmla="*/ 1053528 h 4525940"/>
              <a:gd name="connsiteX1088" fmla="*/ 3987419 w 4545947"/>
              <a:gd name="connsiteY1088" fmla="*/ 990156 h 4525940"/>
              <a:gd name="connsiteX1089" fmla="*/ 3983046 w 4545947"/>
              <a:gd name="connsiteY1089" fmla="*/ 992947 h 4525940"/>
              <a:gd name="connsiteX1090" fmla="*/ 3987419 w 4545947"/>
              <a:gd name="connsiteY1090" fmla="*/ 999652 h 4525940"/>
              <a:gd name="connsiteX1091" fmla="*/ 3991792 w 4545947"/>
              <a:gd name="connsiteY1091" fmla="*/ 996860 h 4525940"/>
              <a:gd name="connsiteX1092" fmla="*/ 3987419 w 4545947"/>
              <a:gd name="connsiteY1092" fmla="*/ 990156 h 4525940"/>
              <a:gd name="connsiteX1093" fmla="*/ 4173388 w 4545947"/>
              <a:gd name="connsiteY1093" fmla="*/ 892398 h 4525940"/>
              <a:gd name="connsiteX1094" fmla="*/ 4182372 w 4545947"/>
              <a:gd name="connsiteY1094" fmla="*/ 907667 h 4525940"/>
              <a:gd name="connsiteX1095" fmla="*/ 4178395 w 4545947"/>
              <a:gd name="connsiteY1095" fmla="*/ 932991 h 4525940"/>
              <a:gd name="connsiteX1096" fmla="*/ 4163952 w 4545947"/>
              <a:gd name="connsiteY1096" fmla="*/ 928430 h 4525940"/>
              <a:gd name="connsiteX1097" fmla="*/ 4166648 w 4545947"/>
              <a:gd name="connsiteY1097" fmla="*/ 903107 h 4525940"/>
              <a:gd name="connsiteX1098" fmla="*/ 4173388 w 4545947"/>
              <a:gd name="connsiteY1098" fmla="*/ 892398 h 4525940"/>
              <a:gd name="connsiteX1099" fmla="*/ 4006132 w 4545947"/>
              <a:gd name="connsiteY1099" fmla="*/ 869101 h 4525940"/>
              <a:gd name="connsiteX1100" fmla="*/ 4005256 w 4545947"/>
              <a:gd name="connsiteY1100" fmla="*/ 875673 h 4525940"/>
              <a:gd name="connsiteX1101" fmla="*/ 4007552 w 4545947"/>
              <a:gd name="connsiteY1101" fmla="*/ 883982 h 4525940"/>
              <a:gd name="connsiteX1102" fmla="*/ 4007897 w 4545947"/>
              <a:gd name="connsiteY1102" fmla="*/ 871848 h 4525940"/>
              <a:gd name="connsiteX1103" fmla="*/ 4007897 w 4545947"/>
              <a:gd name="connsiteY1103" fmla="*/ 871848 h 4525940"/>
              <a:gd name="connsiteX1104" fmla="*/ 4006132 w 4545947"/>
              <a:gd name="connsiteY1104" fmla="*/ 869101 h 4525940"/>
              <a:gd name="connsiteX1105" fmla="*/ 4268481 w 4545947"/>
              <a:gd name="connsiteY1105" fmla="*/ 836466 h 4525940"/>
              <a:gd name="connsiteX1106" fmla="*/ 4272461 w 4545947"/>
              <a:gd name="connsiteY1106" fmla="*/ 852405 h 4525940"/>
              <a:gd name="connsiteX1107" fmla="*/ 4298063 w 4545947"/>
              <a:gd name="connsiteY1107" fmla="*/ 860052 h 4525940"/>
              <a:gd name="connsiteX1108" fmla="*/ 4319761 w 4545947"/>
              <a:gd name="connsiteY1108" fmla="*/ 891455 h 4525940"/>
              <a:gd name="connsiteX1109" fmla="*/ 4315033 w 4545947"/>
              <a:gd name="connsiteY1109" fmla="*/ 933496 h 4525940"/>
              <a:gd name="connsiteX1110" fmla="*/ 4296867 w 4545947"/>
              <a:gd name="connsiteY1110" fmla="*/ 919625 h 4525940"/>
              <a:gd name="connsiteX1111" fmla="*/ 4286139 w 4545947"/>
              <a:gd name="connsiteY1111" fmla="*/ 912555 h 4525940"/>
              <a:gd name="connsiteX1112" fmla="*/ 4283218 w 4545947"/>
              <a:gd name="connsiteY1112" fmla="*/ 931206 h 4525940"/>
              <a:gd name="connsiteX1113" fmla="*/ 4284339 w 4545947"/>
              <a:gd name="connsiteY1113" fmla="*/ 950245 h 4525940"/>
              <a:gd name="connsiteX1114" fmla="*/ 4309434 w 4545947"/>
              <a:gd name="connsiteY1114" fmla="*/ 952171 h 4525940"/>
              <a:gd name="connsiteX1115" fmla="*/ 4324134 w 4545947"/>
              <a:gd name="connsiteY1115" fmla="*/ 948089 h 4525940"/>
              <a:gd name="connsiteX1116" fmla="*/ 4338345 w 4545947"/>
              <a:gd name="connsiteY1116" fmla="*/ 959380 h 4525940"/>
              <a:gd name="connsiteX1117" fmla="*/ 4353914 w 4545947"/>
              <a:gd name="connsiteY1117" fmla="*/ 978828 h 4525940"/>
              <a:gd name="connsiteX1118" fmla="*/ 4361566 w 4545947"/>
              <a:gd name="connsiteY1118" fmla="*/ 999968 h 4525940"/>
              <a:gd name="connsiteX1119" fmla="*/ 4367863 w 4545947"/>
              <a:gd name="connsiteY1119" fmla="*/ 1018968 h 4525940"/>
              <a:gd name="connsiteX1120" fmla="*/ 4374106 w 4545947"/>
              <a:gd name="connsiteY1120" fmla="*/ 1039440 h 4525940"/>
              <a:gd name="connsiteX1121" fmla="*/ 4381726 w 4545947"/>
              <a:gd name="connsiteY1121" fmla="*/ 1094615 h 4525940"/>
              <a:gd name="connsiteX1122" fmla="*/ 4374326 w 4545947"/>
              <a:gd name="connsiteY1122" fmla="*/ 1088058 h 4525940"/>
              <a:gd name="connsiteX1123" fmla="*/ 4355483 w 4545947"/>
              <a:gd name="connsiteY1123" fmla="*/ 1082503 h 4525940"/>
              <a:gd name="connsiteX1124" fmla="*/ 4304542 w 4545947"/>
              <a:gd name="connsiteY1124" fmla="*/ 1078559 h 4525940"/>
              <a:gd name="connsiteX1125" fmla="*/ 4277212 w 4545947"/>
              <a:gd name="connsiteY1125" fmla="*/ 1084565 h 4525940"/>
              <a:gd name="connsiteX1126" fmla="*/ 4284778 w 4545947"/>
              <a:gd name="connsiteY1126" fmla="*/ 1102482 h 4525940"/>
              <a:gd name="connsiteX1127" fmla="*/ 4292039 w 4545947"/>
              <a:gd name="connsiteY1127" fmla="*/ 1121061 h 4525940"/>
              <a:gd name="connsiteX1128" fmla="*/ 4280650 w 4545947"/>
              <a:gd name="connsiteY1128" fmla="*/ 1132702 h 4525940"/>
              <a:gd name="connsiteX1129" fmla="*/ 4258269 w 4545947"/>
              <a:gd name="connsiteY1129" fmla="*/ 1132810 h 4525940"/>
              <a:gd name="connsiteX1130" fmla="*/ 4239604 w 4545947"/>
              <a:gd name="connsiteY1130" fmla="*/ 1108859 h 4525940"/>
              <a:gd name="connsiteX1131" fmla="*/ 4238427 w 4545947"/>
              <a:gd name="connsiteY1131" fmla="*/ 1056630 h 4525940"/>
              <a:gd name="connsiteX1132" fmla="*/ 4236655 w 4545947"/>
              <a:gd name="connsiteY1132" fmla="*/ 986990 h 4525940"/>
              <a:gd name="connsiteX1133" fmla="*/ 4237269 w 4545947"/>
              <a:gd name="connsiteY1133" fmla="*/ 933495 h 4525940"/>
              <a:gd name="connsiteX1134" fmla="*/ 4241048 w 4545947"/>
              <a:gd name="connsiteY1134" fmla="*/ 916085 h 4525940"/>
              <a:gd name="connsiteX1135" fmla="*/ 4245421 w 4545947"/>
              <a:gd name="connsiteY1135" fmla="*/ 904689 h 4525940"/>
              <a:gd name="connsiteX1136" fmla="*/ 4249794 w 4545947"/>
              <a:gd name="connsiteY1136" fmla="*/ 873712 h 4525940"/>
              <a:gd name="connsiteX1137" fmla="*/ 4256711 w 4545947"/>
              <a:gd name="connsiteY1137" fmla="*/ 838893 h 4525940"/>
              <a:gd name="connsiteX1138" fmla="*/ 4268481 w 4545947"/>
              <a:gd name="connsiteY1138" fmla="*/ 836466 h 4525940"/>
              <a:gd name="connsiteX1139" fmla="*/ 1503102 w 4545947"/>
              <a:gd name="connsiteY1139" fmla="*/ 801258 h 4525940"/>
              <a:gd name="connsiteX1140" fmla="*/ 1489315 w 4545947"/>
              <a:gd name="connsiteY1140" fmla="*/ 822388 h 4525940"/>
              <a:gd name="connsiteX1141" fmla="*/ 1490647 w 4545947"/>
              <a:gd name="connsiteY1141" fmla="*/ 856262 h 4525940"/>
              <a:gd name="connsiteX1142" fmla="*/ 1530226 w 4545947"/>
              <a:gd name="connsiteY1142" fmla="*/ 866125 h 4525940"/>
              <a:gd name="connsiteX1143" fmla="*/ 1532021 w 4545947"/>
              <a:gd name="connsiteY1143" fmla="*/ 819901 h 4525940"/>
              <a:gd name="connsiteX1144" fmla="*/ 1520594 w 4545947"/>
              <a:gd name="connsiteY1144" fmla="*/ 807589 h 4525940"/>
              <a:gd name="connsiteX1145" fmla="*/ 1503102 w 4545947"/>
              <a:gd name="connsiteY1145" fmla="*/ 801258 h 4525940"/>
              <a:gd name="connsiteX1146" fmla="*/ 3729804 w 4545947"/>
              <a:gd name="connsiteY1146" fmla="*/ 798436 h 4525940"/>
              <a:gd name="connsiteX1147" fmla="*/ 3719615 w 4545947"/>
              <a:gd name="connsiteY1147" fmla="*/ 808547 h 4525940"/>
              <a:gd name="connsiteX1148" fmla="*/ 3717041 w 4545947"/>
              <a:gd name="connsiteY1148" fmla="*/ 813557 h 4525940"/>
              <a:gd name="connsiteX1149" fmla="*/ 3718483 w 4545947"/>
              <a:gd name="connsiteY1149" fmla="*/ 830980 h 4525940"/>
              <a:gd name="connsiteX1150" fmla="*/ 3721246 w 4545947"/>
              <a:gd name="connsiteY1150" fmla="*/ 854042 h 4525940"/>
              <a:gd name="connsiteX1151" fmla="*/ 3718912 w 4545947"/>
              <a:gd name="connsiteY1151" fmla="*/ 922278 h 4525940"/>
              <a:gd name="connsiteX1152" fmla="*/ 3722944 w 4545947"/>
              <a:gd name="connsiteY1152" fmla="*/ 942470 h 4525940"/>
              <a:gd name="connsiteX1153" fmla="*/ 3747598 w 4545947"/>
              <a:gd name="connsiteY1153" fmla="*/ 980659 h 4525940"/>
              <a:gd name="connsiteX1154" fmla="*/ 3757482 w 4545947"/>
              <a:gd name="connsiteY1154" fmla="*/ 976816 h 4525940"/>
              <a:gd name="connsiteX1155" fmla="*/ 3760153 w 4545947"/>
              <a:gd name="connsiteY1155" fmla="*/ 920630 h 4525940"/>
              <a:gd name="connsiteX1156" fmla="*/ 3753030 w 4545947"/>
              <a:gd name="connsiteY1156" fmla="*/ 885437 h 4525940"/>
              <a:gd name="connsiteX1157" fmla="*/ 3746345 w 4545947"/>
              <a:gd name="connsiteY1157" fmla="*/ 854042 h 4525940"/>
              <a:gd name="connsiteX1158" fmla="*/ 3742535 w 4545947"/>
              <a:gd name="connsiteY1158" fmla="*/ 825977 h 4525940"/>
              <a:gd name="connsiteX1159" fmla="*/ 3729804 w 4545947"/>
              <a:gd name="connsiteY1159" fmla="*/ 798436 h 4525940"/>
              <a:gd name="connsiteX1160" fmla="*/ 4044267 w 4545947"/>
              <a:gd name="connsiteY1160" fmla="*/ 755914 h 4525940"/>
              <a:gd name="connsiteX1161" fmla="*/ 4052223 w 4545947"/>
              <a:gd name="connsiteY1161" fmla="*/ 770158 h 4525940"/>
              <a:gd name="connsiteX1162" fmla="*/ 4044267 w 4545947"/>
              <a:gd name="connsiteY1162" fmla="*/ 784403 h 4525940"/>
              <a:gd name="connsiteX1163" fmla="*/ 4036310 w 4545947"/>
              <a:gd name="connsiteY1163" fmla="*/ 770158 h 4525940"/>
              <a:gd name="connsiteX1164" fmla="*/ 4044267 w 4545947"/>
              <a:gd name="connsiteY1164" fmla="*/ 755914 h 4525940"/>
              <a:gd name="connsiteX1165" fmla="*/ 4191963 w 4545947"/>
              <a:gd name="connsiteY1165" fmla="*/ 753633 h 4525940"/>
              <a:gd name="connsiteX1166" fmla="*/ 4213395 w 4545947"/>
              <a:gd name="connsiteY1166" fmla="*/ 793226 h 4525940"/>
              <a:gd name="connsiteX1167" fmla="*/ 4208313 w 4545947"/>
              <a:gd name="connsiteY1167" fmla="*/ 816057 h 4525940"/>
              <a:gd name="connsiteX1168" fmla="*/ 4202744 w 4545947"/>
              <a:gd name="connsiteY1168" fmla="*/ 800369 h 4525940"/>
              <a:gd name="connsiteX1169" fmla="*/ 4196694 w 4545947"/>
              <a:gd name="connsiteY1169" fmla="*/ 780951 h 4525940"/>
              <a:gd name="connsiteX1170" fmla="*/ 4188573 w 4545947"/>
              <a:gd name="connsiteY1170" fmla="*/ 764983 h 4525940"/>
              <a:gd name="connsiteX1171" fmla="*/ 4191963 w 4545947"/>
              <a:gd name="connsiteY1171" fmla="*/ 753633 h 4525940"/>
              <a:gd name="connsiteX1172" fmla="*/ 2207638 w 4545947"/>
              <a:gd name="connsiteY1172" fmla="*/ 740087 h 4525940"/>
              <a:gd name="connsiteX1173" fmla="*/ 2203265 w 4545947"/>
              <a:gd name="connsiteY1173" fmla="*/ 749119 h 4525940"/>
              <a:gd name="connsiteX1174" fmla="*/ 2195613 w 4545947"/>
              <a:gd name="connsiteY1174" fmla="*/ 761046 h 4525940"/>
              <a:gd name="connsiteX1175" fmla="*/ 2194738 w 4545947"/>
              <a:gd name="connsiteY1175" fmla="*/ 764676 h 4525940"/>
              <a:gd name="connsiteX1176" fmla="*/ 2206763 w 4545947"/>
              <a:gd name="connsiteY1176" fmla="*/ 757813 h 4525940"/>
              <a:gd name="connsiteX1177" fmla="*/ 2207638 w 4545947"/>
              <a:gd name="connsiteY1177" fmla="*/ 740087 h 4525940"/>
              <a:gd name="connsiteX1178" fmla="*/ 2492685 w 4545947"/>
              <a:gd name="connsiteY1178" fmla="*/ 661279 h 4525940"/>
              <a:gd name="connsiteX1179" fmla="*/ 2487033 w 4545947"/>
              <a:gd name="connsiteY1179" fmla="*/ 671621 h 4525940"/>
              <a:gd name="connsiteX1180" fmla="*/ 2481109 w 4545947"/>
              <a:gd name="connsiteY1180" fmla="*/ 700808 h 4525940"/>
              <a:gd name="connsiteX1181" fmla="*/ 2491725 w 4545947"/>
              <a:gd name="connsiteY1181" fmla="*/ 713470 h 4525940"/>
              <a:gd name="connsiteX1182" fmla="*/ 2504127 w 4545947"/>
              <a:gd name="connsiteY1182" fmla="*/ 692066 h 4525940"/>
              <a:gd name="connsiteX1183" fmla="*/ 2498966 w 4545947"/>
              <a:gd name="connsiteY1183" fmla="*/ 664751 h 4525940"/>
              <a:gd name="connsiteX1184" fmla="*/ 2492685 w 4545947"/>
              <a:gd name="connsiteY1184" fmla="*/ 661279 h 4525940"/>
              <a:gd name="connsiteX1185" fmla="*/ 1542281 w 4545947"/>
              <a:gd name="connsiteY1185" fmla="*/ 646751 h 4525940"/>
              <a:gd name="connsiteX1186" fmla="*/ 1547326 w 4545947"/>
              <a:gd name="connsiteY1186" fmla="*/ 654093 h 4525940"/>
              <a:gd name="connsiteX1187" fmla="*/ 1540402 w 4545947"/>
              <a:gd name="connsiteY1187" fmla="*/ 664117 h 4525940"/>
              <a:gd name="connsiteX1188" fmla="*/ 1535210 w 4545947"/>
              <a:gd name="connsiteY1188" fmla="*/ 656599 h 4525940"/>
              <a:gd name="connsiteX1189" fmla="*/ 1542281 w 4545947"/>
              <a:gd name="connsiteY1189" fmla="*/ 646751 h 4525940"/>
              <a:gd name="connsiteX1190" fmla="*/ 4233596 w 4545947"/>
              <a:gd name="connsiteY1190" fmla="*/ 626131 h 4525940"/>
              <a:gd name="connsiteX1191" fmla="*/ 4297896 w 4545947"/>
              <a:gd name="connsiteY1191" fmla="*/ 718993 h 4525940"/>
              <a:gd name="connsiteX1192" fmla="*/ 4291336 w 4545947"/>
              <a:gd name="connsiteY1192" fmla="*/ 729715 h 4525940"/>
              <a:gd name="connsiteX1193" fmla="*/ 4284778 w 4545947"/>
              <a:gd name="connsiteY1193" fmla="*/ 755341 h 4525940"/>
              <a:gd name="connsiteX1194" fmla="*/ 4266012 w 4545947"/>
              <a:gd name="connsiteY1194" fmla="*/ 772883 h 4525940"/>
              <a:gd name="connsiteX1195" fmla="*/ 4256152 w 4545947"/>
              <a:gd name="connsiteY1195" fmla="*/ 754391 h 4525940"/>
              <a:gd name="connsiteX1196" fmla="*/ 4254030 w 4545947"/>
              <a:gd name="connsiteY1196" fmla="*/ 746418 h 4525940"/>
              <a:gd name="connsiteX1197" fmla="*/ 4249794 w 4545947"/>
              <a:gd name="connsiteY1197" fmla="*/ 730392 h 4525940"/>
              <a:gd name="connsiteX1198" fmla="*/ 4242141 w 4545947"/>
              <a:gd name="connsiteY1198" fmla="*/ 710456 h 4525940"/>
              <a:gd name="connsiteX1199" fmla="*/ 4214811 w 4545947"/>
              <a:gd name="connsiteY1199" fmla="*/ 669344 h 4525940"/>
              <a:gd name="connsiteX1200" fmla="*/ 4218709 w 4545947"/>
              <a:gd name="connsiteY1200" fmla="*/ 657786 h 4525940"/>
              <a:gd name="connsiteX1201" fmla="*/ 4225352 w 4545947"/>
              <a:gd name="connsiteY1201" fmla="*/ 641959 h 4525940"/>
              <a:gd name="connsiteX1202" fmla="*/ 4233596 w 4545947"/>
              <a:gd name="connsiteY1202" fmla="*/ 626131 h 4525940"/>
              <a:gd name="connsiteX1203" fmla="*/ 2100311 w 4545947"/>
              <a:gd name="connsiteY1203" fmla="*/ 609600 h 4525940"/>
              <a:gd name="connsiteX1204" fmla="*/ 2108154 w 4545947"/>
              <a:gd name="connsiteY1204" fmla="*/ 610589 h 4525940"/>
              <a:gd name="connsiteX1205" fmla="*/ 2122602 w 4545947"/>
              <a:gd name="connsiteY1205" fmla="*/ 631911 h 4525940"/>
              <a:gd name="connsiteX1206" fmla="*/ 2101230 w 4545947"/>
              <a:gd name="connsiteY1206" fmla="*/ 634573 h 4525940"/>
              <a:gd name="connsiteX1207" fmla="*/ 2098315 w 4545947"/>
              <a:gd name="connsiteY1207" fmla="*/ 618319 h 4525940"/>
              <a:gd name="connsiteX1208" fmla="*/ 2100311 w 4545947"/>
              <a:gd name="connsiteY1208" fmla="*/ 609600 h 4525940"/>
              <a:gd name="connsiteX1209" fmla="*/ 4009611 w 4545947"/>
              <a:gd name="connsiteY1209" fmla="*/ 608352 h 4525940"/>
              <a:gd name="connsiteX1210" fmla="*/ 4014312 w 4545947"/>
              <a:gd name="connsiteY1210" fmla="*/ 616635 h 4525940"/>
              <a:gd name="connsiteX1211" fmla="*/ 4009611 w 4545947"/>
              <a:gd name="connsiteY1211" fmla="*/ 624918 h 4525940"/>
              <a:gd name="connsiteX1212" fmla="*/ 4004911 w 4545947"/>
              <a:gd name="connsiteY1212" fmla="*/ 616635 h 4525940"/>
              <a:gd name="connsiteX1213" fmla="*/ 4009611 w 4545947"/>
              <a:gd name="connsiteY1213" fmla="*/ 608352 h 4525940"/>
              <a:gd name="connsiteX1214" fmla="*/ 4096448 w 4545947"/>
              <a:gd name="connsiteY1214" fmla="*/ 583964 h 4525940"/>
              <a:gd name="connsiteX1215" fmla="*/ 4107195 w 4545947"/>
              <a:gd name="connsiteY1215" fmla="*/ 593827 h 4525940"/>
              <a:gd name="connsiteX1216" fmla="*/ 4128369 w 4545947"/>
              <a:gd name="connsiteY1216" fmla="*/ 607139 h 4525940"/>
              <a:gd name="connsiteX1217" fmla="*/ 4153590 w 4545947"/>
              <a:gd name="connsiteY1217" fmla="*/ 630348 h 4525940"/>
              <a:gd name="connsiteX1218" fmla="*/ 4149141 w 4545947"/>
              <a:gd name="connsiteY1218" fmla="*/ 641890 h 4525940"/>
              <a:gd name="connsiteX1219" fmla="*/ 4120525 w 4545947"/>
              <a:gd name="connsiteY1219" fmla="*/ 642281 h 4525940"/>
              <a:gd name="connsiteX1220" fmla="*/ 4067481 w 4545947"/>
              <a:gd name="connsiteY1220" fmla="*/ 703404 h 4525940"/>
              <a:gd name="connsiteX1221" fmla="*/ 4035521 w 4545947"/>
              <a:gd name="connsiteY1221" fmla="*/ 724260 h 4525940"/>
              <a:gd name="connsiteX1222" fmla="*/ 4039894 w 4545947"/>
              <a:gd name="connsiteY1222" fmla="*/ 714763 h 4525940"/>
              <a:gd name="connsiteX1223" fmla="*/ 4039254 w 4545947"/>
              <a:gd name="connsiteY1223" fmla="*/ 671317 h 4525940"/>
              <a:gd name="connsiteX1224" fmla="*/ 4044061 w 4545947"/>
              <a:gd name="connsiteY1224" fmla="*/ 629112 h 4525940"/>
              <a:gd name="connsiteX1225" fmla="*/ 4057125 w 4545947"/>
              <a:gd name="connsiteY1225" fmla="*/ 614000 h 4525940"/>
              <a:gd name="connsiteX1226" fmla="*/ 4081844 w 4545947"/>
              <a:gd name="connsiteY1226" fmla="*/ 587951 h 4525940"/>
              <a:gd name="connsiteX1227" fmla="*/ 4096448 w 4545947"/>
              <a:gd name="connsiteY1227" fmla="*/ 583964 h 4525940"/>
              <a:gd name="connsiteX1228" fmla="*/ 3399607 w 4545947"/>
              <a:gd name="connsiteY1228" fmla="*/ 565410 h 4525940"/>
              <a:gd name="connsiteX1229" fmla="*/ 3390710 w 4545947"/>
              <a:gd name="connsiteY1229" fmla="*/ 595369 h 4525940"/>
              <a:gd name="connsiteX1230" fmla="*/ 3412518 w 4545947"/>
              <a:gd name="connsiteY1230" fmla="*/ 593840 h 4525940"/>
              <a:gd name="connsiteX1231" fmla="*/ 3399607 w 4545947"/>
              <a:gd name="connsiteY1231" fmla="*/ 565410 h 4525940"/>
              <a:gd name="connsiteX1232" fmla="*/ 3753272 w 4545947"/>
              <a:gd name="connsiteY1232" fmla="*/ 543830 h 4525940"/>
              <a:gd name="connsiteX1233" fmla="*/ 3790519 w 4545947"/>
              <a:gd name="connsiteY1233" fmla="*/ 599225 h 4525940"/>
              <a:gd name="connsiteX1234" fmla="*/ 3794812 w 4545947"/>
              <a:gd name="connsiteY1234" fmla="*/ 607139 h 4525940"/>
              <a:gd name="connsiteX1235" fmla="*/ 3804642 w 4545947"/>
              <a:gd name="connsiteY1235" fmla="*/ 659368 h 4525940"/>
              <a:gd name="connsiteX1236" fmla="*/ 3808129 w 4545947"/>
              <a:gd name="connsiteY1236" fmla="*/ 664117 h 4525940"/>
              <a:gd name="connsiteX1237" fmla="*/ 3812502 w 4545947"/>
              <a:gd name="connsiteY1237" fmla="*/ 679944 h 4525940"/>
              <a:gd name="connsiteX1238" fmla="*/ 3805943 w 4545947"/>
              <a:gd name="connsiteY1238" fmla="*/ 695771 h 4525940"/>
              <a:gd name="connsiteX1239" fmla="*/ 3799383 w 4545947"/>
              <a:gd name="connsiteY1239" fmla="*/ 686189 h 4525940"/>
              <a:gd name="connsiteX1240" fmla="*/ 3795328 w 4545947"/>
              <a:gd name="connsiteY1240" fmla="*/ 665613 h 4525940"/>
              <a:gd name="connsiteX1241" fmla="*/ 3788882 w 4545947"/>
              <a:gd name="connsiteY1241" fmla="*/ 643446 h 4525940"/>
              <a:gd name="connsiteX1242" fmla="*/ 3776114 w 4545947"/>
              <a:gd name="connsiteY1242" fmla="*/ 626562 h 4525940"/>
              <a:gd name="connsiteX1243" fmla="*/ 3757864 w 4545947"/>
              <a:gd name="connsiteY1243" fmla="*/ 596585 h 4525940"/>
              <a:gd name="connsiteX1244" fmla="*/ 3745624 w 4545947"/>
              <a:gd name="connsiteY1244" fmla="*/ 568210 h 4525940"/>
              <a:gd name="connsiteX1245" fmla="*/ 3753272 w 4545947"/>
              <a:gd name="connsiteY1245" fmla="*/ 543830 h 4525940"/>
              <a:gd name="connsiteX1246" fmla="*/ 2508411 w 4545947"/>
              <a:gd name="connsiteY1246" fmla="*/ 515434 h 4525940"/>
              <a:gd name="connsiteX1247" fmla="*/ 2493352 w 4545947"/>
              <a:gd name="connsiteY1247" fmla="*/ 518847 h 4525940"/>
              <a:gd name="connsiteX1248" fmla="*/ 2472948 w 4545947"/>
              <a:gd name="connsiteY1248" fmla="*/ 519406 h 4525940"/>
              <a:gd name="connsiteX1249" fmla="*/ 2426655 w 4545947"/>
              <a:gd name="connsiteY1249" fmla="*/ 542091 h 4525940"/>
              <a:gd name="connsiteX1250" fmla="*/ 2421860 w 4545947"/>
              <a:gd name="connsiteY1250" fmla="*/ 628589 h 4525940"/>
              <a:gd name="connsiteX1251" fmla="*/ 2426284 w 4545947"/>
              <a:gd name="connsiteY1251" fmla="*/ 648832 h 4525940"/>
              <a:gd name="connsiteX1252" fmla="*/ 2440777 w 4545947"/>
              <a:gd name="connsiteY1252" fmla="*/ 700519 h 4525940"/>
              <a:gd name="connsiteX1253" fmla="*/ 2459393 w 4545947"/>
              <a:gd name="connsiteY1253" fmla="*/ 699389 h 4525940"/>
              <a:gd name="connsiteX1254" fmla="*/ 2459081 w 4545947"/>
              <a:gd name="connsiteY1254" fmla="*/ 657786 h 4525940"/>
              <a:gd name="connsiteX1255" fmla="*/ 2459470 w 4545947"/>
              <a:gd name="connsiteY1255" fmla="*/ 641298 h 4525940"/>
              <a:gd name="connsiteX1256" fmla="*/ 2477551 w 4545947"/>
              <a:gd name="connsiteY1256" fmla="*/ 632480 h 4525940"/>
              <a:gd name="connsiteX1257" fmla="*/ 2483722 w 4545947"/>
              <a:gd name="connsiteY1257" fmla="*/ 619800 h 4525940"/>
              <a:gd name="connsiteX1258" fmla="*/ 2478759 w 4545947"/>
              <a:gd name="connsiteY1258" fmla="*/ 588146 h 4525940"/>
              <a:gd name="connsiteX1259" fmla="*/ 2485319 w 4545947"/>
              <a:gd name="connsiteY1259" fmla="*/ 556492 h 4525940"/>
              <a:gd name="connsiteX1260" fmla="*/ 2491878 w 4545947"/>
              <a:gd name="connsiteY1260" fmla="*/ 564659 h 4525940"/>
              <a:gd name="connsiteX1261" fmla="*/ 2508588 w 4545947"/>
              <a:gd name="connsiteY1261" fmla="*/ 599558 h 4525940"/>
              <a:gd name="connsiteX1262" fmla="*/ 2525299 w 4545947"/>
              <a:gd name="connsiteY1262" fmla="*/ 626289 h 4525940"/>
              <a:gd name="connsiteX1263" fmla="*/ 2539199 w 4545947"/>
              <a:gd name="connsiteY1263" fmla="*/ 616250 h 4525940"/>
              <a:gd name="connsiteX1264" fmla="*/ 2548428 w 4545947"/>
              <a:gd name="connsiteY1264" fmla="*/ 572052 h 4525940"/>
              <a:gd name="connsiteX1265" fmla="*/ 2546291 w 4545947"/>
              <a:gd name="connsiteY1265" fmla="*/ 558312 h 4525940"/>
              <a:gd name="connsiteX1266" fmla="*/ 2542439 w 4545947"/>
              <a:gd name="connsiteY1266" fmla="*/ 552299 h 4525940"/>
              <a:gd name="connsiteX1267" fmla="*/ 2537847 w 4545947"/>
              <a:gd name="connsiteY1267" fmla="*/ 548256 h 4525940"/>
              <a:gd name="connsiteX1268" fmla="*/ 2523962 w 4545947"/>
              <a:gd name="connsiteY1268" fmla="*/ 526189 h 4525940"/>
              <a:gd name="connsiteX1269" fmla="*/ 2508411 w 4545947"/>
              <a:gd name="connsiteY1269" fmla="*/ 515434 h 4525940"/>
              <a:gd name="connsiteX1270" fmla="*/ 3394917 w 4545947"/>
              <a:gd name="connsiteY1270" fmla="*/ 499514 h 4525940"/>
              <a:gd name="connsiteX1271" fmla="*/ 3385075 w 4545947"/>
              <a:gd name="connsiteY1271" fmla="*/ 540733 h 4525940"/>
              <a:gd name="connsiteX1272" fmla="*/ 3404022 w 4545947"/>
              <a:gd name="connsiteY1272" fmla="*/ 534348 h 4525940"/>
              <a:gd name="connsiteX1273" fmla="*/ 3394917 w 4545947"/>
              <a:gd name="connsiteY1273" fmla="*/ 499514 h 4525940"/>
              <a:gd name="connsiteX1274" fmla="*/ 2473972 w 4545947"/>
              <a:gd name="connsiteY1274" fmla="*/ 490389 h 4525940"/>
              <a:gd name="connsiteX1275" fmla="*/ 2475523 w 4545947"/>
              <a:gd name="connsiteY1275" fmla="*/ 502376 h 4525940"/>
              <a:gd name="connsiteX1276" fmla="*/ 2480591 w 4545947"/>
              <a:gd name="connsiteY1276" fmla="*/ 497291 h 4525940"/>
              <a:gd name="connsiteX1277" fmla="*/ 2473972 w 4545947"/>
              <a:gd name="connsiteY1277" fmla="*/ 490389 h 4525940"/>
              <a:gd name="connsiteX1278" fmla="*/ 2576610 w 4545947"/>
              <a:gd name="connsiteY1278" fmla="*/ 482359 h 4525940"/>
              <a:gd name="connsiteX1279" fmla="*/ 2586852 w 4545947"/>
              <a:gd name="connsiteY1279" fmla="*/ 505111 h 4525940"/>
              <a:gd name="connsiteX1280" fmla="*/ 2586989 w 4545947"/>
              <a:gd name="connsiteY1280" fmla="*/ 501481 h 4525940"/>
              <a:gd name="connsiteX1281" fmla="*/ 2579336 w 4545947"/>
              <a:gd name="connsiteY1281" fmla="*/ 488499 h 4525940"/>
              <a:gd name="connsiteX1282" fmla="*/ 2576610 w 4545947"/>
              <a:gd name="connsiteY1282" fmla="*/ 482359 h 4525940"/>
              <a:gd name="connsiteX1283" fmla="*/ 2585636 w 4545947"/>
              <a:gd name="connsiteY1283" fmla="*/ 469292 h 4525940"/>
              <a:gd name="connsiteX1284" fmla="*/ 2590998 w 4545947"/>
              <a:gd name="connsiteY1284" fmla="*/ 485006 h 4525940"/>
              <a:gd name="connsiteX1285" fmla="*/ 2600616 w 4545947"/>
              <a:gd name="connsiteY1285" fmla="*/ 491243 h 4525940"/>
              <a:gd name="connsiteX1286" fmla="*/ 2595253 w 4545947"/>
              <a:gd name="connsiteY1286" fmla="*/ 475529 h 4525940"/>
              <a:gd name="connsiteX1287" fmla="*/ 2585636 w 4545947"/>
              <a:gd name="connsiteY1287" fmla="*/ 469292 h 4525940"/>
              <a:gd name="connsiteX1288" fmla="*/ 3422903 w 4545947"/>
              <a:gd name="connsiteY1288" fmla="*/ 465059 h 4525940"/>
              <a:gd name="connsiteX1289" fmla="*/ 3418939 w 4545947"/>
              <a:gd name="connsiteY1289" fmla="*/ 477730 h 4525940"/>
              <a:gd name="connsiteX1290" fmla="*/ 3424580 w 4545947"/>
              <a:gd name="connsiteY1290" fmla="*/ 474182 h 4525940"/>
              <a:gd name="connsiteX1291" fmla="*/ 3422903 w 4545947"/>
              <a:gd name="connsiteY1291" fmla="*/ 465059 h 4525940"/>
              <a:gd name="connsiteX1292" fmla="*/ 3788764 w 4545947"/>
              <a:gd name="connsiteY1292" fmla="*/ 436206 h 4525940"/>
              <a:gd name="connsiteX1293" fmla="*/ 3799916 w 4545947"/>
              <a:gd name="connsiteY1293" fmla="*/ 450450 h 4525940"/>
              <a:gd name="connsiteX1294" fmla="*/ 3813589 w 4545947"/>
              <a:gd name="connsiteY1294" fmla="*/ 475438 h 4525940"/>
              <a:gd name="connsiteX1295" fmla="*/ 3819205 w 4545947"/>
              <a:gd name="connsiteY1295" fmla="*/ 492847 h 4525940"/>
              <a:gd name="connsiteX1296" fmla="*/ 3796103 w 4545947"/>
              <a:gd name="connsiteY1296" fmla="*/ 490044 h 4525940"/>
              <a:gd name="connsiteX1297" fmla="*/ 3790637 w 4545947"/>
              <a:gd name="connsiteY1297" fmla="*/ 475233 h 4525940"/>
              <a:gd name="connsiteX1298" fmla="*/ 3784337 w 4545947"/>
              <a:gd name="connsiteY1298" fmla="*/ 461842 h 4525940"/>
              <a:gd name="connsiteX1299" fmla="*/ 3788764 w 4545947"/>
              <a:gd name="connsiteY1299" fmla="*/ 436206 h 4525940"/>
              <a:gd name="connsiteX1300" fmla="*/ 2416536 w 4545947"/>
              <a:gd name="connsiteY1300" fmla="*/ 393600 h 4525940"/>
              <a:gd name="connsiteX1301" fmla="*/ 2421911 w 4545947"/>
              <a:gd name="connsiteY1301" fmla="*/ 404024 h 4525940"/>
              <a:gd name="connsiteX1302" fmla="*/ 2415031 w 4545947"/>
              <a:gd name="connsiteY1302" fmla="*/ 417213 h 4525940"/>
              <a:gd name="connsiteX1303" fmla="*/ 2409565 w 4545947"/>
              <a:gd name="connsiteY1303" fmla="*/ 406659 h 4525940"/>
              <a:gd name="connsiteX1304" fmla="*/ 2416536 w 4545947"/>
              <a:gd name="connsiteY1304" fmla="*/ 393600 h 4525940"/>
              <a:gd name="connsiteX1305" fmla="*/ 3384911 w 4545947"/>
              <a:gd name="connsiteY1305" fmla="*/ 341340 h 4525940"/>
              <a:gd name="connsiteX1306" fmla="*/ 3372417 w 4545947"/>
              <a:gd name="connsiteY1306" fmla="*/ 369731 h 4525940"/>
              <a:gd name="connsiteX1307" fmla="*/ 3380538 w 4545947"/>
              <a:gd name="connsiteY1307" fmla="*/ 378728 h 4525940"/>
              <a:gd name="connsiteX1308" fmla="*/ 3380675 w 4545947"/>
              <a:gd name="connsiteY1308" fmla="*/ 375035 h 4525940"/>
              <a:gd name="connsiteX1309" fmla="*/ 3380675 w 4545947"/>
              <a:gd name="connsiteY1309" fmla="*/ 375035 h 4525940"/>
              <a:gd name="connsiteX1310" fmla="*/ 3375209 w 4545947"/>
              <a:gd name="connsiteY1310" fmla="*/ 359334 h 4525940"/>
              <a:gd name="connsiteX1311" fmla="*/ 3378698 w 4545947"/>
              <a:gd name="connsiteY1311" fmla="*/ 349948 h 4525940"/>
              <a:gd name="connsiteX1312" fmla="*/ 3388537 w 4545947"/>
              <a:gd name="connsiteY1312" fmla="*/ 347252 h 4525940"/>
              <a:gd name="connsiteX1313" fmla="*/ 3384911 w 4545947"/>
              <a:gd name="connsiteY1313" fmla="*/ 341340 h 4525940"/>
              <a:gd name="connsiteX1314" fmla="*/ 3481752 w 4545947"/>
              <a:gd name="connsiteY1314" fmla="*/ 328581 h 4525940"/>
              <a:gd name="connsiteX1315" fmla="*/ 3473209 w 4545947"/>
              <a:gd name="connsiteY1315" fmla="*/ 344408 h 4525940"/>
              <a:gd name="connsiteX1316" fmla="*/ 3451077 w 4545947"/>
              <a:gd name="connsiteY1316" fmla="*/ 360235 h 4525940"/>
              <a:gd name="connsiteX1317" fmla="*/ 3425989 w 4545947"/>
              <a:gd name="connsiteY1317" fmla="*/ 367943 h 4525940"/>
              <a:gd name="connsiteX1318" fmla="*/ 3435239 w 4545947"/>
              <a:gd name="connsiteY1318" fmla="*/ 429875 h 4525940"/>
              <a:gd name="connsiteX1319" fmla="*/ 3440516 w 4545947"/>
              <a:gd name="connsiteY1319" fmla="*/ 463112 h 4525940"/>
              <a:gd name="connsiteX1320" fmla="*/ 3443678 w 4545947"/>
              <a:gd name="connsiteY1320" fmla="*/ 486853 h 4525940"/>
              <a:gd name="connsiteX1321" fmla="*/ 3449549 w 4545947"/>
              <a:gd name="connsiteY1321" fmla="*/ 501624 h 4525940"/>
              <a:gd name="connsiteX1322" fmla="*/ 3464675 w 4545947"/>
              <a:gd name="connsiteY1322" fmla="*/ 523522 h 4525940"/>
              <a:gd name="connsiteX1323" fmla="*/ 3474924 w 4545947"/>
              <a:gd name="connsiteY1323" fmla="*/ 480522 h 4525940"/>
              <a:gd name="connsiteX1324" fmla="*/ 3480390 w 4545947"/>
              <a:gd name="connsiteY1324" fmla="*/ 433357 h 4525940"/>
              <a:gd name="connsiteX1325" fmla="*/ 3484532 w 4545947"/>
              <a:gd name="connsiteY1325" fmla="*/ 412781 h 4525940"/>
              <a:gd name="connsiteX1326" fmla="*/ 3490938 w 4545947"/>
              <a:gd name="connsiteY1326" fmla="*/ 398220 h 4525940"/>
              <a:gd name="connsiteX1327" fmla="*/ 3504808 w 4545947"/>
              <a:gd name="connsiteY1327" fmla="*/ 364853 h 4525940"/>
              <a:gd name="connsiteX1328" fmla="*/ 3481752 w 4545947"/>
              <a:gd name="connsiteY1328" fmla="*/ 328581 h 4525940"/>
              <a:gd name="connsiteX1329" fmla="*/ 3250209 w 4545947"/>
              <a:gd name="connsiteY1329" fmla="*/ 322250 h 4525940"/>
              <a:gd name="connsiteX1330" fmla="*/ 3218734 w 4545947"/>
              <a:gd name="connsiteY1330" fmla="*/ 345991 h 4525940"/>
              <a:gd name="connsiteX1331" fmla="*/ 3207511 w 4545947"/>
              <a:gd name="connsiteY1331" fmla="*/ 353905 h 4525940"/>
              <a:gd name="connsiteX1332" fmla="*/ 3185026 w 4545947"/>
              <a:gd name="connsiteY1332" fmla="*/ 391710 h 4525940"/>
              <a:gd name="connsiteX1333" fmla="*/ 3190049 w 4545947"/>
              <a:gd name="connsiteY1333" fmla="*/ 417333 h 4525940"/>
              <a:gd name="connsiteX1334" fmla="*/ 3209038 w 4545947"/>
              <a:gd name="connsiteY1334" fmla="*/ 423965 h 4525940"/>
              <a:gd name="connsiteX1335" fmla="*/ 3221064 w 4545947"/>
              <a:gd name="connsiteY1335" fmla="*/ 416051 h 4525940"/>
              <a:gd name="connsiteX1336" fmla="*/ 3234472 w 4545947"/>
              <a:gd name="connsiteY1336" fmla="*/ 396638 h 4525940"/>
              <a:gd name="connsiteX1337" fmla="*/ 3252767 w 4545947"/>
              <a:gd name="connsiteY1337" fmla="*/ 392871 h 4525940"/>
              <a:gd name="connsiteX1338" fmla="*/ 3261513 w 4545947"/>
              <a:gd name="connsiteY1338" fmla="*/ 395055 h 4525940"/>
              <a:gd name="connsiteX1339" fmla="*/ 3250209 w 4545947"/>
              <a:gd name="connsiteY1339" fmla="*/ 322250 h 4525940"/>
              <a:gd name="connsiteX1340" fmla="*/ 3735611 w 4545947"/>
              <a:gd name="connsiteY1340" fmla="*/ 303258 h 4525940"/>
              <a:gd name="connsiteX1341" fmla="*/ 3742535 w 4545947"/>
              <a:gd name="connsiteY1341" fmla="*/ 312227 h 4525940"/>
              <a:gd name="connsiteX1342" fmla="*/ 3747682 w 4545947"/>
              <a:gd name="connsiteY1342" fmla="*/ 323679 h 4525940"/>
              <a:gd name="connsiteX1343" fmla="*/ 3749611 w 4545947"/>
              <a:gd name="connsiteY1343" fmla="*/ 333703 h 4525940"/>
              <a:gd name="connsiteX1344" fmla="*/ 3736483 w 4545947"/>
              <a:gd name="connsiteY1344" fmla="*/ 330164 h 4525940"/>
              <a:gd name="connsiteX1345" fmla="*/ 3731235 w 4545947"/>
              <a:gd name="connsiteY1345" fmla="*/ 311171 h 4525940"/>
              <a:gd name="connsiteX1346" fmla="*/ 3735611 w 4545947"/>
              <a:gd name="connsiteY1346" fmla="*/ 303258 h 4525940"/>
              <a:gd name="connsiteX1347" fmla="*/ 2667524 w 4545947"/>
              <a:gd name="connsiteY1347" fmla="*/ 278974 h 4525940"/>
              <a:gd name="connsiteX1348" fmla="*/ 2658117 w 4545947"/>
              <a:gd name="connsiteY1348" fmla="*/ 316447 h 4525940"/>
              <a:gd name="connsiteX1349" fmla="*/ 2673175 w 4545947"/>
              <a:gd name="connsiteY1349" fmla="*/ 346258 h 4525940"/>
              <a:gd name="connsiteX1350" fmla="*/ 2682100 w 4545947"/>
              <a:gd name="connsiteY1350" fmla="*/ 316609 h 4525940"/>
              <a:gd name="connsiteX1351" fmla="*/ 2674323 w 4545947"/>
              <a:gd name="connsiteY1351" fmla="*/ 281790 h 4525940"/>
              <a:gd name="connsiteX1352" fmla="*/ 2667524 w 4545947"/>
              <a:gd name="connsiteY1352" fmla="*/ 278974 h 4525940"/>
              <a:gd name="connsiteX1353" fmla="*/ 2403748 w 4545947"/>
              <a:gd name="connsiteY1353" fmla="*/ 222584 h 4525940"/>
              <a:gd name="connsiteX1354" fmla="*/ 2408792 w 4545947"/>
              <a:gd name="connsiteY1354" fmla="*/ 229925 h 4525940"/>
              <a:gd name="connsiteX1355" fmla="*/ 2401869 w 4545947"/>
              <a:gd name="connsiteY1355" fmla="*/ 239949 h 4525940"/>
              <a:gd name="connsiteX1356" fmla="*/ 2396676 w 4545947"/>
              <a:gd name="connsiteY1356" fmla="*/ 232431 h 4525940"/>
              <a:gd name="connsiteX1357" fmla="*/ 2403748 w 4545947"/>
              <a:gd name="connsiteY1357" fmla="*/ 222584 h 4525940"/>
              <a:gd name="connsiteX1358" fmla="*/ 3661635 w 4545947"/>
              <a:gd name="connsiteY1358" fmla="*/ 214625 h 4525940"/>
              <a:gd name="connsiteX1359" fmla="*/ 3668195 w 4545947"/>
              <a:gd name="connsiteY1359" fmla="*/ 227287 h 4525940"/>
              <a:gd name="connsiteX1360" fmla="*/ 3661635 w 4545947"/>
              <a:gd name="connsiteY1360" fmla="*/ 239949 h 4525940"/>
              <a:gd name="connsiteX1361" fmla="*/ 3655077 w 4545947"/>
              <a:gd name="connsiteY1361" fmla="*/ 227287 h 4525940"/>
              <a:gd name="connsiteX1362" fmla="*/ 3661635 w 4545947"/>
              <a:gd name="connsiteY1362" fmla="*/ 214625 h 4525940"/>
              <a:gd name="connsiteX1363" fmla="*/ 2458546 w 4545947"/>
              <a:gd name="connsiteY1363" fmla="*/ 189624 h 4525940"/>
              <a:gd name="connsiteX1364" fmla="*/ 2468139 w 4545947"/>
              <a:gd name="connsiteY1364" fmla="*/ 196363 h 4525940"/>
              <a:gd name="connsiteX1365" fmla="*/ 2489869 w 4545947"/>
              <a:gd name="connsiteY1365" fmla="*/ 200371 h 4525940"/>
              <a:gd name="connsiteX1366" fmla="*/ 2518076 w 4545947"/>
              <a:gd name="connsiteY1366" fmla="*/ 215902 h 4525940"/>
              <a:gd name="connsiteX1367" fmla="*/ 2525165 w 4545947"/>
              <a:gd name="connsiteY1367" fmla="*/ 243549 h 4525940"/>
              <a:gd name="connsiteX1368" fmla="*/ 2511500 w 4545947"/>
              <a:gd name="connsiteY1368" fmla="*/ 238403 h 4525940"/>
              <a:gd name="connsiteX1369" fmla="*/ 2489102 w 4545947"/>
              <a:gd name="connsiteY1369" fmla="*/ 239473 h 4525940"/>
              <a:gd name="connsiteX1370" fmla="*/ 2470013 w 4545947"/>
              <a:gd name="connsiteY1370" fmla="*/ 246218 h 4525940"/>
              <a:gd name="connsiteX1371" fmla="*/ 2461268 w 4545947"/>
              <a:gd name="connsiteY1371" fmla="*/ 222653 h 4525940"/>
              <a:gd name="connsiteX1372" fmla="*/ 2452522 w 4545947"/>
              <a:gd name="connsiteY1372" fmla="*/ 200557 h 4525940"/>
              <a:gd name="connsiteX1373" fmla="*/ 2458546 w 4545947"/>
              <a:gd name="connsiteY1373" fmla="*/ 189624 h 4525940"/>
              <a:gd name="connsiteX1374" fmla="*/ 2511298 w 4545947"/>
              <a:gd name="connsiteY1374" fmla="*/ 176640 h 4525940"/>
              <a:gd name="connsiteX1375" fmla="*/ 2518116 w 4545947"/>
              <a:gd name="connsiteY1375" fmla="*/ 182971 h 4525940"/>
              <a:gd name="connsiteX1376" fmla="*/ 2514001 w 4545947"/>
              <a:gd name="connsiteY1376" fmla="*/ 189302 h 4525940"/>
              <a:gd name="connsiteX1377" fmla="*/ 2507183 w 4545947"/>
              <a:gd name="connsiteY1377" fmla="*/ 182971 h 4525940"/>
              <a:gd name="connsiteX1378" fmla="*/ 2511298 w 4545947"/>
              <a:gd name="connsiteY1378" fmla="*/ 176640 h 4525940"/>
              <a:gd name="connsiteX1379" fmla="*/ 2555929 w 4545947"/>
              <a:gd name="connsiteY1379" fmla="*/ 171777 h 4525940"/>
              <a:gd name="connsiteX1380" fmla="*/ 2582482 w 4545947"/>
              <a:gd name="connsiteY1380" fmla="*/ 177792 h 4525940"/>
              <a:gd name="connsiteX1381" fmla="*/ 2574699 w 4545947"/>
              <a:gd name="connsiteY1381" fmla="*/ 193528 h 4525940"/>
              <a:gd name="connsiteX1382" fmla="*/ 2555286 w 4545947"/>
              <a:gd name="connsiteY1382" fmla="*/ 195633 h 4525940"/>
              <a:gd name="connsiteX1383" fmla="*/ 2544095 w 4545947"/>
              <a:gd name="connsiteY1383" fmla="*/ 189302 h 4525940"/>
              <a:gd name="connsiteX1384" fmla="*/ 2535607 w 4545947"/>
              <a:gd name="connsiteY1384" fmla="*/ 181183 h 4525940"/>
              <a:gd name="connsiteX1385" fmla="*/ 2555929 w 4545947"/>
              <a:gd name="connsiteY1385" fmla="*/ 171777 h 4525940"/>
              <a:gd name="connsiteX1386" fmla="*/ 2651238 w 4545947"/>
              <a:gd name="connsiteY1386" fmla="*/ 166688 h 4525940"/>
              <a:gd name="connsiteX1387" fmla="*/ 2662423 w 4545947"/>
              <a:gd name="connsiteY1387" fmla="*/ 186823 h 4525940"/>
              <a:gd name="connsiteX1388" fmla="*/ 2658132 w 4545947"/>
              <a:gd name="connsiteY1388" fmla="*/ 201964 h 4525940"/>
              <a:gd name="connsiteX1389" fmla="*/ 2651099 w 4545947"/>
              <a:gd name="connsiteY1389" fmla="*/ 217791 h 4525940"/>
              <a:gd name="connsiteX1390" fmla="*/ 2631294 w 4545947"/>
              <a:gd name="connsiteY1390" fmla="*/ 228870 h 4525940"/>
              <a:gd name="connsiteX1391" fmla="*/ 2631294 w 4545947"/>
              <a:gd name="connsiteY1391" fmla="*/ 219374 h 4525940"/>
              <a:gd name="connsiteX1392" fmla="*/ 2627439 w 4545947"/>
              <a:gd name="connsiteY1392" fmla="*/ 214625 h 4525940"/>
              <a:gd name="connsiteX1393" fmla="*/ 2631687 w 4545947"/>
              <a:gd name="connsiteY1393" fmla="*/ 178004 h 4525940"/>
              <a:gd name="connsiteX1394" fmla="*/ 2651238 w 4545947"/>
              <a:gd name="connsiteY1394" fmla="*/ 166688 h 4525940"/>
              <a:gd name="connsiteX1395" fmla="*/ 3294675 w 4545947"/>
              <a:gd name="connsiteY1395" fmla="*/ 163979 h 4525940"/>
              <a:gd name="connsiteX1396" fmla="*/ 3292944 w 4545947"/>
              <a:gd name="connsiteY1396" fmla="*/ 181520 h 4525940"/>
              <a:gd name="connsiteX1397" fmla="*/ 3287751 w 4545947"/>
              <a:gd name="connsiteY1397" fmla="*/ 174003 h 4525940"/>
              <a:gd name="connsiteX1398" fmla="*/ 3294675 w 4545947"/>
              <a:gd name="connsiteY1398" fmla="*/ 163979 h 4525940"/>
              <a:gd name="connsiteX1399" fmla="*/ 3593184 w 4545947"/>
              <a:gd name="connsiteY1399" fmla="*/ 152944 h 4525940"/>
              <a:gd name="connsiteX1400" fmla="*/ 3598229 w 4545947"/>
              <a:gd name="connsiteY1400" fmla="*/ 160286 h 4525940"/>
              <a:gd name="connsiteX1401" fmla="*/ 3591305 w 4545947"/>
              <a:gd name="connsiteY1401" fmla="*/ 170310 h 4525940"/>
              <a:gd name="connsiteX1402" fmla="*/ 3586112 w 4545947"/>
              <a:gd name="connsiteY1402" fmla="*/ 162792 h 4525940"/>
              <a:gd name="connsiteX1403" fmla="*/ 3593184 w 4545947"/>
              <a:gd name="connsiteY1403" fmla="*/ 152944 h 4525940"/>
              <a:gd name="connsiteX1404" fmla="*/ 2447768 w 4545947"/>
              <a:gd name="connsiteY1404" fmla="*/ 122488 h 4525940"/>
              <a:gd name="connsiteX1405" fmla="*/ 2445825 w 4545947"/>
              <a:gd name="connsiteY1405" fmla="*/ 151317 h 4525940"/>
              <a:gd name="connsiteX1406" fmla="*/ 2436499 w 4545947"/>
              <a:gd name="connsiteY1406" fmla="*/ 141395 h 4525940"/>
              <a:gd name="connsiteX1407" fmla="*/ 2447768 w 4545947"/>
              <a:gd name="connsiteY1407" fmla="*/ 122488 h 4525940"/>
              <a:gd name="connsiteX1408" fmla="*/ 2758453 w 4545947"/>
              <a:gd name="connsiteY1408" fmla="*/ 113837 h 4525940"/>
              <a:gd name="connsiteX1409" fmla="*/ 2752343 w 4545947"/>
              <a:gd name="connsiteY1409" fmla="*/ 114355 h 4525940"/>
              <a:gd name="connsiteX1410" fmla="*/ 2739995 w 4545947"/>
              <a:gd name="connsiteY1410" fmla="*/ 163342 h 4525940"/>
              <a:gd name="connsiteX1411" fmla="*/ 2756797 w 4545947"/>
              <a:gd name="connsiteY1411" fmla="*/ 236783 h 4525940"/>
              <a:gd name="connsiteX1412" fmla="*/ 2776577 w 4545947"/>
              <a:gd name="connsiteY1412" fmla="*/ 277579 h 4525940"/>
              <a:gd name="connsiteX1413" fmla="*/ 2784864 w 4545947"/>
              <a:gd name="connsiteY1413" fmla="*/ 243265 h 4525940"/>
              <a:gd name="connsiteX1414" fmla="*/ 2789237 w 4545947"/>
              <a:gd name="connsiteY1414" fmla="*/ 211460 h 4525940"/>
              <a:gd name="connsiteX1415" fmla="*/ 2787050 w 4545947"/>
              <a:gd name="connsiteY1415" fmla="*/ 172599 h 4525940"/>
              <a:gd name="connsiteX1416" fmla="*/ 2780492 w 4545947"/>
              <a:gd name="connsiteY1416" fmla="*/ 159871 h 4525940"/>
              <a:gd name="connsiteX1417" fmla="*/ 2754010 w 4545947"/>
              <a:gd name="connsiteY1417" fmla="*/ 129045 h 4525940"/>
              <a:gd name="connsiteX1418" fmla="*/ 2752067 w 4545947"/>
              <a:gd name="connsiteY1418" fmla="*/ 122018 h 4525940"/>
              <a:gd name="connsiteX1419" fmla="*/ 2758453 w 4545947"/>
              <a:gd name="connsiteY1419" fmla="*/ 113837 h 4525940"/>
              <a:gd name="connsiteX1420" fmla="*/ 3208103 w 4545947"/>
              <a:gd name="connsiteY1420" fmla="*/ 91897 h 4525940"/>
              <a:gd name="connsiteX1421" fmla="*/ 3217784 w 4545947"/>
              <a:gd name="connsiteY1421" fmla="*/ 116250 h 4525940"/>
              <a:gd name="connsiteX1422" fmla="*/ 3224343 w 4545947"/>
              <a:gd name="connsiteY1422" fmla="*/ 144986 h 4525940"/>
              <a:gd name="connsiteX1423" fmla="*/ 3230903 w 4545947"/>
              <a:gd name="connsiteY1423" fmla="*/ 168372 h 4525940"/>
              <a:gd name="connsiteX1424" fmla="*/ 3237462 w 4545947"/>
              <a:gd name="connsiteY1424" fmla="*/ 193372 h 4525940"/>
              <a:gd name="connsiteX1425" fmla="*/ 3240742 w 4545947"/>
              <a:gd name="connsiteY1425" fmla="*/ 219944 h 4525940"/>
              <a:gd name="connsiteX1426" fmla="*/ 3223595 w 4545947"/>
              <a:gd name="connsiteY1426" fmla="*/ 216414 h 4525940"/>
              <a:gd name="connsiteX1427" fmla="*/ 3189004 w 4545947"/>
              <a:gd name="connsiteY1427" fmla="*/ 162600 h 4525940"/>
              <a:gd name="connsiteX1428" fmla="*/ 3194368 w 4545947"/>
              <a:gd name="connsiteY1428" fmla="*/ 124622 h 4525940"/>
              <a:gd name="connsiteX1429" fmla="*/ 3208103 w 4545947"/>
              <a:gd name="connsiteY1429" fmla="*/ 91897 h 4525940"/>
              <a:gd name="connsiteX1430" fmla="*/ 3421125 w 4545947"/>
              <a:gd name="connsiteY1430" fmla="*/ 62685 h 4525940"/>
              <a:gd name="connsiteX1431" fmla="*/ 3427684 w 4545947"/>
              <a:gd name="connsiteY1431" fmla="*/ 72181 h 4525940"/>
              <a:gd name="connsiteX1432" fmla="*/ 3431098 w 4545947"/>
              <a:gd name="connsiteY1432" fmla="*/ 81678 h 4525940"/>
              <a:gd name="connsiteX1433" fmla="*/ 3441509 w 4545947"/>
              <a:gd name="connsiteY1433" fmla="*/ 121946 h 4525940"/>
              <a:gd name="connsiteX1434" fmla="*/ 3433123 w 4545947"/>
              <a:gd name="connsiteY1434" fmla="*/ 121434 h 4525940"/>
              <a:gd name="connsiteX1435" fmla="*/ 3430102 w 4545947"/>
              <a:gd name="connsiteY1435" fmla="*/ 112791 h 4525940"/>
              <a:gd name="connsiteX1436" fmla="*/ 3427942 w 4545947"/>
              <a:gd name="connsiteY1436" fmla="*/ 107001 h 4525940"/>
              <a:gd name="connsiteX1437" fmla="*/ 3423312 w 4545947"/>
              <a:gd name="connsiteY1437" fmla="*/ 94339 h 4525940"/>
              <a:gd name="connsiteX1438" fmla="*/ 3418939 w 4545947"/>
              <a:gd name="connsiteY1438" fmla="*/ 81678 h 4525940"/>
              <a:gd name="connsiteX1439" fmla="*/ 3414566 w 4545947"/>
              <a:gd name="connsiteY1439" fmla="*/ 72181 h 4525940"/>
              <a:gd name="connsiteX1440" fmla="*/ 3421125 w 4545947"/>
              <a:gd name="connsiteY1440" fmla="*/ 62685 h 4525940"/>
              <a:gd name="connsiteX1441" fmla="*/ 3123228 w 4545947"/>
              <a:gd name="connsiteY1441" fmla="*/ 39762 h 4525940"/>
              <a:gd name="connsiteX1442" fmla="*/ 3129915 w 4545947"/>
              <a:gd name="connsiteY1442" fmla="*/ 46141 h 4525940"/>
              <a:gd name="connsiteX1443" fmla="*/ 3130996 w 4545947"/>
              <a:gd name="connsiteY1443" fmla="*/ 58920 h 4525940"/>
              <a:gd name="connsiteX1444" fmla="*/ 3124122 w 4545947"/>
              <a:gd name="connsiteY1444" fmla="*/ 52246 h 4525940"/>
              <a:gd name="connsiteX1445" fmla="*/ 3123228 w 4545947"/>
              <a:gd name="connsiteY1445" fmla="*/ 39762 h 4525940"/>
              <a:gd name="connsiteX1446" fmla="*/ 3491456 w 4545947"/>
              <a:gd name="connsiteY1446" fmla="*/ 6650 h 4525940"/>
              <a:gd name="connsiteX1447" fmla="*/ 3502024 w 4545947"/>
              <a:gd name="connsiteY1447" fmla="*/ 18369 h 4525940"/>
              <a:gd name="connsiteX1448" fmla="*/ 3517999 w 4545947"/>
              <a:gd name="connsiteY1448" fmla="*/ 31031 h 4525940"/>
              <a:gd name="connsiteX1449" fmla="*/ 3523889 w 4545947"/>
              <a:gd name="connsiteY1449" fmla="*/ 37362 h 4525940"/>
              <a:gd name="connsiteX1450" fmla="*/ 3530448 w 4545947"/>
              <a:gd name="connsiteY1450" fmla="*/ 43693 h 4525940"/>
              <a:gd name="connsiteX1451" fmla="*/ 3537008 w 4545947"/>
              <a:gd name="connsiteY1451" fmla="*/ 56677 h 4525940"/>
              <a:gd name="connsiteX1452" fmla="*/ 3573084 w 4545947"/>
              <a:gd name="connsiteY1452" fmla="*/ 113301 h 4525940"/>
              <a:gd name="connsiteX1453" fmla="*/ 3576364 w 4545947"/>
              <a:gd name="connsiteY1453" fmla="*/ 123514 h 4525940"/>
              <a:gd name="connsiteX1454" fmla="*/ 3565906 w 4545947"/>
              <a:gd name="connsiteY1454" fmla="*/ 129897 h 4525940"/>
              <a:gd name="connsiteX1455" fmla="*/ 3553610 w 4545947"/>
              <a:gd name="connsiteY1455" fmla="*/ 148893 h 4525940"/>
              <a:gd name="connsiteX1456" fmla="*/ 3559695 w 4545947"/>
              <a:gd name="connsiteY1456" fmla="*/ 178853 h 4525940"/>
              <a:gd name="connsiteX1457" fmla="*/ 3562664 w 4545947"/>
              <a:gd name="connsiteY1457" fmla="*/ 212934 h 4525940"/>
              <a:gd name="connsiteX1458" fmla="*/ 3570416 w 4545947"/>
              <a:gd name="connsiteY1458" fmla="*/ 239949 h 4525940"/>
              <a:gd name="connsiteX1459" fmla="*/ 3586126 w 4545947"/>
              <a:gd name="connsiteY1459" fmla="*/ 229122 h 4525940"/>
              <a:gd name="connsiteX1460" fmla="*/ 3598207 w 4545947"/>
              <a:gd name="connsiteY1460" fmla="*/ 227237 h 4525940"/>
              <a:gd name="connsiteX1461" fmla="*/ 3599566 w 4545947"/>
              <a:gd name="connsiteY1461" fmla="*/ 241937 h 4525940"/>
              <a:gd name="connsiteX1462" fmla="*/ 3618632 w 4545947"/>
              <a:gd name="connsiteY1462" fmla="*/ 258845 h 4525940"/>
              <a:gd name="connsiteX1463" fmla="*/ 3665357 w 4545947"/>
              <a:gd name="connsiteY1463" fmla="*/ 319085 h 4525940"/>
              <a:gd name="connsiteX1464" fmla="*/ 3664147 w 4545947"/>
              <a:gd name="connsiteY1464" fmla="*/ 355487 h 4525940"/>
              <a:gd name="connsiteX1465" fmla="*/ 3664283 w 4545947"/>
              <a:gd name="connsiteY1465" fmla="*/ 379228 h 4525940"/>
              <a:gd name="connsiteX1466" fmla="*/ 3668196 w 4545947"/>
              <a:gd name="connsiteY1466" fmla="*/ 388724 h 4525940"/>
              <a:gd name="connsiteX1467" fmla="*/ 3672568 w 4545947"/>
              <a:gd name="connsiteY1467" fmla="*/ 398220 h 4525940"/>
              <a:gd name="connsiteX1468" fmla="*/ 3676941 w 4545947"/>
              <a:gd name="connsiteY1468" fmla="*/ 421463 h 4525940"/>
              <a:gd name="connsiteX1469" fmla="*/ 3683014 w 4545947"/>
              <a:gd name="connsiteY1469" fmla="*/ 454700 h 4525940"/>
              <a:gd name="connsiteX1470" fmla="*/ 3692108 w 4545947"/>
              <a:gd name="connsiteY1470" fmla="*/ 485270 h 4525940"/>
              <a:gd name="connsiteX1471" fmla="*/ 3688220 w 4545947"/>
              <a:gd name="connsiteY1471" fmla="*/ 505845 h 4525940"/>
              <a:gd name="connsiteX1472" fmla="*/ 3682407 w 4545947"/>
              <a:gd name="connsiteY1472" fmla="*/ 498925 h 4525940"/>
              <a:gd name="connsiteX1473" fmla="*/ 3660542 w 4545947"/>
              <a:gd name="connsiteY1473" fmla="*/ 484398 h 4525940"/>
              <a:gd name="connsiteX1474" fmla="*/ 3656943 w 4545947"/>
              <a:gd name="connsiteY1474" fmla="*/ 532140 h 4525940"/>
              <a:gd name="connsiteX1475" fmla="*/ 3663823 w 4545947"/>
              <a:gd name="connsiteY1475" fmla="*/ 567545 h 4525940"/>
              <a:gd name="connsiteX1476" fmla="*/ 3672568 w 4545947"/>
              <a:gd name="connsiteY1476" fmla="*/ 599081 h 4525940"/>
              <a:gd name="connsiteX1477" fmla="*/ 3681314 w 4545947"/>
              <a:gd name="connsiteY1477" fmla="*/ 626611 h 4525940"/>
              <a:gd name="connsiteX1478" fmla="*/ 3685687 w 4545947"/>
              <a:gd name="connsiteY1478" fmla="*/ 641959 h 4525940"/>
              <a:gd name="connsiteX1479" fmla="*/ 3690060 w 4545947"/>
              <a:gd name="connsiteY1479" fmla="*/ 660343 h 4525940"/>
              <a:gd name="connsiteX1480" fmla="*/ 3714879 w 4545947"/>
              <a:gd name="connsiteY1480" fmla="*/ 694706 h 4525940"/>
              <a:gd name="connsiteX1481" fmla="*/ 3727174 w 4545947"/>
              <a:gd name="connsiteY1481" fmla="*/ 678324 h 4525940"/>
              <a:gd name="connsiteX1482" fmla="*/ 3741385 w 4545947"/>
              <a:gd name="connsiteY1482" fmla="*/ 664117 h 4525940"/>
              <a:gd name="connsiteX1483" fmla="*/ 3736264 w 4545947"/>
              <a:gd name="connsiteY1483" fmla="*/ 703575 h 4525940"/>
              <a:gd name="connsiteX1484" fmla="*/ 3721445 w 4545947"/>
              <a:gd name="connsiteY1484" fmla="*/ 766238 h 4525940"/>
              <a:gd name="connsiteX1485" fmla="*/ 3753209 w 4545947"/>
              <a:gd name="connsiteY1485" fmla="*/ 762044 h 4525940"/>
              <a:gd name="connsiteX1486" fmla="*/ 3792622 w 4545947"/>
              <a:gd name="connsiteY1486" fmla="*/ 783484 h 4525940"/>
              <a:gd name="connsiteX1487" fmla="*/ 3816087 w 4545947"/>
              <a:gd name="connsiteY1487" fmla="*/ 779639 h 4525940"/>
              <a:gd name="connsiteX1488" fmla="*/ 3832485 w 4545947"/>
              <a:gd name="connsiteY1488" fmla="*/ 748816 h 4525940"/>
              <a:gd name="connsiteX1489" fmla="*/ 3847425 w 4545947"/>
              <a:gd name="connsiteY1489" fmla="*/ 709264 h 4525940"/>
              <a:gd name="connsiteX1490" fmla="*/ 3839142 w 4545947"/>
              <a:gd name="connsiteY1490" fmla="*/ 660590 h 4525940"/>
              <a:gd name="connsiteX1491" fmla="*/ 3842989 w 4545947"/>
              <a:gd name="connsiteY1491" fmla="*/ 566799 h 4525940"/>
              <a:gd name="connsiteX1492" fmla="*/ 3847485 w 4545947"/>
              <a:gd name="connsiteY1492" fmla="*/ 549670 h 4525940"/>
              <a:gd name="connsiteX1493" fmla="*/ 3853517 w 4545947"/>
              <a:gd name="connsiteY1493" fmla="*/ 531802 h 4525940"/>
              <a:gd name="connsiteX1494" fmla="*/ 3861473 w 4545947"/>
              <a:gd name="connsiteY1494" fmla="*/ 472401 h 4525940"/>
              <a:gd name="connsiteX1495" fmla="*/ 3842299 w 4545947"/>
              <a:gd name="connsiteY1495" fmla="*/ 430355 h 4525940"/>
              <a:gd name="connsiteX1496" fmla="*/ 3823090 w 4545947"/>
              <a:gd name="connsiteY1496" fmla="*/ 390244 h 4525940"/>
              <a:gd name="connsiteX1497" fmla="*/ 3811876 w 4545947"/>
              <a:gd name="connsiteY1497" fmla="*/ 365824 h 4525940"/>
              <a:gd name="connsiteX1498" fmla="*/ 3803756 w 4545947"/>
              <a:gd name="connsiteY1498" fmla="*/ 345701 h 4525940"/>
              <a:gd name="connsiteX1499" fmla="*/ 3798290 w 4545947"/>
              <a:gd name="connsiteY1499" fmla="*/ 327206 h 4525940"/>
              <a:gd name="connsiteX1500" fmla="*/ 3783985 w 4545947"/>
              <a:gd name="connsiteY1500" fmla="*/ 271395 h 4525940"/>
              <a:gd name="connsiteX1501" fmla="*/ 3795958 w 4545947"/>
              <a:gd name="connsiteY1501" fmla="*/ 251450 h 4525940"/>
              <a:gd name="connsiteX1502" fmla="*/ 3811582 w 4545947"/>
              <a:gd name="connsiteY1502" fmla="*/ 258942 h 4525940"/>
              <a:gd name="connsiteX1503" fmla="*/ 3838594 w 4545947"/>
              <a:gd name="connsiteY1503" fmla="*/ 298509 h 4525940"/>
              <a:gd name="connsiteX1504" fmla="*/ 3843112 w 4545947"/>
              <a:gd name="connsiteY1504" fmla="*/ 309588 h 4525940"/>
              <a:gd name="connsiteX1505" fmla="*/ 3847485 w 4545947"/>
              <a:gd name="connsiteY1505" fmla="*/ 319315 h 4525940"/>
              <a:gd name="connsiteX1506" fmla="*/ 3880487 w 4545947"/>
              <a:gd name="connsiteY1506" fmla="*/ 375747 h 4525940"/>
              <a:gd name="connsiteX1507" fmla="*/ 3913488 w 4545947"/>
              <a:gd name="connsiteY1507" fmla="*/ 422452 h 4525940"/>
              <a:gd name="connsiteX1508" fmla="*/ 3912190 w 4545947"/>
              <a:gd name="connsiteY1508" fmla="*/ 462566 h 4525940"/>
              <a:gd name="connsiteX1509" fmla="*/ 3910892 w 4545947"/>
              <a:gd name="connsiteY1509" fmla="*/ 502680 h 4525940"/>
              <a:gd name="connsiteX1510" fmla="*/ 3924010 w 4545947"/>
              <a:gd name="connsiteY1510" fmla="*/ 504823 h 4525940"/>
              <a:gd name="connsiteX1511" fmla="*/ 3948063 w 4545947"/>
              <a:gd name="connsiteY1511" fmla="*/ 546577 h 4525940"/>
              <a:gd name="connsiteX1512" fmla="*/ 3957252 w 4545947"/>
              <a:gd name="connsiteY1512" fmla="*/ 587378 h 4525940"/>
              <a:gd name="connsiteX1513" fmla="*/ 3964689 w 4545947"/>
              <a:gd name="connsiteY1513" fmla="*/ 623392 h 4525940"/>
              <a:gd name="connsiteX1514" fmla="*/ 3966432 w 4545947"/>
              <a:gd name="connsiteY1514" fmla="*/ 645124 h 4525940"/>
              <a:gd name="connsiteX1515" fmla="*/ 3969927 w 4545947"/>
              <a:gd name="connsiteY1515" fmla="*/ 664117 h 4525940"/>
              <a:gd name="connsiteX1516" fmla="*/ 3961040 w 4545947"/>
              <a:gd name="connsiteY1516" fmla="*/ 683109 h 4525940"/>
              <a:gd name="connsiteX1517" fmla="*/ 3951373 w 4545947"/>
              <a:gd name="connsiteY1517" fmla="*/ 730591 h 4525940"/>
              <a:gd name="connsiteX1518" fmla="*/ 3961150 w 4545947"/>
              <a:gd name="connsiteY1518" fmla="*/ 759079 h 4525940"/>
              <a:gd name="connsiteX1519" fmla="*/ 3975786 w 4545947"/>
              <a:gd name="connsiteY1519" fmla="*/ 770572 h 4525940"/>
              <a:gd name="connsiteX1520" fmla="*/ 3993580 w 4545947"/>
              <a:gd name="connsiteY1520" fmla="*/ 785503 h 4525940"/>
              <a:gd name="connsiteX1521" fmla="*/ 4004560 w 4545947"/>
              <a:gd name="connsiteY1521" fmla="*/ 794212 h 4525940"/>
              <a:gd name="connsiteX1522" fmla="*/ 4011235 w 4545947"/>
              <a:gd name="connsiteY1522" fmla="*/ 814926 h 4525940"/>
              <a:gd name="connsiteX1523" fmla="*/ 4008872 w 4545947"/>
              <a:gd name="connsiteY1523" fmla="*/ 849310 h 4525940"/>
              <a:gd name="connsiteX1524" fmla="*/ 4041280 w 4545947"/>
              <a:gd name="connsiteY1524" fmla="*/ 845658 h 4525940"/>
              <a:gd name="connsiteX1525" fmla="*/ 4062851 w 4545947"/>
              <a:gd name="connsiteY1525" fmla="*/ 820534 h 4525940"/>
              <a:gd name="connsiteX1526" fmla="*/ 4070504 w 4545947"/>
              <a:gd name="connsiteY1526" fmla="*/ 803968 h 4525940"/>
              <a:gd name="connsiteX1527" fmla="*/ 4075068 w 4545947"/>
              <a:gd name="connsiteY1527" fmla="*/ 787397 h 4525940"/>
              <a:gd name="connsiteX1528" fmla="*/ 4092369 w 4545947"/>
              <a:gd name="connsiteY1528" fmla="*/ 816832 h 4525940"/>
              <a:gd name="connsiteX1529" fmla="*/ 4096742 w 4545947"/>
              <a:gd name="connsiteY1529" fmla="*/ 835050 h 4525940"/>
              <a:gd name="connsiteX1530" fmla="*/ 4101115 w 4545947"/>
              <a:gd name="connsiteY1530" fmla="*/ 843771 h 4525940"/>
              <a:gd name="connsiteX1531" fmla="*/ 4107393 w 4545947"/>
              <a:gd name="connsiteY1531" fmla="*/ 860036 h 4525940"/>
              <a:gd name="connsiteX1532" fmla="*/ 4116486 w 4545947"/>
              <a:gd name="connsiteY1532" fmla="*/ 886134 h 4525940"/>
              <a:gd name="connsiteX1533" fmla="*/ 4122859 w 4545947"/>
              <a:gd name="connsiteY1533" fmla="*/ 904689 h 4525940"/>
              <a:gd name="connsiteX1534" fmla="*/ 4126496 w 4545947"/>
              <a:gd name="connsiteY1534" fmla="*/ 933011 h 4525940"/>
              <a:gd name="connsiteX1535" fmla="*/ 4119395 w 4545947"/>
              <a:gd name="connsiteY1535" fmla="*/ 964833 h 4525940"/>
              <a:gd name="connsiteX1536" fmla="*/ 4109556 w 4545947"/>
              <a:gd name="connsiteY1536" fmla="*/ 1003225 h 4525940"/>
              <a:gd name="connsiteX1537" fmla="*/ 4101632 w 4545947"/>
              <a:gd name="connsiteY1537" fmla="*/ 1057038 h 4525940"/>
              <a:gd name="connsiteX1538" fmla="*/ 4119684 w 4545947"/>
              <a:gd name="connsiteY1538" fmla="*/ 1139507 h 4525940"/>
              <a:gd name="connsiteX1539" fmla="*/ 4139990 w 4545947"/>
              <a:gd name="connsiteY1539" fmla="*/ 1128881 h 4525940"/>
              <a:gd name="connsiteX1540" fmla="*/ 4165434 w 4545947"/>
              <a:gd name="connsiteY1540" fmla="*/ 1124687 h 4525940"/>
              <a:gd name="connsiteX1541" fmla="*/ 4171225 w 4545947"/>
              <a:gd name="connsiteY1541" fmla="*/ 1138931 h 4525940"/>
              <a:gd name="connsiteX1542" fmla="*/ 4177151 w 4545947"/>
              <a:gd name="connsiteY1542" fmla="*/ 1165392 h 4525940"/>
              <a:gd name="connsiteX1543" fmla="*/ 4167975 w 4545947"/>
              <a:gd name="connsiteY1543" fmla="*/ 1204976 h 4525940"/>
              <a:gd name="connsiteX1544" fmla="*/ 4151601 w 4545947"/>
              <a:gd name="connsiteY1544" fmla="*/ 1185009 h 4525940"/>
              <a:gd name="connsiteX1545" fmla="*/ 4115472 w 4545947"/>
              <a:gd name="connsiteY1545" fmla="*/ 1175190 h 4525940"/>
              <a:gd name="connsiteX1546" fmla="*/ 4097522 w 4545947"/>
              <a:gd name="connsiteY1546" fmla="*/ 1202239 h 4525940"/>
              <a:gd name="connsiteX1547" fmla="*/ 4090938 w 4545947"/>
              <a:gd name="connsiteY1547" fmla="*/ 1161908 h 4525940"/>
              <a:gd name="connsiteX1548" fmla="*/ 4084144 w 4545947"/>
              <a:gd name="connsiteY1548" fmla="*/ 1120998 h 4525940"/>
              <a:gd name="connsiteX1549" fmla="*/ 4074877 w 4545947"/>
              <a:gd name="connsiteY1549" fmla="*/ 1095063 h 4525940"/>
              <a:gd name="connsiteX1550" fmla="*/ 4063469 w 4545947"/>
              <a:gd name="connsiteY1550" fmla="*/ 1081691 h 4525940"/>
              <a:gd name="connsiteX1551" fmla="*/ 4056887 w 4545947"/>
              <a:gd name="connsiteY1551" fmla="*/ 1066994 h 4525940"/>
              <a:gd name="connsiteX1552" fmla="*/ 4057531 w 4545947"/>
              <a:gd name="connsiteY1552" fmla="*/ 1010814 h 4525940"/>
              <a:gd name="connsiteX1553" fmla="*/ 4057210 w 4545947"/>
              <a:gd name="connsiteY1553" fmla="*/ 943558 h 4525940"/>
              <a:gd name="connsiteX1554" fmla="*/ 4057842 w 4545947"/>
              <a:gd name="connsiteY1554" fmla="*/ 906579 h 4525940"/>
              <a:gd name="connsiteX1555" fmla="*/ 4035718 w 4545947"/>
              <a:gd name="connsiteY1555" fmla="*/ 883685 h 4525940"/>
              <a:gd name="connsiteX1556" fmla="*/ 4009350 w 4545947"/>
              <a:gd name="connsiteY1556" fmla="*/ 906575 h 4525940"/>
              <a:gd name="connsiteX1557" fmla="*/ 3997719 w 4545947"/>
              <a:gd name="connsiteY1557" fmla="*/ 932360 h 4525940"/>
              <a:gd name="connsiteX1558" fmla="*/ 3989704 w 4545947"/>
              <a:gd name="connsiteY1558" fmla="*/ 971623 h 4525940"/>
              <a:gd name="connsiteX1559" fmla="*/ 3992236 w 4545947"/>
              <a:gd name="connsiteY1559" fmla="*/ 1004994 h 4525940"/>
              <a:gd name="connsiteX1560" fmla="*/ 4004625 w 4545947"/>
              <a:gd name="connsiteY1560" fmla="*/ 1009239 h 4525940"/>
              <a:gd name="connsiteX1561" fmla="*/ 4018029 w 4545947"/>
              <a:gd name="connsiteY1561" fmla="*/ 1014201 h 4525940"/>
              <a:gd name="connsiteX1562" fmla="*/ 4024588 w 4545947"/>
              <a:gd name="connsiteY1562" fmla="*/ 1031306 h 4525940"/>
              <a:gd name="connsiteX1563" fmla="*/ 4031148 w 4545947"/>
              <a:gd name="connsiteY1563" fmla="*/ 1054239 h 4525940"/>
              <a:gd name="connsiteX1564" fmla="*/ 4035521 w 4545947"/>
              <a:gd name="connsiteY1564" fmla="*/ 1069291 h 4525940"/>
              <a:gd name="connsiteX1565" fmla="*/ 4039960 w 4545947"/>
              <a:gd name="connsiteY1565" fmla="*/ 1080371 h 4525940"/>
              <a:gd name="connsiteX1566" fmla="*/ 4044266 w 4545947"/>
              <a:gd name="connsiteY1566" fmla="*/ 1081953 h 4525940"/>
              <a:gd name="connsiteX1567" fmla="*/ 4048506 w 4545947"/>
              <a:gd name="connsiteY1567" fmla="*/ 1078788 h 4525940"/>
              <a:gd name="connsiteX1568" fmla="*/ 4044572 w 4545947"/>
              <a:gd name="connsiteY1568" fmla="*/ 1094114 h 4525940"/>
              <a:gd name="connsiteX1569" fmla="*/ 4029488 w 4545947"/>
              <a:gd name="connsiteY1569" fmla="*/ 1092532 h 4525940"/>
              <a:gd name="connsiteX1570" fmla="*/ 4000537 w 4545947"/>
              <a:gd name="connsiteY1570" fmla="*/ 1091450 h 4525940"/>
              <a:gd name="connsiteX1571" fmla="*/ 4001086 w 4545947"/>
              <a:gd name="connsiteY1571" fmla="*/ 1111401 h 4525940"/>
              <a:gd name="connsiteX1572" fmla="*/ 4005684 w 4545947"/>
              <a:gd name="connsiteY1572" fmla="*/ 1179458 h 4525940"/>
              <a:gd name="connsiteX1573" fmla="*/ 4011018 w 4545947"/>
              <a:gd name="connsiteY1573" fmla="*/ 1249721 h 4525940"/>
              <a:gd name="connsiteX1574" fmla="*/ 4017890 w 4545947"/>
              <a:gd name="connsiteY1574" fmla="*/ 1279365 h 4525940"/>
              <a:gd name="connsiteX1575" fmla="*/ 4041682 w 4545947"/>
              <a:gd name="connsiteY1575" fmla="*/ 1293755 h 4525940"/>
              <a:gd name="connsiteX1576" fmla="*/ 4039371 w 4545947"/>
              <a:gd name="connsiteY1576" fmla="*/ 1249254 h 4525940"/>
              <a:gd name="connsiteX1577" fmla="*/ 4035521 w 4545947"/>
              <a:gd name="connsiteY1577" fmla="*/ 1224024 h 4525940"/>
              <a:gd name="connsiteX1578" fmla="*/ 4045401 w 4545947"/>
              <a:gd name="connsiteY1578" fmla="*/ 1202239 h 4525940"/>
              <a:gd name="connsiteX1579" fmla="*/ 4068670 w 4545947"/>
              <a:gd name="connsiteY1579" fmla="*/ 1250220 h 4525940"/>
              <a:gd name="connsiteX1580" fmla="*/ 4076391 w 4545947"/>
              <a:gd name="connsiteY1580" fmla="*/ 1281537 h 4525940"/>
              <a:gd name="connsiteX1581" fmla="*/ 4098627 w 4545947"/>
              <a:gd name="connsiteY1581" fmla="*/ 1277505 h 4525940"/>
              <a:gd name="connsiteX1582" fmla="*/ 4108517 w 4545947"/>
              <a:gd name="connsiteY1582" fmla="*/ 1278416 h 4525940"/>
              <a:gd name="connsiteX1583" fmla="*/ 4126752 w 4545947"/>
              <a:gd name="connsiteY1583" fmla="*/ 1287969 h 4525940"/>
              <a:gd name="connsiteX1584" fmla="*/ 4127806 w 4545947"/>
              <a:gd name="connsiteY1584" fmla="*/ 1299575 h 4525940"/>
              <a:gd name="connsiteX1585" fmla="*/ 4133874 w 4545947"/>
              <a:gd name="connsiteY1585" fmla="*/ 1305093 h 4525940"/>
              <a:gd name="connsiteX1586" fmla="*/ 4144844 w 4545947"/>
              <a:gd name="connsiteY1586" fmla="*/ 1283803 h 4525940"/>
              <a:gd name="connsiteX1587" fmla="*/ 4153286 w 4545947"/>
              <a:gd name="connsiteY1587" fmla="*/ 1265548 h 4525940"/>
              <a:gd name="connsiteX1588" fmla="*/ 4163125 w 4545947"/>
              <a:gd name="connsiteY1588" fmla="*/ 1279728 h 4525940"/>
              <a:gd name="connsiteX1589" fmla="*/ 4172531 w 4545947"/>
              <a:gd name="connsiteY1589" fmla="*/ 1296118 h 4525940"/>
              <a:gd name="connsiteX1590" fmla="*/ 4193740 w 4545947"/>
              <a:gd name="connsiteY1590" fmla="*/ 1257851 h 4525940"/>
              <a:gd name="connsiteX1591" fmla="*/ 4196823 w 4545947"/>
              <a:gd name="connsiteY1591" fmla="*/ 1240225 h 4525940"/>
              <a:gd name="connsiteX1592" fmla="*/ 4201692 w 4545947"/>
              <a:gd name="connsiteY1592" fmla="*/ 1230729 h 4525940"/>
              <a:gd name="connsiteX1593" fmla="*/ 4212078 w 4545947"/>
              <a:gd name="connsiteY1593" fmla="*/ 1221232 h 4525940"/>
              <a:gd name="connsiteX1594" fmla="*/ 4225197 w 4545947"/>
              <a:gd name="connsiteY1594" fmla="*/ 1241016 h 4525940"/>
              <a:gd name="connsiteX1595" fmla="*/ 4227930 w 4545947"/>
              <a:gd name="connsiteY1595" fmla="*/ 1273238 h 4525940"/>
              <a:gd name="connsiteX1596" fmla="*/ 4236457 w 4545947"/>
              <a:gd name="connsiteY1596" fmla="*/ 1296187 h 4525940"/>
              <a:gd name="connsiteX1597" fmla="*/ 4258151 w 4545947"/>
              <a:gd name="connsiteY1597" fmla="*/ 1418012 h 4525940"/>
              <a:gd name="connsiteX1598" fmla="*/ 4264204 w 4545947"/>
              <a:gd name="connsiteY1598" fmla="*/ 1466038 h 4525940"/>
              <a:gd name="connsiteX1599" fmla="*/ 4291061 w 4545947"/>
              <a:gd name="connsiteY1599" fmla="*/ 1458229 h 4525940"/>
              <a:gd name="connsiteX1600" fmla="*/ 4302556 w 4545947"/>
              <a:gd name="connsiteY1600" fmla="*/ 1453466 h 4525940"/>
              <a:gd name="connsiteX1601" fmla="*/ 4288263 w 4545947"/>
              <a:gd name="connsiteY1601" fmla="*/ 1485776 h 4525940"/>
              <a:gd name="connsiteX1602" fmla="*/ 4273845 w 4545947"/>
              <a:gd name="connsiteY1602" fmla="*/ 1491271 h 4525940"/>
              <a:gd name="connsiteX1603" fmla="*/ 4274670 w 4545947"/>
              <a:gd name="connsiteY1603" fmla="*/ 1576119 h 4525940"/>
              <a:gd name="connsiteX1604" fmla="*/ 4280135 w 4545947"/>
              <a:gd name="connsiteY1604" fmla="*/ 1663208 h 4525940"/>
              <a:gd name="connsiteX1605" fmla="*/ 4284796 w 4545947"/>
              <a:gd name="connsiteY1605" fmla="*/ 1691826 h 4525940"/>
              <a:gd name="connsiteX1606" fmla="*/ 4295844 w 4545947"/>
              <a:gd name="connsiteY1606" fmla="*/ 1749682 h 4525940"/>
              <a:gd name="connsiteX1607" fmla="*/ 4309600 w 4545947"/>
              <a:gd name="connsiteY1607" fmla="*/ 1836731 h 4525940"/>
              <a:gd name="connsiteX1608" fmla="*/ 4316241 w 4545947"/>
              <a:gd name="connsiteY1608" fmla="*/ 1892303 h 4525940"/>
              <a:gd name="connsiteX1609" fmla="*/ 4310107 w 4545947"/>
              <a:gd name="connsiteY1609" fmla="*/ 1957356 h 4525940"/>
              <a:gd name="connsiteX1610" fmla="*/ 4312284 w 4545947"/>
              <a:gd name="connsiteY1610" fmla="*/ 1985845 h 4525940"/>
              <a:gd name="connsiteX1611" fmla="*/ 4322081 w 4545947"/>
              <a:gd name="connsiteY1611" fmla="*/ 2014172 h 4525940"/>
              <a:gd name="connsiteX1612" fmla="*/ 4328981 w 4545947"/>
              <a:gd name="connsiteY1612" fmla="*/ 2031582 h 4525940"/>
              <a:gd name="connsiteX1613" fmla="*/ 4332880 w 4545947"/>
              <a:gd name="connsiteY1613" fmla="*/ 2043469 h 4525940"/>
              <a:gd name="connsiteX1614" fmla="*/ 4353651 w 4545947"/>
              <a:gd name="connsiteY1614" fmla="*/ 2056924 h 4525940"/>
              <a:gd name="connsiteX1615" fmla="*/ 4363490 w 4545947"/>
              <a:gd name="connsiteY1615" fmla="*/ 2035116 h 4525940"/>
              <a:gd name="connsiteX1616" fmla="*/ 4378404 w 4545947"/>
              <a:gd name="connsiteY1616" fmla="*/ 2019721 h 4525940"/>
              <a:gd name="connsiteX1617" fmla="*/ 4381043 w 4545947"/>
              <a:gd name="connsiteY1617" fmla="*/ 2075898 h 4525940"/>
              <a:gd name="connsiteX1618" fmla="*/ 4368169 w 4545947"/>
              <a:gd name="connsiteY1618" fmla="*/ 2077583 h 4525940"/>
              <a:gd name="connsiteX1619" fmla="*/ 4352226 w 4545947"/>
              <a:gd name="connsiteY1619" fmla="*/ 2073792 h 4525940"/>
              <a:gd name="connsiteX1620" fmla="*/ 4348141 w 4545947"/>
              <a:gd name="connsiteY1620" fmla="*/ 2106926 h 4525940"/>
              <a:gd name="connsiteX1621" fmla="*/ 4351103 w 4545947"/>
              <a:gd name="connsiteY1621" fmla="*/ 2147120 h 4525940"/>
              <a:gd name="connsiteX1622" fmla="*/ 4355016 w 4545947"/>
              <a:gd name="connsiteY1622" fmla="*/ 2158199 h 4525940"/>
              <a:gd name="connsiteX1623" fmla="*/ 4359117 w 4545947"/>
              <a:gd name="connsiteY1623" fmla="*/ 2167695 h 4525940"/>
              <a:gd name="connsiteX1624" fmla="*/ 4363490 w 4545947"/>
              <a:gd name="connsiteY1624" fmla="*/ 2177191 h 4525940"/>
              <a:gd name="connsiteX1625" fmla="*/ 4362923 w 4545947"/>
              <a:gd name="connsiteY1625" fmla="*/ 2213465 h 4525940"/>
              <a:gd name="connsiteX1626" fmla="*/ 4355271 w 4545947"/>
              <a:gd name="connsiteY1626" fmla="*/ 2293337 h 4525940"/>
              <a:gd name="connsiteX1627" fmla="*/ 4360370 w 4545947"/>
              <a:gd name="connsiteY1627" fmla="*/ 2373116 h 4525940"/>
              <a:gd name="connsiteX1628" fmla="*/ 4371450 w 4545947"/>
              <a:gd name="connsiteY1628" fmla="*/ 2434355 h 4525940"/>
              <a:gd name="connsiteX1629" fmla="*/ 4362612 w 4545947"/>
              <a:gd name="connsiteY1629" fmla="*/ 2455749 h 4525940"/>
              <a:gd name="connsiteX1630" fmla="*/ 4363396 w 4545947"/>
              <a:gd name="connsiteY1630" fmla="*/ 2497396 h 4525940"/>
              <a:gd name="connsiteX1631" fmla="*/ 4369984 w 4545947"/>
              <a:gd name="connsiteY1631" fmla="*/ 2601191 h 4525940"/>
              <a:gd name="connsiteX1632" fmla="*/ 4376297 w 4545947"/>
              <a:gd name="connsiteY1632" fmla="*/ 2702374 h 4525940"/>
              <a:gd name="connsiteX1633" fmla="*/ 4383427 w 4545947"/>
              <a:gd name="connsiteY1633" fmla="*/ 2767613 h 4525940"/>
              <a:gd name="connsiteX1634" fmla="*/ 4390327 w 4545947"/>
              <a:gd name="connsiteY1634" fmla="*/ 2829270 h 4525940"/>
              <a:gd name="connsiteX1635" fmla="*/ 4394101 w 4545947"/>
              <a:gd name="connsiteY1635" fmla="*/ 2854279 h 4525940"/>
              <a:gd name="connsiteX1636" fmla="*/ 4401330 w 4545947"/>
              <a:gd name="connsiteY1636" fmla="*/ 2885145 h 4525940"/>
              <a:gd name="connsiteX1637" fmla="*/ 4403735 w 4545947"/>
              <a:gd name="connsiteY1637" fmla="*/ 2918518 h 4525940"/>
              <a:gd name="connsiteX1638" fmla="*/ 4402014 w 4545947"/>
              <a:gd name="connsiteY1638" fmla="*/ 2949378 h 4525940"/>
              <a:gd name="connsiteX1639" fmla="*/ 4413722 w 4545947"/>
              <a:gd name="connsiteY1639" fmla="*/ 2976462 h 4525940"/>
              <a:gd name="connsiteX1640" fmla="*/ 4436955 w 4545947"/>
              <a:gd name="connsiteY1640" fmla="*/ 2992606 h 4525940"/>
              <a:gd name="connsiteX1641" fmla="*/ 4438402 w 4545947"/>
              <a:gd name="connsiteY1641" fmla="*/ 2962218 h 4525940"/>
              <a:gd name="connsiteX1642" fmla="*/ 4432140 w 4545947"/>
              <a:gd name="connsiteY1642" fmla="*/ 2940257 h 4525940"/>
              <a:gd name="connsiteX1643" fmla="*/ 4420579 w 4545947"/>
              <a:gd name="connsiteY1643" fmla="*/ 2904157 h 4525940"/>
              <a:gd name="connsiteX1644" fmla="*/ 4411480 w 4545947"/>
              <a:gd name="connsiteY1644" fmla="*/ 2890017 h 4525940"/>
              <a:gd name="connsiteX1645" fmla="*/ 4423561 w 4545947"/>
              <a:gd name="connsiteY1645" fmla="*/ 2875699 h 4525940"/>
              <a:gd name="connsiteX1646" fmla="*/ 4459419 w 4545947"/>
              <a:gd name="connsiteY1646" fmla="*/ 2869941 h 4525940"/>
              <a:gd name="connsiteX1647" fmla="*/ 4452464 w 4545947"/>
              <a:gd name="connsiteY1647" fmla="*/ 2935605 h 4525940"/>
              <a:gd name="connsiteX1648" fmla="*/ 4450005 w 4545947"/>
              <a:gd name="connsiteY1648" fmla="*/ 2962218 h 4525940"/>
              <a:gd name="connsiteX1649" fmla="*/ 4461356 w 4545947"/>
              <a:gd name="connsiteY1649" fmla="*/ 2981627 h 4525940"/>
              <a:gd name="connsiteX1650" fmla="*/ 4462298 w 4545947"/>
              <a:gd name="connsiteY1650" fmla="*/ 3012197 h 4525940"/>
              <a:gd name="connsiteX1651" fmla="*/ 4458544 w 4545947"/>
              <a:gd name="connsiteY1651" fmla="*/ 3047075 h 4525940"/>
              <a:gd name="connsiteX1652" fmla="*/ 4466982 w 4545947"/>
              <a:gd name="connsiteY1652" fmla="*/ 3096545 h 4525940"/>
              <a:gd name="connsiteX1653" fmla="*/ 4476717 w 4545947"/>
              <a:gd name="connsiteY1653" fmla="*/ 3145393 h 4525940"/>
              <a:gd name="connsiteX1654" fmla="*/ 4482109 w 4545947"/>
              <a:gd name="connsiteY1654" fmla="*/ 3209351 h 4525940"/>
              <a:gd name="connsiteX1655" fmla="*/ 4491442 w 4545947"/>
              <a:gd name="connsiteY1655" fmla="*/ 3282990 h 4525940"/>
              <a:gd name="connsiteX1656" fmla="*/ 4496943 w 4545947"/>
              <a:gd name="connsiteY1656" fmla="*/ 3316228 h 4525940"/>
              <a:gd name="connsiteX1657" fmla="*/ 4479522 w 4545947"/>
              <a:gd name="connsiteY1657" fmla="*/ 3318328 h 4525940"/>
              <a:gd name="connsiteX1658" fmla="*/ 4452840 w 4545947"/>
              <a:gd name="connsiteY1658" fmla="*/ 3272430 h 4525940"/>
              <a:gd name="connsiteX1659" fmla="*/ 4442203 w 4545947"/>
              <a:gd name="connsiteY1659" fmla="*/ 3311385 h 4525940"/>
              <a:gd name="connsiteX1660" fmla="*/ 4435495 w 4545947"/>
              <a:gd name="connsiteY1660" fmla="*/ 3340023 h 4525940"/>
              <a:gd name="connsiteX1661" fmla="*/ 4431405 w 4545947"/>
              <a:gd name="connsiteY1661" fmla="*/ 3361676 h 4525940"/>
              <a:gd name="connsiteX1662" fmla="*/ 4423901 w 4545947"/>
              <a:gd name="connsiteY1662" fmla="*/ 3368237 h 4525940"/>
              <a:gd name="connsiteX1663" fmla="*/ 4411592 w 4545947"/>
              <a:gd name="connsiteY1663" fmla="*/ 3332307 h 4525940"/>
              <a:gd name="connsiteX1664" fmla="*/ 4397896 w 4545947"/>
              <a:gd name="connsiteY1664" fmla="*/ 3297338 h 4525940"/>
              <a:gd name="connsiteX1665" fmla="*/ 4381244 w 4545947"/>
              <a:gd name="connsiteY1665" fmla="*/ 3297518 h 4525940"/>
              <a:gd name="connsiteX1666" fmla="*/ 4387970 w 4545947"/>
              <a:gd name="connsiteY1666" fmla="*/ 3342585 h 4525940"/>
              <a:gd name="connsiteX1667" fmla="*/ 4389728 w 4545947"/>
              <a:gd name="connsiteY1667" fmla="*/ 3411709 h 4525940"/>
              <a:gd name="connsiteX1668" fmla="*/ 4385355 w 4545947"/>
              <a:gd name="connsiteY1668" fmla="*/ 3437032 h 4525940"/>
              <a:gd name="connsiteX1669" fmla="*/ 4389728 w 4545947"/>
              <a:gd name="connsiteY1669" fmla="*/ 3462355 h 4525940"/>
              <a:gd name="connsiteX1670" fmla="*/ 4394101 w 4545947"/>
              <a:gd name="connsiteY1670" fmla="*/ 3477824 h 4525940"/>
              <a:gd name="connsiteX1671" fmla="*/ 4403134 w 4545947"/>
              <a:gd name="connsiteY1671" fmla="*/ 3502453 h 4525940"/>
              <a:gd name="connsiteX1672" fmla="*/ 4409301 w 4545947"/>
              <a:gd name="connsiteY1672" fmla="*/ 3533741 h 4525940"/>
              <a:gd name="connsiteX1673" fmla="*/ 4411334 w 4545947"/>
              <a:gd name="connsiteY1673" fmla="*/ 3560252 h 4525940"/>
              <a:gd name="connsiteX1674" fmla="*/ 4413426 w 4545947"/>
              <a:gd name="connsiteY1674" fmla="*/ 3586301 h 4525940"/>
              <a:gd name="connsiteX1675" fmla="*/ 4417255 w 4545947"/>
              <a:gd name="connsiteY1675" fmla="*/ 3607965 h 4525940"/>
              <a:gd name="connsiteX1676" fmla="*/ 4421605 w 4545947"/>
              <a:gd name="connsiteY1676" fmla="*/ 3620627 h 4525940"/>
              <a:gd name="connsiteX1677" fmla="*/ 4413131 w 4545947"/>
              <a:gd name="connsiteY1677" fmla="*/ 3633289 h 4525940"/>
              <a:gd name="connsiteX1678" fmla="*/ 4404428 w 4545947"/>
              <a:gd name="connsiteY1678" fmla="*/ 3642785 h 4525940"/>
              <a:gd name="connsiteX1679" fmla="*/ 4393632 w 4545947"/>
              <a:gd name="connsiteY1679" fmla="*/ 3652281 h 4525940"/>
              <a:gd name="connsiteX1680" fmla="*/ 4385355 w 4545947"/>
              <a:gd name="connsiteY1680" fmla="*/ 3629925 h 4525940"/>
              <a:gd name="connsiteX1681" fmla="*/ 4391914 w 4545947"/>
              <a:gd name="connsiteY1681" fmla="*/ 3603924 h 4525940"/>
              <a:gd name="connsiteX1682" fmla="*/ 4398473 w 4545947"/>
              <a:gd name="connsiteY1682" fmla="*/ 3585352 h 4525940"/>
              <a:gd name="connsiteX1683" fmla="*/ 4373070 w 4545947"/>
              <a:gd name="connsiteY1683" fmla="*/ 3557318 h 4525940"/>
              <a:gd name="connsiteX1684" fmla="*/ 4362940 w 4545947"/>
              <a:gd name="connsiteY1684" fmla="*/ 3508318 h 4525940"/>
              <a:gd name="connsiteX1685" fmla="*/ 4359759 w 4545947"/>
              <a:gd name="connsiteY1685" fmla="*/ 3486782 h 4525940"/>
              <a:gd name="connsiteX1686" fmla="*/ 4332004 w 4545947"/>
              <a:gd name="connsiteY1686" fmla="*/ 3485660 h 4525940"/>
              <a:gd name="connsiteX1687" fmla="*/ 4317200 w 4545947"/>
              <a:gd name="connsiteY1687" fmla="*/ 3482495 h 4525940"/>
              <a:gd name="connsiteX1688" fmla="*/ 4293795 w 4545947"/>
              <a:gd name="connsiteY1688" fmla="*/ 3480613 h 4525940"/>
              <a:gd name="connsiteX1689" fmla="*/ 4300183 w 4545947"/>
              <a:gd name="connsiteY1689" fmla="*/ 3523346 h 4525940"/>
              <a:gd name="connsiteX1690" fmla="*/ 4310997 w 4545947"/>
              <a:gd name="connsiteY1690" fmla="*/ 3568024 h 4525940"/>
              <a:gd name="connsiteX1691" fmla="*/ 4315459 w 4545947"/>
              <a:gd name="connsiteY1691" fmla="*/ 3585871 h 4525940"/>
              <a:gd name="connsiteX1692" fmla="*/ 4302514 w 4545947"/>
              <a:gd name="connsiteY1692" fmla="*/ 3601634 h 4525940"/>
              <a:gd name="connsiteX1693" fmla="*/ 4271659 w 4545947"/>
              <a:gd name="connsiteY1693" fmla="*/ 3548478 h 4525940"/>
              <a:gd name="connsiteX1694" fmla="*/ 4251054 w 4545947"/>
              <a:gd name="connsiteY1694" fmla="*/ 3524081 h 4525940"/>
              <a:gd name="connsiteX1695" fmla="*/ 4236675 w 4545947"/>
              <a:gd name="connsiteY1695" fmla="*/ 3514175 h 4525940"/>
              <a:gd name="connsiteX1696" fmla="*/ 4221370 w 4545947"/>
              <a:gd name="connsiteY1696" fmla="*/ 3485789 h 4525940"/>
              <a:gd name="connsiteX1697" fmla="*/ 4206065 w 4545947"/>
              <a:gd name="connsiteY1697" fmla="*/ 3466216 h 4525940"/>
              <a:gd name="connsiteX1698" fmla="*/ 4197295 w 4545947"/>
              <a:gd name="connsiteY1698" fmla="*/ 3460530 h 4525940"/>
              <a:gd name="connsiteX1699" fmla="*/ 4181991 w 4545947"/>
              <a:gd name="connsiteY1699" fmla="*/ 3455997 h 4525940"/>
              <a:gd name="connsiteX1700" fmla="*/ 4175454 w 4545947"/>
              <a:gd name="connsiteY1700" fmla="*/ 3466856 h 4525940"/>
              <a:gd name="connsiteX1701" fmla="*/ 4159615 w 4545947"/>
              <a:gd name="connsiteY1701" fmla="*/ 3483426 h 4525940"/>
              <a:gd name="connsiteX1702" fmla="*/ 4131533 w 4545947"/>
              <a:gd name="connsiteY1702" fmla="*/ 3479975 h 4525940"/>
              <a:gd name="connsiteX1703" fmla="*/ 4116891 w 4545947"/>
              <a:gd name="connsiteY1703" fmla="*/ 3472870 h 4525940"/>
              <a:gd name="connsiteX1704" fmla="*/ 4112678 w 4545947"/>
              <a:gd name="connsiteY1704" fmla="*/ 3467929 h 4525940"/>
              <a:gd name="connsiteX1705" fmla="*/ 4109861 w 4545947"/>
              <a:gd name="connsiteY1705" fmla="*/ 3494010 h 4525940"/>
              <a:gd name="connsiteX1706" fmla="*/ 4107881 w 4545947"/>
              <a:gd name="connsiteY1706" fmla="*/ 3533957 h 4525940"/>
              <a:gd name="connsiteX1707" fmla="*/ 4111751 w 4545947"/>
              <a:gd name="connsiteY1707" fmla="*/ 3655281 h 4525940"/>
              <a:gd name="connsiteX1708" fmla="*/ 4115825 w 4545947"/>
              <a:gd name="connsiteY1708" fmla="*/ 3697990 h 4525940"/>
              <a:gd name="connsiteX1709" fmla="*/ 4100821 w 4545947"/>
              <a:gd name="connsiteY1709" fmla="*/ 3693212 h 4525940"/>
              <a:gd name="connsiteX1710" fmla="*/ 4089044 w 4545947"/>
              <a:gd name="connsiteY1710" fmla="*/ 3691653 h 4525940"/>
              <a:gd name="connsiteX1711" fmla="*/ 4082530 w 4545947"/>
              <a:gd name="connsiteY1711" fmla="*/ 3698884 h 4525940"/>
              <a:gd name="connsiteX1712" fmla="*/ 4080291 w 4545947"/>
              <a:gd name="connsiteY1712" fmla="*/ 3710817 h 4525940"/>
              <a:gd name="connsiteX1713" fmla="*/ 4080385 w 4545947"/>
              <a:gd name="connsiteY1713" fmla="*/ 3730337 h 4525940"/>
              <a:gd name="connsiteX1714" fmla="*/ 4066131 w 4545947"/>
              <a:gd name="connsiteY1714" fmla="*/ 3728475 h 4525940"/>
              <a:gd name="connsiteX1715" fmla="*/ 4057262 w 4545947"/>
              <a:gd name="connsiteY1715" fmla="*/ 3702834 h 4525940"/>
              <a:gd name="connsiteX1716" fmla="*/ 4050961 w 4545947"/>
              <a:gd name="connsiteY1716" fmla="*/ 3689949 h 4525940"/>
              <a:gd name="connsiteX1717" fmla="*/ 4049965 w 4545947"/>
              <a:gd name="connsiteY1717" fmla="*/ 3683935 h 4525940"/>
              <a:gd name="connsiteX1718" fmla="*/ 4040220 w 4545947"/>
              <a:gd name="connsiteY1718" fmla="*/ 3663718 h 4525940"/>
              <a:gd name="connsiteX1719" fmla="*/ 4039152 w 4545947"/>
              <a:gd name="connsiteY1719" fmla="*/ 3641032 h 4525940"/>
              <a:gd name="connsiteX1720" fmla="*/ 4032349 w 4545947"/>
              <a:gd name="connsiteY1720" fmla="*/ 3604142 h 4525940"/>
              <a:gd name="connsiteX1721" fmla="*/ 4021554 w 4545947"/>
              <a:gd name="connsiteY1721" fmla="*/ 3580466 h 4525940"/>
              <a:gd name="connsiteX1722" fmla="*/ 4017114 w 4545947"/>
              <a:gd name="connsiteY1722" fmla="*/ 3577808 h 4525940"/>
              <a:gd name="connsiteX1723" fmla="*/ 4006744 w 4545947"/>
              <a:gd name="connsiteY1723" fmla="*/ 3605307 h 4525940"/>
              <a:gd name="connsiteX1724" fmla="*/ 3996422 w 4545947"/>
              <a:gd name="connsiteY1724" fmla="*/ 3630123 h 4525940"/>
              <a:gd name="connsiteX1725" fmla="*/ 3976929 w 4545947"/>
              <a:gd name="connsiteY1725" fmla="*/ 3557734 h 4525940"/>
              <a:gd name="connsiteX1726" fmla="*/ 3967010 w 4545947"/>
              <a:gd name="connsiteY1726" fmla="*/ 3524497 h 4525940"/>
              <a:gd name="connsiteX1727" fmla="*/ 3936518 w 4545947"/>
              <a:gd name="connsiteY1727" fmla="*/ 3522521 h 4525940"/>
              <a:gd name="connsiteX1728" fmla="*/ 3956830 w 4545947"/>
              <a:gd name="connsiteY1728" fmla="*/ 3588973 h 4525940"/>
              <a:gd name="connsiteX1729" fmla="*/ 3961181 w 4545947"/>
              <a:gd name="connsiteY1729" fmla="*/ 3603827 h 4525940"/>
              <a:gd name="connsiteX1730" fmla="*/ 3977941 w 4545947"/>
              <a:gd name="connsiteY1730" fmla="*/ 3658612 h 4525940"/>
              <a:gd name="connsiteX1731" fmla="*/ 3989531 w 4545947"/>
              <a:gd name="connsiteY1731" fmla="*/ 3709893 h 4525940"/>
              <a:gd name="connsiteX1732" fmla="*/ 3978673 w 4545947"/>
              <a:gd name="connsiteY1732" fmla="*/ 3722438 h 4525940"/>
              <a:gd name="connsiteX1733" fmla="*/ 3962900 w 4545947"/>
              <a:gd name="connsiteY1733" fmla="*/ 3690266 h 4525940"/>
              <a:gd name="connsiteX1734" fmla="*/ 3952435 w 4545947"/>
              <a:gd name="connsiteY1734" fmla="*/ 3684056 h 4525940"/>
              <a:gd name="connsiteX1735" fmla="*/ 3942083 w 4545947"/>
              <a:gd name="connsiteY1735" fmla="*/ 3674084 h 4525940"/>
              <a:gd name="connsiteX1736" fmla="*/ 3920131 w 4545947"/>
              <a:gd name="connsiteY1736" fmla="*/ 3685884 h 4525940"/>
              <a:gd name="connsiteX1737" fmla="*/ 3913664 w 4545947"/>
              <a:gd name="connsiteY1737" fmla="*/ 3719597 h 4525940"/>
              <a:gd name="connsiteX1738" fmla="*/ 3920091 w 4545947"/>
              <a:gd name="connsiteY1738" fmla="*/ 3744079 h 4525940"/>
              <a:gd name="connsiteX1739" fmla="*/ 3924301 w 4545947"/>
              <a:gd name="connsiteY1739" fmla="*/ 3764654 h 4525940"/>
              <a:gd name="connsiteX1740" fmla="*/ 3918458 w 4545947"/>
              <a:gd name="connsiteY1740" fmla="*/ 3778898 h 4525940"/>
              <a:gd name="connsiteX1741" fmla="*/ 3906709 w 4545947"/>
              <a:gd name="connsiteY1741" fmla="*/ 3750028 h 4525940"/>
              <a:gd name="connsiteX1742" fmla="*/ 3894186 w 4545947"/>
              <a:gd name="connsiteY1742" fmla="*/ 3723122 h 4525940"/>
              <a:gd name="connsiteX1743" fmla="*/ 3883222 w 4545947"/>
              <a:gd name="connsiteY1743" fmla="*/ 3739717 h 4525940"/>
              <a:gd name="connsiteX1744" fmla="*/ 3875601 w 4545947"/>
              <a:gd name="connsiteY1744" fmla="*/ 3757787 h 4525940"/>
              <a:gd name="connsiteX1745" fmla="*/ 3872041 w 4545947"/>
              <a:gd name="connsiteY1745" fmla="*/ 3776393 h 4525940"/>
              <a:gd name="connsiteX1746" fmla="*/ 3863739 w 4545947"/>
              <a:gd name="connsiteY1746" fmla="*/ 3783647 h 4525940"/>
              <a:gd name="connsiteX1747" fmla="*/ 3862885 w 4545947"/>
              <a:gd name="connsiteY1747" fmla="*/ 3785229 h 4525940"/>
              <a:gd name="connsiteX1748" fmla="*/ 3874122 w 4545947"/>
              <a:gd name="connsiteY1748" fmla="*/ 3823214 h 4525940"/>
              <a:gd name="connsiteX1749" fmla="*/ 3883234 w 4545947"/>
              <a:gd name="connsiteY1749" fmla="*/ 3899185 h 4525940"/>
              <a:gd name="connsiteX1750" fmla="*/ 3862599 w 4545947"/>
              <a:gd name="connsiteY1750" fmla="*/ 3845738 h 4525940"/>
              <a:gd name="connsiteX1751" fmla="*/ 3854301 w 4545947"/>
              <a:gd name="connsiteY1751" fmla="*/ 3812039 h 4525940"/>
              <a:gd name="connsiteX1752" fmla="*/ 3846160 w 4545947"/>
              <a:gd name="connsiteY1752" fmla="*/ 3796165 h 4525940"/>
              <a:gd name="connsiteX1753" fmla="*/ 3819335 w 4545947"/>
              <a:gd name="connsiteY1753" fmla="*/ 3805472 h 4525940"/>
              <a:gd name="connsiteX1754" fmla="*/ 3810462 w 4545947"/>
              <a:gd name="connsiteY1754" fmla="*/ 3833067 h 4525940"/>
              <a:gd name="connsiteX1755" fmla="*/ 3788709 w 4545947"/>
              <a:gd name="connsiteY1755" fmla="*/ 3831946 h 4525940"/>
              <a:gd name="connsiteX1756" fmla="*/ 3767992 w 4545947"/>
              <a:gd name="connsiteY1756" fmla="*/ 3797873 h 4525940"/>
              <a:gd name="connsiteX1757" fmla="*/ 3746015 w 4545947"/>
              <a:gd name="connsiteY1757" fmla="*/ 3752380 h 4525940"/>
              <a:gd name="connsiteX1758" fmla="*/ 3711733 w 4545947"/>
              <a:gd name="connsiteY1758" fmla="*/ 3702928 h 4525940"/>
              <a:gd name="connsiteX1759" fmla="*/ 3701350 w 4545947"/>
              <a:gd name="connsiteY1759" fmla="*/ 3706771 h 4525940"/>
              <a:gd name="connsiteX1760" fmla="*/ 3698806 w 4545947"/>
              <a:gd name="connsiteY1760" fmla="*/ 3728251 h 4525940"/>
              <a:gd name="connsiteX1761" fmla="*/ 3703179 w 4545947"/>
              <a:gd name="connsiteY1761" fmla="*/ 3747244 h 4525940"/>
              <a:gd name="connsiteX1762" fmla="*/ 3707552 w 4545947"/>
              <a:gd name="connsiteY1762" fmla="*/ 3766237 h 4525940"/>
              <a:gd name="connsiteX1763" fmla="*/ 3711925 w 4545947"/>
              <a:gd name="connsiteY1763" fmla="*/ 3776107 h 4525940"/>
              <a:gd name="connsiteX1764" fmla="*/ 3716310 w 4545947"/>
              <a:gd name="connsiteY1764" fmla="*/ 3782052 h 4525940"/>
              <a:gd name="connsiteX1765" fmla="*/ 3718822 w 4545947"/>
              <a:gd name="connsiteY1765" fmla="*/ 3792758 h 4525940"/>
              <a:gd name="connsiteX1766" fmla="*/ 3716622 w 4545947"/>
              <a:gd name="connsiteY1766" fmla="*/ 3815301 h 4525940"/>
              <a:gd name="connsiteX1767" fmla="*/ 3709009 w 4545947"/>
              <a:gd name="connsiteY1767" fmla="*/ 3823214 h 4525940"/>
              <a:gd name="connsiteX1768" fmla="*/ 3704652 w 4545947"/>
              <a:gd name="connsiteY1768" fmla="*/ 3827457 h 4525940"/>
              <a:gd name="connsiteX1769" fmla="*/ 3700954 w 4545947"/>
              <a:gd name="connsiteY1769" fmla="*/ 3846344 h 4525940"/>
              <a:gd name="connsiteX1770" fmla="*/ 3690971 w 4545947"/>
              <a:gd name="connsiteY1770" fmla="*/ 3884370 h 4525940"/>
              <a:gd name="connsiteX1771" fmla="*/ 3672702 w 4545947"/>
              <a:gd name="connsiteY1771" fmla="*/ 3896534 h 4525940"/>
              <a:gd name="connsiteX1772" fmla="*/ 3664440 w 4545947"/>
              <a:gd name="connsiteY1772" fmla="*/ 3880192 h 4525940"/>
              <a:gd name="connsiteX1773" fmla="*/ 3657424 w 4545947"/>
              <a:gd name="connsiteY1773" fmla="*/ 3839042 h 4525940"/>
              <a:gd name="connsiteX1774" fmla="*/ 3650356 w 4545947"/>
              <a:gd name="connsiteY1774" fmla="*/ 3797891 h 4525940"/>
              <a:gd name="connsiteX1775" fmla="*/ 3646331 w 4545947"/>
              <a:gd name="connsiteY1775" fmla="*/ 3780002 h 4525940"/>
              <a:gd name="connsiteX1776" fmla="*/ 3636210 w 4545947"/>
              <a:gd name="connsiteY1776" fmla="*/ 3748347 h 4525940"/>
              <a:gd name="connsiteX1777" fmla="*/ 3622279 w 4545947"/>
              <a:gd name="connsiteY1777" fmla="*/ 3740913 h 4525940"/>
              <a:gd name="connsiteX1778" fmla="*/ 3620351 w 4545947"/>
              <a:gd name="connsiteY1778" fmla="*/ 3747244 h 4525940"/>
              <a:gd name="connsiteX1779" fmla="*/ 3615720 w 4545947"/>
              <a:gd name="connsiteY1779" fmla="*/ 3739557 h 4525940"/>
              <a:gd name="connsiteX1780" fmla="*/ 3609235 w 4545947"/>
              <a:gd name="connsiteY1780" fmla="*/ 3741257 h 4525940"/>
              <a:gd name="connsiteX1781" fmla="*/ 3607022 w 4545947"/>
              <a:gd name="connsiteY1781" fmla="*/ 3883441 h 4525940"/>
              <a:gd name="connsiteX1782" fmla="*/ 3620970 w 4545947"/>
              <a:gd name="connsiteY1782" fmla="*/ 3926650 h 4525940"/>
              <a:gd name="connsiteX1783" fmla="*/ 3635418 w 4545947"/>
              <a:gd name="connsiteY1783" fmla="*/ 3966357 h 4525940"/>
              <a:gd name="connsiteX1784" fmla="*/ 3641958 w 4545947"/>
              <a:gd name="connsiteY1784" fmla="*/ 3982842 h 4525940"/>
              <a:gd name="connsiteX1785" fmla="*/ 3653242 w 4545947"/>
              <a:gd name="connsiteY1785" fmla="*/ 4009926 h 4525940"/>
              <a:gd name="connsiteX1786" fmla="*/ 3661604 w 4545947"/>
              <a:gd name="connsiteY1786" fmla="*/ 4040922 h 4525940"/>
              <a:gd name="connsiteX1787" fmla="*/ 3669309 w 4545947"/>
              <a:gd name="connsiteY1787" fmla="*/ 4087671 h 4525940"/>
              <a:gd name="connsiteX1788" fmla="*/ 3678511 w 4545947"/>
              <a:gd name="connsiteY1788" fmla="*/ 4112573 h 4525940"/>
              <a:gd name="connsiteX1789" fmla="*/ 3681769 w 4545947"/>
              <a:gd name="connsiteY1789" fmla="*/ 4123786 h 4525940"/>
              <a:gd name="connsiteX1790" fmla="*/ 3680561 w 4545947"/>
              <a:gd name="connsiteY1790" fmla="*/ 4130756 h 4525940"/>
              <a:gd name="connsiteX1791" fmla="*/ 3678018 w 4545947"/>
              <a:gd name="connsiteY1791" fmla="*/ 4172994 h 4525940"/>
              <a:gd name="connsiteX1792" fmla="*/ 3686423 w 4545947"/>
              <a:gd name="connsiteY1792" fmla="*/ 4203066 h 4525940"/>
              <a:gd name="connsiteX1793" fmla="*/ 3687445 w 4545947"/>
              <a:gd name="connsiteY1793" fmla="*/ 4242725 h 4525940"/>
              <a:gd name="connsiteX1794" fmla="*/ 3674851 w 4545947"/>
              <a:gd name="connsiteY1794" fmla="*/ 4234494 h 4525940"/>
              <a:gd name="connsiteX1795" fmla="*/ 3672639 w 4545947"/>
              <a:gd name="connsiteY1795" fmla="*/ 4225288 h 4525940"/>
              <a:gd name="connsiteX1796" fmla="*/ 3668195 w 4545947"/>
              <a:gd name="connsiteY1796" fmla="*/ 4209798 h 4525940"/>
              <a:gd name="connsiteX1797" fmla="*/ 3661635 w 4545947"/>
              <a:gd name="connsiteY1797" fmla="*/ 4190404 h 4525940"/>
              <a:gd name="connsiteX1798" fmla="*/ 3655077 w 4545947"/>
              <a:gd name="connsiteY1798" fmla="*/ 4164306 h 4525940"/>
              <a:gd name="connsiteX1799" fmla="*/ 3650704 w 4545947"/>
              <a:gd name="connsiteY1799" fmla="*/ 4146088 h 4525940"/>
              <a:gd name="connsiteX1800" fmla="*/ 3646331 w 4545947"/>
              <a:gd name="connsiteY1800" fmla="*/ 4127870 h 4525940"/>
              <a:gd name="connsiteX1801" fmla="*/ 3640215 w 4545947"/>
              <a:gd name="connsiteY1801" fmla="*/ 4102305 h 4525940"/>
              <a:gd name="connsiteX1802" fmla="*/ 3628573 w 4545947"/>
              <a:gd name="connsiteY1802" fmla="*/ 4030629 h 4525940"/>
              <a:gd name="connsiteX1803" fmla="*/ 3619343 w 4545947"/>
              <a:gd name="connsiteY1803" fmla="*/ 4010560 h 4525940"/>
              <a:gd name="connsiteX1804" fmla="*/ 3613087 w 4545947"/>
              <a:gd name="connsiteY1804" fmla="*/ 3995194 h 4525940"/>
              <a:gd name="connsiteX1805" fmla="*/ 3611643 w 4545947"/>
              <a:gd name="connsiteY1805" fmla="*/ 3986775 h 4525940"/>
              <a:gd name="connsiteX1806" fmla="*/ 3606039 w 4545947"/>
              <a:gd name="connsiteY1806" fmla="*/ 3968824 h 4525940"/>
              <a:gd name="connsiteX1807" fmla="*/ 3589225 w 4545947"/>
              <a:gd name="connsiteY1807" fmla="*/ 3937170 h 4525940"/>
              <a:gd name="connsiteX1808" fmla="*/ 3580737 w 4545947"/>
              <a:gd name="connsiteY1808" fmla="*/ 3924882 h 4525940"/>
              <a:gd name="connsiteX1809" fmla="*/ 3576929 w 4545947"/>
              <a:gd name="connsiteY1809" fmla="*/ 3909186 h 4525940"/>
              <a:gd name="connsiteX1810" fmla="*/ 3570603 w 4545947"/>
              <a:gd name="connsiteY1810" fmla="*/ 3888238 h 4525940"/>
              <a:gd name="connsiteX1811" fmla="*/ 3554944 w 4545947"/>
              <a:gd name="connsiteY1811" fmla="*/ 3858187 h 4525940"/>
              <a:gd name="connsiteX1812" fmla="*/ 3538478 w 4545947"/>
              <a:gd name="connsiteY1812" fmla="*/ 3805368 h 4525940"/>
              <a:gd name="connsiteX1813" fmla="*/ 3533727 w 4545947"/>
              <a:gd name="connsiteY1813" fmla="*/ 3767505 h 4525940"/>
              <a:gd name="connsiteX1814" fmla="*/ 3522632 w 4545947"/>
              <a:gd name="connsiteY1814" fmla="*/ 3721158 h 4525940"/>
              <a:gd name="connsiteX1815" fmla="*/ 3513197 w 4545947"/>
              <a:gd name="connsiteY1815" fmla="*/ 3684068 h 4525940"/>
              <a:gd name="connsiteX1816" fmla="*/ 3499894 w 4545947"/>
              <a:gd name="connsiteY1816" fmla="*/ 3658986 h 4525940"/>
              <a:gd name="connsiteX1817" fmla="*/ 3469237 w 4545947"/>
              <a:gd name="connsiteY1817" fmla="*/ 3635573 h 4525940"/>
              <a:gd name="connsiteX1818" fmla="*/ 3467041 w 4545947"/>
              <a:gd name="connsiteY1818" fmla="*/ 3687101 h 4525940"/>
              <a:gd name="connsiteX1819" fmla="*/ 3471414 w 4545947"/>
              <a:gd name="connsiteY1819" fmla="*/ 3706153 h 4525940"/>
              <a:gd name="connsiteX1820" fmla="*/ 3476971 w 4545947"/>
              <a:gd name="connsiteY1820" fmla="*/ 3726354 h 4525940"/>
              <a:gd name="connsiteX1821" fmla="*/ 3490888 w 4545947"/>
              <a:gd name="connsiteY1821" fmla="*/ 3773042 h 4525940"/>
              <a:gd name="connsiteX1822" fmla="*/ 3493020 w 4545947"/>
              <a:gd name="connsiteY1822" fmla="*/ 3778898 h 4525940"/>
              <a:gd name="connsiteX1823" fmla="*/ 3497651 w 4545947"/>
              <a:gd name="connsiteY1823" fmla="*/ 3793950 h 4525940"/>
              <a:gd name="connsiteX1824" fmla="*/ 3504545 w 4545947"/>
              <a:gd name="connsiteY1824" fmla="*/ 3817285 h 4525940"/>
              <a:gd name="connsiteX1825" fmla="*/ 3508755 w 4545947"/>
              <a:gd name="connsiteY1825" fmla="*/ 3848132 h 4525940"/>
              <a:gd name="connsiteX1826" fmla="*/ 3510540 w 4545947"/>
              <a:gd name="connsiteY1826" fmla="*/ 3861199 h 4525940"/>
              <a:gd name="connsiteX1827" fmla="*/ 3515661 w 4545947"/>
              <a:gd name="connsiteY1827" fmla="*/ 3869113 h 4525940"/>
              <a:gd name="connsiteX1828" fmla="*/ 3519516 w 4545947"/>
              <a:gd name="connsiteY1828" fmla="*/ 3873861 h 4525940"/>
              <a:gd name="connsiteX1829" fmla="*/ 3523889 w 4545947"/>
              <a:gd name="connsiteY1829" fmla="*/ 3883622 h 4525940"/>
              <a:gd name="connsiteX1830" fmla="*/ 3532417 w 4545947"/>
              <a:gd name="connsiteY1830" fmla="*/ 3906635 h 4525940"/>
              <a:gd name="connsiteX1831" fmla="*/ 3543578 w 4545947"/>
              <a:gd name="connsiteY1831" fmla="*/ 3939608 h 4525940"/>
              <a:gd name="connsiteX1832" fmla="*/ 3572787 w 4545947"/>
              <a:gd name="connsiteY1832" fmla="*/ 4051368 h 4525940"/>
              <a:gd name="connsiteX1833" fmla="*/ 3585110 w 4545947"/>
              <a:gd name="connsiteY1833" fmla="*/ 4083170 h 4525940"/>
              <a:gd name="connsiteX1834" fmla="*/ 3588390 w 4545947"/>
              <a:gd name="connsiteY1834" fmla="*/ 4095491 h 4525940"/>
              <a:gd name="connsiteX1835" fmla="*/ 3600027 w 4545947"/>
              <a:gd name="connsiteY1835" fmla="*/ 4134333 h 4525940"/>
              <a:gd name="connsiteX1836" fmla="*/ 3580737 w 4545947"/>
              <a:gd name="connsiteY1836" fmla="*/ 4111046 h 4525940"/>
              <a:gd name="connsiteX1837" fmla="*/ 3576851 w 4545947"/>
              <a:gd name="connsiteY1837" fmla="*/ 4095441 h 4525940"/>
              <a:gd name="connsiteX1838" fmla="*/ 3570176 w 4545947"/>
              <a:gd name="connsiteY1838" fmla="*/ 4073920 h 4525940"/>
              <a:gd name="connsiteX1839" fmla="*/ 3543030 w 4545947"/>
              <a:gd name="connsiteY1839" fmla="*/ 4041258 h 4525940"/>
              <a:gd name="connsiteX1840" fmla="*/ 3534118 w 4545947"/>
              <a:gd name="connsiteY1840" fmla="*/ 4026138 h 4525940"/>
              <a:gd name="connsiteX1841" fmla="*/ 3530338 w 4545947"/>
              <a:gd name="connsiteY1841" fmla="*/ 4006809 h 4525940"/>
              <a:gd name="connsiteX1842" fmla="*/ 3529155 w 4545947"/>
              <a:gd name="connsiteY1842" fmla="*/ 3978011 h 4525940"/>
              <a:gd name="connsiteX1843" fmla="*/ 3526968 w 4545947"/>
              <a:gd name="connsiteY1843" fmla="*/ 3955240 h 4525940"/>
              <a:gd name="connsiteX1844" fmla="*/ 3519516 w 4545947"/>
              <a:gd name="connsiteY1844" fmla="*/ 3936183 h 4525940"/>
              <a:gd name="connsiteX1845" fmla="*/ 3508583 w 4545947"/>
              <a:gd name="connsiteY1845" fmla="*/ 3910715 h 4525940"/>
              <a:gd name="connsiteX1846" fmla="*/ 3497651 w 4545947"/>
              <a:gd name="connsiteY1846" fmla="*/ 3890210 h 4525940"/>
              <a:gd name="connsiteX1847" fmla="*/ 3472162 w 4545947"/>
              <a:gd name="connsiteY1847" fmla="*/ 3861199 h 4525940"/>
              <a:gd name="connsiteX1848" fmla="*/ 3462668 w 4545947"/>
              <a:gd name="connsiteY1848" fmla="*/ 3848911 h 4525940"/>
              <a:gd name="connsiteX1849" fmla="*/ 3458295 w 4545947"/>
              <a:gd name="connsiteY1849" fmla="*/ 3832711 h 4525940"/>
              <a:gd name="connsiteX1850" fmla="*/ 3453922 w 4545947"/>
              <a:gd name="connsiteY1850" fmla="*/ 3814611 h 4525940"/>
              <a:gd name="connsiteX1851" fmla="*/ 3450078 w 4545947"/>
              <a:gd name="connsiteY1851" fmla="*/ 3794409 h 4525940"/>
              <a:gd name="connsiteX1852" fmla="*/ 3440992 w 4545947"/>
              <a:gd name="connsiteY1852" fmla="*/ 3764654 h 4525940"/>
              <a:gd name="connsiteX1853" fmla="*/ 3431719 w 4545947"/>
              <a:gd name="connsiteY1853" fmla="*/ 3740913 h 4525940"/>
              <a:gd name="connsiteX1854" fmla="*/ 3427684 w 4545947"/>
              <a:gd name="connsiteY1854" fmla="*/ 3725861 h 4525940"/>
              <a:gd name="connsiteX1855" fmla="*/ 3420306 w 4545947"/>
              <a:gd name="connsiteY1855" fmla="*/ 3702120 h 4525940"/>
              <a:gd name="connsiteX1856" fmla="*/ 3416164 w 4545947"/>
              <a:gd name="connsiteY1856" fmla="*/ 3705901 h 4525940"/>
              <a:gd name="connsiteX1857" fmla="*/ 3416533 w 4545947"/>
              <a:gd name="connsiteY1857" fmla="*/ 3714219 h 4525940"/>
              <a:gd name="connsiteX1858" fmla="*/ 3402685 w 4545947"/>
              <a:gd name="connsiteY1858" fmla="*/ 3716112 h 4525940"/>
              <a:gd name="connsiteX1859" fmla="*/ 3393935 w 4545947"/>
              <a:gd name="connsiteY1859" fmla="*/ 3713735 h 4525940"/>
              <a:gd name="connsiteX1860" fmla="*/ 3387971 w 4545947"/>
              <a:gd name="connsiteY1860" fmla="*/ 3689876 h 4525940"/>
              <a:gd name="connsiteX1861" fmla="*/ 3379613 w 4545947"/>
              <a:gd name="connsiteY1861" fmla="*/ 3645950 h 4525940"/>
              <a:gd name="connsiteX1862" fmla="*/ 3363957 w 4545947"/>
              <a:gd name="connsiteY1862" fmla="*/ 3602624 h 4525940"/>
              <a:gd name="connsiteX1863" fmla="*/ 3350698 w 4545947"/>
              <a:gd name="connsiteY1863" fmla="*/ 3633318 h 4525940"/>
              <a:gd name="connsiteX1864" fmla="*/ 3345028 w 4545947"/>
              <a:gd name="connsiteY1864" fmla="*/ 3650699 h 4525940"/>
              <a:gd name="connsiteX1865" fmla="*/ 3329305 w 4545947"/>
              <a:gd name="connsiteY1865" fmla="*/ 3652225 h 4525940"/>
              <a:gd name="connsiteX1866" fmla="*/ 3340893 w 4545947"/>
              <a:gd name="connsiteY1866" fmla="*/ 3677605 h 4525940"/>
              <a:gd name="connsiteX1867" fmla="*/ 3352077 w 4545947"/>
              <a:gd name="connsiteY1867" fmla="*/ 3690266 h 4525940"/>
              <a:gd name="connsiteX1868" fmla="*/ 3357681 w 4545947"/>
              <a:gd name="connsiteY1868" fmla="*/ 3702928 h 4525940"/>
              <a:gd name="connsiteX1869" fmla="*/ 3363620 w 4545947"/>
              <a:gd name="connsiteY1869" fmla="*/ 3721921 h 4525940"/>
              <a:gd name="connsiteX1870" fmla="*/ 3372913 w 4545947"/>
              <a:gd name="connsiteY1870" fmla="*/ 3740913 h 4525940"/>
              <a:gd name="connsiteX1871" fmla="*/ 3375688 w 4545947"/>
              <a:gd name="connsiteY1871" fmla="*/ 3768853 h 4525940"/>
              <a:gd name="connsiteX1872" fmla="*/ 3327107 w 4545947"/>
              <a:gd name="connsiteY1872" fmla="*/ 3771846 h 4525940"/>
              <a:gd name="connsiteX1873" fmla="*/ 3315329 w 4545947"/>
              <a:gd name="connsiteY1873" fmla="*/ 3744607 h 4525940"/>
              <a:gd name="connsiteX1874" fmla="*/ 3311207 w 4545947"/>
              <a:gd name="connsiteY1874" fmla="*/ 3724541 h 4525940"/>
              <a:gd name="connsiteX1875" fmla="*/ 3316649 w 4545947"/>
              <a:gd name="connsiteY1875" fmla="*/ 3711929 h 4525940"/>
              <a:gd name="connsiteX1876" fmla="*/ 3320770 w 4545947"/>
              <a:gd name="connsiteY1876" fmla="*/ 3707093 h 4525940"/>
              <a:gd name="connsiteX1877" fmla="*/ 3327107 w 4545947"/>
              <a:gd name="connsiteY1877" fmla="*/ 3700282 h 4525940"/>
              <a:gd name="connsiteX1878" fmla="*/ 3313988 w 4545947"/>
              <a:gd name="connsiteY1878" fmla="*/ 3686151 h 4525940"/>
              <a:gd name="connsiteX1879" fmla="*/ 3300870 w 4545947"/>
              <a:gd name="connsiteY1879" fmla="*/ 3674511 h 4525940"/>
              <a:gd name="connsiteX1880" fmla="*/ 3289059 w 4545947"/>
              <a:gd name="connsiteY1880" fmla="*/ 3649571 h 4525940"/>
              <a:gd name="connsiteX1881" fmla="*/ 3279392 w 4545947"/>
              <a:gd name="connsiteY1881" fmla="*/ 3614296 h 4525940"/>
              <a:gd name="connsiteX1882" fmla="*/ 3283232 w 4545947"/>
              <a:gd name="connsiteY1882" fmla="*/ 3606383 h 4525940"/>
              <a:gd name="connsiteX1883" fmla="*/ 3274377 w 4545947"/>
              <a:gd name="connsiteY1883" fmla="*/ 3613610 h 4525940"/>
              <a:gd name="connsiteX1884" fmla="*/ 3260548 w 4545947"/>
              <a:gd name="connsiteY1884" fmla="*/ 3606968 h 4525940"/>
              <a:gd name="connsiteX1885" fmla="*/ 3252822 w 4545947"/>
              <a:gd name="connsiteY1885" fmla="*/ 3578594 h 4525940"/>
              <a:gd name="connsiteX1886" fmla="*/ 3252417 w 4545947"/>
              <a:gd name="connsiteY1886" fmla="*/ 3574234 h 4525940"/>
              <a:gd name="connsiteX1887" fmla="*/ 3264232 w 4545947"/>
              <a:gd name="connsiteY1887" fmla="*/ 3578304 h 4525940"/>
              <a:gd name="connsiteX1888" fmla="*/ 3270698 w 4545947"/>
              <a:gd name="connsiteY1888" fmla="*/ 3586713 h 4525940"/>
              <a:gd name="connsiteX1889" fmla="*/ 3275175 w 4545947"/>
              <a:gd name="connsiteY1889" fmla="*/ 3573523 h 4525940"/>
              <a:gd name="connsiteX1890" fmla="*/ 3272678 w 4545947"/>
              <a:gd name="connsiteY1890" fmla="*/ 3539117 h 4525940"/>
              <a:gd name="connsiteX1891" fmla="*/ 3255231 w 4545947"/>
              <a:gd name="connsiteY1891" fmla="*/ 3538110 h 4525940"/>
              <a:gd name="connsiteX1892" fmla="*/ 3237667 w 4545947"/>
              <a:gd name="connsiteY1892" fmla="*/ 3538572 h 4525940"/>
              <a:gd name="connsiteX1893" fmla="*/ 3215276 w 4545947"/>
              <a:gd name="connsiteY1893" fmla="*/ 3575977 h 4525940"/>
              <a:gd name="connsiteX1894" fmla="*/ 3204100 w 4545947"/>
              <a:gd name="connsiteY1894" fmla="*/ 3614296 h 4525940"/>
              <a:gd name="connsiteX1895" fmla="*/ 3195919 w 4545947"/>
              <a:gd name="connsiteY1895" fmla="*/ 3602335 h 4525940"/>
              <a:gd name="connsiteX1896" fmla="*/ 3187447 w 4545947"/>
              <a:gd name="connsiteY1896" fmla="*/ 3575429 h 4525940"/>
              <a:gd name="connsiteX1897" fmla="*/ 3171048 w 4545947"/>
              <a:gd name="connsiteY1897" fmla="*/ 3567461 h 4525940"/>
              <a:gd name="connsiteX1898" fmla="*/ 3164938 w 4545947"/>
              <a:gd name="connsiteY1898" fmla="*/ 3609962 h 4525940"/>
              <a:gd name="connsiteX1899" fmla="*/ 3163122 w 4545947"/>
              <a:gd name="connsiteY1899" fmla="*/ 3633289 h 4525940"/>
              <a:gd name="connsiteX1900" fmla="*/ 3156563 w 4545947"/>
              <a:gd name="connsiteY1900" fmla="*/ 3626962 h 4525940"/>
              <a:gd name="connsiteX1901" fmla="*/ 3120606 w 4545947"/>
              <a:gd name="connsiteY1901" fmla="*/ 3630123 h 4525940"/>
              <a:gd name="connsiteX1902" fmla="*/ 3126056 w 4545947"/>
              <a:gd name="connsiteY1902" fmla="*/ 3709259 h 4525940"/>
              <a:gd name="connsiteX1903" fmla="*/ 3143221 w 4545947"/>
              <a:gd name="connsiteY1903" fmla="*/ 3820049 h 4525940"/>
              <a:gd name="connsiteX1904" fmla="*/ 3143117 w 4545947"/>
              <a:gd name="connsiteY1904" fmla="*/ 3881775 h 4525940"/>
              <a:gd name="connsiteX1905" fmla="*/ 3132608 w 4545947"/>
              <a:gd name="connsiteY1905" fmla="*/ 3930839 h 4525940"/>
              <a:gd name="connsiteX1906" fmla="*/ 3121580 w 4545947"/>
              <a:gd name="connsiteY1906" fmla="*/ 3908681 h 4525940"/>
              <a:gd name="connsiteX1907" fmla="*/ 3117693 w 4545947"/>
              <a:gd name="connsiteY1907" fmla="*/ 3886523 h 4525940"/>
              <a:gd name="connsiteX1908" fmla="*/ 3110936 w 4545947"/>
              <a:gd name="connsiteY1908" fmla="*/ 3864365 h 4525940"/>
              <a:gd name="connsiteX1909" fmla="*/ 3104446 w 4545947"/>
              <a:gd name="connsiteY1909" fmla="*/ 3842207 h 4525940"/>
              <a:gd name="connsiteX1910" fmla="*/ 3098639 w 4545947"/>
              <a:gd name="connsiteY1910" fmla="*/ 3809238 h 4525940"/>
              <a:gd name="connsiteX1911" fmla="*/ 3091524 w 4545947"/>
              <a:gd name="connsiteY1911" fmla="*/ 3773890 h 4525940"/>
              <a:gd name="connsiteX1912" fmla="*/ 3086596 w 4545947"/>
              <a:gd name="connsiteY1912" fmla="*/ 3737594 h 4525940"/>
              <a:gd name="connsiteX1913" fmla="*/ 3082151 w 4545947"/>
              <a:gd name="connsiteY1913" fmla="*/ 3699699 h 4525940"/>
              <a:gd name="connsiteX1914" fmla="*/ 3080224 w 4545947"/>
              <a:gd name="connsiteY1914" fmla="*/ 3689829 h 4525940"/>
              <a:gd name="connsiteX1915" fmla="*/ 3078108 w 4545947"/>
              <a:gd name="connsiteY1915" fmla="*/ 3683935 h 4525940"/>
              <a:gd name="connsiteX1916" fmla="*/ 3073478 w 4545947"/>
              <a:gd name="connsiteY1916" fmla="*/ 3652809 h 4525940"/>
              <a:gd name="connsiteX1917" fmla="*/ 3068189 w 4545947"/>
              <a:gd name="connsiteY1917" fmla="*/ 3619131 h 4525940"/>
              <a:gd name="connsiteX1918" fmla="*/ 3062193 w 4545947"/>
              <a:gd name="connsiteY1918" fmla="*/ 3601193 h 4525940"/>
              <a:gd name="connsiteX1919" fmla="*/ 3058266 w 4545947"/>
              <a:gd name="connsiteY1919" fmla="*/ 3574728 h 4525940"/>
              <a:gd name="connsiteX1920" fmla="*/ 3057514 w 4545947"/>
              <a:gd name="connsiteY1920" fmla="*/ 3554356 h 4525940"/>
              <a:gd name="connsiteX1921" fmla="*/ 3056138 w 4545947"/>
              <a:gd name="connsiteY1921" fmla="*/ 3541627 h 4525940"/>
              <a:gd name="connsiteX1922" fmla="*/ 3049247 w 4545947"/>
              <a:gd name="connsiteY1922" fmla="*/ 3496938 h 4525940"/>
              <a:gd name="connsiteX1923" fmla="*/ 3017705 w 4545947"/>
              <a:gd name="connsiteY1923" fmla="*/ 3437032 h 4525940"/>
              <a:gd name="connsiteX1924" fmla="*/ 3009991 w 4545947"/>
              <a:gd name="connsiteY1924" fmla="*/ 3476935 h 4525940"/>
              <a:gd name="connsiteX1925" fmla="*/ 3007942 w 4545947"/>
              <a:gd name="connsiteY1925" fmla="*/ 3500341 h 4525940"/>
              <a:gd name="connsiteX1926" fmla="*/ 2999138 w 4545947"/>
              <a:gd name="connsiteY1926" fmla="*/ 3511736 h 4525940"/>
              <a:gd name="connsiteX1927" fmla="*/ 2994221 w 4545947"/>
              <a:gd name="connsiteY1927" fmla="*/ 3530249 h 4525940"/>
              <a:gd name="connsiteX1928" fmla="*/ 2994221 w 4545947"/>
              <a:gd name="connsiteY1928" fmla="*/ 3557784 h 4525940"/>
              <a:gd name="connsiteX1929" fmla="*/ 2981646 w 4545947"/>
              <a:gd name="connsiteY1929" fmla="*/ 3592138 h 4525940"/>
              <a:gd name="connsiteX1930" fmla="*/ 2972514 w 4545947"/>
              <a:gd name="connsiteY1930" fmla="*/ 3569980 h 4525940"/>
              <a:gd name="connsiteX1931" fmla="*/ 2966340 w 4545947"/>
              <a:gd name="connsiteY1931" fmla="*/ 3531984 h 4525940"/>
              <a:gd name="connsiteX1932" fmla="*/ 2959351 w 4545947"/>
              <a:gd name="connsiteY1932" fmla="*/ 3490460 h 4525940"/>
              <a:gd name="connsiteX1933" fmla="*/ 2955409 w 4545947"/>
              <a:gd name="connsiteY1933" fmla="*/ 3447123 h 4525940"/>
              <a:gd name="connsiteX1934" fmla="*/ 2946728 w 4545947"/>
              <a:gd name="connsiteY1934" fmla="*/ 3392826 h 4525940"/>
              <a:gd name="connsiteX1935" fmla="*/ 2940541 w 4545947"/>
              <a:gd name="connsiteY1935" fmla="*/ 3363958 h 4525940"/>
              <a:gd name="connsiteX1936" fmla="*/ 2928518 w 4545947"/>
              <a:gd name="connsiteY1936" fmla="*/ 3330135 h 4525940"/>
              <a:gd name="connsiteX1937" fmla="*/ 2925305 w 4545947"/>
              <a:gd name="connsiteY1937" fmla="*/ 3329407 h 4525940"/>
              <a:gd name="connsiteX1938" fmla="*/ 2922663 w 4545947"/>
              <a:gd name="connsiteY1938" fmla="*/ 3308194 h 4525940"/>
              <a:gd name="connsiteX1939" fmla="*/ 2924908 w 4545947"/>
              <a:gd name="connsiteY1939" fmla="*/ 3291324 h 4525940"/>
              <a:gd name="connsiteX1940" fmla="*/ 2907500 w 4545947"/>
              <a:gd name="connsiteY1940" fmla="*/ 3253437 h 4525940"/>
              <a:gd name="connsiteX1941" fmla="*/ 2902377 w 4545947"/>
              <a:gd name="connsiteY1941" fmla="*/ 3292044 h 4525940"/>
              <a:gd name="connsiteX1942" fmla="*/ 2888666 w 4545947"/>
              <a:gd name="connsiteY1942" fmla="*/ 3307676 h 4525940"/>
              <a:gd name="connsiteX1943" fmla="*/ 2869372 w 4545947"/>
              <a:gd name="connsiteY1943" fmla="*/ 3353858 h 4525940"/>
              <a:gd name="connsiteX1944" fmla="*/ 2866824 w 4545947"/>
              <a:gd name="connsiteY1944" fmla="*/ 3380956 h 4525940"/>
              <a:gd name="connsiteX1945" fmla="*/ 2845843 w 4545947"/>
              <a:gd name="connsiteY1945" fmla="*/ 3411053 h 4525940"/>
              <a:gd name="connsiteX1946" fmla="*/ 2841712 w 4545947"/>
              <a:gd name="connsiteY1946" fmla="*/ 3443363 h 4525940"/>
              <a:gd name="connsiteX1947" fmla="*/ 2832967 w 4545947"/>
              <a:gd name="connsiteY1947" fmla="*/ 3434642 h 4525940"/>
              <a:gd name="connsiteX1948" fmla="*/ 2826073 w 4545947"/>
              <a:gd name="connsiteY1948" fmla="*/ 3417638 h 4525940"/>
              <a:gd name="connsiteX1949" fmla="*/ 2821980 w 4545947"/>
              <a:gd name="connsiteY1949" fmla="*/ 3387738 h 4525940"/>
              <a:gd name="connsiteX1950" fmla="*/ 2817264 w 4545947"/>
              <a:gd name="connsiteY1950" fmla="*/ 3354095 h 4525940"/>
              <a:gd name="connsiteX1951" fmla="*/ 2813279 w 4545947"/>
              <a:gd name="connsiteY1951" fmla="*/ 3342069 h 4525940"/>
              <a:gd name="connsiteX1952" fmla="*/ 2808098 w 4545947"/>
              <a:gd name="connsiteY1952" fmla="*/ 3330990 h 4525940"/>
              <a:gd name="connsiteX1953" fmla="*/ 2796413 w 4545947"/>
              <a:gd name="connsiteY1953" fmla="*/ 3302501 h 4525940"/>
              <a:gd name="connsiteX1954" fmla="*/ 2785874 w 4545947"/>
              <a:gd name="connsiteY1954" fmla="*/ 3285284 h 4525940"/>
              <a:gd name="connsiteX1955" fmla="*/ 2785958 w 4545947"/>
              <a:gd name="connsiteY1955" fmla="*/ 3291929 h 4525940"/>
              <a:gd name="connsiteX1956" fmla="*/ 2790331 w 4545947"/>
              <a:gd name="connsiteY1956" fmla="*/ 3322979 h 4525940"/>
              <a:gd name="connsiteX1957" fmla="*/ 2775681 w 4545947"/>
              <a:gd name="connsiteY1957" fmla="*/ 3305853 h 4525940"/>
              <a:gd name="connsiteX1958" fmla="*/ 2763282 w 4545947"/>
              <a:gd name="connsiteY1958" fmla="*/ 3305853 h 4525940"/>
              <a:gd name="connsiteX1959" fmla="*/ 2753779 w 4545947"/>
              <a:gd name="connsiteY1959" fmla="*/ 3354086 h 4525940"/>
              <a:gd name="connsiteX1960" fmla="*/ 2760892 w 4545947"/>
              <a:gd name="connsiteY1960" fmla="*/ 3403232 h 4525940"/>
              <a:gd name="connsiteX1961" fmla="*/ 2766023 w 4545947"/>
              <a:gd name="connsiteY1961" fmla="*/ 3450840 h 4525940"/>
              <a:gd name="connsiteX1962" fmla="*/ 2750015 w 4545947"/>
              <a:gd name="connsiteY1962" fmla="*/ 3478697 h 4525940"/>
              <a:gd name="connsiteX1963" fmla="*/ 2739057 w 4545947"/>
              <a:gd name="connsiteY1963" fmla="*/ 3462355 h 4525940"/>
              <a:gd name="connsiteX1964" fmla="*/ 2732389 w 4545947"/>
              <a:gd name="connsiteY1964" fmla="*/ 3453537 h 4525940"/>
              <a:gd name="connsiteX1965" fmla="*/ 2712353 w 4545947"/>
              <a:gd name="connsiteY1965" fmla="*/ 3437032 h 4525940"/>
              <a:gd name="connsiteX1966" fmla="*/ 2706152 w 4545947"/>
              <a:gd name="connsiteY1966" fmla="*/ 3457689 h 4525940"/>
              <a:gd name="connsiteX1967" fmla="*/ 2696312 w 4545947"/>
              <a:gd name="connsiteY1967" fmla="*/ 3484595 h 4525940"/>
              <a:gd name="connsiteX1968" fmla="*/ 2687868 w 4545947"/>
              <a:gd name="connsiteY1968" fmla="*/ 3509837 h 4525940"/>
              <a:gd name="connsiteX1969" fmla="*/ 2690056 w 4545947"/>
              <a:gd name="connsiteY1969" fmla="*/ 3557318 h 4525940"/>
              <a:gd name="connsiteX1970" fmla="*/ 2694620 w 4545947"/>
              <a:gd name="connsiteY1970" fmla="*/ 3594273 h 4525940"/>
              <a:gd name="connsiteX1971" fmla="*/ 2682100 w 4545947"/>
              <a:gd name="connsiteY1971" fmla="*/ 3615329 h 4525940"/>
              <a:gd name="connsiteX1972" fmla="*/ 2675171 w 4545947"/>
              <a:gd name="connsiteY1972" fmla="*/ 3654278 h 4525940"/>
              <a:gd name="connsiteX1973" fmla="*/ 2680432 w 4545947"/>
              <a:gd name="connsiteY1973" fmla="*/ 3686784 h 4525940"/>
              <a:gd name="connsiteX1974" fmla="*/ 2683731 w 4545947"/>
              <a:gd name="connsiteY1974" fmla="*/ 3693432 h 4525940"/>
              <a:gd name="connsiteX1975" fmla="*/ 2699137 w 4545947"/>
              <a:gd name="connsiteY1975" fmla="*/ 3672350 h 4525940"/>
              <a:gd name="connsiteX1976" fmla="*/ 2709257 w 4545947"/>
              <a:gd name="connsiteY1976" fmla="*/ 3688362 h 4525940"/>
              <a:gd name="connsiteX1977" fmla="*/ 2719638 w 4545947"/>
              <a:gd name="connsiteY1977" fmla="*/ 3721312 h 4525940"/>
              <a:gd name="connsiteX1978" fmla="*/ 2731766 w 4545947"/>
              <a:gd name="connsiteY1978" fmla="*/ 3743285 h 4525940"/>
              <a:gd name="connsiteX1979" fmla="*/ 2734466 w 4545947"/>
              <a:gd name="connsiteY1979" fmla="*/ 3761914 h 4525940"/>
              <a:gd name="connsiteX1980" fmla="*/ 2733513 w 4545947"/>
              <a:gd name="connsiteY1980" fmla="*/ 3779804 h 4525940"/>
              <a:gd name="connsiteX1981" fmla="*/ 2724300 w 4545947"/>
              <a:gd name="connsiteY1981" fmla="*/ 3766243 h 4525940"/>
              <a:gd name="connsiteX1982" fmla="*/ 2709200 w 4545947"/>
              <a:gd name="connsiteY1982" fmla="*/ 3728581 h 4525940"/>
              <a:gd name="connsiteX1983" fmla="*/ 2698904 w 4545947"/>
              <a:gd name="connsiteY1983" fmla="*/ 3710865 h 4525940"/>
              <a:gd name="connsiteX1984" fmla="*/ 2694804 w 4545947"/>
              <a:gd name="connsiteY1984" fmla="*/ 3727472 h 4525940"/>
              <a:gd name="connsiteX1985" fmla="*/ 2703659 w 4545947"/>
              <a:gd name="connsiteY1985" fmla="*/ 3818561 h 4525940"/>
              <a:gd name="connsiteX1986" fmla="*/ 2704869 w 4545947"/>
              <a:gd name="connsiteY1986" fmla="*/ 3842295 h 4525940"/>
              <a:gd name="connsiteX1987" fmla="*/ 2706562 w 4545947"/>
              <a:gd name="connsiteY1987" fmla="*/ 3858401 h 4525940"/>
              <a:gd name="connsiteX1988" fmla="*/ 2703965 w 4545947"/>
              <a:gd name="connsiteY1988" fmla="*/ 3892854 h 4525940"/>
              <a:gd name="connsiteX1989" fmla="*/ 2697406 w 4545947"/>
              <a:gd name="connsiteY1989" fmla="*/ 3884624 h 4525940"/>
              <a:gd name="connsiteX1990" fmla="*/ 2692559 w 4545947"/>
              <a:gd name="connsiteY1990" fmla="*/ 3869377 h 4525940"/>
              <a:gd name="connsiteX1991" fmla="*/ 2685914 w 4545947"/>
              <a:gd name="connsiteY1991" fmla="*/ 3829043 h 4525940"/>
              <a:gd name="connsiteX1992" fmla="*/ 2680432 w 4545947"/>
              <a:gd name="connsiteY1992" fmla="*/ 3788895 h 4525940"/>
              <a:gd name="connsiteX1993" fmla="*/ 2673617 w 4545947"/>
              <a:gd name="connsiteY1993" fmla="*/ 3763071 h 4525940"/>
              <a:gd name="connsiteX1994" fmla="*/ 2664856 w 4545947"/>
              <a:gd name="connsiteY1994" fmla="*/ 3734582 h 4525940"/>
              <a:gd name="connsiteX1995" fmla="*/ 2656320 w 4545947"/>
              <a:gd name="connsiteY1995" fmla="*/ 3707405 h 4525940"/>
              <a:gd name="connsiteX1996" fmla="*/ 2633990 w 4545947"/>
              <a:gd name="connsiteY1996" fmla="*/ 3694220 h 4525940"/>
              <a:gd name="connsiteX1997" fmla="*/ 2634199 w 4545947"/>
              <a:gd name="connsiteY1997" fmla="*/ 3713122 h 4525940"/>
              <a:gd name="connsiteX1998" fmla="*/ 2640557 w 4545947"/>
              <a:gd name="connsiteY1998" fmla="*/ 3737638 h 4525940"/>
              <a:gd name="connsiteX1999" fmla="*/ 2633998 w 4545947"/>
              <a:gd name="connsiteY1999" fmla="*/ 3747244 h 4525940"/>
              <a:gd name="connsiteX2000" fmla="*/ 2627438 w 4545947"/>
              <a:gd name="connsiteY2000" fmla="*/ 3730840 h 4525940"/>
              <a:gd name="connsiteX2001" fmla="*/ 2621342 w 4545947"/>
              <a:gd name="connsiteY2001" fmla="*/ 3725705 h 4525940"/>
              <a:gd name="connsiteX2002" fmla="*/ 2612167 w 4545947"/>
              <a:gd name="connsiteY2002" fmla="*/ 3690686 h 4525940"/>
              <a:gd name="connsiteX2003" fmla="*/ 2605145 w 4545947"/>
              <a:gd name="connsiteY2003" fmla="*/ 3652281 h 4525940"/>
              <a:gd name="connsiteX2004" fmla="*/ 2601104 w 4545947"/>
              <a:gd name="connsiteY2004" fmla="*/ 3634871 h 4525940"/>
              <a:gd name="connsiteX2005" fmla="*/ 2577610 w 4545947"/>
              <a:gd name="connsiteY2005" fmla="*/ 3591006 h 4525940"/>
              <a:gd name="connsiteX2006" fmla="*/ 2572247 w 4545947"/>
              <a:gd name="connsiteY2006" fmla="*/ 3626110 h 4525940"/>
              <a:gd name="connsiteX2007" fmla="*/ 2573455 w 4545947"/>
              <a:gd name="connsiteY2007" fmla="*/ 3664943 h 4525940"/>
              <a:gd name="connsiteX2008" fmla="*/ 2553099 w 4545947"/>
              <a:gd name="connsiteY2008" fmla="*/ 3631003 h 4525940"/>
              <a:gd name="connsiteX2009" fmla="*/ 2543260 w 4545947"/>
              <a:gd name="connsiteY2009" fmla="*/ 3614862 h 4525940"/>
              <a:gd name="connsiteX2010" fmla="*/ 2530623 w 4545947"/>
              <a:gd name="connsiteY2010" fmla="*/ 3640554 h 4525940"/>
              <a:gd name="connsiteX2011" fmla="*/ 2526305 w 4545947"/>
              <a:gd name="connsiteY2011" fmla="*/ 3708293 h 4525940"/>
              <a:gd name="connsiteX2012" fmla="*/ 2519771 w 4545947"/>
              <a:gd name="connsiteY2012" fmla="*/ 3750816 h 4525940"/>
              <a:gd name="connsiteX2013" fmla="*/ 2522540 w 4545947"/>
              <a:gd name="connsiteY2013" fmla="*/ 3784928 h 4525940"/>
              <a:gd name="connsiteX2014" fmla="*/ 2509726 w 4545947"/>
              <a:gd name="connsiteY2014" fmla="*/ 3781217 h 4525940"/>
              <a:gd name="connsiteX2015" fmla="*/ 2486852 w 4545947"/>
              <a:gd name="connsiteY2015" fmla="*/ 3820858 h 4525940"/>
              <a:gd name="connsiteX2016" fmla="*/ 2481921 w 4545947"/>
              <a:gd name="connsiteY2016" fmla="*/ 3848538 h 4525940"/>
              <a:gd name="connsiteX2017" fmla="*/ 2462933 w 4545947"/>
              <a:gd name="connsiteY2017" fmla="*/ 3811532 h 4525940"/>
              <a:gd name="connsiteX2018" fmla="*/ 2456776 w 4545947"/>
              <a:gd name="connsiteY2018" fmla="*/ 3791560 h 4525940"/>
              <a:gd name="connsiteX2019" fmla="*/ 2448685 w 4545947"/>
              <a:gd name="connsiteY2019" fmla="*/ 3772074 h 4525940"/>
              <a:gd name="connsiteX2020" fmla="*/ 2427873 w 4545947"/>
              <a:gd name="connsiteY2020" fmla="*/ 3768017 h 4525940"/>
              <a:gd name="connsiteX2021" fmla="*/ 2429236 w 4545947"/>
              <a:gd name="connsiteY2021" fmla="*/ 3769526 h 4525940"/>
              <a:gd name="connsiteX2022" fmla="*/ 2443776 w 4545947"/>
              <a:gd name="connsiteY2022" fmla="*/ 3766237 h 4525940"/>
              <a:gd name="connsiteX2023" fmla="*/ 2440496 w 4545947"/>
              <a:gd name="connsiteY2023" fmla="*/ 3772608 h 4525940"/>
              <a:gd name="connsiteX2024" fmla="*/ 2429564 w 4545947"/>
              <a:gd name="connsiteY2024" fmla="*/ 3792113 h 4525940"/>
              <a:gd name="connsiteX2025" fmla="*/ 2430302 w 4545947"/>
              <a:gd name="connsiteY2025" fmla="*/ 3873416 h 4525940"/>
              <a:gd name="connsiteX2026" fmla="*/ 2444369 w 4545947"/>
              <a:gd name="connsiteY2026" fmla="*/ 3924805 h 4525940"/>
              <a:gd name="connsiteX2027" fmla="*/ 2453931 w 4545947"/>
              <a:gd name="connsiteY2027" fmla="*/ 3969610 h 4525940"/>
              <a:gd name="connsiteX2028" fmla="*/ 2450930 w 4545947"/>
              <a:gd name="connsiteY2028" fmla="*/ 3988781 h 4525940"/>
              <a:gd name="connsiteX2029" fmla="*/ 2449419 w 4545947"/>
              <a:gd name="connsiteY2029" fmla="*/ 4093060 h 4525940"/>
              <a:gd name="connsiteX2030" fmla="*/ 2447957 w 4545947"/>
              <a:gd name="connsiteY2030" fmla="*/ 4143094 h 4525940"/>
              <a:gd name="connsiteX2031" fmla="*/ 2430657 w 4545947"/>
              <a:gd name="connsiteY2031" fmla="*/ 4117769 h 4525940"/>
              <a:gd name="connsiteX2032" fmla="*/ 2414924 w 4545947"/>
              <a:gd name="connsiteY2032" fmla="*/ 4063787 h 4525940"/>
              <a:gd name="connsiteX2033" fmla="*/ 2408246 w 4545947"/>
              <a:gd name="connsiteY2033" fmla="*/ 4057456 h 4525940"/>
              <a:gd name="connsiteX2034" fmla="*/ 2406606 w 4545947"/>
              <a:gd name="connsiteY2034" fmla="*/ 4044794 h 4525940"/>
              <a:gd name="connsiteX2035" fmla="*/ 2404966 w 4545947"/>
              <a:gd name="connsiteY2035" fmla="*/ 3991434 h 4525940"/>
              <a:gd name="connsiteX2036" fmla="*/ 2396933 w 4545947"/>
              <a:gd name="connsiteY2036" fmla="*/ 3933567 h 4525940"/>
              <a:gd name="connsiteX2037" fmla="*/ 2388791 w 4545947"/>
              <a:gd name="connsiteY2037" fmla="*/ 3915705 h 4525940"/>
              <a:gd name="connsiteX2038" fmla="*/ 2384965 w 4545947"/>
              <a:gd name="connsiteY2038" fmla="*/ 3854869 h 4525940"/>
              <a:gd name="connsiteX2039" fmla="*/ 2358125 w 4545947"/>
              <a:gd name="connsiteY2039" fmla="*/ 3777893 h 4525940"/>
              <a:gd name="connsiteX2040" fmla="*/ 2348290 w 4545947"/>
              <a:gd name="connsiteY2040" fmla="*/ 3762998 h 4525940"/>
              <a:gd name="connsiteX2041" fmla="*/ 2331066 w 4545947"/>
              <a:gd name="connsiteY2041" fmla="*/ 3743626 h 4525940"/>
              <a:gd name="connsiteX2042" fmla="*/ 2322362 w 4545947"/>
              <a:gd name="connsiteY2042" fmla="*/ 3790153 h 4525940"/>
              <a:gd name="connsiteX2043" fmla="*/ 2325585 w 4545947"/>
              <a:gd name="connsiteY2043" fmla="*/ 3839042 h 4525940"/>
              <a:gd name="connsiteX2044" fmla="*/ 2331015 w 4545947"/>
              <a:gd name="connsiteY2044" fmla="*/ 3907844 h 4525940"/>
              <a:gd name="connsiteX2045" fmla="*/ 2310583 w 4545947"/>
              <a:gd name="connsiteY2045" fmla="*/ 3877027 h 4525940"/>
              <a:gd name="connsiteX2046" fmla="*/ 2308008 w 4545947"/>
              <a:gd name="connsiteY2046" fmla="*/ 3820722 h 4525940"/>
              <a:gd name="connsiteX2047" fmla="*/ 2289689 w 4545947"/>
              <a:gd name="connsiteY2047" fmla="*/ 3772664 h 4525940"/>
              <a:gd name="connsiteX2048" fmla="*/ 2271750 w 4545947"/>
              <a:gd name="connsiteY2048" fmla="*/ 3824865 h 4525940"/>
              <a:gd name="connsiteX2049" fmla="*/ 2269535 w 4545947"/>
              <a:gd name="connsiteY2049" fmla="*/ 3826984 h 4525940"/>
              <a:gd name="connsiteX2050" fmla="*/ 2264486 w 4545947"/>
              <a:gd name="connsiteY2050" fmla="*/ 3832337 h 4525940"/>
              <a:gd name="connsiteX2051" fmla="*/ 2259765 w 4545947"/>
              <a:gd name="connsiteY2051" fmla="*/ 3842207 h 4525940"/>
              <a:gd name="connsiteX2052" fmla="*/ 2257927 w 4545947"/>
              <a:gd name="connsiteY2052" fmla="*/ 3823214 h 4525940"/>
              <a:gd name="connsiteX2053" fmla="*/ 2255775 w 4545947"/>
              <a:gd name="connsiteY2053" fmla="*/ 3804222 h 4525940"/>
              <a:gd name="connsiteX2054" fmla="*/ 2243620 w 4545947"/>
              <a:gd name="connsiteY2054" fmla="*/ 3793911 h 4525940"/>
              <a:gd name="connsiteX2055" fmla="*/ 2246518 w 4545947"/>
              <a:gd name="connsiteY2055" fmla="*/ 3771854 h 4525940"/>
              <a:gd name="connsiteX2056" fmla="*/ 2253959 w 4545947"/>
              <a:gd name="connsiteY2056" fmla="*/ 3733428 h 4525940"/>
              <a:gd name="connsiteX2057" fmla="*/ 2247002 w 4545947"/>
              <a:gd name="connsiteY2057" fmla="*/ 3700406 h 4525940"/>
              <a:gd name="connsiteX2058" fmla="*/ 2242621 w 4545947"/>
              <a:gd name="connsiteY2058" fmla="*/ 3683863 h 4525940"/>
              <a:gd name="connsiteX2059" fmla="*/ 2233875 w 4545947"/>
              <a:gd name="connsiteY2059" fmla="*/ 3660071 h 4525940"/>
              <a:gd name="connsiteX2060" fmla="*/ 2225130 w 4545947"/>
              <a:gd name="connsiteY2060" fmla="*/ 3633553 h 4525940"/>
              <a:gd name="connsiteX2061" fmla="*/ 2221850 w 4545947"/>
              <a:gd name="connsiteY2061" fmla="*/ 3620071 h 4525940"/>
              <a:gd name="connsiteX2062" fmla="*/ 2203265 w 4545947"/>
              <a:gd name="connsiteY2062" fmla="*/ 3618488 h 4525940"/>
              <a:gd name="connsiteX2063" fmla="*/ 2189200 w 4545947"/>
              <a:gd name="connsiteY2063" fmla="*/ 3640708 h 4525940"/>
              <a:gd name="connsiteX2064" fmla="*/ 2181231 w 4545947"/>
              <a:gd name="connsiteY2064" fmla="*/ 3668186 h 4525940"/>
              <a:gd name="connsiteX2065" fmla="*/ 2174574 w 4545947"/>
              <a:gd name="connsiteY2065" fmla="*/ 3682047 h 4525940"/>
              <a:gd name="connsiteX2066" fmla="*/ 2169669 w 4545947"/>
              <a:gd name="connsiteY2066" fmla="*/ 3687533 h 4525940"/>
              <a:gd name="connsiteX2067" fmla="*/ 2170689 w 4545947"/>
              <a:gd name="connsiteY2067" fmla="*/ 3696951 h 4525940"/>
              <a:gd name="connsiteX2068" fmla="*/ 2195588 w 4545947"/>
              <a:gd name="connsiteY2068" fmla="*/ 3707322 h 4525940"/>
              <a:gd name="connsiteX2069" fmla="*/ 2212011 w 4545947"/>
              <a:gd name="connsiteY2069" fmla="*/ 3724422 h 4525940"/>
              <a:gd name="connsiteX2070" fmla="*/ 2216999 w 4545947"/>
              <a:gd name="connsiteY2070" fmla="*/ 3751934 h 4525940"/>
              <a:gd name="connsiteX2071" fmla="*/ 2218775 w 4545947"/>
              <a:gd name="connsiteY2071" fmla="*/ 3835779 h 4525940"/>
              <a:gd name="connsiteX2072" fmla="*/ 2201276 w 4545947"/>
              <a:gd name="connsiteY2072" fmla="*/ 3794726 h 4525940"/>
              <a:gd name="connsiteX2073" fmla="*/ 2176875 w 4545947"/>
              <a:gd name="connsiteY2073" fmla="*/ 3755596 h 4525940"/>
              <a:gd name="connsiteX2074" fmla="*/ 2138525 w 4545947"/>
              <a:gd name="connsiteY2074" fmla="*/ 3709464 h 4525940"/>
              <a:gd name="connsiteX2075" fmla="*/ 2105352 w 4545947"/>
              <a:gd name="connsiteY2075" fmla="*/ 3672844 h 4525940"/>
              <a:gd name="connsiteX2076" fmla="*/ 2107864 w 4545947"/>
              <a:gd name="connsiteY2076" fmla="*/ 3702928 h 4525940"/>
              <a:gd name="connsiteX2077" fmla="*/ 2110750 w 4545947"/>
              <a:gd name="connsiteY2077" fmla="*/ 3725675 h 4525940"/>
              <a:gd name="connsiteX2078" fmla="*/ 2116974 w 4545947"/>
              <a:gd name="connsiteY2078" fmla="*/ 3756445 h 4525940"/>
              <a:gd name="connsiteX2079" fmla="*/ 2124552 w 4545947"/>
              <a:gd name="connsiteY2079" fmla="*/ 3778014 h 4525940"/>
              <a:gd name="connsiteX2080" fmla="*/ 2111517 w 4545947"/>
              <a:gd name="connsiteY2080" fmla="*/ 3791560 h 4525940"/>
              <a:gd name="connsiteX2081" fmla="*/ 2095798 w 4545947"/>
              <a:gd name="connsiteY2081" fmla="*/ 3807039 h 4525940"/>
              <a:gd name="connsiteX2082" fmla="*/ 2085876 w 4545947"/>
              <a:gd name="connsiteY2082" fmla="*/ 3825297 h 4525940"/>
              <a:gd name="connsiteX2083" fmla="*/ 2088181 w 4545947"/>
              <a:gd name="connsiteY2083" fmla="*/ 3828811 h 4525940"/>
              <a:gd name="connsiteX2084" fmla="*/ 2100377 w 4545947"/>
              <a:gd name="connsiteY2084" fmla="*/ 3841641 h 4525940"/>
              <a:gd name="connsiteX2085" fmla="*/ 2114029 w 4545947"/>
              <a:gd name="connsiteY2085" fmla="*/ 3864171 h 4525940"/>
              <a:gd name="connsiteX2086" fmla="*/ 2123698 w 4545947"/>
              <a:gd name="connsiteY2086" fmla="*/ 3901140 h 4525940"/>
              <a:gd name="connsiteX2087" fmla="*/ 2107910 w 4545947"/>
              <a:gd name="connsiteY2087" fmla="*/ 3911846 h 4525940"/>
              <a:gd name="connsiteX2088" fmla="*/ 2080582 w 4545947"/>
              <a:gd name="connsiteY2088" fmla="*/ 3849939 h 4525940"/>
              <a:gd name="connsiteX2089" fmla="*/ 2054585 w 4545947"/>
              <a:gd name="connsiteY2089" fmla="*/ 3858695 h 4525940"/>
              <a:gd name="connsiteX2090" fmla="*/ 2039326 w 4545947"/>
              <a:gd name="connsiteY2090" fmla="*/ 3863960 h 4525940"/>
              <a:gd name="connsiteX2091" fmla="*/ 2021367 w 4545947"/>
              <a:gd name="connsiteY2091" fmla="*/ 3870003 h 4525940"/>
              <a:gd name="connsiteX2092" fmla="*/ 2006483 w 4545947"/>
              <a:gd name="connsiteY2092" fmla="*/ 3867904 h 4525940"/>
              <a:gd name="connsiteX2093" fmla="*/ 2002040 w 4545947"/>
              <a:gd name="connsiteY2093" fmla="*/ 3851640 h 4525940"/>
              <a:gd name="connsiteX2094" fmla="*/ 2000327 w 4545947"/>
              <a:gd name="connsiteY2094" fmla="*/ 3841264 h 4525940"/>
              <a:gd name="connsiteX2095" fmla="*/ 1993839 w 4545947"/>
              <a:gd name="connsiteY2095" fmla="*/ 3825515 h 4525940"/>
              <a:gd name="connsiteX2096" fmla="*/ 1984619 w 4545947"/>
              <a:gd name="connsiteY2096" fmla="*/ 3795142 h 4525940"/>
              <a:gd name="connsiteX2097" fmla="*/ 1964941 w 4545947"/>
              <a:gd name="connsiteY2097" fmla="*/ 3766237 h 4525940"/>
              <a:gd name="connsiteX2098" fmla="*/ 1958381 w 4545947"/>
              <a:gd name="connsiteY2098" fmla="*/ 3782839 h 4525940"/>
              <a:gd name="connsiteX2099" fmla="*/ 1951822 w 4545947"/>
              <a:gd name="connsiteY2099" fmla="*/ 3791560 h 4525940"/>
              <a:gd name="connsiteX2100" fmla="*/ 1945262 w 4545947"/>
              <a:gd name="connsiteY2100" fmla="*/ 3785229 h 4525940"/>
              <a:gd name="connsiteX2101" fmla="*/ 1932144 w 4545947"/>
              <a:gd name="connsiteY2101" fmla="*/ 3778898 h 4525940"/>
              <a:gd name="connsiteX2102" fmla="*/ 1919025 w 4545947"/>
              <a:gd name="connsiteY2102" fmla="*/ 3763599 h 4525940"/>
              <a:gd name="connsiteX2103" fmla="*/ 1923488 w 4545947"/>
              <a:gd name="connsiteY2103" fmla="*/ 3746145 h 4525940"/>
              <a:gd name="connsiteX2104" fmla="*/ 1908872 w 4545947"/>
              <a:gd name="connsiteY2104" fmla="*/ 3705513 h 4525940"/>
              <a:gd name="connsiteX2105" fmla="*/ 1884041 w 4545947"/>
              <a:gd name="connsiteY2105" fmla="*/ 3735980 h 4525940"/>
              <a:gd name="connsiteX2106" fmla="*/ 1888568 w 4545947"/>
              <a:gd name="connsiteY2106" fmla="*/ 3760322 h 4525940"/>
              <a:gd name="connsiteX2107" fmla="*/ 1875988 w 4545947"/>
              <a:gd name="connsiteY2107" fmla="*/ 3764707 h 4525940"/>
              <a:gd name="connsiteX2108" fmla="*/ 1866434 w 4545947"/>
              <a:gd name="connsiteY2108" fmla="*/ 3766290 h 4525940"/>
              <a:gd name="connsiteX2109" fmla="*/ 1866075 w 4545947"/>
              <a:gd name="connsiteY2109" fmla="*/ 3797891 h 4525940"/>
              <a:gd name="connsiteX2110" fmla="*/ 1872718 w 4545947"/>
              <a:gd name="connsiteY2110" fmla="*/ 3813718 h 4525940"/>
              <a:gd name="connsiteX2111" fmla="*/ 1879752 w 4545947"/>
              <a:gd name="connsiteY2111" fmla="*/ 3829545 h 4525940"/>
              <a:gd name="connsiteX2112" fmla="*/ 1884041 w 4545947"/>
              <a:gd name="connsiteY2112" fmla="*/ 3844998 h 4525940"/>
              <a:gd name="connsiteX2113" fmla="*/ 1888645 w 4545947"/>
              <a:gd name="connsiteY2113" fmla="*/ 3864572 h 4525940"/>
              <a:gd name="connsiteX2114" fmla="*/ 1891630 w 4545947"/>
              <a:gd name="connsiteY2114" fmla="*/ 3875720 h 4525940"/>
              <a:gd name="connsiteX2115" fmla="*/ 1913437 w 4545947"/>
              <a:gd name="connsiteY2115" fmla="*/ 3905515 h 4525940"/>
              <a:gd name="connsiteX2116" fmla="*/ 1923398 w 4545947"/>
              <a:gd name="connsiteY2116" fmla="*/ 3915012 h 4525940"/>
              <a:gd name="connsiteX2117" fmla="*/ 1927771 w 4545947"/>
              <a:gd name="connsiteY2117" fmla="*/ 3924508 h 4525940"/>
              <a:gd name="connsiteX2118" fmla="*/ 1932144 w 4545947"/>
              <a:gd name="connsiteY2118" fmla="*/ 3936947 h 4525940"/>
              <a:gd name="connsiteX2119" fmla="*/ 1940889 w 4545947"/>
              <a:gd name="connsiteY2119" fmla="*/ 3956162 h 4525940"/>
              <a:gd name="connsiteX2120" fmla="*/ 1935640 w 4545947"/>
              <a:gd name="connsiteY2120" fmla="*/ 3972686 h 4525940"/>
              <a:gd name="connsiteX2121" fmla="*/ 1919242 w 4545947"/>
              <a:gd name="connsiteY2121" fmla="*/ 3963834 h 4525940"/>
              <a:gd name="connsiteX2122" fmla="*/ 1904617 w 4545947"/>
              <a:gd name="connsiteY2122" fmla="*/ 3947772 h 4525940"/>
              <a:gd name="connsiteX2123" fmla="*/ 1888202 w 4545947"/>
              <a:gd name="connsiteY2123" fmla="*/ 3920535 h 4525940"/>
              <a:gd name="connsiteX2124" fmla="*/ 1866862 w 4545947"/>
              <a:gd name="connsiteY2124" fmla="*/ 3886523 h 4525940"/>
              <a:gd name="connsiteX2125" fmla="*/ 1862177 w 4545947"/>
              <a:gd name="connsiteY2125" fmla="*/ 3874314 h 4525940"/>
              <a:gd name="connsiteX2126" fmla="*/ 1856466 w 4545947"/>
              <a:gd name="connsiteY2126" fmla="*/ 3853739 h 4525940"/>
              <a:gd name="connsiteX2127" fmla="*/ 1847857 w 4545947"/>
              <a:gd name="connsiteY2127" fmla="*/ 3834293 h 4525940"/>
              <a:gd name="connsiteX2128" fmla="*/ 1824179 w 4545947"/>
              <a:gd name="connsiteY2128" fmla="*/ 3833550 h 4525940"/>
              <a:gd name="connsiteX2129" fmla="*/ 1826806 w 4545947"/>
              <a:gd name="connsiteY2129" fmla="*/ 3856324 h 4525940"/>
              <a:gd name="connsiteX2130" fmla="*/ 1829445 w 4545947"/>
              <a:gd name="connsiteY2130" fmla="*/ 3872712 h 4525940"/>
              <a:gd name="connsiteX2131" fmla="*/ 1823072 w 4545947"/>
              <a:gd name="connsiteY2131" fmla="*/ 3868119 h 4525940"/>
              <a:gd name="connsiteX2132" fmla="*/ 1809702 w 4545947"/>
              <a:gd name="connsiteY2132" fmla="*/ 3881158 h 4525940"/>
              <a:gd name="connsiteX2133" fmla="*/ 1818447 w 4545947"/>
              <a:gd name="connsiteY2133" fmla="*/ 3897350 h 4525940"/>
              <a:gd name="connsiteX2134" fmla="*/ 1827193 w 4545947"/>
              <a:gd name="connsiteY2134" fmla="*/ 3916052 h 4525940"/>
              <a:gd name="connsiteX2135" fmla="*/ 1856256 w 4545947"/>
              <a:gd name="connsiteY2135" fmla="*/ 3962493 h 4525940"/>
              <a:gd name="connsiteX2136" fmla="*/ 1862177 w 4545947"/>
              <a:gd name="connsiteY2136" fmla="*/ 3975155 h 4525940"/>
              <a:gd name="connsiteX2137" fmla="*/ 1851780 w 4545947"/>
              <a:gd name="connsiteY2137" fmla="*/ 3987817 h 4525940"/>
              <a:gd name="connsiteX2138" fmla="*/ 1835939 w 4545947"/>
              <a:gd name="connsiteY2138" fmla="*/ 3997313 h 4525940"/>
              <a:gd name="connsiteX2139" fmla="*/ 1826658 w 4545947"/>
              <a:gd name="connsiteY2139" fmla="*/ 4006809 h 4525940"/>
              <a:gd name="connsiteX2140" fmla="*/ 1822820 w 4545947"/>
              <a:gd name="connsiteY2140" fmla="*/ 3997313 h 4525940"/>
              <a:gd name="connsiteX2141" fmla="*/ 1818447 w 4545947"/>
              <a:gd name="connsiteY2141" fmla="*/ 3987817 h 4525940"/>
              <a:gd name="connsiteX2142" fmla="*/ 1814075 w 4545947"/>
              <a:gd name="connsiteY2142" fmla="*/ 3977485 h 4525940"/>
              <a:gd name="connsiteX2143" fmla="*/ 1786969 w 4545947"/>
              <a:gd name="connsiteY2143" fmla="*/ 3911104 h 4525940"/>
              <a:gd name="connsiteX2144" fmla="*/ 1779091 w 4545947"/>
              <a:gd name="connsiteY2144" fmla="*/ 3887418 h 4525940"/>
              <a:gd name="connsiteX2145" fmla="*/ 1741945 w 4545947"/>
              <a:gd name="connsiteY2145" fmla="*/ 3805804 h 4525940"/>
              <a:gd name="connsiteX2146" fmla="*/ 1725644 w 4545947"/>
              <a:gd name="connsiteY2146" fmla="*/ 3791560 h 4525940"/>
              <a:gd name="connsiteX2147" fmla="*/ 1717870 w 4545947"/>
              <a:gd name="connsiteY2147" fmla="*/ 3781609 h 4525940"/>
              <a:gd name="connsiteX2148" fmla="*/ 1690111 w 4545947"/>
              <a:gd name="connsiteY2148" fmla="*/ 3710809 h 4525940"/>
              <a:gd name="connsiteX2149" fmla="*/ 1680232 w 4545947"/>
              <a:gd name="connsiteY2149" fmla="*/ 3693432 h 4525940"/>
              <a:gd name="connsiteX2150" fmla="*/ 1667809 w 4545947"/>
              <a:gd name="connsiteY2150" fmla="*/ 3678612 h 4525940"/>
              <a:gd name="connsiteX2151" fmla="*/ 1643530 w 4545947"/>
              <a:gd name="connsiteY2151" fmla="*/ 3646410 h 4525940"/>
              <a:gd name="connsiteX2152" fmla="*/ 1632598 w 4545947"/>
              <a:gd name="connsiteY2152" fmla="*/ 3628089 h 4525940"/>
              <a:gd name="connsiteX2153" fmla="*/ 1621666 w 4545947"/>
              <a:gd name="connsiteY2153" fmla="*/ 3599604 h 4525940"/>
              <a:gd name="connsiteX2154" fmla="*/ 1607892 w 4545947"/>
              <a:gd name="connsiteY2154" fmla="*/ 3573621 h 4525940"/>
              <a:gd name="connsiteX2155" fmla="*/ 1582310 w 4545947"/>
              <a:gd name="connsiteY2155" fmla="*/ 3590188 h 4525940"/>
              <a:gd name="connsiteX2156" fmla="*/ 1556968 w 4545947"/>
              <a:gd name="connsiteY2156" fmla="*/ 3581059 h 4525940"/>
              <a:gd name="connsiteX2157" fmla="*/ 1548180 w 4545947"/>
              <a:gd name="connsiteY2157" fmla="*/ 3562841 h 4525940"/>
              <a:gd name="connsiteX2158" fmla="*/ 1525461 w 4545947"/>
              <a:gd name="connsiteY2158" fmla="*/ 3564887 h 4525940"/>
              <a:gd name="connsiteX2159" fmla="*/ 1521880 w 4545947"/>
              <a:gd name="connsiteY2159" fmla="*/ 3567523 h 4525940"/>
              <a:gd name="connsiteX2160" fmla="*/ 1528124 w 4545947"/>
              <a:gd name="connsiteY2160" fmla="*/ 3608537 h 4525940"/>
              <a:gd name="connsiteX2161" fmla="*/ 1534207 w 4545947"/>
              <a:gd name="connsiteY2161" fmla="*/ 3628104 h 4525940"/>
              <a:gd name="connsiteX2162" fmla="*/ 1548057 w 4545947"/>
              <a:gd name="connsiteY2162" fmla="*/ 3665312 h 4525940"/>
              <a:gd name="connsiteX2163" fmla="*/ 1562692 w 4545947"/>
              <a:gd name="connsiteY2163" fmla="*/ 3701343 h 4525940"/>
              <a:gd name="connsiteX2164" fmla="*/ 1578407 w 4545947"/>
              <a:gd name="connsiteY2164" fmla="*/ 3761403 h 4525940"/>
              <a:gd name="connsiteX2165" fmla="*/ 1582310 w 4545947"/>
              <a:gd name="connsiteY2165" fmla="*/ 3785236 h 4525940"/>
              <a:gd name="connsiteX2166" fmla="*/ 1595866 w 4545947"/>
              <a:gd name="connsiteY2166" fmla="*/ 3810012 h 4525940"/>
              <a:gd name="connsiteX2167" fmla="*/ 1609422 w 4545947"/>
              <a:gd name="connsiteY2167" fmla="*/ 3821947 h 4525940"/>
              <a:gd name="connsiteX2168" fmla="*/ 1599783 w 4545947"/>
              <a:gd name="connsiteY2168" fmla="*/ 3835903 h 4525940"/>
              <a:gd name="connsiteX2169" fmla="*/ 1592769 w 4545947"/>
              <a:gd name="connsiteY2169" fmla="*/ 3868858 h 4525940"/>
              <a:gd name="connsiteX2170" fmla="*/ 1589357 w 4545947"/>
              <a:gd name="connsiteY2170" fmla="*/ 3884504 h 4525940"/>
              <a:gd name="connsiteX2171" fmla="*/ 1588146 w 4545947"/>
              <a:gd name="connsiteY2171" fmla="*/ 3899664 h 4525940"/>
              <a:gd name="connsiteX2172" fmla="*/ 1602110 w 4545947"/>
              <a:gd name="connsiteY2172" fmla="*/ 3918177 h 4525940"/>
              <a:gd name="connsiteX2173" fmla="*/ 1628191 w 4545947"/>
              <a:gd name="connsiteY2173" fmla="*/ 3950044 h 4525940"/>
              <a:gd name="connsiteX2174" fmla="*/ 1632855 w 4545947"/>
              <a:gd name="connsiteY2174" fmla="*/ 3989399 h 4525940"/>
              <a:gd name="connsiteX2175" fmla="*/ 1631957 w 4545947"/>
              <a:gd name="connsiteY2175" fmla="*/ 4013140 h 4525940"/>
              <a:gd name="connsiteX2176" fmla="*/ 1608547 w 4545947"/>
              <a:gd name="connsiteY2176" fmla="*/ 3977962 h 4525940"/>
              <a:gd name="connsiteX2177" fmla="*/ 1603916 w 4545947"/>
              <a:gd name="connsiteY2177" fmla="*/ 3962493 h 4525940"/>
              <a:gd name="connsiteX2178" fmla="*/ 1602413 w 4545947"/>
              <a:gd name="connsiteY2178" fmla="*/ 3955165 h 4525940"/>
              <a:gd name="connsiteX2179" fmla="*/ 1596313 w 4545947"/>
              <a:gd name="connsiteY2179" fmla="*/ 3951331 h 4525940"/>
              <a:gd name="connsiteX2180" fmla="*/ 1579635 w 4545947"/>
              <a:gd name="connsiteY2180" fmla="*/ 3938084 h 4525940"/>
              <a:gd name="connsiteX2181" fmla="*/ 1566316 w 4545947"/>
              <a:gd name="connsiteY2181" fmla="*/ 3916280 h 4525940"/>
              <a:gd name="connsiteX2182" fmla="*/ 1560307 w 4545947"/>
              <a:gd name="connsiteY2182" fmla="*/ 3894122 h 4525940"/>
              <a:gd name="connsiteX2183" fmla="*/ 1530293 w 4545947"/>
              <a:gd name="connsiteY2183" fmla="*/ 3846530 h 4525940"/>
              <a:gd name="connsiteX2184" fmla="*/ 1532819 w 4545947"/>
              <a:gd name="connsiteY2184" fmla="*/ 3820661 h 4525940"/>
              <a:gd name="connsiteX2185" fmla="*/ 1536987 w 4545947"/>
              <a:gd name="connsiteY2185" fmla="*/ 3782979 h 4525940"/>
              <a:gd name="connsiteX2186" fmla="*/ 1516242 w 4545947"/>
              <a:gd name="connsiteY2186" fmla="*/ 3759906 h 4525940"/>
              <a:gd name="connsiteX2187" fmla="*/ 1505885 w 4545947"/>
              <a:gd name="connsiteY2187" fmla="*/ 3732637 h 4525940"/>
              <a:gd name="connsiteX2188" fmla="*/ 1486312 w 4545947"/>
              <a:gd name="connsiteY2188" fmla="*/ 3693337 h 4525940"/>
              <a:gd name="connsiteX2189" fmla="*/ 1447478 w 4545947"/>
              <a:gd name="connsiteY2189" fmla="*/ 3663589 h 4525940"/>
              <a:gd name="connsiteX2190" fmla="*/ 1439825 w 4545947"/>
              <a:gd name="connsiteY2190" fmla="*/ 3658612 h 4525940"/>
              <a:gd name="connsiteX2191" fmla="*/ 1444562 w 4545947"/>
              <a:gd name="connsiteY2191" fmla="*/ 3639619 h 4525940"/>
              <a:gd name="connsiteX2192" fmla="*/ 1455495 w 4545947"/>
              <a:gd name="connsiteY2192" fmla="*/ 3623575 h 4525940"/>
              <a:gd name="connsiteX2193" fmla="*/ 1460961 w 4545947"/>
              <a:gd name="connsiteY2193" fmla="*/ 3617522 h 4525940"/>
              <a:gd name="connsiteX2194" fmla="*/ 1452837 w 4545947"/>
              <a:gd name="connsiteY2194" fmla="*/ 3603651 h 4525940"/>
              <a:gd name="connsiteX2195" fmla="*/ 1436789 w 4545947"/>
              <a:gd name="connsiteY2195" fmla="*/ 3558195 h 4525940"/>
              <a:gd name="connsiteX2196" fmla="*/ 1396928 w 4545947"/>
              <a:gd name="connsiteY2196" fmla="*/ 3504024 h 4525940"/>
              <a:gd name="connsiteX2197" fmla="*/ 1403198 w 4545947"/>
              <a:gd name="connsiteY2197" fmla="*/ 3544914 h 4525940"/>
              <a:gd name="connsiteX2198" fmla="*/ 1413240 w 4545947"/>
              <a:gd name="connsiteY2198" fmla="*/ 3599452 h 4525940"/>
              <a:gd name="connsiteX2199" fmla="*/ 1421808 w 4545947"/>
              <a:gd name="connsiteY2199" fmla="*/ 3648957 h 4525940"/>
              <a:gd name="connsiteX2200" fmla="*/ 1425263 w 4545947"/>
              <a:gd name="connsiteY2200" fmla="*/ 3671274 h 4525940"/>
              <a:gd name="connsiteX2201" fmla="*/ 1424464 w 4545947"/>
              <a:gd name="connsiteY2201" fmla="*/ 3688684 h 4525940"/>
              <a:gd name="connsiteX2202" fmla="*/ 1437204 w 4545947"/>
              <a:gd name="connsiteY2202" fmla="*/ 3708117 h 4525940"/>
              <a:gd name="connsiteX2203" fmla="*/ 1446749 w 4545947"/>
              <a:gd name="connsiteY2203" fmla="*/ 3731484 h 4525940"/>
              <a:gd name="connsiteX2204" fmla="*/ 1451637 w 4545947"/>
              <a:gd name="connsiteY2204" fmla="*/ 3757202 h 4525940"/>
              <a:gd name="connsiteX2205" fmla="*/ 1453905 w 4545947"/>
              <a:gd name="connsiteY2205" fmla="*/ 3789250 h 4525940"/>
              <a:gd name="connsiteX2206" fmla="*/ 1459949 w 4545947"/>
              <a:gd name="connsiteY2206" fmla="*/ 3824758 h 4525940"/>
              <a:gd name="connsiteX2207" fmla="*/ 1468613 w 4545947"/>
              <a:gd name="connsiteY2207" fmla="*/ 3839789 h 4525940"/>
              <a:gd name="connsiteX2208" fmla="*/ 1475477 w 4545947"/>
              <a:gd name="connsiteY2208" fmla="*/ 3855234 h 4525940"/>
              <a:gd name="connsiteX2209" fmla="*/ 1480511 w 4545947"/>
              <a:gd name="connsiteY2209" fmla="*/ 3873606 h 4525940"/>
              <a:gd name="connsiteX2210" fmla="*/ 1494666 w 4545947"/>
              <a:gd name="connsiteY2210" fmla="*/ 3899185 h 4525940"/>
              <a:gd name="connsiteX2211" fmla="*/ 1499224 w 4545947"/>
              <a:gd name="connsiteY2211" fmla="*/ 3921197 h 4525940"/>
              <a:gd name="connsiteX2212" fmla="*/ 1509610 w 4545947"/>
              <a:gd name="connsiteY2212" fmla="*/ 3953061 h 4525940"/>
              <a:gd name="connsiteX2213" fmla="*/ 1516169 w 4545947"/>
              <a:gd name="connsiteY2213" fmla="*/ 3997802 h 4525940"/>
              <a:gd name="connsiteX2214" fmla="*/ 1512343 w 4545947"/>
              <a:gd name="connsiteY2214" fmla="*/ 3994521 h 4525940"/>
              <a:gd name="connsiteX2215" fmla="*/ 1506257 w 4545947"/>
              <a:gd name="connsiteY2215" fmla="*/ 3987817 h 4525940"/>
              <a:gd name="connsiteX2216" fmla="*/ 1497656 w 4545947"/>
              <a:gd name="connsiteY2216" fmla="*/ 3973300 h 4525940"/>
              <a:gd name="connsiteX2217" fmla="*/ 1478220 w 4545947"/>
              <a:gd name="connsiteY2217" fmla="*/ 3947976 h 4525940"/>
              <a:gd name="connsiteX2218" fmla="*/ 1448741 w 4545947"/>
              <a:gd name="connsiteY2218" fmla="*/ 3950719 h 4525940"/>
              <a:gd name="connsiteX2219" fmla="*/ 1461808 w 4545947"/>
              <a:gd name="connsiteY2219" fmla="*/ 3985538 h 4525940"/>
              <a:gd name="connsiteX2220" fmla="*/ 1481440 w 4545947"/>
              <a:gd name="connsiteY2220" fmla="*/ 4006809 h 4525940"/>
              <a:gd name="connsiteX2221" fmla="*/ 1496501 w 4545947"/>
              <a:gd name="connsiteY2221" fmla="*/ 4041629 h 4525940"/>
              <a:gd name="connsiteX2222" fmla="*/ 1493287 w 4545947"/>
              <a:gd name="connsiteY2222" fmla="*/ 4049433 h 4525940"/>
              <a:gd name="connsiteX2223" fmla="*/ 1472986 w 4545947"/>
              <a:gd name="connsiteY2223" fmla="*/ 4080292 h 4525940"/>
              <a:gd name="connsiteX2224" fmla="*/ 1442104 w 4545947"/>
              <a:gd name="connsiteY2224" fmla="*/ 4115143 h 4525940"/>
              <a:gd name="connsiteX2225" fmla="*/ 1418702 w 4545947"/>
              <a:gd name="connsiteY2225" fmla="*/ 4130309 h 4525940"/>
              <a:gd name="connsiteX2226" fmla="*/ 1406504 w 4545947"/>
              <a:gd name="connsiteY2226" fmla="*/ 4146676 h 4525940"/>
              <a:gd name="connsiteX2227" fmla="*/ 1417881 w 4545947"/>
              <a:gd name="connsiteY2227" fmla="*/ 4160828 h 4525940"/>
              <a:gd name="connsiteX2228" fmla="*/ 1429257 w 4545947"/>
              <a:gd name="connsiteY2228" fmla="*/ 4181169 h 4525940"/>
              <a:gd name="connsiteX2229" fmla="*/ 1438003 w 4545947"/>
              <a:gd name="connsiteY2229" fmla="*/ 4195266 h 4525940"/>
              <a:gd name="connsiteX2230" fmla="*/ 1441283 w 4545947"/>
              <a:gd name="connsiteY2230" fmla="*/ 4221961 h 4525940"/>
              <a:gd name="connsiteX2231" fmla="*/ 1422992 w 4545947"/>
              <a:gd name="connsiteY2231" fmla="*/ 4198318 h 4525940"/>
              <a:gd name="connsiteX2232" fmla="*/ 1411471 w 4545947"/>
              <a:gd name="connsiteY2232" fmla="*/ 4184073 h 4525940"/>
              <a:gd name="connsiteX2233" fmla="*/ 1403020 w 4545947"/>
              <a:gd name="connsiteY2233" fmla="*/ 4172819 h 4525940"/>
              <a:gd name="connsiteX2234" fmla="*/ 1380062 w 4545947"/>
              <a:gd name="connsiteY2234" fmla="*/ 4138288 h 4525940"/>
              <a:gd name="connsiteX2235" fmla="*/ 1376782 w 4545947"/>
              <a:gd name="connsiteY2235" fmla="*/ 4130261 h 4525940"/>
              <a:gd name="connsiteX2236" fmla="*/ 1368775 w 4545947"/>
              <a:gd name="connsiteY2236" fmla="*/ 4120765 h 4525940"/>
              <a:gd name="connsiteX2237" fmla="*/ 1354046 w 4545947"/>
              <a:gd name="connsiteY2237" fmla="*/ 4071017 h 4525940"/>
              <a:gd name="connsiteX2238" fmla="*/ 1352620 w 4545947"/>
              <a:gd name="connsiteY2238" fmla="*/ 4044661 h 4525940"/>
              <a:gd name="connsiteX2239" fmla="*/ 1329483 w 4545947"/>
              <a:gd name="connsiteY2239" fmla="*/ 4059093 h 4525940"/>
              <a:gd name="connsiteX2240" fmla="*/ 1315264 w 4545947"/>
              <a:gd name="connsiteY2240" fmla="*/ 4077582 h 4525940"/>
              <a:gd name="connsiteX2241" fmla="*/ 1322597 w 4545947"/>
              <a:gd name="connsiteY2241" fmla="*/ 4121336 h 4525940"/>
              <a:gd name="connsiteX2242" fmla="*/ 1328680 w 4545947"/>
              <a:gd name="connsiteY2242" fmla="*/ 4139757 h 4525940"/>
              <a:gd name="connsiteX2243" fmla="*/ 1335239 w 4545947"/>
              <a:gd name="connsiteY2243" fmla="*/ 4158750 h 4525940"/>
              <a:gd name="connsiteX2244" fmla="*/ 1341799 w 4545947"/>
              <a:gd name="connsiteY2244" fmla="*/ 4181683 h 4525940"/>
              <a:gd name="connsiteX2245" fmla="*/ 1346172 w 4545947"/>
              <a:gd name="connsiteY2245" fmla="*/ 4196735 h 4525940"/>
              <a:gd name="connsiteX2246" fmla="*/ 1350544 w 4545947"/>
              <a:gd name="connsiteY2246" fmla="*/ 4206232 h 4525940"/>
              <a:gd name="connsiteX2247" fmla="*/ 1354316 w 4545947"/>
              <a:gd name="connsiteY2247" fmla="*/ 4215728 h 4525940"/>
              <a:gd name="connsiteX2248" fmla="*/ 1359560 w 4545947"/>
              <a:gd name="connsiteY2248" fmla="*/ 4293840 h 4525940"/>
              <a:gd name="connsiteX2249" fmla="*/ 1352111 w 4545947"/>
              <a:gd name="connsiteY2249" fmla="*/ 4288008 h 4525940"/>
              <a:gd name="connsiteX2250" fmla="*/ 1343221 w 4545947"/>
              <a:gd name="connsiteY2250" fmla="*/ 4270808 h 4525940"/>
              <a:gd name="connsiteX2251" fmla="*/ 1337426 w 4545947"/>
              <a:gd name="connsiteY2251" fmla="*/ 4253772 h 4525940"/>
              <a:gd name="connsiteX2252" fmla="*/ 1333053 w 4545947"/>
              <a:gd name="connsiteY2252" fmla="*/ 4237886 h 4525940"/>
              <a:gd name="connsiteX2253" fmla="*/ 1328680 w 4545947"/>
              <a:gd name="connsiteY2253" fmla="*/ 4222568 h 4525940"/>
              <a:gd name="connsiteX2254" fmla="*/ 1317496 w 4545947"/>
              <a:gd name="connsiteY2254" fmla="*/ 4187305 h 4525940"/>
              <a:gd name="connsiteX2255" fmla="*/ 1308613 w 4545947"/>
              <a:gd name="connsiteY2255" fmla="*/ 4154767 h 4525940"/>
              <a:gd name="connsiteX2256" fmla="*/ 1306994 w 4545947"/>
              <a:gd name="connsiteY2256" fmla="*/ 4146088 h 4525940"/>
              <a:gd name="connsiteX2257" fmla="*/ 1295358 w 4545947"/>
              <a:gd name="connsiteY2257" fmla="*/ 4120765 h 4525940"/>
              <a:gd name="connsiteX2258" fmla="*/ 1284109 w 4545947"/>
              <a:gd name="connsiteY2258" fmla="*/ 4095441 h 4525940"/>
              <a:gd name="connsiteX2259" fmla="*/ 1280578 w 4545947"/>
              <a:gd name="connsiteY2259" fmla="*/ 4086720 h 4525940"/>
              <a:gd name="connsiteX2260" fmla="*/ 1274018 w 4545947"/>
              <a:gd name="connsiteY2260" fmla="*/ 4070118 h 4525940"/>
              <a:gd name="connsiteX2261" fmla="*/ 1267383 w 4545947"/>
              <a:gd name="connsiteY2261" fmla="*/ 4045602 h 4525940"/>
              <a:gd name="connsiteX2262" fmla="*/ 1240129 w 4545947"/>
              <a:gd name="connsiteY2262" fmla="*/ 3998638 h 4525940"/>
              <a:gd name="connsiteX2263" fmla="*/ 1232476 w 4545947"/>
              <a:gd name="connsiteY2263" fmla="*/ 3982137 h 4525940"/>
              <a:gd name="connsiteX2264" fmla="*/ 1201553 w 4545947"/>
              <a:gd name="connsiteY2264" fmla="*/ 3949831 h 4525940"/>
              <a:gd name="connsiteX2265" fmla="*/ 1191004 w 4545947"/>
              <a:gd name="connsiteY2265" fmla="*/ 3924394 h 4525940"/>
              <a:gd name="connsiteX2266" fmla="*/ 1194112 w 4545947"/>
              <a:gd name="connsiteY2266" fmla="*/ 3889076 h 4525940"/>
              <a:gd name="connsiteX2267" fmla="*/ 1178736 w 4545947"/>
              <a:gd name="connsiteY2267" fmla="*/ 3862362 h 4525940"/>
              <a:gd name="connsiteX2268" fmla="*/ 1166882 w 4545947"/>
              <a:gd name="connsiteY2268" fmla="*/ 3882485 h 4525940"/>
              <a:gd name="connsiteX2269" fmla="*/ 1173441 w 4545947"/>
              <a:gd name="connsiteY2269" fmla="*/ 3914107 h 4525940"/>
              <a:gd name="connsiteX2270" fmla="*/ 1170962 w 4545947"/>
              <a:gd name="connsiteY2270" fmla="*/ 3943924 h 4525940"/>
              <a:gd name="connsiteX2271" fmla="*/ 1167124 w 4545947"/>
              <a:gd name="connsiteY2271" fmla="*/ 3966082 h 4525940"/>
              <a:gd name="connsiteX2272" fmla="*/ 1180319 w 4545947"/>
              <a:gd name="connsiteY2272" fmla="*/ 3975155 h 4525940"/>
              <a:gd name="connsiteX2273" fmla="*/ 1191809 w 4545947"/>
              <a:gd name="connsiteY2273" fmla="*/ 3983079 h 4525940"/>
              <a:gd name="connsiteX2274" fmla="*/ 1206636 w 4545947"/>
              <a:gd name="connsiteY2274" fmla="*/ 3999437 h 4525940"/>
              <a:gd name="connsiteX2275" fmla="*/ 1218569 w 4545947"/>
              <a:gd name="connsiteY2275" fmla="*/ 4031037 h 4525940"/>
              <a:gd name="connsiteX2276" fmla="*/ 1223715 w 4545947"/>
              <a:gd name="connsiteY2276" fmla="*/ 4056394 h 4525940"/>
              <a:gd name="connsiteX2277" fmla="*/ 1234740 w 4545947"/>
              <a:gd name="connsiteY2277" fmla="*/ 4067970 h 4525940"/>
              <a:gd name="connsiteX2278" fmla="*/ 1243044 w 4545947"/>
              <a:gd name="connsiteY2278" fmla="*/ 4125505 h 4525940"/>
              <a:gd name="connsiteX2279" fmla="*/ 1235153 w 4545947"/>
              <a:gd name="connsiteY2279" fmla="*/ 4136583 h 4525940"/>
              <a:gd name="connsiteX2280" fmla="*/ 1223274 w 4545947"/>
              <a:gd name="connsiteY2280" fmla="*/ 4164622 h 4525940"/>
              <a:gd name="connsiteX2281" fmla="*/ 1214344 w 4545947"/>
              <a:gd name="connsiteY2281" fmla="*/ 4186944 h 4525940"/>
              <a:gd name="connsiteX2282" fmla="*/ 1207713 w 4545947"/>
              <a:gd name="connsiteY2282" fmla="*/ 4193168 h 4525940"/>
              <a:gd name="connsiteX2283" fmla="*/ 1206188 w 4545947"/>
              <a:gd name="connsiteY2283" fmla="*/ 4199856 h 4525940"/>
              <a:gd name="connsiteX2284" fmla="*/ 1201865 w 4545947"/>
              <a:gd name="connsiteY2284" fmla="*/ 4206484 h 4525940"/>
              <a:gd name="connsiteX2285" fmla="*/ 1235316 w 4545947"/>
              <a:gd name="connsiteY2285" fmla="*/ 4253713 h 4525940"/>
              <a:gd name="connsiteX2286" fmla="*/ 1240895 w 4545947"/>
              <a:gd name="connsiteY2286" fmla="*/ 4261626 h 4525940"/>
              <a:gd name="connsiteX2287" fmla="*/ 1252153 w 4545947"/>
              <a:gd name="connsiteY2287" fmla="*/ 4285367 h 4525940"/>
              <a:gd name="connsiteX2288" fmla="*/ 1263086 w 4545947"/>
              <a:gd name="connsiteY2288" fmla="*/ 4295120 h 4525940"/>
              <a:gd name="connsiteX2289" fmla="*/ 1244501 w 4545947"/>
              <a:gd name="connsiteY2289" fmla="*/ 4303451 h 4525940"/>
              <a:gd name="connsiteX2290" fmla="*/ 1210611 w 4545947"/>
              <a:gd name="connsiteY2290" fmla="*/ 4280227 h 4525940"/>
              <a:gd name="connsiteX2291" fmla="*/ 1204011 w 4545947"/>
              <a:gd name="connsiteY2291" fmla="*/ 4262246 h 4525940"/>
              <a:gd name="connsiteX2292" fmla="*/ 1199513 w 4545947"/>
              <a:gd name="connsiteY2292" fmla="*/ 4247770 h 4525940"/>
              <a:gd name="connsiteX2293" fmla="*/ 1182452 w 4545947"/>
              <a:gd name="connsiteY2293" fmla="*/ 4212632 h 4525940"/>
              <a:gd name="connsiteX2294" fmla="*/ 1150918 w 4545947"/>
              <a:gd name="connsiteY2294" fmla="*/ 4186912 h 4525940"/>
              <a:gd name="connsiteX2295" fmla="*/ 1135289 w 4545947"/>
              <a:gd name="connsiteY2295" fmla="*/ 4198820 h 4525940"/>
              <a:gd name="connsiteX2296" fmla="*/ 1140378 w 4545947"/>
              <a:gd name="connsiteY2296" fmla="*/ 4248933 h 4525940"/>
              <a:gd name="connsiteX2297" fmla="*/ 1150457 w 4545947"/>
              <a:gd name="connsiteY2297" fmla="*/ 4274815 h 4525940"/>
              <a:gd name="connsiteX2298" fmla="*/ 1159469 w 4545947"/>
              <a:gd name="connsiteY2298" fmla="*/ 4304632 h 4525940"/>
              <a:gd name="connsiteX2299" fmla="*/ 1166882 w 4545947"/>
              <a:gd name="connsiteY2299" fmla="*/ 4326027 h 4525940"/>
              <a:gd name="connsiteX2300" fmla="*/ 1180000 w 4545947"/>
              <a:gd name="connsiteY2300" fmla="*/ 4350870 h 4525940"/>
              <a:gd name="connsiteX2301" fmla="*/ 1193119 w 4545947"/>
              <a:gd name="connsiteY2301" fmla="*/ 4371661 h 4525940"/>
              <a:gd name="connsiteX2302" fmla="*/ 1204529 w 4545947"/>
              <a:gd name="connsiteY2302" fmla="*/ 4393713 h 4525940"/>
              <a:gd name="connsiteX2303" fmla="*/ 1203609 w 4545947"/>
              <a:gd name="connsiteY2303" fmla="*/ 4422111 h 4525940"/>
              <a:gd name="connsiteX2304" fmla="*/ 1197492 w 4545947"/>
              <a:gd name="connsiteY2304" fmla="*/ 4424845 h 4525940"/>
              <a:gd name="connsiteX2305" fmla="*/ 1178586 w 4545947"/>
              <a:gd name="connsiteY2305" fmla="*/ 4426228 h 4525940"/>
              <a:gd name="connsiteX2306" fmla="*/ 1173608 w 4545947"/>
              <a:gd name="connsiteY2306" fmla="*/ 4400905 h 4525940"/>
              <a:gd name="connsiteX2307" fmla="*/ 1167529 w 4545947"/>
              <a:gd name="connsiteY2307" fmla="*/ 4380330 h 4525940"/>
              <a:gd name="connsiteX2308" fmla="*/ 1156323 w 4545947"/>
              <a:gd name="connsiteY2308" fmla="*/ 4358354 h 4525940"/>
              <a:gd name="connsiteX2309" fmla="*/ 1144396 w 4545947"/>
              <a:gd name="connsiteY2309" fmla="*/ 4339735 h 4525940"/>
              <a:gd name="connsiteX2310" fmla="*/ 1140644 w 4545947"/>
              <a:gd name="connsiteY2310" fmla="*/ 4336772 h 4525940"/>
              <a:gd name="connsiteX2311" fmla="*/ 1122060 w 4545947"/>
              <a:gd name="connsiteY2311" fmla="*/ 4331650 h 4525940"/>
              <a:gd name="connsiteX2312" fmla="*/ 1103474 w 4545947"/>
              <a:gd name="connsiteY2312" fmla="*/ 4323352 h 4525940"/>
              <a:gd name="connsiteX2313" fmla="*/ 1115054 w 4545947"/>
              <a:gd name="connsiteY2313" fmla="*/ 4311915 h 4525940"/>
              <a:gd name="connsiteX2314" fmla="*/ 1124887 w 4545947"/>
              <a:gd name="connsiteY2314" fmla="*/ 4278494 h 4525940"/>
              <a:gd name="connsiteX2315" fmla="*/ 1118779 w 4545947"/>
              <a:gd name="connsiteY2315" fmla="*/ 4262434 h 4525940"/>
              <a:gd name="connsiteX2316" fmla="*/ 1114407 w 4545947"/>
              <a:gd name="connsiteY2316" fmla="*/ 4253713 h 4525940"/>
              <a:gd name="connsiteX2317" fmla="*/ 1110034 w 4545947"/>
              <a:gd name="connsiteY2317" fmla="*/ 4244894 h 4525940"/>
              <a:gd name="connsiteX2318" fmla="*/ 1103247 w 4545947"/>
              <a:gd name="connsiteY2318" fmla="*/ 4232305 h 4525940"/>
              <a:gd name="connsiteX2319" fmla="*/ 1099558 w 4545947"/>
              <a:gd name="connsiteY2319" fmla="*/ 4235790 h 4525940"/>
              <a:gd name="connsiteX2320" fmla="*/ 1092793 w 4545947"/>
              <a:gd name="connsiteY2320" fmla="*/ 4239312 h 4525940"/>
              <a:gd name="connsiteX2321" fmla="*/ 1085867 w 4545947"/>
              <a:gd name="connsiteY2321" fmla="*/ 4249394 h 4525940"/>
              <a:gd name="connsiteX2322" fmla="*/ 1085559 w 4545947"/>
              <a:gd name="connsiteY2322" fmla="*/ 4296446 h 4525940"/>
              <a:gd name="connsiteX2323" fmla="*/ 1079427 w 4545947"/>
              <a:gd name="connsiteY2323" fmla="*/ 4317021 h 4525940"/>
              <a:gd name="connsiteX2324" fmla="*/ 1026948 w 4545947"/>
              <a:gd name="connsiteY2324" fmla="*/ 4257083 h 4525940"/>
              <a:gd name="connsiteX2325" fmla="*/ 1019295 w 4545947"/>
              <a:gd name="connsiteY2325" fmla="*/ 4242429 h 4525940"/>
              <a:gd name="connsiteX2326" fmla="*/ 1011029 w 4545947"/>
              <a:gd name="connsiteY2326" fmla="*/ 4231555 h 4525940"/>
              <a:gd name="connsiteX2327" fmla="*/ 1007402 w 4545947"/>
              <a:gd name="connsiteY2327" fmla="*/ 4204648 h 4525940"/>
              <a:gd name="connsiteX2328" fmla="*/ 1008641 w 4545947"/>
              <a:gd name="connsiteY2328" fmla="*/ 4184073 h 4525940"/>
              <a:gd name="connsiteX2329" fmla="*/ 1008391 w 4545947"/>
              <a:gd name="connsiteY2329" fmla="*/ 4147050 h 4525940"/>
              <a:gd name="connsiteX2330" fmla="*/ 987053 w 4545947"/>
              <a:gd name="connsiteY2330" fmla="*/ 4132187 h 4525940"/>
              <a:gd name="connsiteX2331" fmla="*/ 976052 w 4545947"/>
              <a:gd name="connsiteY2331" fmla="*/ 4108153 h 4525940"/>
              <a:gd name="connsiteX2332" fmla="*/ 971471 w 4545947"/>
              <a:gd name="connsiteY2332" fmla="*/ 4077676 h 4525940"/>
              <a:gd name="connsiteX2333" fmla="*/ 963413 w 4545947"/>
              <a:gd name="connsiteY2333" fmla="*/ 4055810 h 4525940"/>
              <a:gd name="connsiteX2334" fmla="*/ 957575 w 4545947"/>
              <a:gd name="connsiteY2334" fmla="*/ 4038463 h 4525940"/>
              <a:gd name="connsiteX2335" fmla="*/ 948803 w 4545947"/>
              <a:gd name="connsiteY2335" fmla="*/ 4019035 h 4525940"/>
              <a:gd name="connsiteX2336" fmla="*/ 932430 w 4545947"/>
              <a:gd name="connsiteY2336" fmla="*/ 3984503 h 4525940"/>
              <a:gd name="connsiteX2337" fmla="*/ 922065 w 4545947"/>
              <a:gd name="connsiteY2337" fmla="*/ 3961198 h 4525940"/>
              <a:gd name="connsiteX2338" fmla="*/ 926371 w 4545947"/>
              <a:gd name="connsiteY2338" fmla="*/ 3962493 h 4525940"/>
              <a:gd name="connsiteX2339" fmla="*/ 930677 w 4545947"/>
              <a:gd name="connsiteY2339" fmla="*/ 3964851 h 4525940"/>
              <a:gd name="connsiteX2340" fmla="*/ 924185 w 4545947"/>
              <a:gd name="connsiteY2340" fmla="*/ 3949831 h 4525940"/>
              <a:gd name="connsiteX2341" fmla="*/ 917625 w 4545947"/>
              <a:gd name="connsiteY2341" fmla="*/ 3931045 h 4525940"/>
              <a:gd name="connsiteX2342" fmla="*/ 908879 w 4545947"/>
              <a:gd name="connsiteY2342" fmla="*/ 3908681 h 4525940"/>
              <a:gd name="connsiteX2343" fmla="*/ 900133 w 4545947"/>
              <a:gd name="connsiteY2343" fmla="*/ 3875582 h 4525940"/>
              <a:gd name="connsiteX2344" fmla="*/ 882642 w 4545947"/>
              <a:gd name="connsiteY2344" fmla="*/ 3831209 h 4525940"/>
              <a:gd name="connsiteX2345" fmla="*/ 865150 w 4545947"/>
              <a:gd name="connsiteY2345" fmla="*/ 3784868 h 4525940"/>
              <a:gd name="connsiteX2346" fmla="*/ 858591 w 4545947"/>
              <a:gd name="connsiteY2346" fmla="*/ 3757617 h 4525940"/>
              <a:gd name="connsiteX2347" fmla="*/ 852031 w 4545947"/>
              <a:gd name="connsiteY2347" fmla="*/ 3717196 h 4525940"/>
              <a:gd name="connsiteX2348" fmla="*/ 843285 w 4545947"/>
              <a:gd name="connsiteY2348" fmla="*/ 3669577 h 4525940"/>
              <a:gd name="connsiteX2349" fmla="*/ 834539 w 4545947"/>
              <a:gd name="connsiteY2349" fmla="*/ 3648804 h 4525940"/>
              <a:gd name="connsiteX2350" fmla="*/ 830798 w 4545947"/>
              <a:gd name="connsiteY2350" fmla="*/ 3642220 h 4525940"/>
              <a:gd name="connsiteX2351" fmla="*/ 829106 w 4545947"/>
              <a:gd name="connsiteY2351" fmla="*/ 3630048 h 4525940"/>
              <a:gd name="connsiteX2352" fmla="*/ 803657 w 4545947"/>
              <a:gd name="connsiteY2352" fmla="*/ 3596041 h 4525940"/>
              <a:gd name="connsiteX2353" fmla="*/ 777265 w 4545947"/>
              <a:gd name="connsiteY2353" fmla="*/ 3578868 h 4525940"/>
              <a:gd name="connsiteX2354" fmla="*/ 755827 w 4545947"/>
              <a:gd name="connsiteY2354" fmla="*/ 3540146 h 4525940"/>
              <a:gd name="connsiteX2355" fmla="*/ 751454 w 4545947"/>
              <a:gd name="connsiteY2355" fmla="*/ 3531995 h 4525940"/>
              <a:gd name="connsiteX2356" fmla="*/ 747081 w 4545947"/>
              <a:gd name="connsiteY2356" fmla="*/ 3516168 h 4525940"/>
              <a:gd name="connsiteX2357" fmla="*/ 762326 w 4545947"/>
              <a:gd name="connsiteY2357" fmla="*/ 3510362 h 4525940"/>
              <a:gd name="connsiteX2358" fmla="*/ 789966 w 4545947"/>
              <a:gd name="connsiteY2358" fmla="*/ 3491886 h 4525940"/>
              <a:gd name="connsiteX2359" fmla="*/ 774412 w 4545947"/>
              <a:gd name="connsiteY2359" fmla="*/ 3465794 h 4525940"/>
              <a:gd name="connsiteX2360" fmla="*/ 760200 w 4545947"/>
              <a:gd name="connsiteY2360" fmla="*/ 3445219 h 4525940"/>
              <a:gd name="connsiteX2361" fmla="*/ 766020 w 4545947"/>
              <a:gd name="connsiteY2361" fmla="*/ 3430701 h 4525940"/>
              <a:gd name="connsiteX2362" fmla="*/ 777808 w 4545947"/>
              <a:gd name="connsiteY2362" fmla="*/ 3414557 h 4525940"/>
              <a:gd name="connsiteX2363" fmla="*/ 771392 w 4545947"/>
              <a:gd name="connsiteY2363" fmla="*/ 3383009 h 4525940"/>
              <a:gd name="connsiteX2364" fmla="*/ 764313 w 4545947"/>
              <a:gd name="connsiteY2364" fmla="*/ 3358350 h 4525940"/>
              <a:gd name="connsiteX2365" fmla="*/ 768188 w 4545947"/>
              <a:gd name="connsiteY2365" fmla="*/ 3334504 h 4525940"/>
              <a:gd name="connsiteX2366" fmla="*/ 743360 w 4545947"/>
              <a:gd name="connsiteY2366" fmla="*/ 3335738 h 4525940"/>
              <a:gd name="connsiteX2367" fmla="*/ 719750 w 4545947"/>
              <a:gd name="connsiteY2367" fmla="*/ 3360965 h 4525940"/>
              <a:gd name="connsiteX2368" fmla="*/ 707725 w 4545947"/>
              <a:gd name="connsiteY2368" fmla="*/ 3376437 h 4525940"/>
              <a:gd name="connsiteX2369" fmla="*/ 728262 w 4545947"/>
              <a:gd name="connsiteY2369" fmla="*/ 3411709 h 4525940"/>
              <a:gd name="connsiteX2370" fmla="*/ 732322 w 4545947"/>
              <a:gd name="connsiteY2370" fmla="*/ 3431493 h 4525940"/>
              <a:gd name="connsiteX2371" fmla="*/ 729589 w 4545947"/>
              <a:gd name="connsiteY2371" fmla="*/ 3456816 h 4525940"/>
              <a:gd name="connsiteX2372" fmla="*/ 721191 w 4545947"/>
              <a:gd name="connsiteY2372" fmla="*/ 3462355 h 4525940"/>
              <a:gd name="connsiteX2373" fmla="*/ 709911 w 4545947"/>
              <a:gd name="connsiteY2373" fmla="*/ 3443363 h 4525940"/>
              <a:gd name="connsiteX2374" fmla="*/ 703479 w 4545947"/>
              <a:gd name="connsiteY2374" fmla="*/ 3424370 h 4525940"/>
              <a:gd name="connsiteX2375" fmla="*/ 697371 w 4545947"/>
              <a:gd name="connsiteY2375" fmla="*/ 3409629 h 4525940"/>
              <a:gd name="connsiteX2376" fmla="*/ 671316 w 4545947"/>
              <a:gd name="connsiteY2376" fmla="*/ 3385041 h 4525940"/>
              <a:gd name="connsiteX2377" fmla="*/ 667444 w 4545947"/>
              <a:gd name="connsiteY2377" fmla="*/ 3424370 h 4525940"/>
              <a:gd name="connsiteX2378" fmla="*/ 678776 w 4545947"/>
              <a:gd name="connsiteY2378" fmla="*/ 3449694 h 4525940"/>
              <a:gd name="connsiteX2379" fmla="*/ 690046 w 4545947"/>
              <a:gd name="connsiteY2379" fmla="*/ 3475017 h 4525940"/>
              <a:gd name="connsiteX2380" fmla="*/ 696565 w 4545947"/>
              <a:gd name="connsiteY2380" fmla="*/ 3509394 h 4525940"/>
              <a:gd name="connsiteX2381" fmla="*/ 705815 w 4545947"/>
              <a:gd name="connsiteY2381" fmla="*/ 3551320 h 4525940"/>
              <a:gd name="connsiteX2382" fmla="*/ 699374 w 4545947"/>
              <a:gd name="connsiteY2382" fmla="*/ 3567879 h 4525940"/>
              <a:gd name="connsiteX2383" fmla="*/ 684206 w 4545947"/>
              <a:gd name="connsiteY2383" fmla="*/ 3573418 h 4525940"/>
              <a:gd name="connsiteX2384" fmla="*/ 670986 w 4545947"/>
              <a:gd name="connsiteY2384" fmla="*/ 3582642 h 4525940"/>
              <a:gd name="connsiteX2385" fmla="*/ 664136 w 4545947"/>
              <a:gd name="connsiteY2385" fmla="*/ 3541275 h 4525940"/>
              <a:gd name="connsiteX2386" fmla="*/ 671478 w 4545947"/>
              <a:gd name="connsiteY2386" fmla="*/ 3517368 h 4525940"/>
              <a:gd name="connsiteX2387" fmla="*/ 650877 w 4545947"/>
              <a:gd name="connsiteY2387" fmla="*/ 3507379 h 4525940"/>
              <a:gd name="connsiteX2388" fmla="*/ 632292 w 4545947"/>
              <a:gd name="connsiteY2388" fmla="*/ 3511535 h 4525940"/>
              <a:gd name="connsiteX2389" fmla="*/ 612262 w 4545947"/>
              <a:gd name="connsiteY2389" fmla="*/ 3524603 h 4525940"/>
              <a:gd name="connsiteX2390" fmla="*/ 616883 w 4545947"/>
              <a:gd name="connsiteY2390" fmla="*/ 3549927 h 4525940"/>
              <a:gd name="connsiteX2391" fmla="*/ 604596 w 4545947"/>
              <a:gd name="connsiteY2391" fmla="*/ 3582818 h 4525940"/>
              <a:gd name="connsiteX2392" fmla="*/ 578723 w 4545947"/>
              <a:gd name="connsiteY2392" fmla="*/ 3563624 h 4525940"/>
              <a:gd name="connsiteX2393" fmla="*/ 550299 w 4545947"/>
              <a:gd name="connsiteY2393" fmla="*/ 3514565 h 4525940"/>
              <a:gd name="connsiteX2394" fmla="*/ 543740 w 4545947"/>
              <a:gd name="connsiteY2394" fmla="*/ 3479059 h 4525940"/>
              <a:gd name="connsiteX2395" fmla="*/ 537180 w 4545947"/>
              <a:gd name="connsiteY2395" fmla="*/ 3459388 h 4525940"/>
              <a:gd name="connsiteX2396" fmla="*/ 532807 w 4545947"/>
              <a:gd name="connsiteY2396" fmla="*/ 3443363 h 4525940"/>
              <a:gd name="connsiteX2397" fmla="*/ 528435 w 4545947"/>
              <a:gd name="connsiteY2397" fmla="*/ 3432141 h 4525940"/>
              <a:gd name="connsiteX2398" fmla="*/ 510943 w 4545947"/>
              <a:gd name="connsiteY2398" fmla="*/ 3399047 h 4525940"/>
              <a:gd name="connsiteX2399" fmla="*/ 493451 w 4545947"/>
              <a:gd name="connsiteY2399" fmla="*/ 3366729 h 4525940"/>
              <a:gd name="connsiteX2400" fmla="*/ 486983 w 4545947"/>
              <a:gd name="connsiteY2400" fmla="*/ 3348509 h 4525940"/>
              <a:gd name="connsiteX2401" fmla="*/ 467214 w 4545947"/>
              <a:gd name="connsiteY2401" fmla="*/ 3290823 h 4525940"/>
              <a:gd name="connsiteX2402" fmla="*/ 462770 w 4545947"/>
              <a:gd name="connsiteY2402" fmla="*/ 3275532 h 4525940"/>
              <a:gd name="connsiteX2403" fmla="*/ 460480 w 4545947"/>
              <a:gd name="connsiteY2403" fmla="*/ 3266508 h 4525940"/>
              <a:gd name="connsiteX2404" fmla="*/ 453925 w 4545947"/>
              <a:gd name="connsiteY2404" fmla="*/ 3250050 h 4525940"/>
              <a:gd name="connsiteX2405" fmla="*/ 442490 w 4545947"/>
              <a:gd name="connsiteY2405" fmla="*/ 3213955 h 4525940"/>
              <a:gd name="connsiteX2406" fmla="*/ 429437 w 4545947"/>
              <a:gd name="connsiteY2406" fmla="*/ 3179475 h 4525940"/>
              <a:gd name="connsiteX2407" fmla="*/ 419111 w 4545947"/>
              <a:gd name="connsiteY2407" fmla="*/ 3129631 h 4525940"/>
              <a:gd name="connsiteX2408" fmla="*/ 414739 w 4545947"/>
              <a:gd name="connsiteY2408" fmla="*/ 3085670 h 4525940"/>
              <a:gd name="connsiteX2409" fmla="*/ 415429 w 4545947"/>
              <a:gd name="connsiteY2409" fmla="*/ 3055792 h 4525940"/>
              <a:gd name="connsiteX2410" fmla="*/ 393008 w 4545947"/>
              <a:gd name="connsiteY2410" fmla="*/ 3000795 h 4525940"/>
              <a:gd name="connsiteX2411" fmla="*/ 371009 w 4545947"/>
              <a:gd name="connsiteY2411" fmla="*/ 2946175 h 4525940"/>
              <a:gd name="connsiteX2412" fmla="*/ 364450 w 4545947"/>
              <a:gd name="connsiteY2412" fmla="*/ 2905240 h 4525940"/>
              <a:gd name="connsiteX2413" fmla="*/ 357891 w 4545947"/>
              <a:gd name="connsiteY2413" fmla="*/ 2879142 h 4525940"/>
              <a:gd name="connsiteX2414" fmla="*/ 353227 w 4545947"/>
              <a:gd name="connsiteY2414" fmla="*/ 2860924 h 4525940"/>
              <a:gd name="connsiteX2415" fmla="*/ 349948 w 4545947"/>
              <a:gd name="connsiteY2415" fmla="*/ 2843514 h 4525940"/>
              <a:gd name="connsiteX2416" fmla="*/ 340471 w 4545947"/>
              <a:gd name="connsiteY2416" fmla="*/ 2811971 h 4525940"/>
              <a:gd name="connsiteX2417" fmla="*/ 330125 w 4545947"/>
              <a:gd name="connsiteY2417" fmla="*/ 2770820 h 4525940"/>
              <a:gd name="connsiteX2418" fmla="*/ 327866 w 4545947"/>
              <a:gd name="connsiteY2418" fmla="*/ 2740638 h 4525940"/>
              <a:gd name="connsiteX2419" fmla="*/ 305415 w 4545947"/>
              <a:gd name="connsiteY2419" fmla="*/ 2661333 h 4525940"/>
              <a:gd name="connsiteX2420" fmla="*/ 301042 w 4545947"/>
              <a:gd name="connsiteY2420" fmla="*/ 2645675 h 4525940"/>
              <a:gd name="connsiteX2421" fmla="*/ 296670 w 4545947"/>
              <a:gd name="connsiteY2421" fmla="*/ 2612049 h 4525940"/>
              <a:gd name="connsiteX2422" fmla="*/ 286831 w 4545947"/>
              <a:gd name="connsiteY2422" fmla="*/ 2563152 h 4525940"/>
              <a:gd name="connsiteX2423" fmla="*/ 276187 w 4545947"/>
              <a:gd name="connsiteY2423" fmla="*/ 2538217 h 4525940"/>
              <a:gd name="connsiteX2424" fmla="*/ 263140 w 4545947"/>
              <a:gd name="connsiteY2424" fmla="*/ 2450618 h 4525940"/>
              <a:gd name="connsiteX2425" fmla="*/ 257313 w 4545947"/>
              <a:gd name="connsiteY2425" fmla="*/ 2433139 h 4525940"/>
              <a:gd name="connsiteX2426" fmla="*/ 252940 w 4545947"/>
              <a:gd name="connsiteY2426" fmla="*/ 2424095 h 4525940"/>
              <a:gd name="connsiteX2427" fmla="*/ 248567 w 4545947"/>
              <a:gd name="connsiteY2427" fmla="*/ 2395606 h 4525940"/>
              <a:gd name="connsiteX2428" fmla="*/ 243727 w 4545947"/>
              <a:gd name="connsiteY2428" fmla="*/ 2367117 h 4525940"/>
              <a:gd name="connsiteX2429" fmla="*/ 241245 w 4545947"/>
              <a:gd name="connsiteY2429" fmla="*/ 2358215 h 4525940"/>
              <a:gd name="connsiteX2430" fmla="*/ 235154 w 4545947"/>
              <a:gd name="connsiteY2430" fmla="*/ 2338242 h 4525940"/>
              <a:gd name="connsiteX2431" fmla="*/ 226703 w 4545947"/>
              <a:gd name="connsiteY2431" fmla="*/ 2307402 h 4525940"/>
              <a:gd name="connsiteX2432" fmla="*/ 220505 w 4545947"/>
              <a:gd name="connsiteY2432" fmla="*/ 2274822 h 4525940"/>
              <a:gd name="connsiteX2433" fmla="*/ 211334 w 4545947"/>
              <a:gd name="connsiteY2433" fmla="*/ 2237011 h 4525940"/>
              <a:gd name="connsiteX2434" fmla="*/ 194546 w 4545947"/>
              <a:gd name="connsiteY2434" fmla="*/ 2177191 h 4525940"/>
              <a:gd name="connsiteX2435" fmla="*/ 192550 w 4545947"/>
              <a:gd name="connsiteY2435" fmla="*/ 2155033 h 4525940"/>
              <a:gd name="connsiteX2436" fmla="*/ 190841 w 4545947"/>
              <a:gd name="connsiteY2436" fmla="*/ 2132875 h 4525940"/>
              <a:gd name="connsiteX2437" fmla="*/ 187346 w 4545947"/>
              <a:gd name="connsiteY2437" fmla="*/ 2120214 h 4525940"/>
              <a:gd name="connsiteX2438" fmla="*/ 183172 w 4545947"/>
              <a:gd name="connsiteY2438" fmla="*/ 2107552 h 4525940"/>
              <a:gd name="connsiteX2439" fmla="*/ 176125 w 4545947"/>
              <a:gd name="connsiteY2439" fmla="*/ 2085394 h 4525940"/>
              <a:gd name="connsiteX2440" fmla="*/ 169368 w 4545947"/>
              <a:gd name="connsiteY2440" fmla="*/ 2063236 h 4525940"/>
              <a:gd name="connsiteX2441" fmla="*/ 165482 w 4545947"/>
              <a:gd name="connsiteY2441" fmla="*/ 2050375 h 4525940"/>
              <a:gd name="connsiteX2442" fmla="*/ 158923 w 4545947"/>
              <a:gd name="connsiteY2442" fmla="*/ 2033872 h 4525940"/>
              <a:gd name="connsiteX2443" fmla="*/ 152363 w 4545947"/>
              <a:gd name="connsiteY2443" fmla="*/ 2012836 h 4525940"/>
              <a:gd name="connsiteX2444" fmla="*/ 121961 w 4545947"/>
              <a:gd name="connsiteY2444" fmla="*/ 1961942 h 4525940"/>
              <a:gd name="connsiteX2445" fmla="*/ 113007 w 4545947"/>
              <a:gd name="connsiteY2445" fmla="*/ 1952973 h 4525940"/>
              <a:gd name="connsiteX2446" fmla="*/ 107847 w 4545947"/>
              <a:gd name="connsiteY2446" fmla="*/ 1941515 h 4525940"/>
              <a:gd name="connsiteX2447" fmla="*/ 105462 w 4545947"/>
              <a:gd name="connsiteY2447" fmla="*/ 1928555 h 4525940"/>
              <a:gd name="connsiteX2448" fmla="*/ 121932 w 4545947"/>
              <a:gd name="connsiteY2448" fmla="*/ 1924997 h 4525940"/>
              <a:gd name="connsiteX2449" fmla="*/ 142816 w 4545947"/>
              <a:gd name="connsiteY2449" fmla="*/ 1921499 h 4525940"/>
              <a:gd name="connsiteX2450" fmla="*/ 144625 w 4545947"/>
              <a:gd name="connsiteY2450" fmla="*/ 1898617 h 4525940"/>
              <a:gd name="connsiteX2451" fmla="*/ 139244 w 4545947"/>
              <a:gd name="connsiteY2451" fmla="*/ 1871497 h 4525940"/>
              <a:gd name="connsiteX2452" fmla="*/ 135208 w 4545947"/>
              <a:gd name="connsiteY2452" fmla="*/ 1850836 h 4525940"/>
              <a:gd name="connsiteX2453" fmla="*/ 126665 w 4545947"/>
              <a:gd name="connsiteY2453" fmla="*/ 1784678 h 4525940"/>
              <a:gd name="connsiteX2454" fmla="*/ 108293 w 4545947"/>
              <a:gd name="connsiteY2454" fmla="*/ 1664392 h 4525940"/>
              <a:gd name="connsiteX2455" fmla="*/ 102962 w 4545947"/>
              <a:gd name="connsiteY2455" fmla="*/ 1636921 h 4525940"/>
              <a:gd name="connsiteX2456" fmla="*/ 94702 w 4545947"/>
              <a:gd name="connsiteY2456" fmla="*/ 1602831 h 4525940"/>
              <a:gd name="connsiteX2457" fmla="*/ 98128 w 4545947"/>
              <a:gd name="connsiteY2457" fmla="*/ 1453577 h 4525940"/>
              <a:gd name="connsiteX2458" fmla="*/ 104261 w 4545947"/>
              <a:gd name="connsiteY2458" fmla="*/ 1427347 h 4525940"/>
              <a:gd name="connsiteX2459" fmla="*/ 110821 w 4545947"/>
              <a:gd name="connsiteY2459" fmla="*/ 1402538 h 4525940"/>
              <a:gd name="connsiteX2460" fmla="*/ 117380 w 4545947"/>
              <a:gd name="connsiteY2460" fmla="*/ 1386808 h 4525940"/>
              <a:gd name="connsiteX2461" fmla="*/ 123939 w 4545947"/>
              <a:gd name="connsiteY2461" fmla="*/ 1366842 h 4525940"/>
              <a:gd name="connsiteX2462" fmla="*/ 130498 w 4545947"/>
              <a:gd name="connsiteY2462" fmla="*/ 1341518 h 4525940"/>
              <a:gd name="connsiteX2463" fmla="*/ 163457 w 4545947"/>
              <a:gd name="connsiteY2463" fmla="*/ 1308631 h 4525940"/>
              <a:gd name="connsiteX2464" fmla="*/ 198730 w 4545947"/>
              <a:gd name="connsiteY2464" fmla="*/ 1253312 h 4525940"/>
              <a:gd name="connsiteX2465" fmla="*/ 204698 w 4545947"/>
              <a:gd name="connsiteY2465" fmla="*/ 1210441 h 4525940"/>
              <a:gd name="connsiteX2466" fmla="*/ 213584 w 4545947"/>
              <a:gd name="connsiteY2466" fmla="*/ 1192440 h 4525940"/>
              <a:gd name="connsiteX2467" fmla="*/ 224517 w 4545947"/>
              <a:gd name="connsiteY2467" fmla="*/ 1170585 h 4525940"/>
              <a:gd name="connsiteX2468" fmla="*/ 235449 w 4545947"/>
              <a:gd name="connsiteY2468" fmla="*/ 1144933 h 4525940"/>
              <a:gd name="connsiteX2469" fmla="*/ 242008 w 4545947"/>
              <a:gd name="connsiteY2469" fmla="*/ 1126269 h 4525940"/>
              <a:gd name="connsiteX2470" fmla="*/ 248567 w 4545947"/>
              <a:gd name="connsiteY2470" fmla="*/ 1109667 h 4525940"/>
              <a:gd name="connsiteX2471" fmla="*/ 252548 w 4545947"/>
              <a:gd name="connsiteY2471" fmla="*/ 1100946 h 4525940"/>
              <a:gd name="connsiteX2472" fmla="*/ 259624 w 4545947"/>
              <a:gd name="connsiteY2472" fmla="*/ 1047134 h 4525940"/>
              <a:gd name="connsiteX2473" fmla="*/ 266576 w 4545947"/>
              <a:gd name="connsiteY2473" fmla="*/ 993321 h 4525940"/>
              <a:gd name="connsiteX2474" fmla="*/ 270432 w 4545947"/>
              <a:gd name="connsiteY2474" fmla="*/ 985235 h 4525940"/>
              <a:gd name="connsiteX2475" fmla="*/ 301492 w 4545947"/>
              <a:gd name="connsiteY2475" fmla="*/ 942674 h 4525940"/>
              <a:gd name="connsiteX2476" fmla="*/ 305415 w 4545947"/>
              <a:gd name="connsiteY2476" fmla="*/ 936072 h 4525940"/>
              <a:gd name="connsiteX2477" fmla="*/ 325094 w 4545947"/>
              <a:gd name="connsiteY2477" fmla="*/ 899013 h 4525940"/>
              <a:gd name="connsiteX2478" fmla="*/ 344772 w 4545947"/>
              <a:gd name="connsiteY2478" fmla="*/ 864151 h 4525940"/>
              <a:gd name="connsiteX2479" fmla="*/ 376468 w 4545947"/>
              <a:gd name="connsiteY2479" fmla="*/ 816057 h 4525940"/>
              <a:gd name="connsiteX2480" fmla="*/ 405993 w 4545947"/>
              <a:gd name="connsiteY2480" fmla="*/ 777703 h 4525940"/>
              <a:gd name="connsiteX2481" fmla="*/ 466866 w 4545947"/>
              <a:gd name="connsiteY2481" fmla="*/ 695771 h 4525940"/>
              <a:gd name="connsiteX2482" fmla="*/ 475959 w 4545947"/>
              <a:gd name="connsiteY2482" fmla="*/ 689867 h 4525940"/>
              <a:gd name="connsiteX2483" fmla="*/ 485595 w 4545947"/>
              <a:gd name="connsiteY2483" fmla="*/ 679535 h 4525940"/>
              <a:gd name="connsiteX2484" fmla="*/ 501212 w 4545947"/>
              <a:gd name="connsiteY2484" fmla="*/ 666447 h 4525940"/>
              <a:gd name="connsiteX2485" fmla="*/ 522188 w 4545947"/>
              <a:gd name="connsiteY2485" fmla="*/ 657786 h 4525940"/>
              <a:gd name="connsiteX2486" fmla="*/ 537180 w 4545947"/>
              <a:gd name="connsiteY2486" fmla="*/ 651455 h 4525940"/>
              <a:gd name="connsiteX2487" fmla="*/ 547500 w 4545947"/>
              <a:gd name="connsiteY2487" fmla="*/ 645124 h 4525940"/>
              <a:gd name="connsiteX2488" fmla="*/ 566030 w 4545947"/>
              <a:gd name="connsiteY2488" fmla="*/ 629297 h 4525940"/>
              <a:gd name="connsiteX2489" fmla="*/ 581636 w 4545947"/>
              <a:gd name="connsiteY2489" fmla="*/ 613470 h 4525940"/>
              <a:gd name="connsiteX2490" fmla="*/ 595590 w 4545947"/>
              <a:gd name="connsiteY2490" fmla="*/ 603974 h 4525940"/>
              <a:gd name="connsiteX2491" fmla="*/ 605081 w 4545947"/>
              <a:gd name="connsiteY2491" fmla="*/ 594477 h 4525940"/>
              <a:gd name="connsiteX2492" fmla="*/ 621792 w 4545947"/>
              <a:gd name="connsiteY2492" fmla="*/ 585112 h 4525940"/>
              <a:gd name="connsiteX2493" fmla="*/ 758458 w 4545947"/>
              <a:gd name="connsiteY2493" fmla="*/ 557307 h 4525940"/>
              <a:gd name="connsiteX2494" fmla="*/ 827104 w 4545947"/>
              <a:gd name="connsiteY2494" fmla="*/ 526420 h 4525940"/>
              <a:gd name="connsiteX2495" fmla="*/ 836125 w 4545947"/>
              <a:gd name="connsiteY2495" fmla="*/ 518507 h 4525940"/>
              <a:gd name="connsiteX2496" fmla="*/ 854218 w 4545947"/>
              <a:gd name="connsiteY2496" fmla="*/ 499514 h 4525940"/>
              <a:gd name="connsiteX2497" fmla="*/ 874456 w 4545947"/>
              <a:gd name="connsiteY2497" fmla="*/ 480522 h 4525940"/>
              <a:gd name="connsiteX2498" fmla="*/ 884828 w 4545947"/>
              <a:gd name="connsiteY2498" fmla="*/ 474191 h 4525940"/>
              <a:gd name="connsiteX2499" fmla="*/ 895654 w 4545947"/>
              <a:gd name="connsiteY2499" fmla="*/ 467860 h 4525940"/>
              <a:gd name="connsiteX2500" fmla="*/ 912594 w 4545947"/>
              <a:gd name="connsiteY2500" fmla="*/ 450450 h 4525940"/>
              <a:gd name="connsiteX2501" fmla="*/ 926952 w 4545947"/>
              <a:gd name="connsiteY2501" fmla="*/ 440954 h 4525940"/>
              <a:gd name="connsiteX2502" fmla="*/ 939829 w 4545947"/>
              <a:gd name="connsiteY2502" fmla="*/ 448867 h 4525940"/>
              <a:gd name="connsiteX2503" fmla="*/ 952502 w 4545947"/>
              <a:gd name="connsiteY2503" fmla="*/ 458179 h 4525940"/>
              <a:gd name="connsiteX2504" fmla="*/ 998543 w 4545947"/>
              <a:gd name="connsiteY2504" fmla="*/ 466092 h 4525940"/>
              <a:gd name="connsiteX2505" fmla="*/ 1037211 w 4545947"/>
              <a:gd name="connsiteY2505" fmla="*/ 469443 h 4525940"/>
              <a:gd name="connsiteX2506" fmla="*/ 1042254 w 4545947"/>
              <a:gd name="connsiteY2506" fmla="*/ 474191 h 4525940"/>
              <a:gd name="connsiteX2507" fmla="*/ 1046626 w 4545947"/>
              <a:gd name="connsiteY2507" fmla="*/ 467860 h 4525940"/>
              <a:gd name="connsiteX2508" fmla="*/ 1061114 w 4545947"/>
              <a:gd name="connsiteY2508" fmla="*/ 477356 h 4525940"/>
              <a:gd name="connsiteX2509" fmla="*/ 1086902 w 4545947"/>
              <a:gd name="connsiteY2509" fmla="*/ 480522 h 4525940"/>
              <a:gd name="connsiteX2510" fmla="*/ 1109378 w 4545947"/>
              <a:gd name="connsiteY2510" fmla="*/ 486853 h 4525940"/>
              <a:gd name="connsiteX2511" fmla="*/ 1118552 w 4545947"/>
              <a:gd name="connsiteY2511" fmla="*/ 505845 h 4525940"/>
              <a:gd name="connsiteX2512" fmla="*/ 1123152 w 4545947"/>
              <a:gd name="connsiteY2512" fmla="*/ 515629 h 4525940"/>
              <a:gd name="connsiteX2513" fmla="*/ 1134085 w 4545947"/>
              <a:gd name="connsiteY2513" fmla="*/ 541240 h 4525940"/>
              <a:gd name="connsiteX2514" fmla="*/ 1145017 w 4545947"/>
              <a:gd name="connsiteY2514" fmla="*/ 566276 h 4525940"/>
              <a:gd name="connsiteX2515" fmla="*/ 1149390 w 4545947"/>
              <a:gd name="connsiteY2515" fmla="*/ 575485 h 4525940"/>
              <a:gd name="connsiteX2516" fmla="*/ 1153763 w 4545947"/>
              <a:gd name="connsiteY2516" fmla="*/ 584382 h 4525940"/>
              <a:gd name="connsiteX2517" fmla="*/ 1187659 w 4545947"/>
              <a:gd name="connsiteY2517" fmla="*/ 652617 h 4525940"/>
              <a:gd name="connsiteX2518" fmla="*/ 1254340 w 4545947"/>
              <a:gd name="connsiteY2518" fmla="*/ 749518 h 4525940"/>
              <a:gd name="connsiteX2519" fmla="*/ 1290288 w 4545947"/>
              <a:gd name="connsiteY2519" fmla="*/ 794342 h 4525940"/>
              <a:gd name="connsiteX2520" fmla="*/ 1306344 w 4545947"/>
              <a:gd name="connsiteY2520" fmla="*/ 785189 h 4525940"/>
              <a:gd name="connsiteX2521" fmla="*/ 1331406 w 4545947"/>
              <a:gd name="connsiteY2521" fmla="*/ 768222 h 4525940"/>
              <a:gd name="connsiteX2522" fmla="*/ 1357220 w 4545947"/>
              <a:gd name="connsiteY2522" fmla="*/ 780642 h 4525940"/>
              <a:gd name="connsiteX2523" fmla="*/ 1371260 w 4545947"/>
              <a:gd name="connsiteY2523" fmla="*/ 797065 h 4525940"/>
              <a:gd name="connsiteX2524" fmla="*/ 1376782 w 4545947"/>
              <a:gd name="connsiteY2524" fmla="*/ 808745 h 4525940"/>
              <a:gd name="connsiteX2525" fmla="*/ 1397898 w 4545947"/>
              <a:gd name="connsiteY2525" fmla="*/ 841380 h 4525940"/>
              <a:gd name="connsiteX2526" fmla="*/ 1403566 w 4545947"/>
              <a:gd name="connsiteY2526" fmla="*/ 854042 h 4525940"/>
              <a:gd name="connsiteX2527" fmla="*/ 1413767 w 4545947"/>
              <a:gd name="connsiteY2527" fmla="*/ 888172 h 4525940"/>
              <a:gd name="connsiteX2528" fmla="*/ 1434326 w 4545947"/>
              <a:gd name="connsiteY2528" fmla="*/ 924237 h 4525940"/>
              <a:gd name="connsiteX2529" fmla="*/ 1455432 w 4545947"/>
              <a:gd name="connsiteY2529" fmla="*/ 930013 h 4525940"/>
              <a:gd name="connsiteX2530" fmla="*/ 1463906 w 4545947"/>
              <a:gd name="connsiteY2530" fmla="*/ 905557 h 4525940"/>
              <a:gd name="connsiteX2531" fmla="*/ 1458027 w 4545947"/>
              <a:gd name="connsiteY2531" fmla="*/ 873556 h 4525940"/>
              <a:gd name="connsiteX2532" fmla="*/ 1446749 w 4545947"/>
              <a:gd name="connsiteY2532" fmla="*/ 845782 h 4525940"/>
              <a:gd name="connsiteX2533" fmla="*/ 1442667 w 4545947"/>
              <a:gd name="connsiteY2533" fmla="*/ 835050 h 4525940"/>
              <a:gd name="connsiteX2534" fmla="*/ 1437200 w 4545947"/>
              <a:gd name="connsiteY2534" fmla="*/ 817640 h 4525940"/>
              <a:gd name="connsiteX2535" fmla="*/ 1425722 w 4545947"/>
              <a:gd name="connsiteY2535" fmla="*/ 798159 h 4525940"/>
              <a:gd name="connsiteX2536" fmla="*/ 1431370 w 4545947"/>
              <a:gd name="connsiteY2536" fmla="*/ 765466 h 4525940"/>
              <a:gd name="connsiteX2537" fmla="*/ 1448402 w 4545947"/>
              <a:gd name="connsiteY2537" fmla="*/ 734883 h 4525940"/>
              <a:gd name="connsiteX2538" fmla="*/ 1461812 w 4545947"/>
              <a:gd name="connsiteY2538" fmla="*/ 714763 h 4525940"/>
              <a:gd name="connsiteX2539" fmla="*/ 1475392 w 4545947"/>
              <a:gd name="connsiteY2539" fmla="*/ 708925 h 4525940"/>
              <a:gd name="connsiteX2540" fmla="*/ 1494907 w 4545947"/>
              <a:gd name="connsiteY2540" fmla="*/ 699006 h 4525940"/>
              <a:gd name="connsiteX2541" fmla="*/ 1520814 w 4545947"/>
              <a:gd name="connsiteY2541" fmla="*/ 711175 h 4525940"/>
              <a:gd name="connsiteX2542" fmla="*/ 1542953 w 4545947"/>
              <a:gd name="connsiteY2542" fmla="*/ 721094 h 4525940"/>
              <a:gd name="connsiteX2543" fmla="*/ 1548180 w 4545947"/>
              <a:gd name="connsiteY2543" fmla="*/ 714763 h 4525940"/>
              <a:gd name="connsiteX2544" fmla="*/ 1565543 w 4545947"/>
              <a:gd name="connsiteY2544" fmla="*/ 697931 h 4525940"/>
              <a:gd name="connsiteX2545" fmla="*/ 1580569 w 4545947"/>
              <a:gd name="connsiteY2545" fmla="*/ 692004 h 4525940"/>
              <a:gd name="connsiteX2546" fmla="*/ 1579083 w 4545947"/>
              <a:gd name="connsiteY2546" fmla="*/ 716815 h 4525940"/>
              <a:gd name="connsiteX2547" fmla="*/ 1593565 w 4545947"/>
              <a:gd name="connsiteY2547" fmla="*/ 743948 h 4525940"/>
              <a:gd name="connsiteX2548" fmla="*/ 1600588 w 4545947"/>
              <a:gd name="connsiteY2548" fmla="*/ 716198 h 4525940"/>
              <a:gd name="connsiteX2549" fmla="*/ 1604075 w 4545947"/>
              <a:gd name="connsiteY2549" fmla="*/ 676922 h 4525940"/>
              <a:gd name="connsiteX2550" fmla="*/ 1610336 w 4545947"/>
              <a:gd name="connsiteY2550" fmla="*/ 655404 h 4525940"/>
              <a:gd name="connsiteX2551" fmla="*/ 1627075 w 4545947"/>
              <a:gd name="connsiteY2551" fmla="*/ 651503 h 4525940"/>
              <a:gd name="connsiteX2552" fmla="*/ 1657724 w 4545947"/>
              <a:gd name="connsiteY2552" fmla="*/ 660732 h 4525940"/>
              <a:gd name="connsiteX2553" fmla="*/ 1680927 w 4545947"/>
              <a:gd name="connsiteY2553" fmla="*/ 665854 h 4525940"/>
              <a:gd name="connsiteX2554" fmla="*/ 1711891 w 4545947"/>
              <a:gd name="connsiteY2554" fmla="*/ 679332 h 4525940"/>
              <a:gd name="connsiteX2555" fmla="*/ 1757474 w 4545947"/>
              <a:gd name="connsiteY2555" fmla="*/ 699162 h 4525940"/>
              <a:gd name="connsiteX2556" fmla="*/ 1781191 w 4545947"/>
              <a:gd name="connsiteY2556" fmla="*/ 714763 h 4525940"/>
              <a:gd name="connsiteX2557" fmla="*/ 1787837 w 4545947"/>
              <a:gd name="connsiteY2557" fmla="*/ 720473 h 4525940"/>
              <a:gd name="connsiteX2558" fmla="*/ 1804133 w 4545947"/>
              <a:gd name="connsiteY2558" fmla="*/ 738427 h 4525940"/>
              <a:gd name="connsiteX2559" fmla="*/ 1823246 w 4545947"/>
              <a:gd name="connsiteY2559" fmla="*/ 770607 h 4525940"/>
              <a:gd name="connsiteX2560" fmla="*/ 1854936 w 4545947"/>
              <a:gd name="connsiteY2560" fmla="*/ 808560 h 4525940"/>
              <a:gd name="connsiteX2561" fmla="*/ 1874886 w 4545947"/>
              <a:gd name="connsiteY2561" fmla="*/ 818655 h 4525940"/>
              <a:gd name="connsiteX2562" fmla="*/ 1890018 w 4545947"/>
              <a:gd name="connsiteY2562" fmla="*/ 835050 h 4525940"/>
              <a:gd name="connsiteX2563" fmla="*/ 1924029 w 4545947"/>
              <a:gd name="connsiteY2563" fmla="*/ 879848 h 4525940"/>
              <a:gd name="connsiteX2564" fmla="*/ 1970767 w 4545947"/>
              <a:gd name="connsiteY2564" fmla="*/ 928208 h 4525940"/>
              <a:gd name="connsiteX2565" fmla="*/ 1992216 w 4545947"/>
              <a:gd name="connsiteY2565" fmla="*/ 937930 h 4525940"/>
              <a:gd name="connsiteX2566" fmla="*/ 2004549 w 4545947"/>
              <a:gd name="connsiteY2566" fmla="*/ 940246 h 4525940"/>
              <a:gd name="connsiteX2567" fmla="*/ 2000233 w 4545947"/>
              <a:gd name="connsiteY2567" fmla="*/ 905653 h 4525940"/>
              <a:gd name="connsiteX2568" fmla="*/ 1980246 w 4545947"/>
              <a:gd name="connsiteY2568" fmla="*/ 879818 h 4525940"/>
              <a:gd name="connsiteX2569" fmla="*/ 2000661 w 4545947"/>
              <a:gd name="connsiteY2569" fmla="*/ 880614 h 4525940"/>
              <a:gd name="connsiteX2570" fmla="*/ 2028302 w 4545947"/>
              <a:gd name="connsiteY2570" fmla="*/ 869933 h 4525940"/>
              <a:gd name="connsiteX2571" fmla="*/ 2041467 w 4545947"/>
              <a:gd name="connsiteY2571" fmla="*/ 837031 h 4525940"/>
              <a:gd name="connsiteX2572" fmla="*/ 2048027 w 4545947"/>
              <a:gd name="connsiteY2572" fmla="*/ 822388 h 4525940"/>
              <a:gd name="connsiteX2573" fmla="*/ 2054585 w 4545947"/>
              <a:gd name="connsiteY2573" fmla="*/ 828761 h 4525940"/>
              <a:gd name="connsiteX2574" fmla="*/ 2065253 w 4545947"/>
              <a:gd name="connsiteY2574" fmla="*/ 848562 h 4525940"/>
              <a:gd name="connsiteX2575" fmla="*/ 2069492 w 4545947"/>
              <a:gd name="connsiteY2575" fmla="*/ 876195 h 4525940"/>
              <a:gd name="connsiteX2576" fmla="*/ 2078502 w 4545947"/>
              <a:gd name="connsiteY2576" fmla="*/ 901007 h 4525940"/>
              <a:gd name="connsiteX2577" fmla="*/ 2093942 w 4545947"/>
              <a:gd name="connsiteY2577" fmla="*/ 917648 h 4525940"/>
              <a:gd name="connsiteX2578" fmla="*/ 2100502 w 4545947"/>
              <a:gd name="connsiteY2578" fmla="*/ 923682 h 4525940"/>
              <a:gd name="connsiteX2579" fmla="*/ 2103714 w 4545947"/>
              <a:gd name="connsiteY2579" fmla="*/ 946427 h 4525940"/>
              <a:gd name="connsiteX2580" fmla="*/ 2086036 w 4545947"/>
              <a:gd name="connsiteY2580" fmla="*/ 957421 h 4525940"/>
              <a:gd name="connsiteX2581" fmla="*/ 2063661 w 4545947"/>
              <a:gd name="connsiteY2581" fmla="*/ 987546 h 4525940"/>
              <a:gd name="connsiteX2582" fmla="*/ 2067637 w 4545947"/>
              <a:gd name="connsiteY2582" fmla="*/ 1028317 h 4525940"/>
              <a:gd name="connsiteX2583" fmla="*/ 2093992 w 4545947"/>
              <a:gd name="connsiteY2583" fmla="*/ 1081953 h 4525940"/>
              <a:gd name="connsiteX2584" fmla="*/ 2102688 w 4545947"/>
              <a:gd name="connsiteY2584" fmla="*/ 1100171 h 4525940"/>
              <a:gd name="connsiteX2585" fmla="*/ 2123679 w 4545947"/>
              <a:gd name="connsiteY2585" fmla="*/ 1123892 h 4525940"/>
              <a:gd name="connsiteX2586" fmla="*/ 2129992 w 4545947"/>
              <a:gd name="connsiteY2586" fmla="*/ 1070902 h 4525940"/>
              <a:gd name="connsiteX2587" fmla="*/ 2124526 w 4545947"/>
              <a:gd name="connsiteY2587" fmla="*/ 1022405 h 4525940"/>
              <a:gd name="connsiteX2588" fmla="*/ 2126739 w 4545947"/>
              <a:gd name="connsiteY2588" fmla="*/ 980659 h 4525940"/>
              <a:gd name="connsiteX2589" fmla="*/ 2128791 w 4545947"/>
              <a:gd name="connsiteY2589" fmla="*/ 945720 h 4525940"/>
              <a:gd name="connsiteX2590" fmla="*/ 2127020 w 4545947"/>
              <a:gd name="connsiteY2590" fmla="*/ 920573 h 4525940"/>
              <a:gd name="connsiteX2591" fmla="*/ 2126714 w 4545947"/>
              <a:gd name="connsiteY2591" fmla="*/ 885583 h 4525940"/>
              <a:gd name="connsiteX2592" fmla="*/ 2111163 w 4545947"/>
              <a:gd name="connsiteY2592" fmla="*/ 875329 h 4525940"/>
              <a:gd name="connsiteX2593" fmla="*/ 2098244 w 4545947"/>
              <a:gd name="connsiteY2593" fmla="*/ 863602 h 4525940"/>
              <a:gd name="connsiteX2594" fmla="*/ 2098315 w 4545947"/>
              <a:gd name="connsiteY2594" fmla="*/ 822388 h 4525940"/>
              <a:gd name="connsiteX2595" fmla="*/ 2093942 w 4545947"/>
              <a:gd name="connsiteY2595" fmla="*/ 803395 h 4525940"/>
              <a:gd name="connsiteX2596" fmla="*/ 2098662 w 4545947"/>
              <a:gd name="connsiteY2596" fmla="*/ 784403 h 4525940"/>
              <a:gd name="connsiteX2597" fmla="*/ 2100683 w 4545947"/>
              <a:gd name="connsiteY2597" fmla="*/ 766608 h 4525940"/>
              <a:gd name="connsiteX2598" fmla="*/ 2107989 w 4545947"/>
              <a:gd name="connsiteY2598" fmla="*/ 741548 h 4525940"/>
              <a:gd name="connsiteX2599" fmla="*/ 2128925 w 4545947"/>
              <a:gd name="connsiteY2599" fmla="*/ 732437 h 4525940"/>
              <a:gd name="connsiteX2600" fmla="*/ 2141241 w 4545947"/>
              <a:gd name="connsiteY2600" fmla="*/ 713181 h 4525940"/>
              <a:gd name="connsiteX2601" fmla="*/ 2153554 w 4545947"/>
              <a:gd name="connsiteY2601" fmla="*/ 695771 h 4525940"/>
              <a:gd name="connsiteX2602" fmla="*/ 2172084 w 4545947"/>
              <a:gd name="connsiteY2602" fmla="*/ 689882 h 4525940"/>
              <a:gd name="connsiteX2603" fmla="*/ 2185988 w 4545947"/>
              <a:gd name="connsiteY2603" fmla="*/ 689631 h 4525940"/>
              <a:gd name="connsiteX2604" fmla="*/ 2183565 w 4545947"/>
              <a:gd name="connsiteY2604" fmla="*/ 704816 h 4525940"/>
              <a:gd name="connsiteX2605" fmla="*/ 2181442 w 4545947"/>
              <a:gd name="connsiteY2605" fmla="*/ 714562 h 4525940"/>
              <a:gd name="connsiteX2606" fmla="*/ 2193271 w 4545947"/>
              <a:gd name="connsiteY2606" fmla="*/ 702641 h 4525940"/>
              <a:gd name="connsiteX2607" fmla="*/ 2179214 w 4545947"/>
              <a:gd name="connsiteY2607" fmla="*/ 675840 h 4525940"/>
              <a:gd name="connsiteX2608" fmla="*/ 2166151 w 4545947"/>
              <a:gd name="connsiteY2608" fmla="*/ 659332 h 4525940"/>
              <a:gd name="connsiteX2609" fmla="*/ 2158499 w 4545947"/>
              <a:gd name="connsiteY2609" fmla="*/ 645124 h 4525940"/>
              <a:gd name="connsiteX2610" fmla="*/ 2155163 w 4545947"/>
              <a:gd name="connsiteY2610" fmla="*/ 635628 h 4525940"/>
              <a:gd name="connsiteX2611" fmla="*/ 2184048 w 4545947"/>
              <a:gd name="connsiteY2611" fmla="*/ 643278 h 4525940"/>
              <a:gd name="connsiteX2612" fmla="*/ 2202425 w 4545947"/>
              <a:gd name="connsiteY2612" fmla="*/ 653711 h 4525940"/>
              <a:gd name="connsiteX2613" fmla="*/ 2203453 w 4545947"/>
              <a:gd name="connsiteY2613" fmla="*/ 607453 h 4525940"/>
              <a:gd name="connsiteX2614" fmla="*/ 2200610 w 4545947"/>
              <a:gd name="connsiteY2614" fmla="*/ 581815 h 4525940"/>
              <a:gd name="connsiteX2615" fmla="*/ 2209356 w 4545947"/>
              <a:gd name="connsiteY2615" fmla="*/ 571802 h 4525940"/>
              <a:gd name="connsiteX2616" fmla="*/ 2207638 w 4545947"/>
              <a:gd name="connsiteY2616" fmla="*/ 537499 h 4525940"/>
              <a:gd name="connsiteX2617" fmla="*/ 2211777 w 4545947"/>
              <a:gd name="connsiteY2617" fmla="*/ 512421 h 4525940"/>
              <a:gd name="connsiteX2618" fmla="*/ 2218439 w 4545947"/>
              <a:gd name="connsiteY2618" fmla="*/ 499207 h 4525940"/>
              <a:gd name="connsiteX2619" fmla="*/ 2245369 w 4545947"/>
              <a:gd name="connsiteY2619" fmla="*/ 471396 h 4525940"/>
              <a:gd name="connsiteX2620" fmla="*/ 2261834 w 4545947"/>
              <a:gd name="connsiteY2620" fmla="*/ 483257 h 4525940"/>
              <a:gd name="connsiteX2621" fmla="*/ 2292979 w 4545947"/>
              <a:gd name="connsiteY2621" fmla="*/ 497282 h 4525940"/>
              <a:gd name="connsiteX2622" fmla="*/ 2323798 w 4545947"/>
              <a:gd name="connsiteY2622" fmla="*/ 505194 h 4525940"/>
              <a:gd name="connsiteX2623" fmla="*/ 2333912 w 4545947"/>
              <a:gd name="connsiteY2623" fmla="*/ 537499 h 4525940"/>
              <a:gd name="connsiteX2624" fmla="*/ 2350016 w 4545947"/>
              <a:gd name="connsiteY2624" fmla="*/ 528204 h 4525940"/>
              <a:gd name="connsiteX2625" fmla="*/ 2368343 w 4545947"/>
              <a:gd name="connsiteY2625" fmla="*/ 518708 h 4525940"/>
              <a:gd name="connsiteX2626" fmla="*/ 2378182 w 4545947"/>
              <a:gd name="connsiteY2626" fmla="*/ 512176 h 4525940"/>
              <a:gd name="connsiteX2627" fmla="*/ 2384742 w 4545947"/>
              <a:gd name="connsiteY2627" fmla="*/ 505845 h 4525940"/>
              <a:gd name="connsiteX2628" fmla="*/ 2391301 w 4545947"/>
              <a:gd name="connsiteY2628" fmla="*/ 499514 h 4525940"/>
              <a:gd name="connsiteX2629" fmla="*/ 2397860 w 4545947"/>
              <a:gd name="connsiteY2629" fmla="*/ 493183 h 4525940"/>
              <a:gd name="connsiteX2630" fmla="*/ 2404419 w 4545947"/>
              <a:gd name="connsiteY2630" fmla="*/ 505472 h 4525940"/>
              <a:gd name="connsiteX2631" fmla="*/ 2421950 w 4545947"/>
              <a:gd name="connsiteY2631" fmla="*/ 521654 h 4525940"/>
              <a:gd name="connsiteX2632" fmla="*/ 2430657 w 4545947"/>
              <a:gd name="connsiteY2632" fmla="*/ 502253 h 4525940"/>
              <a:gd name="connsiteX2633" fmla="*/ 2444767 w 4545947"/>
              <a:gd name="connsiteY2633" fmla="*/ 494323 h 4525940"/>
              <a:gd name="connsiteX2634" fmla="*/ 2464298 w 4545947"/>
              <a:gd name="connsiteY2634" fmla="*/ 482248 h 4525940"/>
              <a:gd name="connsiteX2635" fmla="*/ 2475130 w 4545947"/>
              <a:gd name="connsiteY2635" fmla="*/ 455927 h 4525940"/>
              <a:gd name="connsiteX2636" fmla="*/ 2476573 w 4545947"/>
              <a:gd name="connsiteY2636" fmla="*/ 413172 h 4525940"/>
              <a:gd name="connsiteX2637" fmla="*/ 2470013 w 4545947"/>
              <a:gd name="connsiteY2637" fmla="*/ 387848 h 4525940"/>
              <a:gd name="connsiteX2638" fmla="*/ 2463454 w 4545947"/>
              <a:gd name="connsiteY2638" fmla="*/ 362525 h 4525940"/>
              <a:gd name="connsiteX2639" fmla="*/ 2456929 w 4545947"/>
              <a:gd name="connsiteY2639" fmla="*/ 342148 h 4525940"/>
              <a:gd name="connsiteX2640" fmla="*/ 2492750 w 4545947"/>
              <a:gd name="connsiteY2640" fmla="*/ 309588 h 4525940"/>
              <a:gd name="connsiteX2641" fmla="*/ 2504997 w 4545947"/>
              <a:gd name="connsiteY2641" fmla="*/ 303258 h 4525940"/>
              <a:gd name="connsiteX2642" fmla="*/ 2521291 w 4545947"/>
              <a:gd name="connsiteY2642" fmla="*/ 309165 h 4525940"/>
              <a:gd name="connsiteX2643" fmla="*/ 2519063 w 4545947"/>
              <a:gd name="connsiteY2643" fmla="*/ 323689 h 4525940"/>
              <a:gd name="connsiteX2644" fmla="*/ 2534825 w 4545947"/>
              <a:gd name="connsiteY2644" fmla="*/ 326930 h 4525940"/>
              <a:gd name="connsiteX2645" fmla="*/ 2562584 w 4545947"/>
              <a:gd name="connsiteY2645" fmla="*/ 309240 h 4525940"/>
              <a:gd name="connsiteX2646" fmla="*/ 2596446 w 4545947"/>
              <a:gd name="connsiteY2646" fmla="*/ 301675 h 4525940"/>
              <a:gd name="connsiteX2647" fmla="*/ 2609919 w 4545947"/>
              <a:gd name="connsiteY2647" fmla="*/ 326625 h 4525940"/>
              <a:gd name="connsiteX2648" fmla="*/ 2629424 w 4545947"/>
              <a:gd name="connsiteY2648" fmla="*/ 343915 h 4525940"/>
              <a:gd name="connsiteX2649" fmla="*/ 2640558 w 4545947"/>
              <a:gd name="connsiteY2649" fmla="*/ 312290 h 4525940"/>
              <a:gd name="connsiteX2650" fmla="*/ 2649304 w 4545947"/>
              <a:gd name="connsiteY2650" fmla="*/ 277934 h 4525940"/>
              <a:gd name="connsiteX2651" fmla="*/ 2658050 w 4545947"/>
              <a:gd name="connsiteY2651" fmla="*/ 254876 h 4525940"/>
              <a:gd name="connsiteX2652" fmla="*/ 2665163 w 4545947"/>
              <a:gd name="connsiteY2652" fmla="*/ 242546 h 4525940"/>
              <a:gd name="connsiteX2653" fmla="*/ 2678281 w 4545947"/>
              <a:gd name="connsiteY2653" fmla="*/ 239283 h 4525940"/>
              <a:gd name="connsiteX2654" fmla="*/ 2679914 w 4545947"/>
              <a:gd name="connsiteY2654" fmla="*/ 201964 h 4525940"/>
              <a:gd name="connsiteX2655" fmla="*/ 2682494 w 4545947"/>
              <a:gd name="connsiteY2655" fmla="*/ 169679 h 4525940"/>
              <a:gd name="connsiteX2656" fmla="*/ 2670873 w 4545947"/>
              <a:gd name="connsiteY2656" fmla="*/ 132325 h 4525940"/>
              <a:gd name="connsiteX2657" fmla="*/ 2671168 w 4545947"/>
              <a:gd name="connsiteY2657" fmla="*/ 107001 h 4525940"/>
              <a:gd name="connsiteX2658" fmla="*/ 2684287 w 4545947"/>
              <a:gd name="connsiteY2658" fmla="*/ 87927 h 4525940"/>
              <a:gd name="connsiteX2659" fmla="*/ 2695219 w 4545947"/>
              <a:gd name="connsiteY2659" fmla="*/ 72747 h 4525940"/>
              <a:gd name="connsiteX2660" fmla="*/ 2706152 w 4545947"/>
              <a:gd name="connsiteY2660" fmla="*/ 63442 h 4525940"/>
              <a:gd name="connsiteX2661" fmla="*/ 2732792 w 4545947"/>
              <a:gd name="connsiteY2661" fmla="*/ 72882 h 4525940"/>
              <a:gd name="connsiteX2662" fmla="*/ 2747762 w 4545947"/>
              <a:gd name="connsiteY2662" fmla="*/ 81678 h 4525940"/>
              <a:gd name="connsiteX2663" fmla="*/ 2760208 w 4545947"/>
              <a:gd name="connsiteY2663" fmla="*/ 91174 h 4525940"/>
              <a:gd name="connsiteX2664" fmla="*/ 2773795 w 4545947"/>
              <a:gd name="connsiteY2664" fmla="*/ 100670 h 4525940"/>
              <a:gd name="connsiteX2665" fmla="*/ 2784864 w 4545947"/>
              <a:gd name="connsiteY2665" fmla="*/ 113531 h 4525940"/>
              <a:gd name="connsiteX2666" fmla="*/ 2806176 w 4545947"/>
              <a:gd name="connsiteY2666" fmla="*/ 127943 h 4525940"/>
              <a:gd name="connsiteX2667" fmla="*/ 2811807 w 4545947"/>
              <a:gd name="connsiteY2667" fmla="*/ 98446 h 4525940"/>
              <a:gd name="connsiteX2668" fmla="*/ 2815434 w 4545947"/>
              <a:gd name="connsiteY2668" fmla="*/ 75347 h 4525940"/>
              <a:gd name="connsiteX2669" fmla="*/ 2817964 w 4545947"/>
              <a:gd name="connsiteY2669" fmla="*/ 64068 h 4525940"/>
              <a:gd name="connsiteX2670" fmla="*/ 2827881 w 4545947"/>
              <a:gd name="connsiteY2670" fmla="*/ 46020 h 4525940"/>
              <a:gd name="connsiteX2671" fmla="*/ 2867950 w 4545947"/>
              <a:gd name="connsiteY2671" fmla="*/ 53908 h 4525940"/>
              <a:gd name="connsiteX2672" fmla="*/ 2872323 w 4545947"/>
              <a:gd name="connsiteY2672" fmla="*/ 62685 h 4525940"/>
              <a:gd name="connsiteX2673" fmla="*/ 2876696 w 4545947"/>
              <a:gd name="connsiteY2673" fmla="*/ 71983 h 4525940"/>
              <a:gd name="connsiteX2674" fmla="*/ 2883143 w 4545947"/>
              <a:gd name="connsiteY2674" fmla="*/ 77698 h 4525940"/>
              <a:gd name="connsiteX2675" fmla="*/ 2915810 w 4545947"/>
              <a:gd name="connsiteY2675" fmla="*/ 113898 h 4525940"/>
              <a:gd name="connsiteX2676" fmla="*/ 2904913 w 4545947"/>
              <a:gd name="connsiteY2676" fmla="*/ 131308 h 4525940"/>
              <a:gd name="connsiteX2677" fmla="*/ 2889815 w 4545947"/>
              <a:gd name="connsiteY2677" fmla="*/ 130128 h 4525940"/>
              <a:gd name="connsiteX2678" fmla="*/ 2868756 w 4545947"/>
              <a:gd name="connsiteY2678" fmla="*/ 96783 h 4525940"/>
              <a:gd name="connsiteX2679" fmla="*/ 2861989 w 4545947"/>
              <a:gd name="connsiteY2679" fmla="*/ 125162 h 4525940"/>
              <a:gd name="connsiteX2680" fmla="*/ 2852669 w 4545947"/>
              <a:gd name="connsiteY2680" fmla="*/ 153593 h 4525940"/>
              <a:gd name="connsiteX2681" fmla="*/ 2864473 w 4545947"/>
              <a:gd name="connsiteY2681" fmla="*/ 230956 h 4525940"/>
              <a:gd name="connsiteX2682" fmla="*/ 2877958 w 4545947"/>
              <a:gd name="connsiteY2682" fmla="*/ 271677 h 4525940"/>
              <a:gd name="connsiteX2683" fmla="*/ 2896480 w 4545947"/>
              <a:gd name="connsiteY2683" fmla="*/ 310278 h 4525940"/>
              <a:gd name="connsiteX2684" fmla="*/ 2930626 w 4545947"/>
              <a:gd name="connsiteY2684" fmla="*/ 305922 h 4525940"/>
              <a:gd name="connsiteX2685" fmla="*/ 2918213 w 4545947"/>
              <a:gd name="connsiteY2685" fmla="*/ 271603 h 4525940"/>
              <a:gd name="connsiteX2686" fmla="*/ 2905690 w 4545947"/>
              <a:gd name="connsiteY2686" fmla="*/ 257359 h 4525940"/>
              <a:gd name="connsiteX2687" fmla="*/ 2913711 w 4545947"/>
              <a:gd name="connsiteY2687" fmla="*/ 233618 h 4525940"/>
              <a:gd name="connsiteX2688" fmla="*/ 2930337 w 4545947"/>
              <a:gd name="connsiteY2688" fmla="*/ 190885 h 4525940"/>
              <a:gd name="connsiteX2689" fmla="*/ 2934767 w 4545947"/>
              <a:gd name="connsiteY2689" fmla="*/ 170310 h 4525940"/>
              <a:gd name="connsiteX2690" fmla="*/ 2941378 w 4545947"/>
              <a:gd name="connsiteY2690" fmla="*/ 194420 h 4525940"/>
              <a:gd name="connsiteX2691" fmla="*/ 2952827 w 4545947"/>
              <a:gd name="connsiteY2691" fmla="*/ 205440 h 4525940"/>
              <a:gd name="connsiteX2692" fmla="*/ 2977447 w 4545947"/>
              <a:gd name="connsiteY2692" fmla="*/ 198569 h 4525940"/>
              <a:gd name="connsiteX2693" fmla="*/ 2967852 w 4545947"/>
              <a:gd name="connsiteY2693" fmla="*/ 132854 h 4525940"/>
              <a:gd name="connsiteX2694" fmla="*/ 2962222 w 4545947"/>
              <a:gd name="connsiteY2694" fmla="*/ 88008 h 4525940"/>
              <a:gd name="connsiteX2695" fmla="*/ 2985873 w 4545947"/>
              <a:gd name="connsiteY2695" fmla="*/ 51606 h 4525940"/>
              <a:gd name="connsiteX2696" fmla="*/ 3000606 w 4545947"/>
              <a:gd name="connsiteY2696" fmla="*/ 43693 h 4525940"/>
              <a:gd name="connsiteX2697" fmla="*/ 3031196 w 4545947"/>
              <a:gd name="connsiteY2697" fmla="*/ 69498 h 4525940"/>
              <a:gd name="connsiteX2698" fmla="*/ 3053778 w 4545947"/>
              <a:gd name="connsiteY2698" fmla="*/ 85778 h 4525940"/>
              <a:gd name="connsiteX2699" fmla="*/ 3055111 w 4545947"/>
              <a:gd name="connsiteY2699" fmla="*/ 51289 h 4525940"/>
              <a:gd name="connsiteX2700" fmla="*/ 3055383 w 4545947"/>
              <a:gd name="connsiteY2700" fmla="*/ 35779 h 4525940"/>
              <a:gd name="connsiteX2701" fmla="*/ 3064829 w 4545947"/>
              <a:gd name="connsiteY2701" fmla="*/ 37931 h 4525940"/>
              <a:gd name="connsiteX2702" fmla="*/ 3095119 w 4545947"/>
              <a:gd name="connsiteY2702" fmla="*/ 77459 h 4525940"/>
              <a:gd name="connsiteX2703" fmla="*/ 3107184 w 4545947"/>
              <a:gd name="connsiteY2703" fmla="*/ 111877 h 4525940"/>
              <a:gd name="connsiteX2704" fmla="*/ 3104088 w 4545947"/>
              <a:gd name="connsiteY2704" fmla="*/ 144986 h 4525940"/>
              <a:gd name="connsiteX2705" fmla="*/ 3108461 w 4545947"/>
              <a:gd name="connsiteY2705" fmla="*/ 160439 h 4525940"/>
              <a:gd name="connsiteX2706" fmla="*/ 3112834 w 4545947"/>
              <a:gd name="connsiteY2706" fmla="*/ 179806 h 4525940"/>
              <a:gd name="connsiteX2707" fmla="*/ 3117207 w 4545947"/>
              <a:gd name="connsiteY2707" fmla="*/ 205817 h 4525940"/>
              <a:gd name="connsiteX2708" fmla="*/ 3131860 w 4545947"/>
              <a:gd name="connsiteY2708" fmla="*/ 249759 h 4525940"/>
              <a:gd name="connsiteX2709" fmla="*/ 3152055 w 4545947"/>
              <a:gd name="connsiteY2709" fmla="*/ 271603 h 4525940"/>
              <a:gd name="connsiteX2710" fmla="*/ 3172536 w 4545947"/>
              <a:gd name="connsiteY2710" fmla="*/ 290596 h 4525940"/>
              <a:gd name="connsiteX2711" fmla="*/ 3211850 w 4545947"/>
              <a:gd name="connsiteY2711" fmla="*/ 300011 h 4525940"/>
              <a:gd name="connsiteX2712" fmla="*/ 3208838 w 4545947"/>
              <a:gd name="connsiteY2712" fmla="*/ 280750 h 4525940"/>
              <a:gd name="connsiteX2713" fmla="*/ 3218659 w 4545947"/>
              <a:gd name="connsiteY2713" fmla="*/ 264006 h 4525940"/>
              <a:gd name="connsiteX2714" fmla="*/ 3255173 w 4545947"/>
              <a:gd name="connsiteY2714" fmla="*/ 265724 h 4525940"/>
              <a:gd name="connsiteX2715" fmla="*/ 3274632 w 4545947"/>
              <a:gd name="connsiteY2715" fmla="*/ 257810 h 4525940"/>
              <a:gd name="connsiteX2716" fmla="*/ 3291320 w 4545947"/>
              <a:gd name="connsiteY2716" fmla="*/ 238366 h 4525940"/>
              <a:gd name="connsiteX2717" fmla="*/ 3301297 w 4545947"/>
              <a:gd name="connsiteY2717" fmla="*/ 220957 h 4525940"/>
              <a:gd name="connsiteX2718" fmla="*/ 3310575 w 4545947"/>
              <a:gd name="connsiteY2718" fmla="*/ 189177 h 4525940"/>
              <a:gd name="connsiteX2719" fmla="*/ 3319179 w 4545947"/>
              <a:gd name="connsiteY2719" fmla="*/ 174188 h 4525940"/>
              <a:gd name="connsiteX2720" fmla="*/ 3375209 w 4545947"/>
              <a:gd name="connsiteY2720" fmla="*/ 204754 h 4525940"/>
              <a:gd name="connsiteX2721" fmla="*/ 3386141 w 4545947"/>
              <a:gd name="connsiteY2721" fmla="*/ 233618 h 4525940"/>
              <a:gd name="connsiteX2722" fmla="*/ 3397074 w 4545947"/>
              <a:gd name="connsiteY2722" fmla="*/ 258990 h 4525940"/>
              <a:gd name="connsiteX2723" fmla="*/ 3408988 w 4545947"/>
              <a:gd name="connsiteY2723" fmla="*/ 267922 h 4525940"/>
              <a:gd name="connsiteX2724" fmla="*/ 3435701 w 4545947"/>
              <a:gd name="connsiteY2724" fmla="*/ 272440 h 4525940"/>
              <a:gd name="connsiteX2725" fmla="*/ 3447468 w 4545947"/>
              <a:gd name="connsiteY2725" fmla="*/ 277934 h 4525940"/>
              <a:gd name="connsiteX2726" fmla="*/ 3460481 w 4545947"/>
              <a:gd name="connsiteY2726" fmla="*/ 284265 h 4525940"/>
              <a:gd name="connsiteX2727" fmla="*/ 3473871 w 4545947"/>
              <a:gd name="connsiteY2727" fmla="*/ 290596 h 4525940"/>
              <a:gd name="connsiteX2728" fmla="*/ 3492137 w 4545947"/>
              <a:gd name="connsiteY2728" fmla="*/ 265273 h 4525940"/>
              <a:gd name="connsiteX2729" fmla="*/ 3502962 w 4545947"/>
              <a:gd name="connsiteY2729" fmla="*/ 239949 h 4525940"/>
              <a:gd name="connsiteX2730" fmla="*/ 3501086 w 4545947"/>
              <a:gd name="connsiteY2730" fmla="*/ 223668 h 4525940"/>
              <a:gd name="connsiteX2731" fmla="*/ 3500590 w 4545947"/>
              <a:gd name="connsiteY2731" fmla="*/ 203093 h 4525940"/>
              <a:gd name="connsiteX2732" fmla="*/ 3504512 w 4545947"/>
              <a:gd name="connsiteY2732" fmla="*/ 166435 h 4525940"/>
              <a:gd name="connsiteX2733" fmla="*/ 3497651 w 4545947"/>
              <a:gd name="connsiteY2733" fmla="*/ 148250 h 4525940"/>
              <a:gd name="connsiteX2734" fmla="*/ 3491091 w 4545947"/>
              <a:gd name="connsiteY2734" fmla="*/ 125994 h 4525940"/>
              <a:gd name="connsiteX2735" fmla="*/ 3484532 w 4545947"/>
              <a:gd name="connsiteY2735" fmla="*/ 103434 h 4525940"/>
              <a:gd name="connsiteX2736" fmla="*/ 3480160 w 4545947"/>
              <a:gd name="connsiteY2736" fmla="*/ 84843 h 4525940"/>
              <a:gd name="connsiteX2737" fmla="*/ 3475787 w 4545947"/>
              <a:gd name="connsiteY2737" fmla="*/ 47161 h 4525940"/>
              <a:gd name="connsiteX2738" fmla="*/ 3482704 w 4545947"/>
              <a:gd name="connsiteY2738" fmla="*/ 9550 h 4525940"/>
              <a:gd name="connsiteX2739" fmla="*/ 3491456 w 4545947"/>
              <a:gd name="connsiteY2739" fmla="*/ 6650 h 4525940"/>
              <a:gd name="connsiteX2740" fmla="*/ 3226906 w 4545947"/>
              <a:gd name="connsiteY2740" fmla="*/ 1812 h 4525940"/>
              <a:gd name="connsiteX2741" fmla="*/ 3254236 w 4545947"/>
              <a:gd name="connsiteY2741" fmla="*/ 13687 h 4525940"/>
              <a:gd name="connsiteX2742" fmla="*/ 3265886 w 4545947"/>
              <a:gd name="connsiteY2742" fmla="*/ 33553 h 4525940"/>
              <a:gd name="connsiteX2743" fmla="*/ 3253280 w 4545947"/>
              <a:gd name="connsiteY2743" fmla="*/ 55628 h 4525940"/>
              <a:gd name="connsiteX2744" fmla="*/ 3207342 w 4545947"/>
              <a:gd name="connsiteY2744" fmla="*/ 72250 h 4525940"/>
              <a:gd name="connsiteX2745" fmla="*/ 3158240 w 4545947"/>
              <a:gd name="connsiteY2745" fmla="*/ 64477 h 4525940"/>
              <a:gd name="connsiteX2746" fmla="*/ 3154454 w 4545947"/>
              <a:gd name="connsiteY2746" fmla="*/ 89245 h 4525940"/>
              <a:gd name="connsiteX2747" fmla="*/ 3137765 w 4545947"/>
              <a:gd name="connsiteY2747" fmla="*/ 109330 h 4525940"/>
              <a:gd name="connsiteX2748" fmla="*/ 3139154 w 4545947"/>
              <a:gd name="connsiteY2748" fmla="*/ 81678 h 4525940"/>
              <a:gd name="connsiteX2749" fmla="*/ 3140877 w 4545947"/>
              <a:gd name="connsiteY2749" fmla="*/ 65909 h 4525940"/>
              <a:gd name="connsiteX2750" fmla="*/ 3146260 w 4545947"/>
              <a:gd name="connsiteY2750" fmla="*/ 46455 h 4525940"/>
              <a:gd name="connsiteX2751" fmla="*/ 3161969 w 4545947"/>
              <a:gd name="connsiteY2751" fmla="*/ 36900 h 4525940"/>
              <a:gd name="connsiteX2752" fmla="*/ 3176182 w 4545947"/>
              <a:gd name="connsiteY2752" fmla="*/ 31031 h 4525940"/>
              <a:gd name="connsiteX2753" fmla="*/ 3182801 w 4545947"/>
              <a:gd name="connsiteY2753" fmla="*/ 18369 h 4525940"/>
              <a:gd name="connsiteX2754" fmla="*/ 3197012 w 4545947"/>
              <a:gd name="connsiteY2754" fmla="*/ 5637 h 4525940"/>
              <a:gd name="connsiteX2755" fmla="*/ 3226906 w 4545947"/>
              <a:gd name="connsiteY2755" fmla="*/ 1812 h 4525940"/>
              <a:gd name="connsiteX2756" fmla="*/ 3353505 w 4545947"/>
              <a:gd name="connsiteY2756" fmla="*/ 1044 h 4525940"/>
              <a:gd name="connsiteX2757" fmla="*/ 3364731 w 4545947"/>
              <a:gd name="connsiteY2757" fmla="*/ 45612 h 4525940"/>
              <a:gd name="connsiteX2758" fmla="*/ 3360436 w 4545947"/>
              <a:gd name="connsiteY2758" fmla="*/ 99424 h 4525940"/>
              <a:gd name="connsiteX2759" fmla="*/ 3342412 w 4545947"/>
              <a:gd name="connsiteY2759" fmla="*/ 100670 h 4525940"/>
              <a:gd name="connsiteX2760" fmla="*/ 3329571 w 4545947"/>
              <a:gd name="connsiteY2760" fmla="*/ 94339 h 4525940"/>
              <a:gd name="connsiteX2761" fmla="*/ 3313988 w 4545947"/>
              <a:gd name="connsiteY2761" fmla="*/ 84843 h 4525940"/>
              <a:gd name="connsiteX2762" fmla="*/ 3300334 w 4545947"/>
              <a:gd name="connsiteY2762" fmla="*/ 75347 h 4525940"/>
              <a:gd name="connsiteX2763" fmla="*/ 3292124 w 4545947"/>
              <a:gd name="connsiteY2763" fmla="*/ 70517 h 4525940"/>
              <a:gd name="connsiteX2764" fmla="*/ 3282285 w 4545947"/>
              <a:gd name="connsiteY2764" fmla="*/ 59438 h 4525940"/>
              <a:gd name="connsiteX2765" fmla="*/ 3296497 w 4545947"/>
              <a:gd name="connsiteY2765" fmla="*/ 27663 h 4525940"/>
              <a:gd name="connsiteX2766" fmla="*/ 3337481 w 4545947"/>
              <a:gd name="connsiteY2766" fmla="*/ 10254 h 4525940"/>
              <a:gd name="connsiteX2767" fmla="*/ 3353505 w 4545947"/>
              <a:gd name="connsiteY2767" fmla="*/ 1044 h 452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Lst>
            <a:rect l="l" t="t" r="r" b="b"/>
            <a:pathLst>
              <a:path w="4545947" h="4525940">
                <a:moveTo>
                  <a:pt x="1260900" y="4513278"/>
                </a:moveTo>
                <a:cubicBezTo>
                  <a:pt x="1264507" y="4513278"/>
                  <a:pt x="1267459" y="4516127"/>
                  <a:pt x="1267459" y="4519609"/>
                </a:cubicBezTo>
                <a:cubicBezTo>
                  <a:pt x="1267459" y="4523091"/>
                  <a:pt x="1264507" y="4525940"/>
                  <a:pt x="1260900" y="4525940"/>
                </a:cubicBezTo>
                <a:cubicBezTo>
                  <a:pt x="1257292" y="4525940"/>
                  <a:pt x="1254340" y="4523091"/>
                  <a:pt x="1254340" y="4519609"/>
                </a:cubicBezTo>
                <a:cubicBezTo>
                  <a:pt x="1254340" y="4516127"/>
                  <a:pt x="1257292" y="4513278"/>
                  <a:pt x="1260900" y="4513278"/>
                </a:cubicBezTo>
                <a:close/>
                <a:moveTo>
                  <a:pt x="1096915" y="4392992"/>
                </a:moveTo>
                <a:cubicBezTo>
                  <a:pt x="1099320" y="4392992"/>
                  <a:pt x="1101288" y="4397265"/>
                  <a:pt x="1101288" y="4402488"/>
                </a:cubicBezTo>
                <a:cubicBezTo>
                  <a:pt x="1101288" y="4407711"/>
                  <a:pt x="1099320" y="4411984"/>
                  <a:pt x="1096915" y="4411984"/>
                </a:cubicBezTo>
                <a:cubicBezTo>
                  <a:pt x="1094510" y="4411984"/>
                  <a:pt x="1092542" y="4407711"/>
                  <a:pt x="1092542" y="4402488"/>
                </a:cubicBezTo>
                <a:cubicBezTo>
                  <a:pt x="1092542" y="4397265"/>
                  <a:pt x="1094510" y="4392992"/>
                  <a:pt x="1096915" y="4392992"/>
                </a:cubicBezTo>
                <a:close/>
                <a:moveTo>
                  <a:pt x="3812502" y="4386661"/>
                </a:moveTo>
                <a:cubicBezTo>
                  <a:pt x="3814907" y="4386661"/>
                  <a:pt x="3816875" y="4389509"/>
                  <a:pt x="3816875" y="4392992"/>
                </a:cubicBezTo>
                <a:cubicBezTo>
                  <a:pt x="3816875" y="4396474"/>
                  <a:pt x="3814907" y="4399322"/>
                  <a:pt x="3812502" y="4399322"/>
                </a:cubicBezTo>
                <a:cubicBezTo>
                  <a:pt x="3810096" y="4399322"/>
                  <a:pt x="3808129" y="4396474"/>
                  <a:pt x="3808129" y="4392992"/>
                </a:cubicBezTo>
                <a:cubicBezTo>
                  <a:pt x="3808129" y="4389509"/>
                  <a:pt x="3810096" y="4386661"/>
                  <a:pt x="3812502" y="4386661"/>
                </a:cubicBezTo>
                <a:close/>
                <a:moveTo>
                  <a:pt x="972287" y="4355006"/>
                </a:moveTo>
                <a:cubicBezTo>
                  <a:pt x="975894" y="4355006"/>
                  <a:pt x="978846" y="4359280"/>
                  <a:pt x="978846" y="4364503"/>
                </a:cubicBezTo>
                <a:cubicBezTo>
                  <a:pt x="978846" y="4369726"/>
                  <a:pt x="975894" y="4373999"/>
                  <a:pt x="972287" y="4373999"/>
                </a:cubicBezTo>
                <a:cubicBezTo>
                  <a:pt x="968679" y="4373999"/>
                  <a:pt x="965727" y="4369726"/>
                  <a:pt x="965727" y="4364503"/>
                </a:cubicBezTo>
                <a:cubicBezTo>
                  <a:pt x="965727" y="4359280"/>
                  <a:pt x="968679" y="4355006"/>
                  <a:pt x="972287" y="4355006"/>
                </a:cubicBezTo>
                <a:close/>
                <a:moveTo>
                  <a:pt x="3695599" y="4285367"/>
                </a:moveTo>
                <a:cubicBezTo>
                  <a:pt x="3699206" y="4285367"/>
                  <a:pt x="3703345" y="4291777"/>
                  <a:pt x="3704795" y="4299611"/>
                </a:cubicBezTo>
                <a:cubicBezTo>
                  <a:pt x="3708732" y="4320877"/>
                  <a:pt x="3708088" y="4355006"/>
                  <a:pt x="3703751" y="4355006"/>
                </a:cubicBezTo>
                <a:cubicBezTo>
                  <a:pt x="3701660" y="4355006"/>
                  <a:pt x="3698785" y="4345748"/>
                  <a:pt x="3697362" y="4334431"/>
                </a:cubicBezTo>
                <a:cubicBezTo>
                  <a:pt x="3695938" y="4323115"/>
                  <a:pt x="3693483" y="4307446"/>
                  <a:pt x="3691906" y="4299611"/>
                </a:cubicBezTo>
                <a:cubicBezTo>
                  <a:pt x="3689836" y="4289326"/>
                  <a:pt x="3690862" y="4285367"/>
                  <a:pt x="3695599" y="4285367"/>
                </a:cubicBezTo>
                <a:close/>
                <a:moveTo>
                  <a:pt x="3791489" y="4247982"/>
                </a:moveTo>
                <a:cubicBezTo>
                  <a:pt x="3793001" y="4248850"/>
                  <a:pt x="3795075" y="4251094"/>
                  <a:pt x="3797678" y="4254863"/>
                </a:cubicBezTo>
                <a:cubicBezTo>
                  <a:pt x="3801435" y="4260303"/>
                  <a:pt x="3803830" y="4271529"/>
                  <a:pt x="3802997" y="4279809"/>
                </a:cubicBezTo>
                <a:cubicBezTo>
                  <a:pt x="3801571" y="4293997"/>
                  <a:pt x="3801045" y="4293619"/>
                  <a:pt x="3793855" y="4273261"/>
                </a:cubicBezTo>
                <a:cubicBezTo>
                  <a:pt x="3787459" y="4255151"/>
                  <a:pt x="3786951" y="4245377"/>
                  <a:pt x="3791489" y="4247982"/>
                </a:cubicBezTo>
                <a:close/>
                <a:moveTo>
                  <a:pt x="932930" y="4222058"/>
                </a:moveTo>
                <a:cubicBezTo>
                  <a:pt x="936574" y="4222058"/>
                  <a:pt x="939490" y="4227686"/>
                  <a:pt x="939490" y="4234720"/>
                </a:cubicBezTo>
                <a:cubicBezTo>
                  <a:pt x="939490" y="4241755"/>
                  <a:pt x="936574" y="4247382"/>
                  <a:pt x="932930" y="4247382"/>
                </a:cubicBezTo>
                <a:cubicBezTo>
                  <a:pt x="929286" y="4247382"/>
                  <a:pt x="926371" y="4241755"/>
                  <a:pt x="926371" y="4234720"/>
                </a:cubicBezTo>
                <a:cubicBezTo>
                  <a:pt x="926371" y="4227686"/>
                  <a:pt x="929286" y="4222058"/>
                  <a:pt x="932930" y="4222058"/>
                </a:cubicBezTo>
                <a:close/>
                <a:moveTo>
                  <a:pt x="1267119" y="4212536"/>
                </a:moveTo>
                <a:cubicBezTo>
                  <a:pt x="1269822" y="4214417"/>
                  <a:pt x="1271832" y="4218021"/>
                  <a:pt x="1271832" y="4222432"/>
                </a:cubicBezTo>
                <a:cubicBezTo>
                  <a:pt x="1271832" y="4229793"/>
                  <a:pt x="1267145" y="4229913"/>
                  <a:pt x="1259340" y="4222753"/>
                </a:cubicBezTo>
                <a:cubicBezTo>
                  <a:pt x="1255204" y="4218958"/>
                  <a:pt x="1254872" y="4215999"/>
                  <a:pt x="1258247" y="4212980"/>
                </a:cubicBezTo>
                <a:cubicBezTo>
                  <a:pt x="1261020" y="4210498"/>
                  <a:pt x="1264416" y="4210656"/>
                  <a:pt x="1267119" y="4212536"/>
                </a:cubicBezTo>
                <a:close/>
                <a:moveTo>
                  <a:pt x="3606974" y="4158750"/>
                </a:moveTo>
                <a:cubicBezTo>
                  <a:pt x="3609380" y="4158750"/>
                  <a:pt x="3611347" y="4161598"/>
                  <a:pt x="3611347" y="4165081"/>
                </a:cubicBezTo>
                <a:cubicBezTo>
                  <a:pt x="3611347" y="4168563"/>
                  <a:pt x="3609380" y="4171411"/>
                  <a:pt x="3606974" y="4171411"/>
                </a:cubicBezTo>
                <a:cubicBezTo>
                  <a:pt x="3604569" y="4171411"/>
                  <a:pt x="3602601" y="4168563"/>
                  <a:pt x="3602601" y="4165081"/>
                </a:cubicBezTo>
                <a:cubicBezTo>
                  <a:pt x="3602601" y="4161598"/>
                  <a:pt x="3604569" y="4158750"/>
                  <a:pt x="3606974" y="4158750"/>
                </a:cubicBezTo>
                <a:close/>
                <a:moveTo>
                  <a:pt x="1253971" y="4155079"/>
                </a:moveTo>
                <a:cubicBezTo>
                  <a:pt x="1259633" y="4152817"/>
                  <a:pt x="1263086" y="4162087"/>
                  <a:pt x="1263086" y="4181282"/>
                </a:cubicBezTo>
                <a:cubicBezTo>
                  <a:pt x="1263086" y="4198429"/>
                  <a:pt x="1261325" y="4203066"/>
                  <a:pt x="1254814" y="4203066"/>
                </a:cubicBezTo>
                <a:cubicBezTo>
                  <a:pt x="1249602" y="4203066"/>
                  <a:pt x="1245511" y="4197115"/>
                  <a:pt x="1243753" y="4186974"/>
                </a:cubicBezTo>
                <a:cubicBezTo>
                  <a:pt x="1241934" y="4176485"/>
                  <a:pt x="1243280" y="4167526"/>
                  <a:pt x="1247618" y="4161246"/>
                </a:cubicBezTo>
                <a:cubicBezTo>
                  <a:pt x="1249951" y="4157869"/>
                  <a:pt x="1252084" y="4155834"/>
                  <a:pt x="1253971" y="4155079"/>
                </a:cubicBezTo>
                <a:close/>
                <a:moveTo>
                  <a:pt x="2452780" y="4146088"/>
                </a:moveTo>
                <a:cubicBezTo>
                  <a:pt x="2455043" y="4146088"/>
                  <a:pt x="2456895" y="4150361"/>
                  <a:pt x="2456895" y="4155585"/>
                </a:cubicBezTo>
                <a:cubicBezTo>
                  <a:pt x="2456895" y="4165375"/>
                  <a:pt x="2451735" y="4168162"/>
                  <a:pt x="2446810" y="4161032"/>
                </a:cubicBezTo>
                <a:cubicBezTo>
                  <a:pt x="2443317" y="4155974"/>
                  <a:pt x="2447266" y="4146088"/>
                  <a:pt x="2452780" y="4146088"/>
                </a:cubicBezTo>
                <a:close/>
                <a:moveTo>
                  <a:pt x="3700993" y="4127095"/>
                </a:moveTo>
                <a:cubicBezTo>
                  <a:pt x="3704599" y="4127095"/>
                  <a:pt x="3707552" y="4131369"/>
                  <a:pt x="3707552" y="4136592"/>
                </a:cubicBezTo>
                <a:cubicBezTo>
                  <a:pt x="3707552" y="4146478"/>
                  <a:pt x="3702380" y="4149152"/>
                  <a:pt x="3697347" y="4141867"/>
                </a:cubicBezTo>
                <a:cubicBezTo>
                  <a:pt x="3692316" y="4134583"/>
                  <a:pt x="3694164" y="4127095"/>
                  <a:pt x="3700993" y="4127095"/>
                </a:cubicBezTo>
                <a:close/>
                <a:moveTo>
                  <a:pt x="879089" y="4115046"/>
                </a:moveTo>
                <a:cubicBezTo>
                  <a:pt x="881735" y="4116220"/>
                  <a:pt x="884499" y="4120291"/>
                  <a:pt x="887014" y="4127095"/>
                </a:cubicBezTo>
                <a:cubicBezTo>
                  <a:pt x="892157" y="4141008"/>
                  <a:pt x="888963" y="4142857"/>
                  <a:pt x="877084" y="4132845"/>
                </a:cubicBezTo>
                <a:cubicBezTo>
                  <a:pt x="872824" y="4129255"/>
                  <a:pt x="870480" y="4123644"/>
                  <a:pt x="871875" y="4120376"/>
                </a:cubicBezTo>
                <a:cubicBezTo>
                  <a:pt x="873917" y="4115594"/>
                  <a:pt x="876444" y="4113872"/>
                  <a:pt x="879089" y="4115046"/>
                </a:cubicBezTo>
                <a:close/>
                <a:moveTo>
                  <a:pt x="1862177" y="4108103"/>
                </a:moveTo>
                <a:cubicBezTo>
                  <a:pt x="1864582" y="4108103"/>
                  <a:pt x="1866550" y="4110952"/>
                  <a:pt x="1866550" y="4114434"/>
                </a:cubicBezTo>
                <a:cubicBezTo>
                  <a:pt x="1866550" y="4117916"/>
                  <a:pt x="1864582" y="4120765"/>
                  <a:pt x="1862177" y="4120765"/>
                </a:cubicBezTo>
                <a:cubicBezTo>
                  <a:pt x="1859772" y="4120765"/>
                  <a:pt x="1857804" y="4117916"/>
                  <a:pt x="1857804" y="4114434"/>
                </a:cubicBezTo>
                <a:cubicBezTo>
                  <a:pt x="1857804" y="4110952"/>
                  <a:pt x="1859772" y="4108103"/>
                  <a:pt x="1862177" y="4108103"/>
                </a:cubicBezTo>
                <a:close/>
                <a:moveTo>
                  <a:pt x="1183790" y="4089207"/>
                </a:moveTo>
                <a:cubicBezTo>
                  <a:pt x="1175343" y="4089092"/>
                  <a:pt x="1170409" y="4117009"/>
                  <a:pt x="1177152" y="4126770"/>
                </a:cubicBezTo>
                <a:cubicBezTo>
                  <a:pt x="1183404" y="4135821"/>
                  <a:pt x="1183458" y="4135681"/>
                  <a:pt x="1180982" y="4116926"/>
                </a:cubicBezTo>
                <a:cubicBezTo>
                  <a:pt x="1179645" y="4106797"/>
                  <a:pt x="1181145" y="4098278"/>
                  <a:pt x="1184868" y="4094865"/>
                </a:cubicBezTo>
                <a:cubicBezTo>
                  <a:pt x="1189788" y="4090354"/>
                  <a:pt x="1189585" y="4089286"/>
                  <a:pt x="1183790" y="4089207"/>
                </a:cubicBezTo>
                <a:close/>
                <a:moveTo>
                  <a:pt x="1852771" y="4080379"/>
                </a:moveTo>
                <a:cubicBezTo>
                  <a:pt x="1854627" y="4078346"/>
                  <a:pt x="1857361" y="4077918"/>
                  <a:pt x="1859380" y="4080841"/>
                </a:cubicBezTo>
                <a:cubicBezTo>
                  <a:pt x="1863538" y="4086860"/>
                  <a:pt x="1862763" y="4095441"/>
                  <a:pt x="1858062" y="4095441"/>
                </a:cubicBezTo>
                <a:cubicBezTo>
                  <a:pt x="1855799" y="4095441"/>
                  <a:pt x="1852815" y="4092789"/>
                  <a:pt x="1851431" y="4089548"/>
                </a:cubicBezTo>
                <a:cubicBezTo>
                  <a:pt x="1849938" y="4086050"/>
                  <a:pt x="1850915" y="4082412"/>
                  <a:pt x="1852771" y="4080379"/>
                </a:cubicBezTo>
                <a:close/>
                <a:moveTo>
                  <a:pt x="3747913" y="4076860"/>
                </a:moveTo>
                <a:cubicBezTo>
                  <a:pt x="3751091" y="4076093"/>
                  <a:pt x="3755245" y="4078390"/>
                  <a:pt x="3759152" y="4084046"/>
                </a:cubicBezTo>
                <a:cubicBezTo>
                  <a:pt x="3766966" y="4095357"/>
                  <a:pt x="3765498" y="4108103"/>
                  <a:pt x="3756383" y="4108103"/>
                </a:cubicBezTo>
                <a:cubicBezTo>
                  <a:pt x="3751974" y="4108103"/>
                  <a:pt x="3747053" y="4106204"/>
                  <a:pt x="3745450" y="4103882"/>
                </a:cubicBezTo>
                <a:cubicBezTo>
                  <a:pt x="3743846" y="4101561"/>
                  <a:pt x="3742535" y="4094439"/>
                  <a:pt x="3742535" y="4088055"/>
                </a:cubicBezTo>
                <a:cubicBezTo>
                  <a:pt x="3742535" y="4081457"/>
                  <a:pt x="3744736" y="4077627"/>
                  <a:pt x="3747913" y="4076860"/>
                </a:cubicBezTo>
                <a:close/>
                <a:moveTo>
                  <a:pt x="1114457" y="4072746"/>
                </a:moveTo>
                <a:cubicBezTo>
                  <a:pt x="1107329" y="4073494"/>
                  <a:pt x="1103523" y="4090906"/>
                  <a:pt x="1107340" y="4105307"/>
                </a:cubicBezTo>
                <a:cubicBezTo>
                  <a:pt x="1108671" y="4110327"/>
                  <a:pt x="1113265" y="4114103"/>
                  <a:pt x="1117549" y="4113700"/>
                </a:cubicBezTo>
                <a:cubicBezTo>
                  <a:pt x="1124850" y="4113011"/>
                  <a:pt x="1124858" y="4112783"/>
                  <a:pt x="1117687" y="4110070"/>
                </a:cubicBezTo>
                <a:cubicBezTo>
                  <a:pt x="1108839" y="4106722"/>
                  <a:pt x="1107112" y="4078797"/>
                  <a:pt x="1115500" y="4074720"/>
                </a:cubicBezTo>
                <a:cubicBezTo>
                  <a:pt x="1118694" y="4073168"/>
                  <a:pt x="1118261" y="4072348"/>
                  <a:pt x="1114457" y="4072746"/>
                </a:cubicBezTo>
                <a:close/>
                <a:moveTo>
                  <a:pt x="2356317" y="4044794"/>
                </a:moveTo>
                <a:cubicBezTo>
                  <a:pt x="2358723" y="4044794"/>
                  <a:pt x="2360690" y="4047476"/>
                  <a:pt x="2360690" y="4050752"/>
                </a:cubicBezTo>
                <a:cubicBezTo>
                  <a:pt x="2360690" y="4054028"/>
                  <a:pt x="2358723" y="4058470"/>
                  <a:pt x="2356317" y="4060622"/>
                </a:cubicBezTo>
                <a:cubicBezTo>
                  <a:pt x="2353912" y="4062773"/>
                  <a:pt x="2351944" y="4060093"/>
                  <a:pt x="2351944" y="4054664"/>
                </a:cubicBezTo>
                <a:cubicBezTo>
                  <a:pt x="2351944" y="4049236"/>
                  <a:pt x="2353912" y="4044794"/>
                  <a:pt x="2356317" y="4044794"/>
                </a:cubicBezTo>
                <a:close/>
                <a:moveTo>
                  <a:pt x="1890281" y="4038463"/>
                </a:moveTo>
                <a:cubicBezTo>
                  <a:pt x="1893712" y="4038463"/>
                  <a:pt x="1899465" y="4047010"/>
                  <a:pt x="1903064" y="4057456"/>
                </a:cubicBezTo>
                <a:cubicBezTo>
                  <a:pt x="1906663" y="4067902"/>
                  <a:pt x="1909267" y="4076188"/>
                  <a:pt x="1908851" y="4075870"/>
                </a:cubicBezTo>
                <a:cubicBezTo>
                  <a:pt x="1908434" y="4075551"/>
                  <a:pt x="1902684" y="4070566"/>
                  <a:pt x="1896075" y="4064790"/>
                </a:cubicBezTo>
                <a:cubicBezTo>
                  <a:pt x="1883267" y="4053600"/>
                  <a:pt x="1879935" y="4038463"/>
                  <a:pt x="1890281" y="4038463"/>
                </a:cubicBezTo>
                <a:close/>
                <a:moveTo>
                  <a:pt x="1534930" y="4031057"/>
                </a:moveTo>
                <a:cubicBezTo>
                  <a:pt x="1536432" y="4029521"/>
                  <a:pt x="1540659" y="4030428"/>
                  <a:pt x="1547326" y="4034071"/>
                </a:cubicBezTo>
                <a:cubicBezTo>
                  <a:pt x="1559255" y="4040589"/>
                  <a:pt x="1565914" y="4057456"/>
                  <a:pt x="1556559" y="4057456"/>
                </a:cubicBezTo>
                <a:cubicBezTo>
                  <a:pt x="1552555" y="4057456"/>
                  <a:pt x="1552177" y="4077140"/>
                  <a:pt x="1556072" y="4082779"/>
                </a:cubicBezTo>
                <a:cubicBezTo>
                  <a:pt x="1561052" y="4089989"/>
                  <a:pt x="1569191" y="4114864"/>
                  <a:pt x="1569191" y="4122875"/>
                </a:cubicBezTo>
                <a:cubicBezTo>
                  <a:pt x="1569191" y="4127613"/>
                  <a:pt x="1573127" y="4138058"/>
                  <a:pt x="1577937" y="4146088"/>
                </a:cubicBezTo>
                <a:cubicBezTo>
                  <a:pt x="1582747" y="4154118"/>
                  <a:pt x="1586682" y="4164220"/>
                  <a:pt x="1586682" y="4168537"/>
                </a:cubicBezTo>
                <a:cubicBezTo>
                  <a:pt x="1586682" y="4172854"/>
                  <a:pt x="1589634" y="4178027"/>
                  <a:pt x="1593242" y="4180031"/>
                </a:cubicBezTo>
                <a:cubicBezTo>
                  <a:pt x="1599854" y="4183704"/>
                  <a:pt x="1602616" y="4203087"/>
                  <a:pt x="1596521" y="4203041"/>
                </a:cubicBezTo>
                <a:cubicBezTo>
                  <a:pt x="1594718" y="4203028"/>
                  <a:pt x="1578872" y="4182372"/>
                  <a:pt x="1561308" y="4157141"/>
                </a:cubicBezTo>
                <a:cubicBezTo>
                  <a:pt x="1530023" y="4112198"/>
                  <a:pt x="1521290" y="4097058"/>
                  <a:pt x="1521156" y="4087528"/>
                </a:cubicBezTo>
                <a:cubicBezTo>
                  <a:pt x="1521043" y="4079517"/>
                  <a:pt x="1533360" y="4082270"/>
                  <a:pt x="1535320" y="4090693"/>
                </a:cubicBezTo>
                <a:cubicBezTo>
                  <a:pt x="1536333" y="4095046"/>
                  <a:pt x="1538601" y="4087552"/>
                  <a:pt x="1540362" y="4074041"/>
                </a:cubicBezTo>
                <a:cubicBezTo>
                  <a:pt x="1542343" y="4058838"/>
                  <a:pt x="1541780" y="4046895"/>
                  <a:pt x="1538885" y="4042703"/>
                </a:cubicBezTo>
                <a:cubicBezTo>
                  <a:pt x="1534651" y="4036573"/>
                  <a:pt x="1533428" y="4032593"/>
                  <a:pt x="1534930" y="4031057"/>
                </a:cubicBezTo>
                <a:close/>
                <a:moveTo>
                  <a:pt x="843613" y="4027015"/>
                </a:moveTo>
                <a:cubicBezTo>
                  <a:pt x="846199" y="4028263"/>
                  <a:pt x="848314" y="4031990"/>
                  <a:pt x="848314" y="4035298"/>
                </a:cubicBezTo>
                <a:cubicBezTo>
                  <a:pt x="848314" y="4038606"/>
                  <a:pt x="846199" y="4042333"/>
                  <a:pt x="843613" y="4043581"/>
                </a:cubicBezTo>
                <a:cubicBezTo>
                  <a:pt x="841028" y="4044829"/>
                  <a:pt x="838912" y="4041101"/>
                  <a:pt x="838912" y="4035298"/>
                </a:cubicBezTo>
                <a:cubicBezTo>
                  <a:pt x="838912" y="4029495"/>
                  <a:pt x="841028" y="4025767"/>
                  <a:pt x="843613" y="4027015"/>
                </a:cubicBezTo>
                <a:close/>
                <a:moveTo>
                  <a:pt x="2342527" y="4008437"/>
                </a:moveTo>
                <a:cubicBezTo>
                  <a:pt x="2345218" y="4007880"/>
                  <a:pt x="2347571" y="4010188"/>
                  <a:pt x="2347571" y="4015778"/>
                </a:cubicBezTo>
                <a:cubicBezTo>
                  <a:pt x="2347571" y="4021291"/>
                  <a:pt x="2344456" y="4025802"/>
                  <a:pt x="2340648" y="4025802"/>
                </a:cubicBezTo>
                <a:cubicBezTo>
                  <a:pt x="2336840" y="4025802"/>
                  <a:pt x="2334503" y="4022419"/>
                  <a:pt x="2335455" y="4018284"/>
                </a:cubicBezTo>
                <a:cubicBezTo>
                  <a:pt x="2336806" y="4012415"/>
                  <a:pt x="2339835" y="4008993"/>
                  <a:pt x="2342527" y="4008437"/>
                </a:cubicBezTo>
                <a:close/>
                <a:moveTo>
                  <a:pt x="3724941" y="4000570"/>
                </a:moveTo>
                <a:cubicBezTo>
                  <a:pt x="3731163" y="3995002"/>
                  <a:pt x="3742535" y="4006925"/>
                  <a:pt x="3742535" y="4019019"/>
                </a:cubicBezTo>
                <a:cubicBezTo>
                  <a:pt x="3742535" y="4029203"/>
                  <a:pt x="3731275" y="4027178"/>
                  <a:pt x="3724767" y="4015823"/>
                </a:cubicBezTo>
                <a:cubicBezTo>
                  <a:pt x="3720044" y="4007587"/>
                  <a:pt x="3720075" y="4004924"/>
                  <a:pt x="3724941" y="4000570"/>
                </a:cubicBezTo>
                <a:close/>
                <a:moveTo>
                  <a:pt x="1367217" y="3939176"/>
                </a:moveTo>
                <a:lnTo>
                  <a:pt x="1375598" y="3939675"/>
                </a:lnTo>
                <a:cubicBezTo>
                  <a:pt x="1377051" y="3941779"/>
                  <a:pt x="1374468" y="3943275"/>
                  <a:pt x="1369858" y="3943001"/>
                </a:cubicBezTo>
                <a:close/>
                <a:moveTo>
                  <a:pt x="1367216" y="3939176"/>
                </a:moveTo>
                <a:lnTo>
                  <a:pt x="1367217" y="3939176"/>
                </a:lnTo>
                <a:lnTo>
                  <a:pt x="1367216" y="3939176"/>
                </a:lnTo>
                <a:close/>
                <a:moveTo>
                  <a:pt x="2495323" y="3937371"/>
                </a:moveTo>
                <a:cubicBezTo>
                  <a:pt x="2497036" y="3937482"/>
                  <a:pt x="2501881" y="3941357"/>
                  <a:pt x="2506090" y="3945983"/>
                </a:cubicBezTo>
                <a:cubicBezTo>
                  <a:pt x="2514499" y="3955224"/>
                  <a:pt x="2516657" y="3987817"/>
                  <a:pt x="2508860" y="3987817"/>
                </a:cubicBezTo>
                <a:cubicBezTo>
                  <a:pt x="2506010" y="3987817"/>
                  <a:pt x="2504847" y="3994405"/>
                  <a:pt x="2506067" y="4003644"/>
                </a:cubicBezTo>
                <a:cubicBezTo>
                  <a:pt x="2508040" y="4018586"/>
                  <a:pt x="2499797" y="4026668"/>
                  <a:pt x="2494768" y="4014723"/>
                </a:cubicBezTo>
                <a:cubicBezTo>
                  <a:pt x="2491463" y="4006872"/>
                  <a:pt x="2491962" y="3937154"/>
                  <a:pt x="2495323" y="3937371"/>
                </a:cubicBezTo>
                <a:close/>
                <a:moveTo>
                  <a:pt x="3895920" y="3935463"/>
                </a:moveTo>
                <a:cubicBezTo>
                  <a:pt x="3898485" y="3936562"/>
                  <a:pt x="3899960" y="3944742"/>
                  <a:pt x="3899960" y="3959837"/>
                </a:cubicBezTo>
                <a:cubicBezTo>
                  <a:pt x="3899960" y="3977338"/>
                  <a:pt x="3902268" y="3983280"/>
                  <a:pt x="3911406" y="3989307"/>
                </a:cubicBezTo>
                <a:cubicBezTo>
                  <a:pt x="3921443" y="3995928"/>
                  <a:pt x="3923817" y="3995132"/>
                  <a:pt x="3930692" y="3982841"/>
                </a:cubicBezTo>
                <a:cubicBezTo>
                  <a:pt x="3940937" y="3964524"/>
                  <a:pt x="3946474" y="3965129"/>
                  <a:pt x="3949909" y="3984943"/>
                </a:cubicBezTo>
                <a:cubicBezTo>
                  <a:pt x="3953443" y="4005328"/>
                  <a:pt x="3949552" y="4014678"/>
                  <a:pt x="3939464" y="4010043"/>
                </a:cubicBezTo>
                <a:cubicBezTo>
                  <a:pt x="3933373" y="4007244"/>
                  <a:pt x="3931188" y="4010501"/>
                  <a:pt x="3929769" y="4024499"/>
                </a:cubicBezTo>
                <a:cubicBezTo>
                  <a:pt x="3928763" y="4034436"/>
                  <a:pt x="3930371" y="4045858"/>
                  <a:pt x="3933346" y="4049881"/>
                </a:cubicBezTo>
                <a:cubicBezTo>
                  <a:pt x="3940204" y="4059157"/>
                  <a:pt x="3946041" y="4113587"/>
                  <a:pt x="3940956" y="4120846"/>
                </a:cubicBezTo>
                <a:cubicBezTo>
                  <a:pt x="3938809" y="4123909"/>
                  <a:pt x="3933770" y="4123562"/>
                  <a:pt x="3929478" y="4120056"/>
                </a:cubicBezTo>
                <a:cubicBezTo>
                  <a:pt x="3924007" y="4115587"/>
                  <a:pt x="3921825" y="4105879"/>
                  <a:pt x="3921825" y="4086004"/>
                </a:cubicBezTo>
                <a:cubicBezTo>
                  <a:pt x="3921825" y="4070714"/>
                  <a:pt x="3919827" y="4056416"/>
                  <a:pt x="3917386" y="4054232"/>
                </a:cubicBezTo>
                <a:cubicBezTo>
                  <a:pt x="3914944" y="4052047"/>
                  <a:pt x="3910125" y="4040483"/>
                  <a:pt x="3906676" y="4028534"/>
                </a:cubicBezTo>
                <a:cubicBezTo>
                  <a:pt x="3902585" y="4014359"/>
                  <a:pt x="3897455" y="4006809"/>
                  <a:pt x="3891911" y="4006809"/>
                </a:cubicBezTo>
                <a:cubicBezTo>
                  <a:pt x="3879691" y="4006809"/>
                  <a:pt x="3876455" y="3980566"/>
                  <a:pt x="3885345" y="3953575"/>
                </a:cubicBezTo>
                <a:cubicBezTo>
                  <a:pt x="3889702" y="3940346"/>
                  <a:pt x="3893356" y="3934364"/>
                  <a:pt x="3895920" y="3935463"/>
                </a:cubicBezTo>
                <a:close/>
                <a:moveTo>
                  <a:pt x="2337188" y="3930839"/>
                </a:moveTo>
                <a:cubicBezTo>
                  <a:pt x="2341763" y="3930839"/>
                  <a:pt x="2343356" y="3936017"/>
                  <a:pt x="2342396" y="3947761"/>
                </a:cubicBezTo>
                <a:cubicBezTo>
                  <a:pt x="2340687" y="3968659"/>
                  <a:pt x="2331821" y="3974077"/>
                  <a:pt x="2327982" y="3956568"/>
                </a:cubicBezTo>
                <a:cubicBezTo>
                  <a:pt x="2324570" y="3941003"/>
                  <a:pt x="2328207" y="3930839"/>
                  <a:pt x="2337188" y="3930839"/>
                </a:cubicBezTo>
                <a:close/>
                <a:moveTo>
                  <a:pt x="2224989" y="3912997"/>
                </a:moveTo>
                <a:cubicBezTo>
                  <a:pt x="2226643" y="3913005"/>
                  <a:pt x="2228411" y="3914065"/>
                  <a:pt x="2230083" y="3916486"/>
                </a:cubicBezTo>
                <a:cubicBezTo>
                  <a:pt x="2235437" y="3924236"/>
                  <a:pt x="2232336" y="3943501"/>
                  <a:pt x="2225735" y="3943501"/>
                </a:cubicBezTo>
                <a:cubicBezTo>
                  <a:pt x="2223512" y="3943501"/>
                  <a:pt x="2220433" y="3938751"/>
                  <a:pt x="2218895" y="3932946"/>
                </a:cubicBezTo>
                <a:cubicBezTo>
                  <a:pt x="2216102" y="3922410"/>
                  <a:pt x="2220029" y="3912972"/>
                  <a:pt x="2224989" y="3912997"/>
                </a:cubicBezTo>
                <a:close/>
                <a:moveTo>
                  <a:pt x="1388112" y="3908577"/>
                </a:moveTo>
                <a:cubicBezTo>
                  <a:pt x="1385822" y="3908943"/>
                  <a:pt x="1383840" y="3911987"/>
                  <a:pt x="1380454" y="3917982"/>
                </a:cubicBezTo>
                <a:cubicBezTo>
                  <a:pt x="1372652" y="3931799"/>
                  <a:pt x="1363663" y="3935077"/>
                  <a:pt x="1363663" y="3924107"/>
                </a:cubicBezTo>
                <a:cubicBezTo>
                  <a:pt x="1363663" y="3920325"/>
                  <a:pt x="1357435" y="3918244"/>
                  <a:pt x="1349452" y="3919359"/>
                </a:cubicBezTo>
                <a:cubicBezTo>
                  <a:pt x="1337649" y="3921007"/>
                  <a:pt x="1335239" y="3923978"/>
                  <a:pt x="1335239" y="3936885"/>
                </a:cubicBezTo>
                <a:cubicBezTo>
                  <a:pt x="1335239" y="3948254"/>
                  <a:pt x="1338174" y="3953421"/>
                  <a:pt x="1346172" y="3956132"/>
                </a:cubicBezTo>
                <a:cubicBezTo>
                  <a:pt x="1354295" y="3958885"/>
                  <a:pt x="1358141" y="3965852"/>
                  <a:pt x="1361141" y="3983244"/>
                </a:cubicBezTo>
                <a:cubicBezTo>
                  <a:pt x="1366324" y="4013290"/>
                  <a:pt x="1379378" y="4020675"/>
                  <a:pt x="1390289" y="3999733"/>
                </a:cubicBezTo>
                <a:cubicBezTo>
                  <a:pt x="1399821" y="3981439"/>
                  <a:pt x="1405230" y="3987414"/>
                  <a:pt x="1400728" y="4011262"/>
                </a:cubicBezTo>
                <a:cubicBezTo>
                  <a:pt x="1394690" y="4043248"/>
                  <a:pt x="1398307" y="4072265"/>
                  <a:pt x="1410270" y="4087809"/>
                </a:cubicBezTo>
                <a:cubicBezTo>
                  <a:pt x="1420615" y="4101248"/>
                  <a:pt x="1421855" y="4101531"/>
                  <a:pt x="1426873" y="4091597"/>
                </a:cubicBezTo>
                <a:cubicBezTo>
                  <a:pt x="1430678" y="4084064"/>
                  <a:pt x="1433223" y="4083036"/>
                  <a:pt x="1435407" y="4088151"/>
                </a:cubicBezTo>
                <a:cubicBezTo>
                  <a:pt x="1439959" y="4098813"/>
                  <a:pt x="1455342" y="4097052"/>
                  <a:pt x="1458399" y="4085520"/>
                </a:cubicBezTo>
                <a:cubicBezTo>
                  <a:pt x="1459846" y="4080062"/>
                  <a:pt x="1458800" y="4072370"/>
                  <a:pt x="1456075" y="4068426"/>
                </a:cubicBezTo>
                <a:cubicBezTo>
                  <a:pt x="1453351" y="4064481"/>
                  <a:pt x="1451122" y="4056099"/>
                  <a:pt x="1451122" y="4049797"/>
                </a:cubicBezTo>
                <a:cubicBezTo>
                  <a:pt x="1451122" y="4043496"/>
                  <a:pt x="1447186" y="4033461"/>
                  <a:pt x="1442376" y="4027499"/>
                </a:cubicBezTo>
                <a:cubicBezTo>
                  <a:pt x="1437566" y="4021535"/>
                  <a:pt x="1433630" y="4012989"/>
                  <a:pt x="1433630" y="4008506"/>
                </a:cubicBezTo>
                <a:cubicBezTo>
                  <a:pt x="1433630" y="4004022"/>
                  <a:pt x="1429795" y="3995601"/>
                  <a:pt x="1425108" y="3989791"/>
                </a:cubicBezTo>
                <a:cubicBezTo>
                  <a:pt x="1420421" y="3983981"/>
                  <a:pt x="1417456" y="3977189"/>
                  <a:pt x="1418520" y="3974698"/>
                </a:cubicBezTo>
                <a:cubicBezTo>
                  <a:pt x="1422053" y="3966421"/>
                  <a:pt x="1407671" y="3925510"/>
                  <a:pt x="1397617" y="3915240"/>
                </a:cubicBezTo>
                <a:cubicBezTo>
                  <a:pt x="1392999" y="3910523"/>
                  <a:pt x="1390401" y="3908211"/>
                  <a:pt x="1388112" y="3908577"/>
                </a:cubicBezTo>
                <a:close/>
                <a:moveTo>
                  <a:pt x="523559" y="3899185"/>
                </a:moveTo>
                <a:cubicBezTo>
                  <a:pt x="532732" y="3899185"/>
                  <a:pt x="547770" y="3927730"/>
                  <a:pt x="543663" y="3937349"/>
                </a:cubicBezTo>
                <a:cubicBezTo>
                  <a:pt x="539177" y="3947859"/>
                  <a:pt x="529159" y="3944115"/>
                  <a:pt x="526248" y="3930839"/>
                </a:cubicBezTo>
                <a:cubicBezTo>
                  <a:pt x="524721" y="3923875"/>
                  <a:pt x="521637" y="3918177"/>
                  <a:pt x="519394" y="3918177"/>
                </a:cubicBezTo>
                <a:cubicBezTo>
                  <a:pt x="517151" y="3918177"/>
                  <a:pt x="515316" y="3913904"/>
                  <a:pt x="515316" y="3908681"/>
                </a:cubicBezTo>
                <a:cubicBezTo>
                  <a:pt x="515316" y="3903458"/>
                  <a:pt x="519025" y="3899185"/>
                  <a:pt x="523559" y="3899185"/>
                </a:cubicBezTo>
                <a:close/>
                <a:moveTo>
                  <a:pt x="4105488" y="3892854"/>
                </a:moveTo>
                <a:cubicBezTo>
                  <a:pt x="4107893" y="3892854"/>
                  <a:pt x="4109861" y="3895702"/>
                  <a:pt x="4109861" y="3899185"/>
                </a:cubicBezTo>
                <a:cubicBezTo>
                  <a:pt x="4109861" y="3902667"/>
                  <a:pt x="4107893" y="3905515"/>
                  <a:pt x="4105488" y="3905515"/>
                </a:cubicBezTo>
                <a:cubicBezTo>
                  <a:pt x="4103082" y="3905515"/>
                  <a:pt x="4101115" y="3902667"/>
                  <a:pt x="4101115" y="3899185"/>
                </a:cubicBezTo>
                <a:cubicBezTo>
                  <a:pt x="4101115" y="3895702"/>
                  <a:pt x="4103082" y="3892854"/>
                  <a:pt x="4105488" y="3892854"/>
                </a:cubicBezTo>
                <a:close/>
                <a:moveTo>
                  <a:pt x="2909492" y="3892854"/>
                </a:moveTo>
                <a:cubicBezTo>
                  <a:pt x="2913574" y="3892854"/>
                  <a:pt x="2916052" y="3898833"/>
                  <a:pt x="2916052" y="3908681"/>
                </a:cubicBezTo>
                <a:cubicBezTo>
                  <a:pt x="2916052" y="3918529"/>
                  <a:pt x="2913574" y="3924508"/>
                  <a:pt x="2909492" y="3924508"/>
                </a:cubicBezTo>
                <a:cubicBezTo>
                  <a:pt x="2905412" y="3924508"/>
                  <a:pt x="2902933" y="3918529"/>
                  <a:pt x="2902933" y="3908681"/>
                </a:cubicBezTo>
                <a:cubicBezTo>
                  <a:pt x="2902933" y="3898833"/>
                  <a:pt x="2905412" y="3892854"/>
                  <a:pt x="2909492" y="3892854"/>
                </a:cubicBezTo>
                <a:close/>
                <a:moveTo>
                  <a:pt x="2655863" y="3892854"/>
                </a:moveTo>
                <a:cubicBezTo>
                  <a:pt x="2659470" y="3892854"/>
                  <a:pt x="2662423" y="3895535"/>
                  <a:pt x="2662423" y="3898811"/>
                </a:cubicBezTo>
                <a:cubicBezTo>
                  <a:pt x="2662423" y="3906794"/>
                  <a:pt x="2655593" y="3912512"/>
                  <a:pt x="2652101" y="3907454"/>
                </a:cubicBezTo>
                <a:cubicBezTo>
                  <a:pt x="2647175" y="3900324"/>
                  <a:pt x="2649101" y="3892854"/>
                  <a:pt x="2655863" y="3892854"/>
                </a:cubicBezTo>
                <a:close/>
                <a:moveTo>
                  <a:pt x="2015126" y="3890471"/>
                </a:moveTo>
                <a:cubicBezTo>
                  <a:pt x="2018179" y="3886051"/>
                  <a:pt x="2021270" y="3886407"/>
                  <a:pt x="2024850" y="3891588"/>
                </a:cubicBezTo>
                <a:cubicBezTo>
                  <a:pt x="2027736" y="3895766"/>
                  <a:pt x="2035607" y="3899185"/>
                  <a:pt x="2042341" y="3899185"/>
                </a:cubicBezTo>
                <a:cubicBezTo>
                  <a:pt x="2050646" y="3899185"/>
                  <a:pt x="2054585" y="3902441"/>
                  <a:pt x="2054585" y="3909307"/>
                </a:cubicBezTo>
                <a:cubicBezTo>
                  <a:pt x="2054585" y="3919304"/>
                  <a:pt x="2067171" y="3962689"/>
                  <a:pt x="2071849" y="3968824"/>
                </a:cubicBezTo>
                <a:cubicBezTo>
                  <a:pt x="2075939" y="3974186"/>
                  <a:pt x="2084746" y="3996282"/>
                  <a:pt x="2091632" y="4018461"/>
                </a:cubicBezTo>
                <a:cubicBezTo>
                  <a:pt x="2096420" y="4033881"/>
                  <a:pt x="2096979" y="4042908"/>
                  <a:pt x="2093696" y="4051792"/>
                </a:cubicBezTo>
                <a:cubicBezTo>
                  <a:pt x="2090178" y="4061308"/>
                  <a:pt x="2090784" y="4064859"/>
                  <a:pt x="2096463" y="4068015"/>
                </a:cubicBezTo>
                <a:cubicBezTo>
                  <a:pt x="2102527" y="4071383"/>
                  <a:pt x="2103267" y="4077823"/>
                  <a:pt x="2100916" y="4106782"/>
                </a:cubicBezTo>
                <a:cubicBezTo>
                  <a:pt x="2098452" y="4137132"/>
                  <a:pt x="2099212" y="4142640"/>
                  <a:pt x="2106951" y="4150489"/>
                </a:cubicBezTo>
                <a:cubicBezTo>
                  <a:pt x="2111822" y="4155427"/>
                  <a:pt x="2115806" y="4164434"/>
                  <a:pt x="2115806" y="4170504"/>
                </a:cubicBezTo>
                <a:cubicBezTo>
                  <a:pt x="2115806" y="4176574"/>
                  <a:pt x="2118021" y="4184746"/>
                  <a:pt x="2120728" y="4188665"/>
                </a:cubicBezTo>
                <a:cubicBezTo>
                  <a:pt x="2125881" y="4196127"/>
                  <a:pt x="2122376" y="4241389"/>
                  <a:pt x="2116702" y="4240650"/>
                </a:cubicBezTo>
                <a:cubicBezTo>
                  <a:pt x="2115007" y="4240429"/>
                  <a:pt x="2109193" y="4237672"/>
                  <a:pt x="2103781" y="4234523"/>
                </a:cubicBezTo>
                <a:lnTo>
                  <a:pt x="2103781" y="4234523"/>
                </a:lnTo>
                <a:cubicBezTo>
                  <a:pt x="2098369" y="4231374"/>
                  <a:pt x="2093605" y="4223720"/>
                  <a:pt x="2093194" y="4217514"/>
                </a:cubicBezTo>
                <a:cubicBezTo>
                  <a:pt x="2092783" y="4211309"/>
                  <a:pt x="2092225" y="4201681"/>
                  <a:pt x="2091953" y="4196119"/>
                </a:cubicBezTo>
                <a:cubicBezTo>
                  <a:pt x="2091475" y="4186310"/>
                  <a:pt x="2071274" y="4155196"/>
                  <a:pt x="2062695" y="4151056"/>
                </a:cubicBezTo>
                <a:cubicBezTo>
                  <a:pt x="2060057" y="4149784"/>
                  <a:pt x="2060504" y="4137905"/>
                  <a:pt x="2063875" y="4119655"/>
                </a:cubicBezTo>
                <a:cubicBezTo>
                  <a:pt x="2068214" y="4096172"/>
                  <a:pt x="2068187" y="4082900"/>
                  <a:pt x="2063743" y="4053303"/>
                </a:cubicBezTo>
                <a:cubicBezTo>
                  <a:pt x="2060687" y="4032954"/>
                  <a:pt x="2056643" y="4011938"/>
                  <a:pt x="2054756" y="4006601"/>
                </a:cubicBezTo>
                <a:cubicBezTo>
                  <a:pt x="2052869" y="4001264"/>
                  <a:pt x="2049979" y="3988027"/>
                  <a:pt x="2048334" y="3977186"/>
                </a:cubicBezTo>
                <a:cubicBezTo>
                  <a:pt x="2046690" y="3966345"/>
                  <a:pt x="2041520" y="3952465"/>
                  <a:pt x="2036846" y="3946341"/>
                </a:cubicBezTo>
                <a:cubicBezTo>
                  <a:pt x="2032172" y="3940218"/>
                  <a:pt x="2028348" y="3931817"/>
                  <a:pt x="2028348" y="3927674"/>
                </a:cubicBezTo>
                <a:cubicBezTo>
                  <a:pt x="2028348" y="3923530"/>
                  <a:pt x="2024366" y="3914922"/>
                  <a:pt x="2019499" y="3908546"/>
                </a:cubicBezTo>
                <a:cubicBezTo>
                  <a:pt x="2013463" y="3900638"/>
                  <a:pt x="2012073" y="3894892"/>
                  <a:pt x="2015126" y="3890471"/>
                </a:cubicBezTo>
                <a:close/>
                <a:moveTo>
                  <a:pt x="3762359" y="3882921"/>
                </a:moveTo>
                <a:cubicBezTo>
                  <a:pt x="3765128" y="3881912"/>
                  <a:pt x="3768444" y="3886099"/>
                  <a:pt x="3771539" y="3895761"/>
                </a:cubicBezTo>
                <a:cubicBezTo>
                  <a:pt x="3777140" y="3913245"/>
                  <a:pt x="3775346" y="3918177"/>
                  <a:pt x="3763380" y="3918177"/>
                </a:cubicBezTo>
                <a:cubicBezTo>
                  <a:pt x="3756946" y="3918177"/>
                  <a:pt x="3755385" y="3914362"/>
                  <a:pt x="3756456" y="3901256"/>
                </a:cubicBezTo>
                <a:cubicBezTo>
                  <a:pt x="3757366" y="3890135"/>
                  <a:pt x="3759589" y="3883930"/>
                  <a:pt x="3762359" y="3882921"/>
                </a:cubicBezTo>
                <a:close/>
                <a:moveTo>
                  <a:pt x="4054105" y="3868673"/>
                </a:moveTo>
                <a:cubicBezTo>
                  <a:pt x="4062485" y="3870396"/>
                  <a:pt x="4064004" y="3874724"/>
                  <a:pt x="4064349" y="3897845"/>
                </a:cubicBezTo>
                <a:cubicBezTo>
                  <a:pt x="4064572" y="3912776"/>
                  <a:pt x="4063565" y="3926057"/>
                  <a:pt x="4062113" y="3927356"/>
                </a:cubicBezTo>
                <a:cubicBezTo>
                  <a:pt x="4060660" y="3928655"/>
                  <a:pt x="4054083" y="3924035"/>
                  <a:pt x="4047496" y="3917089"/>
                </a:cubicBezTo>
                <a:cubicBezTo>
                  <a:pt x="4035765" y="3904717"/>
                  <a:pt x="4031239" y="3886523"/>
                  <a:pt x="4039894" y="3886523"/>
                </a:cubicBezTo>
                <a:cubicBezTo>
                  <a:pt x="4042299" y="3886523"/>
                  <a:pt x="4044267" y="3882052"/>
                  <a:pt x="4044267" y="3876586"/>
                </a:cubicBezTo>
                <a:cubicBezTo>
                  <a:pt x="4044267" y="3869903"/>
                  <a:pt x="4047487" y="3867312"/>
                  <a:pt x="4054105" y="3868673"/>
                </a:cubicBezTo>
                <a:close/>
                <a:moveTo>
                  <a:pt x="2218103" y="3867530"/>
                </a:moveTo>
                <a:cubicBezTo>
                  <a:pt x="2221453" y="3867530"/>
                  <a:pt x="2225327" y="3871803"/>
                  <a:pt x="2226711" y="3877027"/>
                </a:cubicBezTo>
                <a:cubicBezTo>
                  <a:pt x="2228423" y="3883486"/>
                  <a:pt x="2226475" y="3886523"/>
                  <a:pt x="2220619" y="3886523"/>
                </a:cubicBezTo>
                <a:cubicBezTo>
                  <a:pt x="2215883" y="3886523"/>
                  <a:pt x="2212011" y="3882252"/>
                  <a:pt x="2212011" y="3877027"/>
                </a:cubicBezTo>
                <a:cubicBezTo>
                  <a:pt x="2212011" y="3871803"/>
                  <a:pt x="2214752" y="3867530"/>
                  <a:pt x="2218103" y="3867530"/>
                </a:cubicBezTo>
                <a:close/>
                <a:moveTo>
                  <a:pt x="1971688" y="3857866"/>
                </a:moveTo>
                <a:cubicBezTo>
                  <a:pt x="1977160" y="3852970"/>
                  <a:pt x="1988801" y="3895709"/>
                  <a:pt x="1986087" y="3910735"/>
                </a:cubicBezTo>
                <a:cubicBezTo>
                  <a:pt x="1984860" y="3917524"/>
                  <a:pt x="1985996" y="3924993"/>
                  <a:pt x="1988610" y="3927333"/>
                </a:cubicBezTo>
                <a:cubicBezTo>
                  <a:pt x="1991226" y="3929672"/>
                  <a:pt x="1993364" y="3941041"/>
                  <a:pt x="1993364" y="3952596"/>
                </a:cubicBezTo>
                <a:cubicBezTo>
                  <a:pt x="1993364" y="3964151"/>
                  <a:pt x="1996120" y="3976915"/>
                  <a:pt x="1999487" y="3980960"/>
                </a:cubicBezTo>
                <a:cubicBezTo>
                  <a:pt x="2002854" y="3985006"/>
                  <a:pt x="2005609" y="3998543"/>
                  <a:pt x="2005609" y="4011042"/>
                </a:cubicBezTo>
                <a:cubicBezTo>
                  <a:pt x="2005609" y="4023542"/>
                  <a:pt x="2007464" y="4035537"/>
                  <a:pt x="2009731" y="4037699"/>
                </a:cubicBezTo>
                <a:cubicBezTo>
                  <a:pt x="2011999" y="4039861"/>
                  <a:pt x="2015098" y="4050888"/>
                  <a:pt x="2016619" y="4062204"/>
                </a:cubicBezTo>
                <a:cubicBezTo>
                  <a:pt x="2019841" y="4086182"/>
                  <a:pt x="2010010" y="4091486"/>
                  <a:pt x="2002084" y="4070047"/>
                </a:cubicBezTo>
                <a:cubicBezTo>
                  <a:pt x="1999495" y="4063042"/>
                  <a:pt x="1997871" y="4053784"/>
                  <a:pt x="1998475" y="4049471"/>
                </a:cubicBezTo>
                <a:cubicBezTo>
                  <a:pt x="2000402" y="4035704"/>
                  <a:pt x="1988985" y="4013140"/>
                  <a:pt x="1980092" y="4013140"/>
                </a:cubicBezTo>
                <a:cubicBezTo>
                  <a:pt x="1975366" y="4013140"/>
                  <a:pt x="1971500" y="4008867"/>
                  <a:pt x="1971500" y="4003644"/>
                </a:cubicBezTo>
                <a:cubicBezTo>
                  <a:pt x="1971500" y="3998421"/>
                  <a:pt x="1973468" y="3994147"/>
                  <a:pt x="1975873" y="3994147"/>
                </a:cubicBezTo>
                <a:cubicBezTo>
                  <a:pt x="1981430" y="3994147"/>
                  <a:pt x="1981644" y="3970593"/>
                  <a:pt x="1976112" y="3967769"/>
                </a:cubicBezTo>
                <a:cubicBezTo>
                  <a:pt x="1970708" y="3965010"/>
                  <a:pt x="1966578" y="3862438"/>
                  <a:pt x="1971688" y="3857866"/>
                </a:cubicBezTo>
                <a:close/>
                <a:moveTo>
                  <a:pt x="502197" y="3851703"/>
                </a:moveTo>
                <a:cubicBezTo>
                  <a:pt x="504602" y="3849551"/>
                  <a:pt x="506570" y="3852232"/>
                  <a:pt x="506570" y="3857660"/>
                </a:cubicBezTo>
                <a:cubicBezTo>
                  <a:pt x="506570" y="3863089"/>
                  <a:pt x="504602" y="3867530"/>
                  <a:pt x="502197" y="3867530"/>
                </a:cubicBezTo>
                <a:cubicBezTo>
                  <a:pt x="499792" y="3867530"/>
                  <a:pt x="497824" y="3864850"/>
                  <a:pt x="497824" y="3861573"/>
                </a:cubicBezTo>
                <a:cubicBezTo>
                  <a:pt x="497824" y="3858297"/>
                  <a:pt x="499792" y="3853855"/>
                  <a:pt x="502197" y="3851703"/>
                </a:cubicBezTo>
                <a:close/>
                <a:moveTo>
                  <a:pt x="2255504" y="3849289"/>
                </a:moveTo>
                <a:cubicBezTo>
                  <a:pt x="2258339" y="3850660"/>
                  <a:pt x="2260113" y="3856731"/>
                  <a:pt x="2260113" y="3867157"/>
                </a:cubicBezTo>
                <a:cubicBezTo>
                  <a:pt x="2260113" y="3890357"/>
                  <a:pt x="2254613" y="3895889"/>
                  <a:pt x="2245726" y="3881626"/>
                </a:cubicBezTo>
                <a:cubicBezTo>
                  <a:pt x="2240091" y="3872582"/>
                  <a:pt x="2239885" y="3868784"/>
                  <a:pt x="2244530" y="3859617"/>
                </a:cubicBezTo>
                <a:cubicBezTo>
                  <a:pt x="2248773" y="3851245"/>
                  <a:pt x="2252669" y="3847917"/>
                  <a:pt x="2255504" y="3849289"/>
                </a:cubicBezTo>
                <a:close/>
                <a:moveTo>
                  <a:pt x="3417010" y="3829545"/>
                </a:moveTo>
                <a:cubicBezTo>
                  <a:pt x="3420476" y="3829545"/>
                  <a:pt x="3423312" y="3833818"/>
                  <a:pt x="3423312" y="3839042"/>
                </a:cubicBezTo>
                <a:cubicBezTo>
                  <a:pt x="3423312" y="3848577"/>
                  <a:pt x="3414080" y="3852056"/>
                  <a:pt x="3408853" y="3844489"/>
                </a:cubicBezTo>
                <a:cubicBezTo>
                  <a:pt x="3404773" y="3838581"/>
                  <a:pt x="3409705" y="3829545"/>
                  <a:pt x="3417010" y="3829545"/>
                </a:cubicBezTo>
                <a:close/>
                <a:moveTo>
                  <a:pt x="2738431" y="3824454"/>
                </a:moveTo>
                <a:cubicBezTo>
                  <a:pt x="2739993" y="3823468"/>
                  <a:pt x="2743623" y="3824329"/>
                  <a:pt x="2750318" y="3826407"/>
                </a:cubicBezTo>
                <a:cubicBezTo>
                  <a:pt x="2758495" y="3828947"/>
                  <a:pt x="2765412" y="3831404"/>
                  <a:pt x="2765687" y="3831867"/>
                </a:cubicBezTo>
                <a:cubicBezTo>
                  <a:pt x="2765963" y="3832331"/>
                  <a:pt x="2767474" y="3847325"/>
                  <a:pt x="2769047" y="3865187"/>
                </a:cubicBezTo>
                <a:cubicBezTo>
                  <a:pt x="2771804" y="3896481"/>
                  <a:pt x="2771493" y="3897778"/>
                  <a:pt x="2760550" y="3900807"/>
                </a:cubicBezTo>
                <a:cubicBezTo>
                  <a:pt x="2754148" y="3902579"/>
                  <a:pt x="2748519" y="3900839"/>
                  <a:pt x="2747649" y="3896820"/>
                </a:cubicBezTo>
                <a:cubicBezTo>
                  <a:pt x="2746801" y="3892898"/>
                  <a:pt x="2745288" y="3879717"/>
                  <a:pt x="2744287" y="3867530"/>
                </a:cubicBezTo>
                <a:cubicBezTo>
                  <a:pt x="2743287" y="3855344"/>
                  <a:pt x="2740888" y="3840067"/>
                  <a:pt x="2738958" y="3833582"/>
                </a:cubicBezTo>
                <a:cubicBezTo>
                  <a:pt x="2737378" y="3828273"/>
                  <a:pt x="2736870" y="3825440"/>
                  <a:pt x="2738431" y="3824454"/>
                </a:cubicBezTo>
                <a:close/>
                <a:moveTo>
                  <a:pt x="1314629" y="3823496"/>
                </a:moveTo>
                <a:cubicBezTo>
                  <a:pt x="1309924" y="3824382"/>
                  <a:pt x="1305359" y="3827673"/>
                  <a:pt x="1304002" y="3832791"/>
                </a:cubicBezTo>
                <a:cubicBezTo>
                  <a:pt x="1302606" y="3838059"/>
                  <a:pt x="1303933" y="3846674"/>
                  <a:pt x="1306949" y="3851937"/>
                </a:cubicBezTo>
                <a:cubicBezTo>
                  <a:pt x="1314633" y="3865340"/>
                  <a:pt x="1317317" y="3858785"/>
                  <a:pt x="1311067" y="3841880"/>
                </a:cubicBezTo>
                <a:cubicBezTo>
                  <a:pt x="1306233" y="3828802"/>
                  <a:pt x="1306662" y="3828027"/>
                  <a:pt x="1317140" y="3830926"/>
                </a:cubicBezTo>
                <a:cubicBezTo>
                  <a:pt x="1323341" y="3832643"/>
                  <a:pt x="1327375" y="3831610"/>
                  <a:pt x="1326103" y="3828631"/>
                </a:cubicBezTo>
                <a:cubicBezTo>
                  <a:pt x="1324181" y="3824130"/>
                  <a:pt x="1319335" y="3822610"/>
                  <a:pt x="1314629" y="3823496"/>
                </a:cubicBezTo>
                <a:close/>
                <a:moveTo>
                  <a:pt x="3892163" y="3819903"/>
                </a:moveTo>
                <a:cubicBezTo>
                  <a:pt x="3896293" y="3817585"/>
                  <a:pt x="3904890" y="3818207"/>
                  <a:pt x="3911267" y="3821285"/>
                </a:cubicBezTo>
                <a:cubicBezTo>
                  <a:pt x="3920929" y="3825948"/>
                  <a:pt x="3923141" y="3831329"/>
                  <a:pt x="3924522" y="3853537"/>
                </a:cubicBezTo>
                <a:cubicBezTo>
                  <a:pt x="3925968" y="3876764"/>
                  <a:pt x="3925057" y="3880192"/>
                  <a:pt x="3917443" y="3880192"/>
                </a:cubicBezTo>
                <a:cubicBezTo>
                  <a:pt x="3911118" y="3880192"/>
                  <a:pt x="3908706" y="3875967"/>
                  <a:pt x="3908706" y="3864893"/>
                </a:cubicBezTo>
                <a:cubicBezTo>
                  <a:pt x="3908706" y="3855512"/>
                  <a:pt x="3904055" y="3844666"/>
                  <a:pt x="3896680" y="3836855"/>
                </a:cubicBezTo>
                <a:cubicBezTo>
                  <a:pt x="3886276" y="3825832"/>
                  <a:pt x="3885667" y="3823549"/>
                  <a:pt x="3892163" y="3819903"/>
                </a:cubicBezTo>
                <a:close/>
                <a:moveTo>
                  <a:pt x="1959090" y="3812273"/>
                </a:moveTo>
                <a:cubicBezTo>
                  <a:pt x="1962026" y="3813352"/>
                  <a:pt x="1965749" y="3817761"/>
                  <a:pt x="1968903" y="3825000"/>
                </a:cubicBezTo>
                <a:cubicBezTo>
                  <a:pt x="1972200" y="3832566"/>
                  <a:pt x="1971980" y="3837713"/>
                  <a:pt x="1968122" y="3843299"/>
                </a:cubicBezTo>
                <a:cubicBezTo>
                  <a:pt x="1965170" y="3847573"/>
                  <a:pt x="1962521" y="3848364"/>
                  <a:pt x="1962236" y="3845056"/>
                </a:cubicBezTo>
                <a:cubicBezTo>
                  <a:pt x="1961951" y="3841748"/>
                  <a:pt x="1961951" y="3836905"/>
                  <a:pt x="1962236" y="3834293"/>
                </a:cubicBezTo>
                <a:cubicBezTo>
                  <a:pt x="1962521" y="3831682"/>
                  <a:pt x="1960786" y="3829545"/>
                  <a:pt x="1958381" y="3829545"/>
                </a:cubicBezTo>
                <a:cubicBezTo>
                  <a:pt x="1955976" y="3829545"/>
                  <a:pt x="1954008" y="3825035"/>
                  <a:pt x="1954008" y="3819521"/>
                </a:cubicBezTo>
                <a:cubicBezTo>
                  <a:pt x="1954008" y="3813443"/>
                  <a:pt x="1956155" y="3811193"/>
                  <a:pt x="1959090" y="3812273"/>
                </a:cubicBezTo>
                <a:close/>
                <a:moveTo>
                  <a:pt x="486892" y="3810553"/>
                </a:moveTo>
                <a:cubicBezTo>
                  <a:pt x="490500" y="3810553"/>
                  <a:pt x="493451" y="3814826"/>
                  <a:pt x="493451" y="3820049"/>
                </a:cubicBezTo>
                <a:cubicBezTo>
                  <a:pt x="493451" y="3825272"/>
                  <a:pt x="490500" y="3829545"/>
                  <a:pt x="486892" y="3829545"/>
                </a:cubicBezTo>
                <a:cubicBezTo>
                  <a:pt x="483284" y="3829545"/>
                  <a:pt x="480332" y="3825272"/>
                  <a:pt x="480332" y="3820049"/>
                </a:cubicBezTo>
                <a:cubicBezTo>
                  <a:pt x="480332" y="3814826"/>
                  <a:pt x="483284" y="3810553"/>
                  <a:pt x="486892" y="3810553"/>
                </a:cubicBezTo>
                <a:close/>
                <a:moveTo>
                  <a:pt x="4113305" y="3809050"/>
                </a:moveTo>
                <a:cubicBezTo>
                  <a:pt x="4121709" y="3813106"/>
                  <a:pt x="4119461" y="3823215"/>
                  <a:pt x="4110156" y="3823215"/>
                </a:cubicBezTo>
                <a:cubicBezTo>
                  <a:pt x="4105506" y="3823215"/>
                  <a:pt x="4100455" y="3828912"/>
                  <a:pt x="4098927" y="3835877"/>
                </a:cubicBezTo>
                <a:cubicBezTo>
                  <a:pt x="4094805" y="3854684"/>
                  <a:pt x="4087996" y="3851200"/>
                  <a:pt x="4087996" y="3830284"/>
                </a:cubicBezTo>
                <a:cubicBezTo>
                  <a:pt x="4087996" y="3816291"/>
                  <a:pt x="4090332" y="3811382"/>
                  <a:pt x="4098000" y="3809260"/>
                </a:cubicBezTo>
                <a:cubicBezTo>
                  <a:pt x="4103503" y="3807737"/>
                  <a:pt x="4110390" y="3807643"/>
                  <a:pt x="4113305" y="3809050"/>
                </a:cubicBezTo>
                <a:close/>
                <a:moveTo>
                  <a:pt x="2043084" y="3794750"/>
                </a:moveTo>
                <a:cubicBezTo>
                  <a:pt x="2041816" y="3795042"/>
                  <a:pt x="2041467" y="3797207"/>
                  <a:pt x="2041467" y="3801376"/>
                </a:cubicBezTo>
                <a:cubicBezTo>
                  <a:pt x="2041467" y="3806834"/>
                  <a:pt x="2043435" y="3809539"/>
                  <a:pt x="2045840" y="3807387"/>
                </a:cubicBezTo>
                <a:cubicBezTo>
                  <a:pt x="2048245" y="3805235"/>
                  <a:pt x="2050212" y="3806492"/>
                  <a:pt x="2050212" y="3810179"/>
                </a:cubicBezTo>
                <a:cubicBezTo>
                  <a:pt x="2050212" y="3813867"/>
                  <a:pt x="2052181" y="3816883"/>
                  <a:pt x="2054585" y="3816883"/>
                </a:cubicBezTo>
                <a:cubicBezTo>
                  <a:pt x="2056991" y="3816883"/>
                  <a:pt x="2058958" y="3814720"/>
                  <a:pt x="2058958" y="3812075"/>
                </a:cubicBezTo>
                <a:cubicBezTo>
                  <a:pt x="2058958" y="3809431"/>
                  <a:pt x="2055023" y="3803709"/>
                  <a:pt x="2050212" y="3799360"/>
                </a:cubicBezTo>
                <a:cubicBezTo>
                  <a:pt x="2046538" y="3796038"/>
                  <a:pt x="2044352" y="3794458"/>
                  <a:pt x="2043084" y="3794750"/>
                </a:cubicBezTo>
                <a:close/>
                <a:moveTo>
                  <a:pt x="1790937" y="3787564"/>
                </a:moveTo>
                <a:cubicBezTo>
                  <a:pt x="1790740" y="3787287"/>
                  <a:pt x="1790249" y="3790113"/>
                  <a:pt x="1789378" y="3795919"/>
                </a:cubicBezTo>
                <a:cubicBezTo>
                  <a:pt x="1788235" y="3803539"/>
                  <a:pt x="1783976" y="3811211"/>
                  <a:pt x="1779916" y="3812965"/>
                </a:cubicBezTo>
                <a:cubicBezTo>
                  <a:pt x="1774602" y="3815262"/>
                  <a:pt x="1774984" y="3815797"/>
                  <a:pt x="1781278" y="3814873"/>
                </a:cubicBezTo>
                <a:cubicBezTo>
                  <a:pt x="1787214" y="3814001"/>
                  <a:pt x="1790254" y="3808526"/>
                  <a:pt x="1790740" y="3797826"/>
                </a:cubicBezTo>
                <a:cubicBezTo>
                  <a:pt x="1791040" y="3791221"/>
                  <a:pt x="1791135" y="3787841"/>
                  <a:pt x="1790937" y="3787564"/>
                </a:cubicBezTo>
                <a:close/>
                <a:moveTo>
                  <a:pt x="2023582" y="3786360"/>
                </a:moveTo>
                <a:cubicBezTo>
                  <a:pt x="2022843" y="3786156"/>
                  <a:pt x="2021117" y="3788463"/>
                  <a:pt x="2017887" y="3793139"/>
                </a:cubicBezTo>
                <a:cubicBezTo>
                  <a:pt x="2009485" y="3805302"/>
                  <a:pt x="2008763" y="3812617"/>
                  <a:pt x="2016323" y="3808973"/>
                </a:cubicBezTo>
                <a:cubicBezTo>
                  <a:pt x="2019329" y="3807524"/>
                  <a:pt x="2022493" y="3801078"/>
                  <a:pt x="2023354" y="3794649"/>
                </a:cubicBezTo>
                <a:cubicBezTo>
                  <a:pt x="2024072" y="3789280"/>
                  <a:pt x="2024321" y="3786564"/>
                  <a:pt x="2023582" y="3786360"/>
                </a:cubicBezTo>
                <a:close/>
                <a:moveTo>
                  <a:pt x="2013093" y="3774587"/>
                </a:moveTo>
                <a:cubicBezTo>
                  <a:pt x="2008310" y="3775297"/>
                  <a:pt x="2004185" y="3780119"/>
                  <a:pt x="2003926" y="3785302"/>
                </a:cubicBezTo>
                <a:cubicBezTo>
                  <a:pt x="2003667" y="3790485"/>
                  <a:pt x="2004257" y="3791340"/>
                  <a:pt x="2005238" y="3787201"/>
                </a:cubicBezTo>
                <a:cubicBezTo>
                  <a:pt x="2006219" y="3783063"/>
                  <a:pt x="2010344" y="3778241"/>
                  <a:pt x="2014405" y="3776486"/>
                </a:cubicBezTo>
                <a:cubicBezTo>
                  <a:pt x="2019760" y="3774171"/>
                  <a:pt x="2019399" y="3773649"/>
                  <a:pt x="2013093" y="3774587"/>
                </a:cubicBezTo>
                <a:close/>
                <a:moveTo>
                  <a:pt x="2633998" y="3759906"/>
                </a:moveTo>
                <a:cubicBezTo>
                  <a:pt x="2637606" y="3759906"/>
                  <a:pt x="2640558" y="3764179"/>
                  <a:pt x="2640558" y="3769402"/>
                </a:cubicBezTo>
                <a:cubicBezTo>
                  <a:pt x="2640558" y="3774625"/>
                  <a:pt x="2637606" y="3778898"/>
                  <a:pt x="2633998" y="3778898"/>
                </a:cubicBezTo>
                <a:cubicBezTo>
                  <a:pt x="2630391" y="3778898"/>
                  <a:pt x="2627439" y="3774625"/>
                  <a:pt x="2627439" y="3769402"/>
                </a:cubicBezTo>
                <a:cubicBezTo>
                  <a:pt x="2627439" y="3764179"/>
                  <a:pt x="2630391" y="3759906"/>
                  <a:pt x="2633998" y="3759906"/>
                </a:cubicBezTo>
                <a:close/>
                <a:moveTo>
                  <a:pt x="4107673" y="3751286"/>
                </a:moveTo>
                <a:cubicBezTo>
                  <a:pt x="4115157" y="3755443"/>
                  <a:pt x="4115150" y="3755412"/>
                  <a:pt x="4111580" y="3768885"/>
                </a:cubicBezTo>
                <a:cubicBezTo>
                  <a:pt x="4107513" y="3784222"/>
                  <a:pt x="4101115" y="3780789"/>
                  <a:pt x="4101115" y="3763270"/>
                </a:cubicBezTo>
                <a:cubicBezTo>
                  <a:pt x="4101115" y="3751979"/>
                  <a:pt x="4102934" y="3748653"/>
                  <a:pt x="4107673" y="3751286"/>
                </a:cubicBezTo>
                <a:close/>
                <a:moveTo>
                  <a:pt x="1769471" y="3740913"/>
                </a:moveTo>
                <a:cubicBezTo>
                  <a:pt x="1760672" y="3740913"/>
                  <a:pt x="1759276" y="3754454"/>
                  <a:pt x="1766156" y="3773065"/>
                </a:cubicBezTo>
                <a:cubicBezTo>
                  <a:pt x="1769816" y="3782965"/>
                  <a:pt x="1772397" y="3784085"/>
                  <a:pt x="1779275" y="3778756"/>
                </a:cubicBezTo>
                <a:cubicBezTo>
                  <a:pt x="1783984" y="3775107"/>
                  <a:pt x="1787837" y="3768519"/>
                  <a:pt x="1787837" y="3764115"/>
                </a:cubicBezTo>
                <a:cubicBezTo>
                  <a:pt x="1787837" y="3752569"/>
                  <a:pt x="1778610" y="3740913"/>
                  <a:pt x="1769471" y="3740913"/>
                </a:cubicBezTo>
                <a:close/>
                <a:moveTo>
                  <a:pt x="2273182" y="3737793"/>
                </a:moveTo>
                <a:cubicBezTo>
                  <a:pt x="2270804" y="3739920"/>
                  <a:pt x="2268859" y="3744341"/>
                  <a:pt x="2268859" y="3747618"/>
                </a:cubicBezTo>
                <a:cubicBezTo>
                  <a:pt x="2268859" y="3756725"/>
                  <a:pt x="2271994" y="3754718"/>
                  <a:pt x="2274901" y="3743750"/>
                </a:cubicBezTo>
                <a:cubicBezTo>
                  <a:pt x="2276394" y="3738116"/>
                  <a:pt x="2275661" y="3735575"/>
                  <a:pt x="2273182" y="3737793"/>
                </a:cubicBezTo>
                <a:close/>
                <a:moveTo>
                  <a:pt x="2067015" y="3729938"/>
                </a:moveTo>
                <a:cubicBezTo>
                  <a:pt x="2065032" y="3730426"/>
                  <a:pt x="2062949" y="3732424"/>
                  <a:pt x="2060477" y="3736003"/>
                </a:cubicBezTo>
                <a:cubicBezTo>
                  <a:pt x="2051676" y="3748743"/>
                  <a:pt x="2056577" y="3772567"/>
                  <a:pt x="2067999" y="3772567"/>
                </a:cubicBezTo>
                <a:cubicBezTo>
                  <a:pt x="2072647" y="3772567"/>
                  <a:pt x="2076450" y="3775416"/>
                  <a:pt x="2076450" y="3778898"/>
                </a:cubicBezTo>
                <a:cubicBezTo>
                  <a:pt x="2076450" y="3786965"/>
                  <a:pt x="2077951" y="3786852"/>
                  <a:pt x="2091750" y="3777750"/>
                </a:cubicBezTo>
                <a:cubicBezTo>
                  <a:pt x="2106590" y="3767961"/>
                  <a:pt x="2105195" y="3745019"/>
                  <a:pt x="2089569" y="3741890"/>
                </a:cubicBezTo>
                <a:cubicBezTo>
                  <a:pt x="2083556" y="3740685"/>
                  <a:pt x="2076078" y="3736657"/>
                  <a:pt x="2072951" y="3732937"/>
                </a:cubicBezTo>
                <a:cubicBezTo>
                  <a:pt x="2070881" y="3730474"/>
                  <a:pt x="2068998" y="3729451"/>
                  <a:pt x="2067015" y="3729938"/>
                </a:cubicBezTo>
                <a:close/>
                <a:moveTo>
                  <a:pt x="1479546" y="3728251"/>
                </a:moveTo>
                <a:cubicBezTo>
                  <a:pt x="1483154" y="3728251"/>
                  <a:pt x="1486105" y="3732524"/>
                  <a:pt x="1486105" y="3737748"/>
                </a:cubicBezTo>
                <a:cubicBezTo>
                  <a:pt x="1486105" y="3742971"/>
                  <a:pt x="1483154" y="3747244"/>
                  <a:pt x="1479546" y="3747244"/>
                </a:cubicBezTo>
                <a:cubicBezTo>
                  <a:pt x="1475938" y="3747244"/>
                  <a:pt x="1472986" y="3742971"/>
                  <a:pt x="1472986" y="3737748"/>
                </a:cubicBezTo>
                <a:cubicBezTo>
                  <a:pt x="1472986" y="3732524"/>
                  <a:pt x="1475938" y="3728251"/>
                  <a:pt x="1479546" y="3728251"/>
                </a:cubicBezTo>
                <a:close/>
                <a:moveTo>
                  <a:pt x="2608904" y="3725099"/>
                </a:moveTo>
                <a:cubicBezTo>
                  <a:pt x="2610542" y="3726827"/>
                  <a:pt x="2610330" y="3730229"/>
                  <a:pt x="2607432" y="3734424"/>
                </a:cubicBezTo>
                <a:cubicBezTo>
                  <a:pt x="2605168" y="3737704"/>
                  <a:pt x="2600706" y="3738052"/>
                  <a:pt x="2597518" y="3735200"/>
                </a:cubicBezTo>
                <a:cubicBezTo>
                  <a:pt x="2592964" y="3731125"/>
                  <a:pt x="2593340" y="3729115"/>
                  <a:pt x="2599274" y="3725818"/>
                </a:cubicBezTo>
                <a:cubicBezTo>
                  <a:pt x="2603777" y="3723317"/>
                  <a:pt x="2607266" y="3723371"/>
                  <a:pt x="2608904" y="3725099"/>
                </a:cubicBezTo>
                <a:close/>
                <a:moveTo>
                  <a:pt x="2581523" y="3714641"/>
                </a:moveTo>
                <a:cubicBezTo>
                  <a:pt x="2583808" y="3714641"/>
                  <a:pt x="2586382" y="3717703"/>
                  <a:pt x="2587244" y="3721446"/>
                </a:cubicBezTo>
                <a:cubicBezTo>
                  <a:pt x="2588106" y="3725189"/>
                  <a:pt x="2585532" y="3728251"/>
                  <a:pt x="2581523" y="3728251"/>
                </a:cubicBezTo>
                <a:cubicBezTo>
                  <a:pt x="2577515" y="3728251"/>
                  <a:pt x="2574940" y="3725189"/>
                  <a:pt x="2575802" y="3721446"/>
                </a:cubicBezTo>
                <a:cubicBezTo>
                  <a:pt x="2576664" y="3717703"/>
                  <a:pt x="2579238" y="3714641"/>
                  <a:pt x="2581523" y="3714641"/>
                </a:cubicBezTo>
                <a:close/>
                <a:moveTo>
                  <a:pt x="1636912" y="3707003"/>
                </a:moveTo>
                <a:cubicBezTo>
                  <a:pt x="1641037" y="3704711"/>
                  <a:pt x="1642869" y="3705686"/>
                  <a:pt x="1641308" y="3709343"/>
                </a:cubicBezTo>
                <a:cubicBezTo>
                  <a:pt x="1639836" y="3712791"/>
                  <a:pt x="1643575" y="3718335"/>
                  <a:pt x="1649617" y="3721661"/>
                </a:cubicBezTo>
                <a:cubicBezTo>
                  <a:pt x="1655660" y="3724987"/>
                  <a:pt x="1663448" y="3735671"/>
                  <a:pt x="1666924" y="3745404"/>
                </a:cubicBezTo>
                <a:cubicBezTo>
                  <a:pt x="1670401" y="3755137"/>
                  <a:pt x="1677383" y="3768522"/>
                  <a:pt x="1682439" y="3775146"/>
                </a:cubicBezTo>
                <a:cubicBezTo>
                  <a:pt x="1687496" y="3781772"/>
                  <a:pt x="1691633" y="3792215"/>
                  <a:pt x="1691633" y="3798355"/>
                </a:cubicBezTo>
                <a:cubicBezTo>
                  <a:pt x="1691633" y="3819130"/>
                  <a:pt x="1696899" y="3829545"/>
                  <a:pt x="1707406" y="3829545"/>
                </a:cubicBezTo>
                <a:cubicBezTo>
                  <a:pt x="1722195" y="3829545"/>
                  <a:pt x="1720827" y="3847204"/>
                  <a:pt x="1705845" y="3849700"/>
                </a:cubicBezTo>
                <a:cubicBezTo>
                  <a:pt x="1697234" y="3851135"/>
                  <a:pt x="1693422" y="3855749"/>
                  <a:pt x="1692422" y="3865948"/>
                </a:cubicBezTo>
                <a:cubicBezTo>
                  <a:pt x="1690837" y="3882100"/>
                  <a:pt x="1690316" y="3882167"/>
                  <a:pt x="1670861" y="3868731"/>
                </a:cubicBezTo>
                <a:cubicBezTo>
                  <a:pt x="1663044" y="3863332"/>
                  <a:pt x="1656649" y="3855297"/>
                  <a:pt x="1656649" y="3850875"/>
                </a:cubicBezTo>
                <a:cubicBezTo>
                  <a:pt x="1656649" y="3846454"/>
                  <a:pt x="1653206" y="3839680"/>
                  <a:pt x="1648997" y="3835823"/>
                </a:cubicBezTo>
                <a:cubicBezTo>
                  <a:pt x="1643517" y="3830801"/>
                  <a:pt x="1642896" y="3827866"/>
                  <a:pt x="1646810" y="3825485"/>
                </a:cubicBezTo>
                <a:cubicBezTo>
                  <a:pt x="1649816" y="3823656"/>
                  <a:pt x="1652276" y="3817048"/>
                  <a:pt x="1652276" y="3810800"/>
                </a:cubicBezTo>
                <a:cubicBezTo>
                  <a:pt x="1652276" y="3794762"/>
                  <a:pt x="1642985" y="3785837"/>
                  <a:pt x="1632598" y="3791898"/>
                </a:cubicBezTo>
                <a:cubicBezTo>
                  <a:pt x="1619750" y="3799395"/>
                  <a:pt x="1617293" y="3798890"/>
                  <a:pt x="1617293" y="3788754"/>
                </a:cubicBezTo>
                <a:cubicBezTo>
                  <a:pt x="1617293" y="3783728"/>
                  <a:pt x="1621429" y="3775422"/>
                  <a:pt x="1626485" y="3770295"/>
                </a:cubicBezTo>
                <a:cubicBezTo>
                  <a:pt x="1634218" y="3762454"/>
                  <a:pt x="1635214" y="3757000"/>
                  <a:pt x="1632758" y="3735953"/>
                </a:cubicBezTo>
                <a:cubicBezTo>
                  <a:pt x="1630444" y="3716125"/>
                  <a:pt x="1631307" y="3710117"/>
                  <a:pt x="1636912" y="3707003"/>
                </a:cubicBezTo>
                <a:close/>
                <a:moveTo>
                  <a:pt x="777691" y="3702928"/>
                </a:moveTo>
                <a:cubicBezTo>
                  <a:pt x="783522" y="3702928"/>
                  <a:pt x="786437" y="3707149"/>
                  <a:pt x="786437" y="3715590"/>
                </a:cubicBezTo>
                <a:cubicBezTo>
                  <a:pt x="786437" y="3729940"/>
                  <a:pt x="781903" y="3731816"/>
                  <a:pt x="774193" y="3720654"/>
                </a:cubicBezTo>
                <a:cubicBezTo>
                  <a:pt x="766484" y="3709493"/>
                  <a:pt x="767779" y="3702928"/>
                  <a:pt x="777691" y="3702928"/>
                </a:cubicBezTo>
                <a:close/>
                <a:moveTo>
                  <a:pt x="2265717" y="3690468"/>
                </a:moveTo>
                <a:cubicBezTo>
                  <a:pt x="2258314" y="3690659"/>
                  <a:pt x="2258307" y="3691087"/>
                  <a:pt x="2265579" y="3699080"/>
                </a:cubicBezTo>
                <a:cubicBezTo>
                  <a:pt x="2269788" y="3703705"/>
                  <a:pt x="2273387" y="3711449"/>
                  <a:pt x="2273577" y="3716288"/>
                </a:cubicBezTo>
                <a:cubicBezTo>
                  <a:pt x="2273840" y="3722989"/>
                  <a:pt x="2274459" y="3723150"/>
                  <a:pt x="2276176" y="3716964"/>
                </a:cubicBezTo>
                <a:cubicBezTo>
                  <a:pt x="2277416" y="3712496"/>
                  <a:pt x="2277322" y="3704662"/>
                  <a:pt x="2275968" y="3699554"/>
                </a:cubicBezTo>
                <a:cubicBezTo>
                  <a:pt x="2274614" y="3694446"/>
                  <a:pt x="2270001" y="3690357"/>
                  <a:pt x="2265717" y="3690468"/>
                </a:cubicBezTo>
                <a:close/>
                <a:moveTo>
                  <a:pt x="4393541" y="3685390"/>
                </a:moveTo>
                <a:cubicBezTo>
                  <a:pt x="4407007" y="3683826"/>
                  <a:pt x="4408035" y="3684924"/>
                  <a:pt x="4405396" y="3698051"/>
                </a:cubicBezTo>
                <a:cubicBezTo>
                  <a:pt x="4396982" y="3739892"/>
                  <a:pt x="4397299" y="3752219"/>
                  <a:pt x="4406971" y="3759714"/>
                </a:cubicBezTo>
                <a:cubicBezTo>
                  <a:pt x="4414177" y="3765297"/>
                  <a:pt x="4416149" y="3771834"/>
                  <a:pt x="4415127" y="3786745"/>
                </a:cubicBezTo>
                <a:cubicBezTo>
                  <a:pt x="4413808" y="3805985"/>
                  <a:pt x="4407473" y="3815139"/>
                  <a:pt x="4401479" y="3806464"/>
                </a:cubicBezTo>
                <a:cubicBezTo>
                  <a:pt x="4399826" y="3804070"/>
                  <a:pt x="4398473" y="3794243"/>
                  <a:pt x="4398473" y="3784626"/>
                </a:cubicBezTo>
                <a:cubicBezTo>
                  <a:pt x="4398473" y="3775009"/>
                  <a:pt x="4395522" y="3762868"/>
                  <a:pt x="4391914" y="3757645"/>
                </a:cubicBezTo>
                <a:cubicBezTo>
                  <a:pt x="4388306" y="3752422"/>
                  <a:pt x="4385355" y="3739398"/>
                  <a:pt x="4385355" y="3728704"/>
                </a:cubicBezTo>
                <a:cubicBezTo>
                  <a:pt x="4385355" y="3715640"/>
                  <a:pt x="4383203" y="3709259"/>
                  <a:pt x="4378795" y="3709259"/>
                </a:cubicBezTo>
                <a:cubicBezTo>
                  <a:pt x="4375187" y="3709259"/>
                  <a:pt x="4372266" y="3707123"/>
                  <a:pt x="4372303" y="3704511"/>
                </a:cubicBezTo>
                <a:cubicBezTo>
                  <a:pt x="4372456" y="3693518"/>
                  <a:pt x="4379702" y="3686995"/>
                  <a:pt x="4393541" y="3685390"/>
                </a:cubicBezTo>
                <a:close/>
                <a:moveTo>
                  <a:pt x="444041" y="3678411"/>
                </a:moveTo>
                <a:cubicBezTo>
                  <a:pt x="446083" y="3677038"/>
                  <a:pt x="449144" y="3679301"/>
                  <a:pt x="453220" y="3685202"/>
                </a:cubicBezTo>
                <a:cubicBezTo>
                  <a:pt x="461267" y="3696852"/>
                  <a:pt x="459463" y="3709259"/>
                  <a:pt x="449722" y="3709259"/>
                </a:cubicBezTo>
                <a:cubicBezTo>
                  <a:pt x="443308" y="3709259"/>
                  <a:pt x="440976" y="3705038"/>
                  <a:pt x="440976" y="3693432"/>
                </a:cubicBezTo>
                <a:cubicBezTo>
                  <a:pt x="440976" y="3684792"/>
                  <a:pt x="441999" y="3679784"/>
                  <a:pt x="444041" y="3678411"/>
                </a:cubicBezTo>
                <a:close/>
                <a:moveTo>
                  <a:pt x="4470885" y="3671274"/>
                </a:moveTo>
                <a:cubicBezTo>
                  <a:pt x="4471945" y="3671274"/>
                  <a:pt x="4472813" y="3674122"/>
                  <a:pt x="4472813" y="3677605"/>
                </a:cubicBezTo>
                <a:cubicBezTo>
                  <a:pt x="4472813" y="3681087"/>
                  <a:pt x="4470729" y="3683935"/>
                  <a:pt x="4468182" y="3683935"/>
                </a:cubicBezTo>
                <a:cubicBezTo>
                  <a:pt x="4465635" y="3683935"/>
                  <a:pt x="4464767" y="3681087"/>
                  <a:pt x="4466253" y="3677605"/>
                </a:cubicBezTo>
                <a:cubicBezTo>
                  <a:pt x="4467740" y="3674122"/>
                  <a:pt x="4469825" y="3671274"/>
                  <a:pt x="4470885" y="3671274"/>
                </a:cubicBezTo>
                <a:close/>
                <a:moveTo>
                  <a:pt x="4171728" y="3669684"/>
                </a:moveTo>
                <a:cubicBezTo>
                  <a:pt x="4182148" y="3673629"/>
                  <a:pt x="4193120" y="3699191"/>
                  <a:pt x="4194226" y="3722097"/>
                </a:cubicBezTo>
                <a:cubicBezTo>
                  <a:pt x="4194724" y="3732432"/>
                  <a:pt x="4196608" y="3740894"/>
                  <a:pt x="4198412" y="3740901"/>
                </a:cubicBezTo>
                <a:cubicBezTo>
                  <a:pt x="4200216" y="3740907"/>
                  <a:pt x="4201692" y="3745186"/>
                  <a:pt x="4201692" y="3750410"/>
                </a:cubicBezTo>
                <a:cubicBezTo>
                  <a:pt x="4201692" y="3755633"/>
                  <a:pt x="4198741" y="3759906"/>
                  <a:pt x="4195132" y="3759906"/>
                </a:cubicBezTo>
                <a:cubicBezTo>
                  <a:pt x="4191525" y="3759906"/>
                  <a:pt x="4188573" y="3755633"/>
                  <a:pt x="4188573" y="3750410"/>
                </a:cubicBezTo>
                <a:cubicBezTo>
                  <a:pt x="4188573" y="3745186"/>
                  <a:pt x="4186391" y="3740913"/>
                  <a:pt x="4183725" y="3740913"/>
                </a:cubicBezTo>
                <a:cubicBezTo>
                  <a:pt x="4180698" y="3740913"/>
                  <a:pt x="4179943" y="3734777"/>
                  <a:pt x="4181714" y="3724559"/>
                </a:cubicBezTo>
                <a:cubicBezTo>
                  <a:pt x="4183943" y="3711701"/>
                  <a:pt x="4182736" y="3707519"/>
                  <a:pt x="4176068" y="3704994"/>
                </a:cubicBezTo>
                <a:cubicBezTo>
                  <a:pt x="4170917" y="3703045"/>
                  <a:pt x="4166888" y="3694907"/>
                  <a:pt x="4165810" y="3684278"/>
                </a:cubicBezTo>
                <a:cubicBezTo>
                  <a:pt x="4164369" y="3670065"/>
                  <a:pt x="4165483" y="3667320"/>
                  <a:pt x="4171728" y="3669684"/>
                </a:cubicBezTo>
                <a:close/>
                <a:moveTo>
                  <a:pt x="3781533" y="3666259"/>
                </a:moveTo>
                <a:cubicBezTo>
                  <a:pt x="3778911" y="3667379"/>
                  <a:pt x="3776058" y="3670574"/>
                  <a:pt x="3772184" y="3676181"/>
                </a:cubicBezTo>
                <a:cubicBezTo>
                  <a:pt x="3763730" y="3688422"/>
                  <a:pt x="3763132" y="3692204"/>
                  <a:pt x="3767900" y="3703257"/>
                </a:cubicBezTo>
                <a:cubicBezTo>
                  <a:pt x="3770948" y="3710324"/>
                  <a:pt x="3772274" y="3718838"/>
                  <a:pt x="3770849" y="3722178"/>
                </a:cubicBezTo>
                <a:cubicBezTo>
                  <a:pt x="3769423" y="3725518"/>
                  <a:pt x="3770340" y="3728251"/>
                  <a:pt x="3772888" y="3728251"/>
                </a:cubicBezTo>
                <a:cubicBezTo>
                  <a:pt x="3775434" y="3728251"/>
                  <a:pt x="3777518" y="3731574"/>
                  <a:pt x="3777518" y="3735634"/>
                </a:cubicBezTo>
                <a:cubicBezTo>
                  <a:pt x="3777518" y="3745550"/>
                  <a:pt x="3791721" y="3765852"/>
                  <a:pt x="3797197" y="3763763"/>
                </a:cubicBezTo>
                <a:cubicBezTo>
                  <a:pt x="3799601" y="3762847"/>
                  <a:pt x="3802141" y="3753769"/>
                  <a:pt x="3802839" y="3743591"/>
                </a:cubicBezTo>
                <a:cubicBezTo>
                  <a:pt x="3804782" y="3715301"/>
                  <a:pt x="3797843" y="3676411"/>
                  <a:pt x="3789493" y="3668785"/>
                </a:cubicBezTo>
                <a:cubicBezTo>
                  <a:pt x="3786545" y="3666092"/>
                  <a:pt x="3784154" y="3665138"/>
                  <a:pt x="3781533" y="3666259"/>
                </a:cubicBezTo>
                <a:close/>
                <a:moveTo>
                  <a:pt x="440976" y="3652281"/>
                </a:moveTo>
                <a:cubicBezTo>
                  <a:pt x="443381" y="3652281"/>
                  <a:pt x="445349" y="3654962"/>
                  <a:pt x="445349" y="3658238"/>
                </a:cubicBezTo>
                <a:cubicBezTo>
                  <a:pt x="445349" y="3661515"/>
                  <a:pt x="443381" y="3665956"/>
                  <a:pt x="440976" y="3668109"/>
                </a:cubicBezTo>
                <a:cubicBezTo>
                  <a:pt x="438571" y="3670260"/>
                  <a:pt x="436603" y="3667580"/>
                  <a:pt x="436603" y="3662151"/>
                </a:cubicBezTo>
                <a:cubicBezTo>
                  <a:pt x="436603" y="3656723"/>
                  <a:pt x="438571" y="3652281"/>
                  <a:pt x="440976" y="3652281"/>
                </a:cubicBezTo>
                <a:close/>
                <a:moveTo>
                  <a:pt x="3171373" y="3641045"/>
                </a:moveTo>
                <a:cubicBezTo>
                  <a:pt x="3176439" y="3643882"/>
                  <a:pt x="3179653" y="3659430"/>
                  <a:pt x="3181007" y="3687671"/>
                </a:cubicBezTo>
                <a:cubicBezTo>
                  <a:pt x="3181977" y="3707877"/>
                  <a:pt x="3184744" y="3727268"/>
                  <a:pt x="3187158" y="3730762"/>
                </a:cubicBezTo>
                <a:cubicBezTo>
                  <a:pt x="3194625" y="3741571"/>
                  <a:pt x="3192227" y="3759906"/>
                  <a:pt x="3183347" y="3759906"/>
                </a:cubicBezTo>
                <a:cubicBezTo>
                  <a:pt x="3177662" y="3759906"/>
                  <a:pt x="3174310" y="3753839"/>
                  <a:pt x="3172415" y="3740122"/>
                </a:cubicBezTo>
                <a:cubicBezTo>
                  <a:pt x="3170911" y="3729240"/>
                  <a:pt x="3169682" y="3712147"/>
                  <a:pt x="3169682" y="3702136"/>
                </a:cubicBezTo>
                <a:cubicBezTo>
                  <a:pt x="3169682" y="3692126"/>
                  <a:pt x="3167713" y="3683935"/>
                  <a:pt x="3165309" y="3683935"/>
                </a:cubicBezTo>
                <a:cubicBezTo>
                  <a:pt x="3159389" y="3683935"/>
                  <a:pt x="3159720" y="3647785"/>
                  <a:pt x="3165690" y="3642444"/>
                </a:cubicBezTo>
                <a:cubicBezTo>
                  <a:pt x="3167790" y="3640565"/>
                  <a:pt x="3169684" y="3640099"/>
                  <a:pt x="3171373" y="3641045"/>
                </a:cubicBezTo>
                <a:close/>
                <a:moveTo>
                  <a:pt x="4333348" y="3639619"/>
                </a:moveTo>
                <a:cubicBezTo>
                  <a:pt x="4335495" y="3639619"/>
                  <a:pt x="4337253" y="3646742"/>
                  <a:pt x="4337253" y="3655447"/>
                </a:cubicBezTo>
                <a:cubicBezTo>
                  <a:pt x="4337253" y="3671092"/>
                  <a:pt x="4331327" y="3676672"/>
                  <a:pt x="4326564" y="3665514"/>
                </a:cubicBezTo>
                <a:cubicBezTo>
                  <a:pt x="4323404" y="3658110"/>
                  <a:pt x="4328247" y="3639619"/>
                  <a:pt x="4333348" y="3639619"/>
                </a:cubicBezTo>
                <a:close/>
                <a:moveTo>
                  <a:pt x="3189618" y="3639619"/>
                </a:moveTo>
                <a:cubicBezTo>
                  <a:pt x="3190679" y="3639619"/>
                  <a:pt x="3191547" y="3642468"/>
                  <a:pt x="3191547" y="3645950"/>
                </a:cubicBezTo>
                <a:cubicBezTo>
                  <a:pt x="3191547" y="3649432"/>
                  <a:pt x="3189462" y="3652281"/>
                  <a:pt x="3186916" y="3652281"/>
                </a:cubicBezTo>
                <a:cubicBezTo>
                  <a:pt x="3184368" y="3652281"/>
                  <a:pt x="3183500" y="3649432"/>
                  <a:pt x="3184987" y="3645950"/>
                </a:cubicBezTo>
                <a:cubicBezTo>
                  <a:pt x="3186474" y="3642468"/>
                  <a:pt x="3188557" y="3639619"/>
                  <a:pt x="3189618" y="3639619"/>
                </a:cubicBezTo>
                <a:close/>
                <a:moveTo>
                  <a:pt x="682150" y="3636920"/>
                </a:moveTo>
                <a:cubicBezTo>
                  <a:pt x="682988" y="3635911"/>
                  <a:pt x="691160" y="3636436"/>
                  <a:pt x="700310" y="3638085"/>
                </a:cubicBezTo>
                <a:cubicBezTo>
                  <a:pt x="714294" y="3640607"/>
                  <a:pt x="716734" y="3643239"/>
                  <a:pt x="715615" y="3654597"/>
                </a:cubicBezTo>
                <a:cubicBezTo>
                  <a:pt x="713678" y="3674264"/>
                  <a:pt x="698421" y="3674483"/>
                  <a:pt x="688710" y="3654982"/>
                </a:cubicBezTo>
                <a:cubicBezTo>
                  <a:pt x="684265" y="3646057"/>
                  <a:pt x="681313" y="3637928"/>
                  <a:pt x="682150" y="3636920"/>
                </a:cubicBezTo>
                <a:close/>
                <a:moveTo>
                  <a:pt x="1590882" y="3636609"/>
                </a:moveTo>
                <a:cubicBezTo>
                  <a:pt x="1596011" y="3632020"/>
                  <a:pt x="1603945" y="3642372"/>
                  <a:pt x="1604107" y="3653864"/>
                </a:cubicBezTo>
                <a:cubicBezTo>
                  <a:pt x="1604200" y="3660428"/>
                  <a:pt x="1602682" y="3659892"/>
                  <a:pt x="1593415" y="3650082"/>
                </a:cubicBezTo>
                <a:cubicBezTo>
                  <a:pt x="1587302" y="3643611"/>
                  <a:pt x="1586691" y="3640359"/>
                  <a:pt x="1590882" y="3636609"/>
                </a:cubicBezTo>
                <a:close/>
                <a:moveTo>
                  <a:pt x="4351611" y="3620852"/>
                </a:moveTo>
                <a:cubicBezTo>
                  <a:pt x="4351946" y="3620814"/>
                  <a:pt x="4352455" y="3623386"/>
                  <a:pt x="4353385" y="3628541"/>
                </a:cubicBezTo>
                <a:cubicBezTo>
                  <a:pt x="4354486" y="3634634"/>
                  <a:pt x="4358948" y="3639620"/>
                  <a:pt x="4363301" y="3639620"/>
                </a:cubicBezTo>
                <a:cubicBezTo>
                  <a:pt x="4371610" y="3639620"/>
                  <a:pt x="4378995" y="3664825"/>
                  <a:pt x="4372776" y="3671956"/>
                </a:cubicBezTo>
                <a:cubicBezTo>
                  <a:pt x="4370826" y="3674193"/>
                  <a:pt x="4369697" y="3674781"/>
                  <a:pt x="4370269" y="3673264"/>
                </a:cubicBezTo>
                <a:cubicBezTo>
                  <a:pt x="4370841" y="3671748"/>
                  <a:pt x="4366598" y="3663687"/>
                  <a:pt x="4360839" y="3655351"/>
                </a:cubicBezTo>
                <a:cubicBezTo>
                  <a:pt x="4355082" y="3647015"/>
                  <a:pt x="4350599" y="3635080"/>
                  <a:pt x="4350879" y="3628828"/>
                </a:cubicBezTo>
                <a:cubicBezTo>
                  <a:pt x="4351115" y="3623540"/>
                  <a:pt x="4351276" y="3620890"/>
                  <a:pt x="4351611" y="3620852"/>
                </a:cubicBezTo>
                <a:close/>
                <a:moveTo>
                  <a:pt x="1737013" y="3614296"/>
                </a:moveTo>
                <a:cubicBezTo>
                  <a:pt x="1729036" y="3614296"/>
                  <a:pt x="1726616" y="3617735"/>
                  <a:pt x="1726616" y="3629068"/>
                </a:cubicBezTo>
                <a:cubicBezTo>
                  <a:pt x="1726616" y="3653909"/>
                  <a:pt x="1738955" y="3660646"/>
                  <a:pt x="1751414" y="3642608"/>
                </a:cubicBezTo>
                <a:cubicBezTo>
                  <a:pt x="1760065" y="3630084"/>
                  <a:pt x="1752034" y="3614296"/>
                  <a:pt x="1737013" y="3614296"/>
                </a:cubicBezTo>
                <a:close/>
                <a:moveTo>
                  <a:pt x="807126" y="3610806"/>
                </a:moveTo>
                <a:cubicBezTo>
                  <a:pt x="808349" y="3613130"/>
                  <a:pt x="808030" y="3617221"/>
                  <a:pt x="805224" y="3621284"/>
                </a:cubicBezTo>
                <a:cubicBezTo>
                  <a:pt x="802084" y="3625831"/>
                  <a:pt x="799638" y="3625940"/>
                  <a:pt x="797792" y="3621616"/>
                </a:cubicBezTo>
                <a:cubicBezTo>
                  <a:pt x="796279" y="3618071"/>
                  <a:pt x="797171" y="3613264"/>
                  <a:pt x="799775" y="3610934"/>
                </a:cubicBezTo>
                <a:cubicBezTo>
                  <a:pt x="803137" y="3607926"/>
                  <a:pt x="805903" y="3608482"/>
                  <a:pt x="807126" y="3610806"/>
                </a:cubicBezTo>
                <a:close/>
                <a:moveTo>
                  <a:pt x="2205452" y="3601634"/>
                </a:moveTo>
                <a:cubicBezTo>
                  <a:pt x="2201844" y="3601634"/>
                  <a:pt x="2198892" y="3604483"/>
                  <a:pt x="2198892" y="3607965"/>
                </a:cubicBezTo>
                <a:cubicBezTo>
                  <a:pt x="2198892" y="3611447"/>
                  <a:pt x="2201844" y="3614296"/>
                  <a:pt x="2205452" y="3614296"/>
                </a:cubicBezTo>
                <a:cubicBezTo>
                  <a:pt x="2209059" y="3614296"/>
                  <a:pt x="2212011" y="3611447"/>
                  <a:pt x="2212011" y="3607965"/>
                </a:cubicBezTo>
                <a:cubicBezTo>
                  <a:pt x="2212011" y="3604483"/>
                  <a:pt x="2209059" y="3601634"/>
                  <a:pt x="2205452" y="3601634"/>
                </a:cubicBezTo>
                <a:close/>
                <a:moveTo>
                  <a:pt x="2052748" y="3583925"/>
                </a:moveTo>
                <a:cubicBezTo>
                  <a:pt x="2039055" y="3586759"/>
                  <a:pt x="2037764" y="3623601"/>
                  <a:pt x="2050662" y="3643478"/>
                </a:cubicBezTo>
                <a:cubicBezTo>
                  <a:pt x="2061876" y="3660759"/>
                  <a:pt x="2072077" y="3663267"/>
                  <a:pt x="2072077" y="3648742"/>
                </a:cubicBezTo>
                <a:cubicBezTo>
                  <a:pt x="2072077" y="3643018"/>
                  <a:pt x="2074153" y="3640729"/>
                  <a:pt x="2077017" y="3643293"/>
                </a:cubicBezTo>
                <a:cubicBezTo>
                  <a:pt x="2079734" y="3645724"/>
                  <a:pt x="2081070" y="3645179"/>
                  <a:pt x="2079985" y="3642083"/>
                </a:cubicBezTo>
                <a:cubicBezTo>
                  <a:pt x="2078900" y="3638987"/>
                  <a:pt x="2074374" y="3624211"/>
                  <a:pt x="2069928" y="3609249"/>
                </a:cubicBezTo>
                <a:cubicBezTo>
                  <a:pt x="2063652" y="3588133"/>
                  <a:pt x="2059807" y="3582465"/>
                  <a:pt x="2052748" y="3583925"/>
                </a:cubicBezTo>
                <a:close/>
                <a:moveTo>
                  <a:pt x="2102688" y="3582642"/>
                </a:moveTo>
                <a:cubicBezTo>
                  <a:pt x="2091905" y="3582642"/>
                  <a:pt x="2087616" y="3595839"/>
                  <a:pt x="2091367" y="3617476"/>
                </a:cubicBezTo>
                <a:cubicBezTo>
                  <a:pt x="2093125" y="3627617"/>
                  <a:pt x="2097186" y="3633289"/>
                  <a:pt x="2102688" y="3633289"/>
                </a:cubicBezTo>
                <a:cubicBezTo>
                  <a:pt x="2108190" y="3633289"/>
                  <a:pt x="2112250" y="3627617"/>
                  <a:pt x="2114008" y="3617476"/>
                </a:cubicBezTo>
                <a:cubicBezTo>
                  <a:pt x="2117759" y="3595839"/>
                  <a:pt x="2113470" y="3582642"/>
                  <a:pt x="2102688" y="3582642"/>
                </a:cubicBezTo>
                <a:close/>
                <a:moveTo>
                  <a:pt x="2147146" y="3571020"/>
                </a:moveTo>
                <a:cubicBezTo>
                  <a:pt x="2141182" y="3572202"/>
                  <a:pt x="2137807" y="3585205"/>
                  <a:pt x="2137738" y="3608493"/>
                </a:cubicBezTo>
                <a:cubicBezTo>
                  <a:pt x="2137660" y="3635013"/>
                  <a:pt x="2140599" y="3640832"/>
                  <a:pt x="2152797" y="3638304"/>
                </a:cubicBezTo>
                <a:cubicBezTo>
                  <a:pt x="2160233" y="3636763"/>
                  <a:pt x="2161723" y="3631816"/>
                  <a:pt x="2161723" y="3608655"/>
                </a:cubicBezTo>
                <a:cubicBezTo>
                  <a:pt x="2161723" y="3588863"/>
                  <a:pt x="2159482" y="3578834"/>
                  <a:pt x="2153945" y="3573836"/>
                </a:cubicBezTo>
                <a:cubicBezTo>
                  <a:pt x="2151409" y="3571546"/>
                  <a:pt x="2149133" y="3570627"/>
                  <a:pt x="2147146" y="3571020"/>
                </a:cubicBezTo>
                <a:close/>
                <a:moveTo>
                  <a:pt x="1798001" y="3564738"/>
                </a:moveTo>
                <a:cubicBezTo>
                  <a:pt x="1781204" y="3569368"/>
                  <a:pt x="1787367" y="3690226"/>
                  <a:pt x="1804404" y="3690298"/>
                </a:cubicBezTo>
                <a:cubicBezTo>
                  <a:pt x="1808521" y="3690317"/>
                  <a:pt x="1817791" y="3697377"/>
                  <a:pt x="1825007" y="3705989"/>
                </a:cubicBezTo>
                <a:cubicBezTo>
                  <a:pt x="1839540" y="3723338"/>
                  <a:pt x="1848022" y="3724009"/>
                  <a:pt x="1854833" y="3708350"/>
                </a:cubicBezTo>
                <a:cubicBezTo>
                  <a:pt x="1858206" y="3700595"/>
                  <a:pt x="1857490" y="3695239"/>
                  <a:pt x="1852022" y="3687323"/>
                </a:cubicBezTo>
                <a:cubicBezTo>
                  <a:pt x="1847987" y="3681480"/>
                  <a:pt x="1844685" y="3672630"/>
                  <a:pt x="1844685" y="3667656"/>
                </a:cubicBezTo>
                <a:cubicBezTo>
                  <a:pt x="1844685" y="3662682"/>
                  <a:pt x="1842507" y="3658612"/>
                  <a:pt x="1839844" y="3658612"/>
                </a:cubicBezTo>
                <a:cubicBezTo>
                  <a:pt x="1837182" y="3658612"/>
                  <a:pt x="1836165" y="3654231"/>
                  <a:pt x="1837584" y="3648876"/>
                </a:cubicBezTo>
                <a:cubicBezTo>
                  <a:pt x="1839003" y="3643522"/>
                  <a:pt x="1837479" y="3637647"/>
                  <a:pt x="1834195" y="3635824"/>
                </a:cubicBezTo>
                <a:cubicBezTo>
                  <a:pt x="1830912" y="3634000"/>
                  <a:pt x="1827039" y="3621768"/>
                  <a:pt x="1825589" y="3608642"/>
                </a:cubicBezTo>
                <a:cubicBezTo>
                  <a:pt x="1822611" y="3581679"/>
                  <a:pt x="1809905" y="3561458"/>
                  <a:pt x="1798001" y="3564738"/>
                </a:cubicBezTo>
                <a:close/>
                <a:moveTo>
                  <a:pt x="4146521" y="3557318"/>
                </a:moveTo>
                <a:cubicBezTo>
                  <a:pt x="4149847" y="3557318"/>
                  <a:pt x="4153705" y="3563604"/>
                  <a:pt x="4155093" y="3571287"/>
                </a:cubicBezTo>
                <a:cubicBezTo>
                  <a:pt x="4158027" y="3587536"/>
                  <a:pt x="4158105" y="3587392"/>
                  <a:pt x="4148124" y="3584178"/>
                </a:cubicBezTo>
                <a:cubicBezTo>
                  <a:pt x="4139112" y="3581276"/>
                  <a:pt x="4137681" y="3557318"/>
                  <a:pt x="4146521" y="3557318"/>
                </a:cubicBezTo>
                <a:close/>
                <a:moveTo>
                  <a:pt x="1509191" y="3547053"/>
                </a:moveTo>
                <a:cubicBezTo>
                  <a:pt x="1508732" y="3547719"/>
                  <a:pt x="1508420" y="3549938"/>
                  <a:pt x="1508315" y="3553625"/>
                </a:cubicBezTo>
                <a:cubicBezTo>
                  <a:pt x="1508125" y="3560299"/>
                  <a:pt x="1509159" y="3564039"/>
                  <a:pt x="1510612" y="3561935"/>
                </a:cubicBezTo>
                <a:cubicBezTo>
                  <a:pt x="1512065" y="3559831"/>
                  <a:pt x="1512220" y="3554371"/>
                  <a:pt x="1510957" y="3549800"/>
                </a:cubicBezTo>
                <a:lnTo>
                  <a:pt x="1510957" y="3549800"/>
                </a:lnTo>
                <a:cubicBezTo>
                  <a:pt x="1510259" y="3547275"/>
                  <a:pt x="1509651" y="3546388"/>
                  <a:pt x="1509191" y="3547053"/>
                </a:cubicBezTo>
                <a:close/>
                <a:moveTo>
                  <a:pt x="4384535" y="3546663"/>
                </a:moveTo>
                <a:cubicBezTo>
                  <a:pt x="4381046" y="3548684"/>
                  <a:pt x="4382082" y="3550184"/>
                  <a:pt x="4387177" y="3550488"/>
                </a:cubicBezTo>
                <a:cubicBezTo>
                  <a:pt x="4391786" y="3550763"/>
                  <a:pt x="4394370" y="3549267"/>
                  <a:pt x="4392916" y="3547163"/>
                </a:cubicBezTo>
                <a:lnTo>
                  <a:pt x="4392916" y="3547162"/>
                </a:lnTo>
                <a:cubicBezTo>
                  <a:pt x="4391463" y="3545059"/>
                  <a:pt x="4387691" y="3544834"/>
                  <a:pt x="4384535" y="3546663"/>
                </a:cubicBezTo>
                <a:close/>
                <a:moveTo>
                  <a:pt x="2522488" y="3535161"/>
                </a:moveTo>
                <a:cubicBezTo>
                  <a:pt x="2507315" y="3535161"/>
                  <a:pt x="2502057" y="3552202"/>
                  <a:pt x="2512028" y="3569062"/>
                </a:cubicBezTo>
                <a:cubicBezTo>
                  <a:pt x="2521362" y="3584844"/>
                  <a:pt x="2530250" y="3584610"/>
                  <a:pt x="2537303" y="3568397"/>
                </a:cubicBezTo>
                <a:cubicBezTo>
                  <a:pt x="2543826" y="3553401"/>
                  <a:pt x="2535696" y="3535161"/>
                  <a:pt x="2522488" y="3535161"/>
                </a:cubicBezTo>
                <a:close/>
                <a:moveTo>
                  <a:pt x="4512472" y="3529100"/>
                </a:moveTo>
                <a:cubicBezTo>
                  <a:pt x="4518537" y="3534527"/>
                  <a:pt x="4517405" y="3538326"/>
                  <a:pt x="4509725" y="3538326"/>
                </a:cubicBezTo>
                <a:cubicBezTo>
                  <a:pt x="4505975" y="3538326"/>
                  <a:pt x="4504144" y="3535430"/>
                  <a:pt x="4505654" y="3531892"/>
                </a:cubicBezTo>
                <a:cubicBezTo>
                  <a:pt x="4507165" y="3528353"/>
                  <a:pt x="4510233" y="3527096"/>
                  <a:pt x="4512472" y="3529100"/>
                </a:cubicBezTo>
                <a:close/>
                <a:moveTo>
                  <a:pt x="1784685" y="3528061"/>
                </a:moveTo>
                <a:cubicBezTo>
                  <a:pt x="1785145" y="3527396"/>
                  <a:pt x="1785753" y="3528283"/>
                  <a:pt x="1786451" y="3530808"/>
                </a:cubicBezTo>
                <a:cubicBezTo>
                  <a:pt x="1787714" y="3535378"/>
                  <a:pt x="1787559" y="3540839"/>
                  <a:pt x="1786106" y="3542942"/>
                </a:cubicBezTo>
                <a:cubicBezTo>
                  <a:pt x="1784653" y="3545046"/>
                  <a:pt x="1783620" y="3541307"/>
                  <a:pt x="1783809" y="3534633"/>
                </a:cubicBezTo>
                <a:cubicBezTo>
                  <a:pt x="1783914" y="3530946"/>
                  <a:pt x="1784226" y="3528727"/>
                  <a:pt x="1784685" y="3528061"/>
                </a:cubicBezTo>
                <a:close/>
                <a:moveTo>
                  <a:pt x="2708921" y="3527919"/>
                </a:moveTo>
                <a:cubicBezTo>
                  <a:pt x="2712790" y="3526048"/>
                  <a:pt x="2717257" y="3527196"/>
                  <a:pt x="2719644" y="3532655"/>
                </a:cubicBezTo>
                <a:cubicBezTo>
                  <a:pt x="2725875" y="3546899"/>
                  <a:pt x="2724328" y="3550987"/>
                  <a:pt x="2712711" y="3550987"/>
                </a:cubicBezTo>
                <a:cubicBezTo>
                  <a:pt x="2705809" y="3550987"/>
                  <a:pt x="2701779" y="3547414"/>
                  <a:pt x="2701779" y="3541293"/>
                </a:cubicBezTo>
                <a:cubicBezTo>
                  <a:pt x="2701779" y="3534679"/>
                  <a:pt x="2705051" y="3529790"/>
                  <a:pt x="2708921" y="3527919"/>
                </a:cubicBezTo>
                <a:close/>
                <a:moveTo>
                  <a:pt x="4454649" y="3527292"/>
                </a:moveTo>
                <a:cubicBezTo>
                  <a:pt x="4457341" y="3526735"/>
                  <a:pt x="4459694" y="3529043"/>
                  <a:pt x="4459694" y="3534633"/>
                </a:cubicBezTo>
                <a:cubicBezTo>
                  <a:pt x="4459694" y="3540146"/>
                  <a:pt x="4456578" y="3544657"/>
                  <a:pt x="4452770" y="3544657"/>
                </a:cubicBezTo>
                <a:cubicBezTo>
                  <a:pt x="4448962" y="3544657"/>
                  <a:pt x="4446626" y="3541273"/>
                  <a:pt x="4447578" y="3537139"/>
                </a:cubicBezTo>
                <a:cubicBezTo>
                  <a:pt x="4448929" y="3531270"/>
                  <a:pt x="4451958" y="3527848"/>
                  <a:pt x="4454649" y="3527292"/>
                </a:cubicBezTo>
                <a:close/>
                <a:moveTo>
                  <a:pt x="4330693" y="3513002"/>
                </a:moveTo>
                <a:cubicBezTo>
                  <a:pt x="4334301" y="3513002"/>
                  <a:pt x="4337253" y="3517444"/>
                  <a:pt x="4337253" y="3522872"/>
                </a:cubicBezTo>
                <a:cubicBezTo>
                  <a:pt x="4337253" y="3528301"/>
                  <a:pt x="4339220" y="3530981"/>
                  <a:pt x="4341625" y="3528830"/>
                </a:cubicBezTo>
                <a:cubicBezTo>
                  <a:pt x="4344031" y="3526678"/>
                  <a:pt x="4345998" y="3527934"/>
                  <a:pt x="4345998" y="3531621"/>
                </a:cubicBezTo>
                <a:cubicBezTo>
                  <a:pt x="4345998" y="3538577"/>
                  <a:pt x="4344596" y="3538808"/>
                  <a:pt x="4331787" y="3533962"/>
                </a:cubicBezTo>
                <a:cubicBezTo>
                  <a:pt x="4322453" y="3530431"/>
                  <a:pt x="4321544" y="3513002"/>
                  <a:pt x="4330693" y="3513002"/>
                </a:cubicBezTo>
                <a:close/>
                <a:moveTo>
                  <a:pt x="1781278" y="3513002"/>
                </a:moveTo>
                <a:cubicBezTo>
                  <a:pt x="1778259" y="3513002"/>
                  <a:pt x="1773340" y="3517275"/>
                  <a:pt x="1770345" y="3522499"/>
                </a:cubicBezTo>
                <a:cubicBezTo>
                  <a:pt x="1766002" y="3530075"/>
                  <a:pt x="1766002" y="3533915"/>
                  <a:pt x="1770345" y="3541491"/>
                </a:cubicBezTo>
                <a:cubicBezTo>
                  <a:pt x="1773340" y="3546714"/>
                  <a:pt x="1778259" y="3550987"/>
                  <a:pt x="1781278" y="3550987"/>
                </a:cubicBezTo>
                <a:cubicBezTo>
                  <a:pt x="1784296" y="3550987"/>
                  <a:pt x="1789216" y="3546714"/>
                  <a:pt x="1792210" y="3541491"/>
                </a:cubicBezTo>
                <a:cubicBezTo>
                  <a:pt x="1796553" y="3533915"/>
                  <a:pt x="1796553" y="3530075"/>
                  <a:pt x="1792210" y="3522499"/>
                </a:cubicBezTo>
                <a:cubicBezTo>
                  <a:pt x="1789216" y="3517275"/>
                  <a:pt x="1784296" y="3513002"/>
                  <a:pt x="1781278" y="3513002"/>
                </a:cubicBezTo>
                <a:close/>
                <a:moveTo>
                  <a:pt x="2765727" y="3506671"/>
                </a:moveTo>
                <a:cubicBezTo>
                  <a:pt x="2772587" y="3506671"/>
                  <a:pt x="2773316" y="3511755"/>
                  <a:pt x="2771915" y="3549820"/>
                </a:cubicBezTo>
                <a:cubicBezTo>
                  <a:pt x="2771281" y="3567051"/>
                  <a:pt x="2773350" y="3581080"/>
                  <a:pt x="2777517" y="3587805"/>
                </a:cubicBezTo>
                <a:cubicBezTo>
                  <a:pt x="2785544" y="3600760"/>
                  <a:pt x="2785603" y="3645950"/>
                  <a:pt x="2777592" y="3645950"/>
                </a:cubicBezTo>
                <a:cubicBezTo>
                  <a:pt x="2774546" y="3645950"/>
                  <a:pt x="2769842" y="3639969"/>
                  <a:pt x="2767140" y="3632658"/>
                </a:cubicBezTo>
                <a:cubicBezTo>
                  <a:pt x="2763472" y="3622736"/>
                  <a:pt x="2759317" y="3620170"/>
                  <a:pt x="2750756" y="3622540"/>
                </a:cubicBezTo>
                <a:cubicBezTo>
                  <a:pt x="2743212" y="3624627"/>
                  <a:pt x="2737404" y="3622134"/>
                  <a:pt x="2733789" y="3615257"/>
                </a:cubicBezTo>
                <a:cubicBezTo>
                  <a:pt x="2726359" y="3601118"/>
                  <a:pt x="2726680" y="3595303"/>
                  <a:pt x="2734887" y="3595303"/>
                </a:cubicBezTo>
                <a:cubicBezTo>
                  <a:pt x="2747519" y="3595303"/>
                  <a:pt x="2755756" y="3575677"/>
                  <a:pt x="2757753" y="3540827"/>
                </a:cubicBezTo>
                <a:cubicBezTo>
                  <a:pt x="2759094" y="3517425"/>
                  <a:pt x="2761605" y="3506671"/>
                  <a:pt x="2765727" y="3506671"/>
                </a:cubicBezTo>
                <a:close/>
                <a:moveTo>
                  <a:pt x="740522" y="3475017"/>
                </a:moveTo>
                <a:cubicBezTo>
                  <a:pt x="744129" y="3475017"/>
                  <a:pt x="747081" y="3479290"/>
                  <a:pt x="747081" y="3484514"/>
                </a:cubicBezTo>
                <a:cubicBezTo>
                  <a:pt x="747081" y="3489737"/>
                  <a:pt x="744129" y="3494010"/>
                  <a:pt x="740522" y="3494010"/>
                </a:cubicBezTo>
                <a:cubicBezTo>
                  <a:pt x="736914" y="3494010"/>
                  <a:pt x="733962" y="3489737"/>
                  <a:pt x="733962" y="3484514"/>
                </a:cubicBezTo>
                <a:cubicBezTo>
                  <a:pt x="733962" y="3479290"/>
                  <a:pt x="736914" y="3475017"/>
                  <a:pt x="740522" y="3475017"/>
                </a:cubicBezTo>
                <a:close/>
                <a:moveTo>
                  <a:pt x="2881943" y="3462355"/>
                </a:moveTo>
                <a:cubicBezTo>
                  <a:pt x="2894195" y="3462355"/>
                  <a:pt x="2891755" y="3486670"/>
                  <a:pt x="2878636" y="3495324"/>
                </a:cubicBezTo>
                <a:cubicBezTo>
                  <a:pt x="2869292" y="3501488"/>
                  <a:pt x="2867766" y="3506034"/>
                  <a:pt x="2869346" y="3523011"/>
                </a:cubicBezTo>
                <a:cubicBezTo>
                  <a:pt x="2871849" y="3549903"/>
                  <a:pt x="2875441" y="3557318"/>
                  <a:pt x="2885957" y="3557318"/>
                </a:cubicBezTo>
                <a:cubicBezTo>
                  <a:pt x="2890768" y="3557318"/>
                  <a:pt x="2893487" y="3554470"/>
                  <a:pt x="2892001" y="3550987"/>
                </a:cubicBezTo>
                <a:cubicBezTo>
                  <a:pt x="2890515" y="3547505"/>
                  <a:pt x="2893450" y="3544657"/>
                  <a:pt x="2898525" y="3544657"/>
                </a:cubicBezTo>
                <a:cubicBezTo>
                  <a:pt x="2906735" y="3544657"/>
                  <a:pt x="2907560" y="3547620"/>
                  <a:pt x="2906022" y="3571563"/>
                </a:cubicBezTo>
                <a:cubicBezTo>
                  <a:pt x="2904716" y="3591896"/>
                  <a:pt x="2902259" y="3599006"/>
                  <a:pt x="2895961" y="3600666"/>
                </a:cubicBezTo>
                <a:cubicBezTo>
                  <a:pt x="2891378" y="3601875"/>
                  <a:pt x="2885758" y="3605436"/>
                  <a:pt x="2883473" y="3608579"/>
                </a:cubicBezTo>
                <a:cubicBezTo>
                  <a:pt x="2877147" y="3617286"/>
                  <a:pt x="2873437" y="3615573"/>
                  <a:pt x="2866193" y="3600603"/>
                </a:cubicBezTo>
                <a:cubicBezTo>
                  <a:pt x="2862551" y="3593071"/>
                  <a:pt x="2860640" y="3584400"/>
                  <a:pt x="2861950" y="3581332"/>
                </a:cubicBezTo>
                <a:cubicBezTo>
                  <a:pt x="2863259" y="3578266"/>
                  <a:pt x="2861976" y="3571647"/>
                  <a:pt x="2859095" y="3566625"/>
                </a:cubicBezTo>
                <a:cubicBezTo>
                  <a:pt x="2856216" y="3561602"/>
                  <a:pt x="2854647" y="3547741"/>
                  <a:pt x="2855607" y="3535822"/>
                </a:cubicBezTo>
                <a:cubicBezTo>
                  <a:pt x="2857084" y="3517519"/>
                  <a:pt x="2855474" y="3512542"/>
                  <a:pt x="2845247" y="3503796"/>
                </a:cubicBezTo>
                <a:cubicBezTo>
                  <a:pt x="2834450" y="3494563"/>
                  <a:pt x="2833721" y="3491927"/>
                  <a:pt x="2838518" y="3479481"/>
                </a:cubicBezTo>
                <a:cubicBezTo>
                  <a:pt x="2841477" y="3471803"/>
                  <a:pt x="2844199" y="3464611"/>
                  <a:pt x="2844567" y="3463500"/>
                </a:cubicBezTo>
                <a:cubicBezTo>
                  <a:pt x="2844933" y="3462388"/>
                  <a:pt x="2849312" y="3465166"/>
                  <a:pt x="2854296" y="3469672"/>
                </a:cubicBezTo>
                <a:cubicBezTo>
                  <a:pt x="2861447" y="3476138"/>
                  <a:pt x="2864488" y="3476230"/>
                  <a:pt x="2868715" y="3470111"/>
                </a:cubicBezTo>
                <a:cubicBezTo>
                  <a:pt x="2871661" y="3465846"/>
                  <a:pt x="2877614" y="3462355"/>
                  <a:pt x="2881943" y="3462355"/>
                </a:cubicBezTo>
                <a:close/>
                <a:moveTo>
                  <a:pt x="3212720" y="3424461"/>
                </a:moveTo>
                <a:cubicBezTo>
                  <a:pt x="3210761" y="3424317"/>
                  <a:pt x="3208239" y="3426087"/>
                  <a:pt x="3204212" y="3429702"/>
                </a:cubicBezTo>
                <a:cubicBezTo>
                  <a:pt x="3196994" y="3436182"/>
                  <a:pt x="3193983" y="3436409"/>
                  <a:pt x="3191529" y="3430662"/>
                </a:cubicBezTo>
                <a:cubicBezTo>
                  <a:pt x="3185716" y="3417044"/>
                  <a:pt x="3171810" y="3426461"/>
                  <a:pt x="3172515" y="3443537"/>
                </a:cubicBezTo>
                <a:cubicBezTo>
                  <a:pt x="3174170" y="3483584"/>
                  <a:pt x="3176852" y="3497988"/>
                  <a:pt x="3184563" y="3508254"/>
                </a:cubicBezTo>
                <a:cubicBezTo>
                  <a:pt x="3194326" y="3521253"/>
                  <a:pt x="3200919" y="3522226"/>
                  <a:pt x="3208164" y="3511736"/>
                </a:cubicBezTo>
                <a:cubicBezTo>
                  <a:pt x="3214518" y="3502537"/>
                  <a:pt x="3215128" y="3481348"/>
                  <a:pt x="3209038" y="3481348"/>
                </a:cubicBezTo>
                <a:cubicBezTo>
                  <a:pt x="3200919" y="3481348"/>
                  <a:pt x="3204591" y="3463861"/>
                  <a:pt x="3213411" y="3460521"/>
                </a:cubicBezTo>
                <a:cubicBezTo>
                  <a:pt x="3222848" y="3456948"/>
                  <a:pt x="3224502" y="3445839"/>
                  <a:pt x="3217851" y="3430701"/>
                </a:cubicBezTo>
                <a:cubicBezTo>
                  <a:pt x="3216075" y="3426661"/>
                  <a:pt x="3214679" y="3424604"/>
                  <a:pt x="3212720" y="3424461"/>
                </a:cubicBezTo>
                <a:close/>
                <a:moveTo>
                  <a:pt x="4431270" y="3405378"/>
                </a:moveTo>
                <a:cubicBezTo>
                  <a:pt x="4439132" y="3405378"/>
                  <a:pt x="4442203" y="3408789"/>
                  <a:pt x="4442203" y="3417522"/>
                </a:cubicBezTo>
                <a:cubicBezTo>
                  <a:pt x="4442203" y="3424201"/>
                  <a:pt x="4443397" y="3434172"/>
                  <a:pt x="4444857" y="3439680"/>
                </a:cubicBezTo>
                <a:cubicBezTo>
                  <a:pt x="4448227" y="3452396"/>
                  <a:pt x="4442500" y="3452457"/>
                  <a:pt x="4430057" y="3439839"/>
                </a:cubicBezTo>
                <a:cubicBezTo>
                  <a:pt x="4416418" y="3426008"/>
                  <a:pt x="4417145" y="3405378"/>
                  <a:pt x="4431270" y="3405378"/>
                </a:cubicBezTo>
                <a:close/>
                <a:moveTo>
                  <a:pt x="549890" y="3399047"/>
                </a:moveTo>
                <a:cubicBezTo>
                  <a:pt x="545314" y="3399047"/>
                  <a:pt x="544506" y="3420204"/>
                  <a:pt x="548842" y="3426481"/>
                </a:cubicBezTo>
                <a:cubicBezTo>
                  <a:pt x="550445" y="3428802"/>
                  <a:pt x="554873" y="3430371"/>
                  <a:pt x="558681" y="3429967"/>
                </a:cubicBezTo>
                <a:cubicBezTo>
                  <a:pt x="563849" y="3429419"/>
                  <a:pt x="563561" y="3428469"/>
                  <a:pt x="557546" y="3426224"/>
                </a:cubicBezTo>
                <a:cubicBezTo>
                  <a:pt x="552135" y="3424204"/>
                  <a:pt x="550205" y="3419246"/>
                  <a:pt x="551671" y="3411132"/>
                </a:cubicBezTo>
                <a:cubicBezTo>
                  <a:pt x="552871" y="3404485"/>
                  <a:pt x="552070" y="3399047"/>
                  <a:pt x="549890" y="3399047"/>
                </a:cubicBezTo>
                <a:close/>
                <a:moveTo>
                  <a:pt x="4493782" y="3361062"/>
                </a:moveTo>
                <a:cubicBezTo>
                  <a:pt x="4504549" y="3361062"/>
                  <a:pt x="4512737" y="3387401"/>
                  <a:pt x="4515201" y="3429955"/>
                </a:cubicBezTo>
                <a:cubicBezTo>
                  <a:pt x="4517467" y="3469086"/>
                  <a:pt x="4516864" y="3475017"/>
                  <a:pt x="4510617" y="3475017"/>
                </a:cubicBezTo>
                <a:cubicBezTo>
                  <a:pt x="4505926" y="3475017"/>
                  <a:pt x="4503423" y="3469697"/>
                  <a:pt x="4503423" y="3459717"/>
                </a:cubicBezTo>
                <a:cubicBezTo>
                  <a:pt x="4503423" y="3451303"/>
                  <a:pt x="4501737" y="3443469"/>
                  <a:pt x="4499676" y="3442307"/>
                </a:cubicBezTo>
                <a:cubicBezTo>
                  <a:pt x="4494542" y="3439417"/>
                  <a:pt x="4488859" y="3361062"/>
                  <a:pt x="4493782" y="3361062"/>
                </a:cubicBezTo>
                <a:close/>
                <a:moveTo>
                  <a:pt x="2909492" y="3361062"/>
                </a:moveTo>
                <a:cubicBezTo>
                  <a:pt x="2913574" y="3361062"/>
                  <a:pt x="2916052" y="3367041"/>
                  <a:pt x="2916052" y="3376889"/>
                </a:cubicBezTo>
                <a:cubicBezTo>
                  <a:pt x="2916052" y="3385593"/>
                  <a:pt x="2915560" y="3392491"/>
                  <a:pt x="2914958" y="3392216"/>
                </a:cubicBezTo>
                <a:cubicBezTo>
                  <a:pt x="2914358" y="3391942"/>
                  <a:pt x="2911405" y="3390279"/>
                  <a:pt x="2908399" y="3388523"/>
                </a:cubicBezTo>
                <a:cubicBezTo>
                  <a:pt x="2900670" y="3384008"/>
                  <a:pt x="2901584" y="3361062"/>
                  <a:pt x="2909492" y="3361062"/>
                </a:cubicBezTo>
                <a:close/>
                <a:moveTo>
                  <a:pt x="4276032" y="3354731"/>
                </a:moveTo>
                <a:cubicBezTo>
                  <a:pt x="4271735" y="3354731"/>
                  <a:pt x="4267027" y="3359237"/>
                  <a:pt x="4265567" y="3364745"/>
                </a:cubicBezTo>
                <a:cubicBezTo>
                  <a:pt x="4261468" y="3380210"/>
                  <a:pt x="4262429" y="3405378"/>
                  <a:pt x="4267117" y="3405378"/>
                </a:cubicBezTo>
                <a:cubicBezTo>
                  <a:pt x="4269429" y="3405378"/>
                  <a:pt x="4273441" y="3416773"/>
                  <a:pt x="4276032" y="3430701"/>
                </a:cubicBezTo>
                <a:cubicBezTo>
                  <a:pt x="4281041" y="3457634"/>
                  <a:pt x="4291986" y="3464466"/>
                  <a:pt x="4302037" y="3446933"/>
                </a:cubicBezTo>
                <a:cubicBezTo>
                  <a:pt x="4307700" y="3437054"/>
                  <a:pt x="4301464" y="3411709"/>
                  <a:pt x="4293369" y="3411709"/>
                </a:cubicBezTo>
                <a:cubicBezTo>
                  <a:pt x="4291049" y="3411709"/>
                  <a:pt x="4289150" y="3403395"/>
                  <a:pt x="4289150" y="3393234"/>
                </a:cubicBezTo>
                <a:cubicBezTo>
                  <a:pt x="4289150" y="3366871"/>
                  <a:pt x="4285014" y="3354731"/>
                  <a:pt x="4276032" y="3354731"/>
                </a:cubicBezTo>
                <a:close/>
                <a:moveTo>
                  <a:pt x="2669069" y="3336073"/>
                </a:moveTo>
                <a:cubicBezTo>
                  <a:pt x="2665559" y="3335774"/>
                  <a:pt x="2662564" y="3338266"/>
                  <a:pt x="2661312" y="3343652"/>
                </a:cubicBezTo>
                <a:cubicBezTo>
                  <a:pt x="2659866" y="3349871"/>
                  <a:pt x="2657960" y="3349759"/>
                  <a:pt x="2652411" y="3343129"/>
                </a:cubicBezTo>
                <a:cubicBezTo>
                  <a:pt x="2648409" y="3338348"/>
                  <a:pt x="2641470" y="3336475"/>
                  <a:pt x="2636395" y="3338808"/>
                </a:cubicBezTo>
                <a:cubicBezTo>
                  <a:pt x="2629019" y="3342196"/>
                  <a:pt x="2627439" y="3348247"/>
                  <a:pt x="2627439" y="3373095"/>
                </a:cubicBezTo>
                <a:cubicBezTo>
                  <a:pt x="2627439" y="3389690"/>
                  <a:pt x="2628751" y="3405167"/>
                  <a:pt x="2630354" y="3407488"/>
                </a:cubicBezTo>
                <a:cubicBezTo>
                  <a:pt x="2635193" y="3414494"/>
                  <a:pt x="2648560" y="3412235"/>
                  <a:pt x="2652210" y="3403795"/>
                </a:cubicBezTo>
                <a:cubicBezTo>
                  <a:pt x="2654092" y="3399442"/>
                  <a:pt x="2655684" y="3391608"/>
                  <a:pt x="2655748" y="3386385"/>
                </a:cubicBezTo>
                <a:cubicBezTo>
                  <a:pt x="2655811" y="3381162"/>
                  <a:pt x="2660148" y="3376006"/>
                  <a:pt x="2665384" y="3374926"/>
                </a:cubicBezTo>
                <a:cubicBezTo>
                  <a:pt x="2679476" y="3372021"/>
                  <a:pt x="2686749" y="3357158"/>
                  <a:pt x="2679914" y="3345235"/>
                </a:cubicBezTo>
                <a:cubicBezTo>
                  <a:pt x="2676604" y="3339460"/>
                  <a:pt x="2672579" y="3336371"/>
                  <a:pt x="2669069" y="3336073"/>
                </a:cubicBezTo>
                <a:close/>
                <a:moveTo>
                  <a:pt x="587549" y="3300251"/>
                </a:moveTo>
                <a:cubicBezTo>
                  <a:pt x="585292" y="3297131"/>
                  <a:pt x="581333" y="3297816"/>
                  <a:pt x="574278" y="3300379"/>
                </a:cubicBezTo>
                <a:cubicBezTo>
                  <a:pt x="564976" y="3303760"/>
                  <a:pt x="563120" y="3307703"/>
                  <a:pt x="564236" y="3321715"/>
                </a:cubicBezTo>
                <a:cubicBezTo>
                  <a:pt x="565211" y="3333958"/>
                  <a:pt x="568436" y="3339486"/>
                  <a:pt x="575444" y="3340927"/>
                </a:cubicBezTo>
                <a:cubicBezTo>
                  <a:pt x="581595" y="3342191"/>
                  <a:pt x="585283" y="3347337"/>
                  <a:pt x="585283" y="3354654"/>
                </a:cubicBezTo>
                <a:cubicBezTo>
                  <a:pt x="585283" y="3383278"/>
                  <a:pt x="595253" y="3394742"/>
                  <a:pt x="606273" y="3378788"/>
                </a:cubicBezTo>
                <a:cubicBezTo>
                  <a:pt x="614472" y="3366918"/>
                  <a:pt x="612474" y="3354943"/>
                  <a:pt x="601264" y="3348772"/>
                </a:cubicBezTo>
                <a:cubicBezTo>
                  <a:pt x="593614" y="3344562"/>
                  <a:pt x="590907" y="3338001"/>
                  <a:pt x="590611" y="3322956"/>
                </a:cubicBezTo>
                <a:cubicBezTo>
                  <a:pt x="590363" y="3310298"/>
                  <a:pt x="589807" y="3303372"/>
                  <a:pt x="587549" y="3300251"/>
                </a:cubicBezTo>
                <a:close/>
                <a:moveTo>
                  <a:pt x="4154664" y="3279903"/>
                </a:moveTo>
                <a:cubicBezTo>
                  <a:pt x="4140613" y="3277009"/>
                  <a:pt x="4136422" y="3296689"/>
                  <a:pt x="4148160" y="3310449"/>
                </a:cubicBezTo>
                <a:cubicBezTo>
                  <a:pt x="4155681" y="3319265"/>
                  <a:pt x="4156874" y="3325844"/>
                  <a:pt x="4154873" y="3347448"/>
                </a:cubicBezTo>
                <a:cubicBezTo>
                  <a:pt x="4153260" y="3364859"/>
                  <a:pt x="4154107" y="3373723"/>
                  <a:pt x="4157387" y="3373723"/>
                </a:cubicBezTo>
                <a:cubicBezTo>
                  <a:pt x="4160108" y="3373723"/>
                  <a:pt x="4162336" y="3382799"/>
                  <a:pt x="4162336" y="3393890"/>
                </a:cubicBezTo>
                <a:cubicBezTo>
                  <a:pt x="4162336" y="3405884"/>
                  <a:pt x="4166190" y="3419997"/>
                  <a:pt x="4171844" y="3428710"/>
                </a:cubicBezTo>
                <a:cubicBezTo>
                  <a:pt x="4183547" y="3446745"/>
                  <a:pt x="4187175" y="3447056"/>
                  <a:pt x="4190840" y="3430334"/>
                </a:cubicBezTo>
                <a:cubicBezTo>
                  <a:pt x="4194319" y="3414464"/>
                  <a:pt x="4189124" y="3354731"/>
                  <a:pt x="4184264" y="3354731"/>
                </a:cubicBezTo>
                <a:cubicBezTo>
                  <a:pt x="4182345" y="3354731"/>
                  <a:pt x="4179540" y="3347608"/>
                  <a:pt x="4178032" y="3338904"/>
                </a:cubicBezTo>
                <a:cubicBezTo>
                  <a:pt x="4176523" y="3330199"/>
                  <a:pt x="4172366" y="3323077"/>
                  <a:pt x="4168795" y="3323077"/>
                </a:cubicBezTo>
                <a:cubicBezTo>
                  <a:pt x="4164157" y="3323077"/>
                  <a:pt x="4162620" y="3317198"/>
                  <a:pt x="4163412" y="3302505"/>
                </a:cubicBezTo>
                <a:cubicBezTo>
                  <a:pt x="4164336" y="3285391"/>
                  <a:pt x="4162865" y="3281593"/>
                  <a:pt x="4154664" y="3279903"/>
                </a:cubicBezTo>
                <a:close/>
                <a:moveTo>
                  <a:pt x="3384462" y="3266400"/>
                </a:moveTo>
                <a:cubicBezTo>
                  <a:pt x="3382627" y="3266785"/>
                  <a:pt x="3381140" y="3268762"/>
                  <a:pt x="3379525" y="3272430"/>
                </a:cubicBezTo>
                <a:cubicBezTo>
                  <a:pt x="3373763" y="3285514"/>
                  <a:pt x="3374087" y="3353134"/>
                  <a:pt x="3379925" y="3355951"/>
                </a:cubicBezTo>
                <a:cubicBezTo>
                  <a:pt x="3382518" y="3357203"/>
                  <a:pt x="3384978" y="3368123"/>
                  <a:pt x="3385390" y="3380219"/>
                </a:cubicBezTo>
                <a:cubicBezTo>
                  <a:pt x="3386068" y="3400055"/>
                  <a:pt x="3384906" y="3402417"/>
                  <a:pt x="3373548" y="3404295"/>
                </a:cubicBezTo>
                <a:cubicBezTo>
                  <a:pt x="3361139" y="3406347"/>
                  <a:pt x="3360992" y="3406842"/>
                  <a:pt x="3363543" y="3438014"/>
                </a:cubicBezTo>
                <a:cubicBezTo>
                  <a:pt x="3365474" y="3461632"/>
                  <a:pt x="3368943" y="3472854"/>
                  <a:pt x="3377229" y="3482289"/>
                </a:cubicBezTo>
                <a:cubicBezTo>
                  <a:pt x="3383333" y="3489241"/>
                  <a:pt x="3388329" y="3500251"/>
                  <a:pt x="3388329" y="3506757"/>
                </a:cubicBezTo>
                <a:cubicBezTo>
                  <a:pt x="3388329" y="3513263"/>
                  <a:pt x="3390296" y="3520347"/>
                  <a:pt x="3392701" y="3522499"/>
                </a:cubicBezTo>
                <a:cubicBezTo>
                  <a:pt x="3395106" y="3524650"/>
                  <a:pt x="3397074" y="3531749"/>
                  <a:pt x="3397074" y="3538273"/>
                </a:cubicBezTo>
                <a:cubicBezTo>
                  <a:pt x="3397074" y="3544797"/>
                  <a:pt x="3401009" y="3551943"/>
                  <a:pt x="3405820" y="3554153"/>
                </a:cubicBezTo>
                <a:cubicBezTo>
                  <a:pt x="3410630" y="3556363"/>
                  <a:pt x="3414566" y="3563678"/>
                  <a:pt x="3414566" y="3570407"/>
                </a:cubicBezTo>
                <a:cubicBezTo>
                  <a:pt x="3414566" y="3577136"/>
                  <a:pt x="3416533" y="3582642"/>
                  <a:pt x="3418939" y="3582642"/>
                </a:cubicBezTo>
                <a:cubicBezTo>
                  <a:pt x="3421344" y="3582642"/>
                  <a:pt x="3423312" y="3589289"/>
                  <a:pt x="3423312" y="3597414"/>
                </a:cubicBezTo>
                <a:cubicBezTo>
                  <a:pt x="3423312" y="3605538"/>
                  <a:pt x="3424623" y="3614085"/>
                  <a:pt x="3426227" y="3616406"/>
                </a:cubicBezTo>
                <a:cubicBezTo>
                  <a:pt x="3431633" y="3624232"/>
                  <a:pt x="3444220" y="3620704"/>
                  <a:pt x="3446895" y="3610613"/>
                </a:cubicBezTo>
                <a:cubicBezTo>
                  <a:pt x="3450838" y="3595735"/>
                  <a:pt x="3450106" y="3569980"/>
                  <a:pt x="3445741" y="3569980"/>
                </a:cubicBezTo>
                <a:cubicBezTo>
                  <a:pt x="3443646" y="3569980"/>
                  <a:pt x="3440597" y="3552886"/>
                  <a:pt x="3438964" y="3531995"/>
                </a:cubicBezTo>
                <a:cubicBezTo>
                  <a:pt x="3437332" y="3511103"/>
                  <a:pt x="3434331" y="3494010"/>
                  <a:pt x="3432296" y="3494010"/>
                </a:cubicBezTo>
                <a:cubicBezTo>
                  <a:pt x="3430260" y="3494010"/>
                  <a:pt x="3427201" y="3471219"/>
                  <a:pt x="3425497" y="3443363"/>
                </a:cubicBezTo>
                <a:cubicBezTo>
                  <a:pt x="3423795" y="3415507"/>
                  <a:pt x="3420637" y="3392716"/>
                  <a:pt x="3418484" y="3392716"/>
                </a:cubicBezTo>
                <a:cubicBezTo>
                  <a:pt x="3416328" y="3392716"/>
                  <a:pt x="3414566" y="3384519"/>
                  <a:pt x="3414566" y="3374498"/>
                </a:cubicBezTo>
                <a:cubicBezTo>
                  <a:pt x="3414566" y="3364479"/>
                  <a:pt x="3411711" y="3352852"/>
                  <a:pt x="3408222" y="3348660"/>
                </a:cubicBezTo>
                <a:cubicBezTo>
                  <a:pt x="3404618" y="3344329"/>
                  <a:pt x="3401314" y="3327191"/>
                  <a:pt x="3400570" y="3308969"/>
                </a:cubicBezTo>
                <a:cubicBezTo>
                  <a:pt x="3399653" y="3286524"/>
                  <a:pt x="3396926" y="3274803"/>
                  <a:pt x="3391484" y="3269917"/>
                </a:cubicBezTo>
                <a:cubicBezTo>
                  <a:pt x="3388479" y="3267220"/>
                  <a:pt x="3386297" y="3266014"/>
                  <a:pt x="3384462" y="3266400"/>
                </a:cubicBezTo>
                <a:close/>
                <a:moveTo>
                  <a:pt x="3348864" y="3248793"/>
                </a:moveTo>
                <a:cubicBezTo>
                  <a:pt x="3345735" y="3247498"/>
                  <a:pt x="3342333" y="3248277"/>
                  <a:pt x="3339131" y="3252124"/>
                </a:cubicBezTo>
                <a:cubicBezTo>
                  <a:pt x="3328886" y="3264436"/>
                  <a:pt x="3334271" y="3297753"/>
                  <a:pt x="3346508" y="3297753"/>
                </a:cubicBezTo>
                <a:cubicBezTo>
                  <a:pt x="3349679" y="3297753"/>
                  <a:pt x="3354371" y="3294095"/>
                  <a:pt x="3356934" y="3289624"/>
                </a:cubicBezTo>
                <a:cubicBezTo>
                  <a:pt x="3365185" y="3275229"/>
                  <a:pt x="3358250" y="3252677"/>
                  <a:pt x="3348864" y="3248793"/>
                </a:cubicBezTo>
                <a:close/>
                <a:moveTo>
                  <a:pt x="313287" y="3234445"/>
                </a:moveTo>
                <a:cubicBezTo>
                  <a:pt x="307242" y="3234445"/>
                  <a:pt x="305415" y="3239467"/>
                  <a:pt x="305415" y="3256085"/>
                </a:cubicBezTo>
                <a:cubicBezTo>
                  <a:pt x="305415" y="3285553"/>
                  <a:pt x="309257" y="3297753"/>
                  <a:pt x="318534" y="3297753"/>
                </a:cubicBezTo>
                <a:cubicBezTo>
                  <a:pt x="322830" y="3297753"/>
                  <a:pt x="327539" y="3293247"/>
                  <a:pt x="328998" y="3287739"/>
                </a:cubicBezTo>
                <a:cubicBezTo>
                  <a:pt x="336318" y="3260124"/>
                  <a:pt x="328747" y="3234445"/>
                  <a:pt x="313287" y="3234445"/>
                </a:cubicBezTo>
                <a:close/>
                <a:moveTo>
                  <a:pt x="4380392" y="3159521"/>
                </a:moveTo>
                <a:cubicBezTo>
                  <a:pt x="4370345" y="3161580"/>
                  <a:pt x="4370094" y="3163088"/>
                  <a:pt x="4371629" y="3212287"/>
                </a:cubicBezTo>
                <a:cubicBezTo>
                  <a:pt x="4372498" y="3240143"/>
                  <a:pt x="4374957" y="3263884"/>
                  <a:pt x="4377095" y="3265043"/>
                </a:cubicBezTo>
                <a:cubicBezTo>
                  <a:pt x="4379233" y="3266204"/>
                  <a:pt x="4380982" y="3271100"/>
                  <a:pt x="4380982" y="3275924"/>
                </a:cubicBezTo>
                <a:cubicBezTo>
                  <a:pt x="4380982" y="3287969"/>
                  <a:pt x="4393153" y="3280395"/>
                  <a:pt x="4396210" y="3266447"/>
                </a:cubicBezTo>
                <a:cubicBezTo>
                  <a:pt x="4400868" y="3245201"/>
                  <a:pt x="4400394" y="3171384"/>
                  <a:pt x="4395554" y="3164378"/>
                </a:cubicBezTo>
                <a:cubicBezTo>
                  <a:pt x="4392905" y="3160541"/>
                  <a:pt x="4386082" y="3158356"/>
                  <a:pt x="4380392" y="3159521"/>
                </a:cubicBezTo>
                <a:close/>
                <a:moveTo>
                  <a:pt x="608431" y="3076110"/>
                </a:moveTo>
                <a:cubicBezTo>
                  <a:pt x="606192" y="3077029"/>
                  <a:pt x="604049" y="3079406"/>
                  <a:pt x="602272" y="3083464"/>
                </a:cubicBezTo>
                <a:cubicBezTo>
                  <a:pt x="597025" y="3095452"/>
                  <a:pt x="597492" y="3125259"/>
                  <a:pt x="603005" y="3130192"/>
                </a:cubicBezTo>
                <a:cubicBezTo>
                  <a:pt x="605537" y="3132458"/>
                  <a:pt x="606802" y="3137611"/>
                  <a:pt x="605816" y="3141644"/>
                </a:cubicBezTo>
                <a:cubicBezTo>
                  <a:pt x="604830" y="3145678"/>
                  <a:pt x="612106" y="3161798"/>
                  <a:pt x="621984" y="3177467"/>
                </a:cubicBezTo>
                <a:lnTo>
                  <a:pt x="639944" y="3205956"/>
                </a:lnTo>
                <a:lnTo>
                  <a:pt x="626855" y="3208107"/>
                </a:lnTo>
                <a:cubicBezTo>
                  <a:pt x="616428" y="3209822"/>
                  <a:pt x="611314" y="3206007"/>
                  <a:pt x="601711" y="3189354"/>
                </a:cubicBezTo>
                <a:cubicBezTo>
                  <a:pt x="595080" y="3177856"/>
                  <a:pt x="589531" y="3171190"/>
                  <a:pt x="589378" y="3174540"/>
                </a:cubicBezTo>
                <a:cubicBezTo>
                  <a:pt x="589226" y="3177891"/>
                  <a:pt x="587275" y="3174039"/>
                  <a:pt x="585043" y="3165981"/>
                </a:cubicBezTo>
                <a:cubicBezTo>
                  <a:pt x="582810" y="3157923"/>
                  <a:pt x="579284" y="3152851"/>
                  <a:pt x="577206" y="3154710"/>
                </a:cubicBezTo>
                <a:cubicBezTo>
                  <a:pt x="575127" y="3156570"/>
                  <a:pt x="574357" y="3151055"/>
                  <a:pt x="575492" y="3142456"/>
                </a:cubicBezTo>
                <a:cubicBezTo>
                  <a:pt x="576628" y="3133856"/>
                  <a:pt x="579295" y="3126820"/>
                  <a:pt x="581420" y="3126820"/>
                </a:cubicBezTo>
                <a:cubicBezTo>
                  <a:pt x="589701" y="3126820"/>
                  <a:pt x="584711" y="3109483"/>
                  <a:pt x="574489" y="3102739"/>
                </a:cubicBezTo>
                <a:cubicBezTo>
                  <a:pt x="565212" y="3096621"/>
                  <a:pt x="562753" y="3097566"/>
                  <a:pt x="556997" y="3109463"/>
                </a:cubicBezTo>
                <a:cubicBezTo>
                  <a:pt x="548748" y="3126512"/>
                  <a:pt x="548298" y="3140196"/>
                  <a:pt x="556129" y="3135846"/>
                </a:cubicBezTo>
                <a:cubicBezTo>
                  <a:pt x="560434" y="3133454"/>
                  <a:pt x="561446" y="3137659"/>
                  <a:pt x="560000" y="3151929"/>
                </a:cubicBezTo>
                <a:cubicBezTo>
                  <a:pt x="558904" y="3162741"/>
                  <a:pt x="560595" y="3175707"/>
                  <a:pt x="563838" y="3181366"/>
                </a:cubicBezTo>
                <a:cubicBezTo>
                  <a:pt x="567027" y="3186928"/>
                  <a:pt x="571680" y="3196390"/>
                  <a:pt x="574180" y="3202392"/>
                </a:cubicBezTo>
                <a:cubicBezTo>
                  <a:pt x="591104" y="3243042"/>
                  <a:pt x="597600" y="3253960"/>
                  <a:pt x="600152" y="3246045"/>
                </a:cubicBezTo>
                <a:cubicBezTo>
                  <a:pt x="601648" y="3241406"/>
                  <a:pt x="602050" y="3244020"/>
                  <a:pt x="601046" y="3251855"/>
                </a:cubicBezTo>
                <a:cubicBezTo>
                  <a:pt x="600042" y="3259689"/>
                  <a:pt x="600966" y="3266099"/>
                  <a:pt x="603100" y="3266099"/>
                </a:cubicBezTo>
                <a:cubicBezTo>
                  <a:pt x="605235" y="3266099"/>
                  <a:pt x="608273" y="3273933"/>
                  <a:pt x="609854" y="3283509"/>
                </a:cubicBezTo>
                <a:cubicBezTo>
                  <a:pt x="611433" y="3293085"/>
                  <a:pt x="614664" y="3304479"/>
                  <a:pt x="617032" y="3308832"/>
                </a:cubicBezTo>
                <a:cubicBezTo>
                  <a:pt x="619400" y="3313184"/>
                  <a:pt x="619811" y="3316746"/>
                  <a:pt x="617946" y="3316746"/>
                </a:cubicBezTo>
                <a:cubicBezTo>
                  <a:pt x="616081" y="3316746"/>
                  <a:pt x="618792" y="3322066"/>
                  <a:pt x="623970" y="3328567"/>
                </a:cubicBezTo>
                <a:cubicBezTo>
                  <a:pt x="629148" y="3335070"/>
                  <a:pt x="633385" y="3345990"/>
                  <a:pt x="633385" y="3352836"/>
                </a:cubicBezTo>
                <a:cubicBezTo>
                  <a:pt x="633385" y="3373477"/>
                  <a:pt x="639067" y="3377284"/>
                  <a:pt x="658577" y="3369716"/>
                </a:cubicBezTo>
                <a:cubicBezTo>
                  <a:pt x="664086" y="3367578"/>
                  <a:pt x="669621" y="3359206"/>
                  <a:pt x="671077" y="3350809"/>
                </a:cubicBezTo>
                <a:cubicBezTo>
                  <a:pt x="674135" y="3333168"/>
                  <a:pt x="679944" y="3331754"/>
                  <a:pt x="690819" y="3346003"/>
                </a:cubicBezTo>
                <a:cubicBezTo>
                  <a:pt x="707087" y="3367317"/>
                  <a:pt x="719876" y="3339683"/>
                  <a:pt x="704860" y="3315662"/>
                </a:cubicBezTo>
                <a:cubicBezTo>
                  <a:pt x="696086" y="3301624"/>
                  <a:pt x="686481" y="3300707"/>
                  <a:pt x="683069" y="3313581"/>
                </a:cubicBezTo>
                <a:cubicBezTo>
                  <a:pt x="677390" y="3335002"/>
                  <a:pt x="653576" y="3313004"/>
                  <a:pt x="648396" y="3281551"/>
                </a:cubicBezTo>
                <a:cubicBezTo>
                  <a:pt x="646709" y="3271312"/>
                  <a:pt x="642464" y="3258153"/>
                  <a:pt x="638964" y="3252310"/>
                </a:cubicBezTo>
                <a:cubicBezTo>
                  <a:pt x="634458" y="3244789"/>
                  <a:pt x="633839" y="3238477"/>
                  <a:pt x="636844" y="3230703"/>
                </a:cubicBezTo>
                <a:cubicBezTo>
                  <a:pt x="640711" y="3220699"/>
                  <a:pt x="641357" y="3220941"/>
                  <a:pt x="644091" y="3233414"/>
                </a:cubicBezTo>
                <a:cubicBezTo>
                  <a:pt x="645742" y="3240944"/>
                  <a:pt x="649912" y="3247106"/>
                  <a:pt x="653357" y="3247106"/>
                </a:cubicBezTo>
                <a:cubicBezTo>
                  <a:pt x="656803" y="3247106"/>
                  <a:pt x="659622" y="3250938"/>
                  <a:pt x="659622" y="3255622"/>
                </a:cubicBezTo>
                <a:cubicBezTo>
                  <a:pt x="659622" y="3260305"/>
                  <a:pt x="663668" y="3269437"/>
                  <a:pt x="668613" y="3275916"/>
                </a:cubicBezTo>
                <a:cubicBezTo>
                  <a:pt x="676292" y="3285977"/>
                  <a:pt x="678929" y="3286497"/>
                  <a:pt x="686690" y="3279479"/>
                </a:cubicBezTo>
                <a:cubicBezTo>
                  <a:pt x="693647" y="3273190"/>
                  <a:pt x="696533" y="3273031"/>
                  <a:pt x="698996" y="3278800"/>
                </a:cubicBezTo>
                <a:cubicBezTo>
                  <a:pt x="704713" y="3292193"/>
                  <a:pt x="718657" y="3283123"/>
                  <a:pt x="718657" y="3266012"/>
                </a:cubicBezTo>
                <a:cubicBezTo>
                  <a:pt x="718657" y="3252393"/>
                  <a:pt x="716447" y="3250007"/>
                  <a:pt x="702258" y="3248307"/>
                </a:cubicBezTo>
                <a:cubicBezTo>
                  <a:pt x="686019" y="3246361"/>
                  <a:pt x="685860" y="3246074"/>
                  <a:pt x="685860" y="3218686"/>
                </a:cubicBezTo>
                <a:cubicBezTo>
                  <a:pt x="685860" y="3195981"/>
                  <a:pt x="683223" y="3186983"/>
                  <a:pt x="671132" y="3168421"/>
                </a:cubicBezTo>
                <a:cubicBezTo>
                  <a:pt x="663031" y="3155986"/>
                  <a:pt x="653493" y="3145813"/>
                  <a:pt x="649936" y="3145813"/>
                </a:cubicBezTo>
                <a:cubicBezTo>
                  <a:pt x="638352" y="3145813"/>
                  <a:pt x="625360" y="3123579"/>
                  <a:pt x="623889" y="3101236"/>
                </a:cubicBezTo>
                <a:cubicBezTo>
                  <a:pt x="622735" y="3083732"/>
                  <a:pt x="615150" y="3073356"/>
                  <a:pt x="608431" y="3076110"/>
                </a:cubicBezTo>
                <a:close/>
                <a:moveTo>
                  <a:pt x="299116" y="2844933"/>
                </a:moveTo>
                <a:cubicBezTo>
                  <a:pt x="303196" y="2846859"/>
                  <a:pt x="305415" y="2851711"/>
                  <a:pt x="305415" y="2859317"/>
                </a:cubicBezTo>
                <a:cubicBezTo>
                  <a:pt x="305415" y="2865615"/>
                  <a:pt x="308538" y="2877223"/>
                  <a:pt x="312354" y="2885111"/>
                </a:cubicBezTo>
                <a:cubicBezTo>
                  <a:pt x="317852" y="2896473"/>
                  <a:pt x="318194" y="2901370"/>
                  <a:pt x="314006" y="2908678"/>
                </a:cubicBezTo>
                <a:cubicBezTo>
                  <a:pt x="311097" y="2913751"/>
                  <a:pt x="306217" y="2917902"/>
                  <a:pt x="303161" y="2917902"/>
                </a:cubicBezTo>
                <a:cubicBezTo>
                  <a:pt x="300106" y="2917902"/>
                  <a:pt x="296536" y="2921936"/>
                  <a:pt x="295229" y="2926867"/>
                </a:cubicBezTo>
                <a:cubicBezTo>
                  <a:pt x="292244" y="2938128"/>
                  <a:pt x="296760" y="3007519"/>
                  <a:pt x="301032" y="3016030"/>
                </a:cubicBezTo>
                <a:cubicBezTo>
                  <a:pt x="302780" y="3019512"/>
                  <a:pt x="305502" y="3030195"/>
                  <a:pt x="307082" y="3039770"/>
                </a:cubicBezTo>
                <a:cubicBezTo>
                  <a:pt x="308662" y="3049346"/>
                  <a:pt x="311885" y="3057181"/>
                  <a:pt x="314244" y="3057181"/>
                </a:cubicBezTo>
                <a:cubicBezTo>
                  <a:pt x="321268" y="3057181"/>
                  <a:pt x="319314" y="3111671"/>
                  <a:pt x="311975" y="3120489"/>
                </a:cubicBezTo>
                <a:cubicBezTo>
                  <a:pt x="302206" y="3132227"/>
                  <a:pt x="303689" y="3156344"/>
                  <a:pt x="314431" y="3160411"/>
                </a:cubicBezTo>
                <a:cubicBezTo>
                  <a:pt x="319389" y="3162288"/>
                  <a:pt x="323092" y="3167606"/>
                  <a:pt x="322659" y="3172228"/>
                </a:cubicBezTo>
                <a:cubicBezTo>
                  <a:pt x="320920" y="3190782"/>
                  <a:pt x="323366" y="3196459"/>
                  <a:pt x="333101" y="3196459"/>
                </a:cubicBezTo>
                <a:cubicBezTo>
                  <a:pt x="346142" y="3196459"/>
                  <a:pt x="355695" y="3221025"/>
                  <a:pt x="351673" y="3244221"/>
                </a:cubicBezTo>
                <a:cubicBezTo>
                  <a:pt x="349397" y="3257353"/>
                  <a:pt x="350784" y="3263404"/>
                  <a:pt x="357674" y="3270391"/>
                </a:cubicBezTo>
                <a:cubicBezTo>
                  <a:pt x="368216" y="3281081"/>
                  <a:pt x="369336" y="3294899"/>
                  <a:pt x="360077" y="3300043"/>
                </a:cubicBezTo>
                <a:cubicBezTo>
                  <a:pt x="350697" y="3305254"/>
                  <a:pt x="351979" y="3331760"/>
                  <a:pt x="362263" y="3345235"/>
                </a:cubicBezTo>
                <a:cubicBezTo>
                  <a:pt x="367074" y="3351537"/>
                  <a:pt x="371009" y="3363374"/>
                  <a:pt x="371009" y="3371539"/>
                </a:cubicBezTo>
                <a:cubicBezTo>
                  <a:pt x="371009" y="3383203"/>
                  <a:pt x="368637" y="3386385"/>
                  <a:pt x="359940" y="3386385"/>
                </a:cubicBezTo>
                <a:cubicBezTo>
                  <a:pt x="348442" y="3386385"/>
                  <a:pt x="339041" y="3405778"/>
                  <a:pt x="348358" y="3410274"/>
                </a:cubicBezTo>
                <a:cubicBezTo>
                  <a:pt x="351196" y="3411643"/>
                  <a:pt x="353518" y="3421320"/>
                  <a:pt x="353518" y="3431779"/>
                </a:cubicBezTo>
                <a:cubicBezTo>
                  <a:pt x="353518" y="3446987"/>
                  <a:pt x="356080" y="3452194"/>
                  <a:pt x="366316" y="3457788"/>
                </a:cubicBezTo>
                <a:cubicBezTo>
                  <a:pt x="378646" y="3464526"/>
                  <a:pt x="388501" y="3484868"/>
                  <a:pt x="388501" y="3503581"/>
                </a:cubicBezTo>
                <a:cubicBezTo>
                  <a:pt x="388501" y="3508518"/>
                  <a:pt x="392437" y="3515606"/>
                  <a:pt x="397247" y="3519333"/>
                </a:cubicBezTo>
                <a:cubicBezTo>
                  <a:pt x="402057" y="3523060"/>
                  <a:pt x="405993" y="3531897"/>
                  <a:pt x="405993" y="3538971"/>
                </a:cubicBezTo>
                <a:cubicBezTo>
                  <a:pt x="405993" y="3546044"/>
                  <a:pt x="410912" y="3561170"/>
                  <a:pt x="416925" y="3572583"/>
                </a:cubicBezTo>
                <a:cubicBezTo>
                  <a:pt x="438773" y="3614051"/>
                  <a:pt x="425890" y="3621313"/>
                  <a:pt x="400289" y="3581960"/>
                </a:cubicBezTo>
                <a:cubicBezTo>
                  <a:pt x="391139" y="3567895"/>
                  <a:pt x="379425" y="3544489"/>
                  <a:pt x="374258" y="3529946"/>
                </a:cubicBezTo>
                <a:cubicBezTo>
                  <a:pt x="369091" y="3515404"/>
                  <a:pt x="361327" y="3499784"/>
                  <a:pt x="357004" y="3495233"/>
                </a:cubicBezTo>
                <a:cubicBezTo>
                  <a:pt x="352682" y="3490684"/>
                  <a:pt x="349145" y="3480338"/>
                  <a:pt x="349145" y="3472244"/>
                </a:cubicBezTo>
                <a:cubicBezTo>
                  <a:pt x="349145" y="3462865"/>
                  <a:pt x="343594" y="3451398"/>
                  <a:pt x="333840" y="3440626"/>
                </a:cubicBezTo>
                <a:cubicBezTo>
                  <a:pt x="325355" y="3431258"/>
                  <a:pt x="318534" y="3418093"/>
                  <a:pt x="318534" y="3411084"/>
                </a:cubicBezTo>
                <a:cubicBezTo>
                  <a:pt x="318534" y="3404131"/>
                  <a:pt x="313615" y="3391841"/>
                  <a:pt x="307602" y="3383774"/>
                </a:cubicBezTo>
                <a:cubicBezTo>
                  <a:pt x="301589" y="3375707"/>
                  <a:pt x="296670" y="3365833"/>
                  <a:pt x="296670" y="3361833"/>
                </a:cubicBezTo>
                <a:cubicBezTo>
                  <a:pt x="296670" y="3357832"/>
                  <a:pt x="294210" y="3348528"/>
                  <a:pt x="291204" y="3341156"/>
                </a:cubicBezTo>
                <a:cubicBezTo>
                  <a:pt x="286831" y="3330434"/>
                  <a:pt x="286831" y="3327180"/>
                  <a:pt x="291204" y="3324887"/>
                </a:cubicBezTo>
                <a:cubicBezTo>
                  <a:pt x="297713" y="3321474"/>
                  <a:pt x="298538" y="3293842"/>
                  <a:pt x="292297" y="3288257"/>
                </a:cubicBezTo>
                <a:cubicBezTo>
                  <a:pt x="289891" y="3286105"/>
                  <a:pt x="287924" y="3277123"/>
                  <a:pt x="287924" y="3268298"/>
                </a:cubicBezTo>
                <a:cubicBezTo>
                  <a:pt x="287924" y="3257662"/>
                  <a:pt x="285022" y="3251153"/>
                  <a:pt x="279316" y="3248993"/>
                </a:cubicBezTo>
                <a:cubicBezTo>
                  <a:pt x="271869" y="3246174"/>
                  <a:pt x="270836" y="3240854"/>
                  <a:pt x="271663" y="3209582"/>
                </a:cubicBezTo>
                <a:cubicBezTo>
                  <a:pt x="272576" y="3175025"/>
                  <a:pt x="271877" y="3172444"/>
                  <a:pt x="255824" y="3151135"/>
                </a:cubicBezTo>
                <a:cubicBezTo>
                  <a:pt x="243739" y="3135092"/>
                  <a:pt x="239448" y="3124700"/>
                  <a:pt x="240519" y="3114065"/>
                </a:cubicBezTo>
                <a:cubicBezTo>
                  <a:pt x="242026" y="3099109"/>
                  <a:pt x="262146" y="3077495"/>
                  <a:pt x="275363" y="3076636"/>
                </a:cubicBezTo>
                <a:cubicBezTo>
                  <a:pt x="279277" y="3076381"/>
                  <a:pt x="284521" y="3072612"/>
                  <a:pt x="287016" y="3068260"/>
                </a:cubicBezTo>
                <a:cubicBezTo>
                  <a:pt x="293564" y="3056837"/>
                  <a:pt x="281862" y="3019213"/>
                  <a:pt x="271736" y="3019134"/>
                </a:cubicBezTo>
                <a:cubicBezTo>
                  <a:pt x="267411" y="3019102"/>
                  <a:pt x="256985" y="3007731"/>
                  <a:pt x="248567" y="2993872"/>
                </a:cubicBezTo>
                <a:cubicBezTo>
                  <a:pt x="236873" y="2974617"/>
                  <a:pt x="230028" y="2968658"/>
                  <a:pt x="219553" y="2968611"/>
                </a:cubicBezTo>
                <a:cubicBezTo>
                  <a:pt x="209719" y="2968566"/>
                  <a:pt x="203783" y="2963994"/>
                  <a:pt x="198550" y="2952433"/>
                </a:cubicBezTo>
                <a:cubicBezTo>
                  <a:pt x="188371" y="2929942"/>
                  <a:pt x="193259" y="2911571"/>
                  <a:pt x="209422" y="2911571"/>
                </a:cubicBezTo>
                <a:cubicBezTo>
                  <a:pt x="219680" y="2911571"/>
                  <a:pt x="222747" y="2908178"/>
                  <a:pt x="225158" y="2894161"/>
                </a:cubicBezTo>
                <a:cubicBezTo>
                  <a:pt x="228039" y="2877407"/>
                  <a:pt x="237932" y="2861545"/>
                  <a:pt x="245762" y="2861125"/>
                </a:cubicBezTo>
                <a:cubicBezTo>
                  <a:pt x="247826" y="2861014"/>
                  <a:pt x="248389" y="2867420"/>
                  <a:pt x="247013" y="2875360"/>
                </a:cubicBezTo>
                <a:cubicBezTo>
                  <a:pt x="240820" y="2911084"/>
                  <a:pt x="258686" y="2935855"/>
                  <a:pt x="275118" y="2914326"/>
                </a:cubicBezTo>
                <a:cubicBezTo>
                  <a:pt x="285388" y="2900871"/>
                  <a:pt x="285718" y="2890590"/>
                  <a:pt x="276532" y="2870294"/>
                </a:cubicBezTo>
                <a:cubicBezTo>
                  <a:pt x="269749" y="2855307"/>
                  <a:pt x="269922" y="2854561"/>
                  <a:pt x="281659" y="2848100"/>
                </a:cubicBezTo>
                <a:cubicBezTo>
                  <a:pt x="289097" y="2844006"/>
                  <a:pt x="295037" y="2843007"/>
                  <a:pt x="299116" y="2844933"/>
                </a:cubicBezTo>
                <a:close/>
                <a:moveTo>
                  <a:pt x="4347140" y="2808314"/>
                </a:moveTo>
                <a:cubicBezTo>
                  <a:pt x="4337315" y="2807335"/>
                  <a:pt x="4335235" y="2809562"/>
                  <a:pt x="4335975" y="2820272"/>
                </a:cubicBezTo>
                <a:cubicBezTo>
                  <a:pt x="4336814" y="2832429"/>
                  <a:pt x="4335100" y="2833218"/>
                  <a:pt x="4313472" y="2830622"/>
                </a:cubicBezTo>
                <a:cubicBezTo>
                  <a:pt x="4292375" y="2828089"/>
                  <a:pt x="4289759" y="2829181"/>
                  <a:pt x="4287024" y="2841656"/>
                </a:cubicBezTo>
                <a:cubicBezTo>
                  <a:pt x="4285062" y="2850604"/>
                  <a:pt x="4286448" y="2859434"/>
                  <a:pt x="4290942" y="2866625"/>
                </a:cubicBezTo>
                <a:cubicBezTo>
                  <a:pt x="4298778" y="2879159"/>
                  <a:pt x="4300112" y="2892578"/>
                  <a:pt x="4293523" y="2892578"/>
                </a:cubicBezTo>
                <a:cubicBezTo>
                  <a:pt x="4285230" y="2892578"/>
                  <a:pt x="4289172" y="2910727"/>
                  <a:pt x="4298383" y="2914961"/>
                </a:cubicBezTo>
                <a:cubicBezTo>
                  <a:pt x="4308883" y="2919785"/>
                  <a:pt x="4326494" y="2899832"/>
                  <a:pt x="4316481" y="2894457"/>
                </a:cubicBezTo>
                <a:cubicBezTo>
                  <a:pt x="4307136" y="2889442"/>
                  <a:pt x="4310473" y="2873571"/>
                  <a:pt x="4322232" y="2867098"/>
                </a:cubicBezTo>
                <a:cubicBezTo>
                  <a:pt x="4337564" y="2858659"/>
                  <a:pt x="4336902" y="2858163"/>
                  <a:pt x="4344228" y="2883547"/>
                </a:cubicBezTo>
                <a:cubicBezTo>
                  <a:pt x="4350698" y="2905968"/>
                  <a:pt x="4349183" y="2930563"/>
                  <a:pt x="4341331" y="2930563"/>
                </a:cubicBezTo>
                <a:cubicBezTo>
                  <a:pt x="4336075" y="2930563"/>
                  <a:pt x="4335993" y="2947834"/>
                  <a:pt x="4341235" y="2950611"/>
                </a:cubicBezTo>
                <a:cubicBezTo>
                  <a:pt x="4343426" y="2951772"/>
                  <a:pt x="4345760" y="2964117"/>
                  <a:pt x="4346422" y="2978045"/>
                </a:cubicBezTo>
                <a:cubicBezTo>
                  <a:pt x="4347085" y="2991973"/>
                  <a:pt x="4349414" y="3006834"/>
                  <a:pt x="4351599" y="3011069"/>
                </a:cubicBezTo>
                <a:cubicBezTo>
                  <a:pt x="4353784" y="3015304"/>
                  <a:pt x="4354720" y="3022427"/>
                  <a:pt x="4353681" y="3026896"/>
                </a:cubicBezTo>
                <a:cubicBezTo>
                  <a:pt x="4352641" y="3031366"/>
                  <a:pt x="4354914" y="3038493"/>
                  <a:pt x="4358733" y="3042735"/>
                </a:cubicBezTo>
                <a:cubicBezTo>
                  <a:pt x="4367551" y="3052530"/>
                  <a:pt x="4367318" y="3052543"/>
                  <a:pt x="4374735" y="3041806"/>
                </a:cubicBezTo>
                <a:cubicBezTo>
                  <a:pt x="4381984" y="3031311"/>
                  <a:pt x="4382916" y="3015342"/>
                  <a:pt x="4376609" y="3009699"/>
                </a:cubicBezTo>
                <a:cubicBezTo>
                  <a:pt x="4374203" y="3007547"/>
                  <a:pt x="4372236" y="2993135"/>
                  <a:pt x="4372236" y="2977671"/>
                </a:cubicBezTo>
                <a:cubicBezTo>
                  <a:pt x="4372236" y="2962208"/>
                  <a:pt x="4374203" y="2949556"/>
                  <a:pt x="4376609" y="2949556"/>
                </a:cubicBezTo>
                <a:cubicBezTo>
                  <a:pt x="4382749" y="2949556"/>
                  <a:pt x="4382065" y="2928334"/>
                  <a:pt x="4375625" y="2919010"/>
                </a:cubicBezTo>
                <a:cubicBezTo>
                  <a:pt x="4371800" y="2913473"/>
                  <a:pt x="4371563" y="2908132"/>
                  <a:pt x="4374793" y="2900334"/>
                </a:cubicBezTo>
                <a:cubicBezTo>
                  <a:pt x="4380909" y="2885567"/>
                  <a:pt x="4382369" y="2841931"/>
                  <a:pt x="4376745" y="2841931"/>
                </a:cubicBezTo>
                <a:cubicBezTo>
                  <a:pt x="4374265" y="2841931"/>
                  <a:pt x="4372236" y="2838879"/>
                  <a:pt x="4372236" y="2835149"/>
                </a:cubicBezTo>
                <a:cubicBezTo>
                  <a:pt x="4372236" y="2823118"/>
                  <a:pt x="4359546" y="2809548"/>
                  <a:pt x="4347140" y="2808314"/>
                </a:cubicBezTo>
                <a:close/>
                <a:moveTo>
                  <a:pt x="185194" y="2800466"/>
                </a:moveTo>
                <a:cubicBezTo>
                  <a:pt x="189412" y="2798867"/>
                  <a:pt x="195472" y="2799995"/>
                  <a:pt x="202843" y="2804051"/>
                </a:cubicBezTo>
                <a:cubicBezTo>
                  <a:pt x="212914" y="2809595"/>
                  <a:pt x="214175" y="2812194"/>
                  <a:pt x="209063" y="2816874"/>
                </a:cubicBezTo>
                <a:cubicBezTo>
                  <a:pt x="198483" y="2826562"/>
                  <a:pt x="178601" y="2824192"/>
                  <a:pt x="178601" y="2813244"/>
                </a:cubicBezTo>
                <a:cubicBezTo>
                  <a:pt x="178601" y="2806392"/>
                  <a:pt x="180976" y="2802066"/>
                  <a:pt x="185194" y="2800466"/>
                </a:cubicBezTo>
                <a:close/>
                <a:moveTo>
                  <a:pt x="222256" y="2788186"/>
                </a:moveTo>
                <a:cubicBezTo>
                  <a:pt x="224620" y="2786070"/>
                  <a:pt x="233475" y="2786219"/>
                  <a:pt x="241934" y="2788517"/>
                </a:cubicBezTo>
                <a:cubicBezTo>
                  <a:pt x="255309" y="2792149"/>
                  <a:pt x="257313" y="2795077"/>
                  <a:pt x="257313" y="2810982"/>
                </a:cubicBezTo>
                <a:cubicBezTo>
                  <a:pt x="257313" y="2824652"/>
                  <a:pt x="255240" y="2829270"/>
                  <a:pt x="249103" y="2829270"/>
                </a:cubicBezTo>
                <a:cubicBezTo>
                  <a:pt x="244587" y="2829270"/>
                  <a:pt x="238443" y="2824997"/>
                  <a:pt x="235449" y="2819774"/>
                </a:cubicBezTo>
                <a:cubicBezTo>
                  <a:pt x="232454" y="2814551"/>
                  <a:pt x="227294" y="2810277"/>
                  <a:pt x="223981" y="2810277"/>
                </a:cubicBezTo>
                <a:cubicBezTo>
                  <a:pt x="217082" y="2810277"/>
                  <a:pt x="215807" y="2793955"/>
                  <a:pt x="222256" y="2788186"/>
                </a:cubicBezTo>
                <a:close/>
                <a:moveTo>
                  <a:pt x="4412081" y="2689991"/>
                </a:moveTo>
                <a:cubicBezTo>
                  <a:pt x="4424157" y="2689991"/>
                  <a:pt x="4429546" y="2714850"/>
                  <a:pt x="4428685" y="2766566"/>
                </a:cubicBezTo>
                <a:cubicBezTo>
                  <a:pt x="4427818" y="2818737"/>
                  <a:pt x="4424057" y="2832168"/>
                  <a:pt x="4416240" y="2811021"/>
                </a:cubicBezTo>
                <a:cubicBezTo>
                  <a:pt x="4413745" y="2804271"/>
                  <a:pt x="4410404" y="2774278"/>
                  <a:pt x="4408816" y="2744370"/>
                </a:cubicBezTo>
                <a:cubicBezTo>
                  <a:pt x="4406454" y="2699871"/>
                  <a:pt x="4407047" y="2689991"/>
                  <a:pt x="4412081" y="2689991"/>
                </a:cubicBezTo>
                <a:close/>
                <a:moveTo>
                  <a:pt x="127218" y="2621494"/>
                </a:moveTo>
                <a:cubicBezTo>
                  <a:pt x="145820" y="2625318"/>
                  <a:pt x="141816" y="2670565"/>
                  <a:pt x="122846" y="2670901"/>
                </a:cubicBezTo>
                <a:cubicBezTo>
                  <a:pt x="119358" y="2670964"/>
                  <a:pt x="117380" y="2661676"/>
                  <a:pt x="117380" y="2645235"/>
                </a:cubicBezTo>
                <a:cubicBezTo>
                  <a:pt x="117380" y="2622138"/>
                  <a:pt x="118398" y="2619680"/>
                  <a:pt x="127218" y="2621494"/>
                </a:cubicBezTo>
                <a:close/>
                <a:moveTo>
                  <a:pt x="202062" y="2494799"/>
                </a:moveTo>
                <a:cubicBezTo>
                  <a:pt x="208110" y="2493113"/>
                  <a:pt x="209587" y="2496021"/>
                  <a:pt x="208469" y="2507415"/>
                </a:cubicBezTo>
                <a:cubicBezTo>
                  <a:pt x="207535" y="2516934"/>
                  <a:pt x="210532" y="2526344"/>
                  <a:pt x="216859" y="2533762"/>
                </a:cubicBezTo>
                <a:cubicBezTo>
                  <a:pt x="222273" y="2540108"/>
                  <a:pt x="226703" y="2550221"/>
                  <a:pt x="226703" y="2556236"/>
                </a:cubicBezTo>
                <a:cubicBezTo>
                  <a:pt x="226703" y="2562251"/>
                  <a:pt x="228904" y="2570359"/>
                  <a:pt x="231595" y="2574254"/>
                </a:cubicBezTo>
                <a:cubicBezTo>
                  <a:pt x="235202" y="2579476"/>
                  <a:pt x="234053" y="2592559"/>
                  <a:pt x="227222" y="2624068"/>
                </a:cubicBezTo>
                <a:cubicBezTo>
                  <a:pt x="216136" y="2675200"/>
                  <a:pt x="215791" y="2685838"/>
                  <a:pt x="224867" y="2696743"/>
                </a:cubicBezTo>
                <a:cubicBezTo>
                  <a:pt x="230186" y="2703134"/>
                  <a:pt x="234717" y="2703439"/>
                  <a:pt x="244545" y="2698068"/>
                </a:cubicBezTo>
                <a:cubicBezTo>
                  <a:pt x="256458" y="2691558"/>
                  <a:pt x="257313" y="2692114"/>
                  <a:pt x="257313" y="2706368"/>
                </a:cubicBezTo>
                <a:cubicBezTo>
                  <a:pt x="257313" y="2719409"/>
                  <a:pt x="255216" y="2721645"/>
                  <a:pt x="242983" y="2721645"/>
                </a:cubicBezTo>
                <a:cubicBezTo>
                  <a:pt x="233167" y="2721645"/>
                  <a:pt x="224127" y="2727629"/>
                  <a:pt x="214289" y="2740638"/>
                </a:cubicBezTo>
                <a:cubicBezTo>
                  <a:pt x="193758" y="2767786"/>
                  <a:pt x="187346" y="2765651"/>
                  <a:pt x="187346" y="2731669"/>
                </a:cubicBezTo>
                <a:cubicBezTo>
                  <a:pt x="187346" y="2716208"/>
                  <a:pt x="185096" y="2702622"/>
                  <a:pt x="182313" y="2701279"/>
                </a:cubicBezTo>
                <a:cubicBezTo>
                  <a:pt x="179544" y="2699942"/>
                  <a:pt x="176345" y="2682559"/>
                  <a:pt x="175205" y="2662649"/>
                </a:cubicBezTo>
                <a:cubicBezTo>
                  <a:pt x="174064" y="2642739"/>
                  <a:pt x="171410" y="2624909"/>
                  <a:pt x="169307" y="2623027"/>
                </a:cubicBezTo>
                <a:cubicBezTo>
                  <a:pt x="167203" y="2621144"/>
                  <a:pt x="165482" y="2611226"/>
                  <a:pt x="165482" y="2600985"/>
                </a:cubicBezTo>
                <a:cubicBezTo>
                  <a:pt x="165482" y="2585465"/>
                  <a:pt x="167258" y="2582366"/>
                  <a:pt x="176156" y="2582366"/>
                </a:cubicBezTo>
                <a:cubicBezTo>
                  <a:pt x="190305" y="2582366"/>
                  <a:pt x="193356" y="2573656"/>
                  <a:pt x="193816" y="2531949"/>
                </a:cubicBezTo>
                <a:cubicBezTo>
                  <a:pt x="194128" y="2503601"/>
                  <a:pt x="195688" y="2496576"/>
                  <a:pt x="202062" y="2494799"/>
                </a:cubicBezTo>
                <a:close/>
                <a:moveTo>
                  <a:pt x="154003" y="2487403"/>
                </a:moveTo>
                <a:cubicBezTo>
                  <a:pt x="160250" y="2487403"/>
                  <a:pt x="165482" y="2513730"/>
                  <a:pt x="165482" y="2545173"/>
                </a:cubicBezTo>
                <a:cubicBezTo>
                  <a:pt x="165482" y="2564737"/>
                  <a:pt x="159039" y="2567728"/>
                  <a:pt x="140337" y="2556845"/>
                </a:cubicBezTo>
                <a:cubicBezTo>
                  <a:pt x="128127" y="2549740"/>
                  <a:pt x="127849" y="2541455"/>
                  <a:pt x="139428" y="2529713"/>
                </a:cubicBezTo>
                <a:cubicBezTo>
                  <a:pt x="144340" y="2524732"/>
                  <a:pt x="148043" y="2518161"/>
                  <a:pt x="147656" y="2515110"/>
                </a:cubicBezTo>
                <a:cubicBezTo>
                  <a:pt x="145740" y="2499961"/>
                  <a:pt x="148616" y="2487403"/>
                  <a:pt x="154003" y="2487403"/>
                </a:cubicBezTo>
                <a:close/>
                <a:moveTo>
                  <a:pt x="4489212" y="2459669"/>
                </a:moveTo>
                <a:cubicBezTo>
                  <a:pt x="4506938" y="2465803"/>
                  <a:pt x="4507796" y="2467224"/>
                  <a:pt x="4507796" y="2490415"/>
                </a:cubicBezTo>
                <a:cubicBezTo>
                  <a:pt x="4507796" y="2502106"/>
                  <a:pt x="4510118" y="2512793"/>
                  <a:pt x="4512956" y="2514162"/>
                </a:cubicBezTo>
                <a:cubicBezTo>
                  <a:pt x="4516322" y="2515787"/>
                  <a:pt x="4516842" y="2520920"/>
                  <a:pt x="4514448" y="2528934"/>
                </a:cubicBezTo>
                <a:cubicBezTo>
                  <a:pt x="4512431" y="2535689"/>
                  <a:pt x="4511135" y="2543535"/>
                  <a:pt x="4511569" y="2546369"/>
                </a:cubicBezTo>
                <a:cubicBezTo>
                  <a:pt x="4512002" y="2549203"/>
                  <a:pt x="4510191" y="2563161"/>
                  <a:pt x="4507545" y="2577386"/>
                </a:cubicBezTo>
                <a:cubicBezTo>
                  <a:pt x="4503120" y="2601177"/>
                  <a:pt x="4503569" y="2604315"/>
                  <a:pt x="4513150" y="2616549"/>
                </a:cubicBezTo>
                <a:cubicBezTo>
                  <a:pt x="4518879" y="2623863"/>
                  <a:pt x="4527279" y="2632901"/>
                  <a:pt x="4531819" y="2636631"/>
                </a:cubicBezTo>
                <a:cubicBezTo>
                  <a:pt x="4536358" y="2640362"/>
                  <a:pt x="4541899" y="2651342"/>
                  <a:pt x="4544130" y="2661031"/>
                </a:cubicBezTo>
                <a:cubicBezTo>
                  <a:pt x="4547409" y="2675279"/>
                  <a:pt x="4546498" y="2681091"/>
                  <a:pt x="4539364" y="2691419"/>
                </a:cubicBezTo>
                <a:cubicBezTo>
                  <a:pt x="4529460" y="2705758"/>
                  <a:pt x="4520915" y="2701899"/>
                  <a:pt x="4520915" y="2683088"/>
                </a:cubicBezTo>
                <a:cubicBezTo>
                  <a:pt x="4520915" y="2676220"/>
                  <a:pt x="4517964" y="2668962"/>
                  <a:pt x="4514355" y="2666957"/>
                </a:cubicBezTo>
                <a:cubicBezTo>
                  <a:pt x="4510748" y="2664953"/>
                  <a:pt x="4507796" y="2656729"/>
                  <a:pt x="4507796" y="2648681"/>
                </a:cubicBezTo>
                <a:cubicBezTo>
                  <a:pt x="4507796" y="2612677"/>
                  <a:pt x="4491969" y="2602005"/>
                  <a:pt x="4476606" y="2627651"/>
                </a:cubicBezTo>
                <a:cubicBezTo>
                  <a:pt x="4467602" y="2642680"/>
                  <a:pt x="4466499" y="2649522"/>
                  <a:pt x="4472248" y="2654666"/>
                </a:cubicBezTo>
                <a:cubicBezTo>
                  <a:pt x="4474343" y="2656540"/>
                  <a:pt x="4477189" y="2666270"/>
                  <a:pt x="4478572" y="2676289"/>
                </a:cubicBezTo>
                <a:cubicBezTo>
                  <a:pt x="4481394" y="2696713"/>
                  <a:pt x="4501448" y="2712864"/>
                  <a:pt x="4516779" y="2707060"/>
                </a:cubicBezTo>
                <a:cubicBezTo>
                  <a:pt x="4528708" y="2702543"/>
                  <a:pt x="4532889" y="2718650"/>
                  <a:pt x="4523632" y="2733459"/>
                </a:cubicBezTo>
                <a:cubicBezTo>
                  <a:pt x="4519041" y="2740804"/>
                  <a:pt x="4516542" y="2756205"/>
                  <a:pt x="4516542" y="2777165"/>
                </a:cubicBezTo>
                <a:cubicBezTo>
                  <a:pt x="4516542" y="2814008"/>
                  <a:pt x="4512711" y="2820860"/>
                  <a:pt x="4500806" y="2805311"/>
                </a:cubicBezTo>
                <a:lnTo>
                  <a:pt x="4500806" y="2805310"/>
                </a:lnTo>
                <a:cubicBezTo>
                  <a:pt x="4496233" y="2799337"/>
                  <a:pt x="4490031" y="2794165"/>
                  <a:pt x="4487024" y="2793817"/>
                </a:cubicBezTo>
                <a:cubicBezTo>
                  <a:pt x="4484019" y="2793469"/>
                  <a:pt x="4478608" y="2792757"/>
                  <a:pt x="4475000" y="2792234"/>
                </a:cubicBezTo>
                <a:cubicBezTo>
                  <a:pt x="4471093" y="2791669"/>
                  <a:pt x="4468440" y="2784883"/>
                  <a:pt x="4468440" y="2775457"/>
                </a:cubicBezTo>
                <a:cubicBezTo>
                  <a:pt x="4468440" y="2766753"/>
                  <a:pt x="4466472" y="2759630"/>
                  <a:pt x="4464067" y="2759630"/>
                </a:cubicBezTo>
                <a:cubicBezTo>
                  <a:pt x="4461662" y="2759630"/>
                  <a:pt x="4459694" y="2754101"/>
                  <a:pt x="4459694" y="2747342"/>
                </a:cubicBezTo>
                <a:cubicBezTo>
                  <a:pt x="4459694" y="2740584"/>
                  <a:pt x="4461662" y="2733293"/>
                  <a:pt x="4464067" y="2731141"/>
                </a:cubicBezTo>
                <a:cubicBezTo>
                  <a:pt x="4470062" y="2725778"/>
                  <a:pt x="4469618" y="2689991"/>
                  <a:pt x="4463558" y="2689991"/>
                </a:cubicBezTo>
                <a:cubicBezTo>
                  <a:pt x="4460828" y="2689991"/>
                  <a:pt x="4459682" y="2684408"/>
                  <a:pt x="4460961" y="2677329"/>
                </a:cubicBezTo>
                <a:cubicBezTo>
                  <a:pt x="4462219" y="2670365"/>
                  <a:pt x="4461465" y="2664667"/>
                  <a:pt x="4459285" y="2664667"/>
                </a:cubicBezTo>
                <a:cubicBezTo>
                  <a:pt x="4457105" y="2664667"/>
                  <a:pt x="4455321" y="2648666"/>
                  <a:pt x="4455321" y="2629110"/>
                </a:cubicBezTo>
                <a:cubicBezTo>
                  <a:pt x="4455321" y="2595782"/>
                  <a:pt x="4455915" y="2593776"/>
                  <a:pt x="4464775" y="2597130"/>
                </a:cubicBezTo>
                <a:cubicBezTo>
                  <a:pt x="4485373" y="2604929"/>
                  <a:pt x="4498727" y="2574663"/>
                  <a:pt x="4484058" y="2553425"/>
                </a:cubicBezTo>
                <a:cubicBezTo>
                  <a:pt x="4476151" y="2541978"/>
                  <a:pt x="4473076" y="2542075"/>
                  <a:pt x="4463930" y="2554058"/>
                </a:cubicBezTo>
                <a:cubicBezTo>
                  <a:pt x="4453905" y="2567191"/>
                  <a:pt x="4440547" y="2559078"/>
                  <a:pt x="4417058" y="2525589"/>
                </a:cubicBezTo>
                <a:cubicBezTo>
                  <a:pt x="4405156" y="2508619"/>
                  <a:pt x="4398473" y="2493472"/>
                  <a:pt x="4398473" y="2483464"/>
                </a:cubicBezTo>
                <a:cubicBezTo>
                  <a:pt x="4398473" y="2469034"/>
                  <a:pt x="4399645" y="2468156"/>
                  <a:pt x="4413779" y="2471995"/>
                </a:cubicBezTo>
                <a:cubicBezTo>
                  <a:pt x="4423811" y="2474719"/>
                  <a:pt x="4429084" y="2473727"/>
                  <a:pt x="4429084" y="2469116"/>
                </a:cubicBezTo>
                <a:cubicBezTo>
                  <a:pt x="4429084" y="2457459"/>
                  <a:pt x="4442832" y="2461193"/>
                  <a:pt x="4451173" y="2475117"/>
                </a:cubicBezTo>
                <a:cubicBezTo>
                  <a:pt x="4457941" y="2486414"/>
                  <a:pt x="4460198" y="2487055"/>
                  <a:pt x="4468085" y="2479925"/>
                </a:cubicBezTo>
                <a:cubicBezTo>
                  <a:pt x="4473091" y="2475399"/>
                  <a:pt x="4477186" y="2468054"/>
                  <a:pt x="4477186" y="2463602"/>
                </a:cubicBezTo>
                <a:cubicBezTo>
                  <a:pt x="4477186" y="2457984"/>
                  <a:pt x="4480865" y="2456781"/>
                  <a:pt x="4489212" y="2459669"/>
                </a:cubicBezTo>
                <a:close/>
                <a:moveTo>
                  <a:pt x="7746" y="2436756"/>
                </a:moveTo>
                <a:cubicBezTo>
                  <a:pt x="16623" y="2436756"/>
                  <a:pt x="17123" y="2439343"/>
                  <a:pt x="15909" y="2478985"/>
                </a:cubicBezTo>
                <a:cubicBezTo>
                  <a:pt x="15090" y="2505722"/>
                  <a:pt x="12610" y="2522174"/>
                  <a:pt x="9149" y="2523829"/>
                </a:cubicBezTo>
                <a:cubicBezTo>
                  <a:pt x="5287" y="2525677"/>
                  <a:pt x="3666" y="2517470"/>
                  <a:pt x="3624" y="2495844"/>
                </a:cubicBezTo>
                <a:cubicBezTo>
                  <a:pt x="3589" y="2479015"/>
                  <a:pt x="2378" y="2458836"/>
                  <a:pt x="927" y="2451001"/>
                </a:cubicBezTo>
                <a:cubicBezTo>
                  <a:pt x="-1212" y="2439444"/>
                  <a:pt x="75" y="2436756"/>
                  <a:pt x="7746" y="2436756"/>
                </a:cubicBezTo>
                <a:close/>
                <a:moveTo>
                  <a:pt x="4451449" y="2180169"/>
                </a:moveTo>
                <a:cubicBezTo>
                  <a:pt x="4454310" y="2178602"/>
                  <a:pt x="4458375" y="2179294"/>
                  <a:pt x="4461168" y="2183599"/>
                </a:cubicBezTo>
                <a:cubicBezTo>
                  <a:pt x="4465043" y="2189569"/>
                  <a:pt x="4464951" y="2192127"/>
                  <a:pt x="4460788" y="2194337"/>
                </a:cubicBezTo>
                <a:cubicBezTo>
                  <a:pt x="4457782" y="2195933"/>
                  <a:pt x="4455322" y="2206973"/>
                  <a:pt x="4455322" y="2218869"/>
                </a:cubicBezTo>
                <a:cubicBezTo>
                  <a:pt x="4455322" y="2230767"/>
                  <a:pt x="4453354" y="2240500"/>
                  <a:pt x="4450949" y="2240500"/>
                </a:cubicBezTo>
                <a:cubicBezTo>
                  <a:pt x="4444202" y="2240500"/>
                  <a:pt x="4445778" y="2263314"/>
                  <a:pt x="4453135" y="2272154"/>
                </a:cubicBezTo>
                <a:cubicBezTo>
                  <a:pt x="4461664" y="2282403"/>
                  <a:pt x="4461501" y="2295119"/>
                  <a:pt x="4452776" y="2299966"/>
                </a:cubicBezTo>
                <a:cubicBezTo>
                  <a:pt x="4448972" y="2302079"/>
                  <a:pt x="4445529" y="2303584"/>
                  <a:pt x="4445124" y="2303309"/>
                </a:cubicBezTo>
                <a:cubicBezTo>
                  <a:pt x="4444722" y="2303034"/>
                  <a:pt x="4441928" y="2301372"/>
                  <a:pt x="4438922" y="2299616"/>
                </a:cubicBezTo>
                <a:lnTo>
                  <a:pt x="4438923" y="2299616"/>
                </a:lnTo>
                <a:cubicBezTo>
                  <a:pt x="4431949" y="2295542"/>
                  <a:pt x="4431791" y="2258106"/>
                  <a:pt x="4438704" y="2248097"/>
                </a:cubicBezTo>
                <a:cubicBezTo>
                  <a:pt x="4442786" y="2242188"/>
                  <a:pt x="4442786" y="2240500"/>
                  <a:pt x="4438704" y="2240500"/>
                </a:cubicBezTo>
                <a:cubicBezTo>
                  <a:pt x="4435818" y="2240500"/>
                  <a:pt x="4433457" y="2234802"/>
                  <a:pt x="4433457" y="2227838"/>
                </a:cubicBezTo>
                <a:cubicBezTo>
                  <a:pt x="4433457" y="2220875"/>
                  <a:pt x="4435424" y="2215176"/>
                  <a:pt x="4437830" y="2215176"/>
                </a:cubicBezTo>
                <a:cubicBezTo>
                  <a:pt x="4440235" y="2215176"/>
                  <a:pt x="4442203" y="2210903"/>
                  <a:pt x="4442203" y="2205680"/>
                </a:cubicBezTo>
                <a:cubicBezTo>
                  <a:pt x="4442203" y="2200458"/>
                  <a:pt x="4444287" y="2196184"/>
                  <a:pt x="4446833" y="2196184"/>
                </a:cubicBezTo>
                <a:cubicBezTo>
                  <a:pt x="4449381" y="2196184"/>
                  <a:pt x="4450332" y="2193532"/>
                  <a:pt x="4448948" y="2190290"/>
                </a:cubicBezTo>
                <a:cubicBezTo>
                  <a:pt x="4446930" y="2185561"/>
                  <a:pt x="4448588" y="2181735"/>
                  <a:pt x="4451449" y="2180169"/>
                </a:cubicBezTo>
                <a:close/>
                <a:moveTo>
                  <a:pt x="34606" y="2069567"/>
                </a:moveTo>
                <a:cubicBezTo>
                  <a:pt x="41993" y="2069567"/>
                  <a:pt x="50608" y="2073128"/>
                  <a:pt x="53749" y="2077480"/>
                </a:cubicBezTo>
                <a:cubicBezTo>
                  <a:pt x="56890" y="2081833"/>
                  <a:pt x="63637" y="2089584"/>
                  <a:pt x="68742" y="2094705"/>
                </a:cubicBezTo>
                <a:cubicBezTo>
                  <a:pt x="73846" y="2099827"/>
                  <a:pt x="78086" y="2108373"/>
                  <a:pt x="78162" y="2113698"/>
                </a:cubicBezTo>
                <a:cubicBezTo>
                  <a:pt x="78239" y="2119023"/>
                  <a:pt x="81191" y="2128909"/>
                  <a:pt x="84722" y="2135668"/>
                </a:cubicBezTo>
                <a:cubicBezTo>
                  <a:pt x="88253" y="2142427"/>
                  <a:pt x="91142" y="2152969"/>
                  <a:pt x="91142" y="2159094"/>
                </a:cubicBezTo>
                <a:cubicBezTo>
                  <a:pt x="91142" y="2165220"/>
                  <a:pt x="94520" y="2172968"/>
                  <a:pt x="98649" y="2176313"/>
                </a:cubicBezTo>
                <a:cubicBezTo>
                  <a:pt x="105049" y="2181498"/>
                  <a:pt x="105348" y="2184580"/>
                  <a:pt x="100678" y="2197213"/>
                </a:cubicBezTo>
                <a:cubicBezTo>
                  <a:pt x="97665" y="2205363"/>
                  <a:pt x="94779" y="2224821"/>
                  <a:pt x="94264" y="2240455"/>
                </a:cubicBezTo>
                <a:cubicBezTo>
                  <a:pt x="93470" y="2264584"/>
                  <a:pt x="94825" y="2269837"/>
                  <a:pt x="103228" y="2275221"/>
                </a:cubicBezTo>
                <a:cubicBezTo>
                  <a:pt x="108672" y="2278708"/>
                  <a:pt x="112240" y="2284908"/>
                  <a:pt x="111157" y="2288996"/>
                </a:cubicBezTo>
                <a:cubicBezTo>
                  <a:pt x="110073" y="2293084"/>
                  <a:pt x="111871" y="2297922"/>
                  <a:pt x="115154" y="2299745"/>
                </a:cubicBezTo>
                <a:cubicBezTo>
                  <a:pt x="119360" y="2302082"/>
                  <a:pt x="120743" y="2312515"/>
                  <a:pt x="119839" y="2335089"/>
                </a:cubicBezTo>
                <a:cubicBezTo>
                  <a:pt x="119133" y="2352705"/>
                  <a:pt x="119767" y="2367139"/>
                  <a:pt x="121247" y="2367166"/>
                </a:cubicBezTo>
                <a:cubicBezTo>
                  <a:pt x="127529" y="2367282"/>
                  <a:pt x="134871" y="2403761"/>
                  <a:pt x="134871" y="2434853"/>
                </a:cubicBezTo>
                <a:cubicBezTo>
                  <a:pt x="134871" y="2471186"/>
                  <a:pt x="136638" y="2469452"/>
                  <a:pt x="105354" y="2463831"/>
                </a:cubicBezTo>
                <a:cubicBezTo>
                  <a:pt x="92947" y="2461602"/>
                  <a:pt x="91142" y="2458917"/>
                  <a:pt x="91142" y="2442687"/>
                </a:cubicBezTo>
                <a:cubicBezTo>
                  <a:pt x="91142" y="2432461"/>
                  <a:pt x="89019" y="2424095"/>
                  <a:pt x="86424" y="2424095"/>
                </a:cubicBezTo>
                <a:cubicBezTo>
                  <a:pt x="83339" y="2424095"/>
                  <a:pt x="82204" y="2407647"/>
                  <a:pt x="83144" y="2376598"/>
                </a:cubicBezTo>
                <a:cubicBezTo>
                  <a:pt x="83935" y="2350476"/>
                  <a:pt x="83105" y="2329109"/>
                  <a:pt x="81303" y="2329117"/>
                </a:cubicBezTo>
                <a:cubicBezTo>
                  <a:pt x="79499" y="2329123"/>
                  <a:pt x="78023" y="2308310"/>
                  <a:pt x="78023" y="2282860"/>
                </a:cubicBezTo>
                <a:cubicBezTo>
                  <a:pt x="78023" y="2233532"/>
                  <a:pt x="74047" y="2219757"/>
                  <a:pt x="56084" y="2206845"/>
                </a:cubicBezTo>
                <a:cubicBezTo>
                  <a:pt x="46323" y="2199829"/>
                  <a:pt x="45006" y="2194261"/>
                  <a:pt x="43040" y="2151714"/>
                </a:cubicBezTo>
                <a:cubicBezTo>
                  <a:pt x="41048" y="2108581"/>
                  <a:pt x="39981" y="2104207"/>
                  <a:pt x="31014" y="2102364"/>
                </a:cubicBezTo>
                <a:cubicBezTo>
                  <a:pt x="23893" y="2100899"/>
                  <a:pt x="21175" y="2096091"/>
                  <a:pt x="21175" y="2084954"/>
                </a:cubicBezTo>
                <a:cubicBezTo>
                  <a:pt x="21175" y="2071998"/>
                  <a:pt x="23298" y="2069567"/>
                  <a:pt x="34606" y="2069567"/>
                </a:cubicBezTo>
                <a:close/>
                <a:moveTo>
                  <a:pt x="4460614" y="2037913"/>
                </a:moveTo>
                <a:cubicBezTo>
                  <a:pt x="4468293" y="2037913"/>
                  <a:pt x="4468881" y="2040781"/>
                  <a:pt x="4466134" y="2064819"/>
                </a:cubicBezTo>
                <a:cubicBezTo>
                  <a:pt x="4462464" y="2096925"/>
                  <a:pt x="4460963" y="2101221"/>
                  <a:pt x="4453412" y="2101221"/>
                </a:cubicBezTo>
                <a:cubicBezTo>
                  <a:pt x="4450241" y="2101221"/>
                  <a:pt x="4445196" y="2105495"/>
                  <a:pt x="4442203" y="2110717"/>
                </a:cubicBezTo>
                <a:cubicBezTo>
                  <a:pt x="4439209" y="2115941"/>
                  <a:pt x="4435031" y="2120214"/>
                  <a:pt x="4432921" y="2120214"/>
                </a:cubicBezTo>
                <a:cubicBezTo>
                  <a:pt x="4430811" y="2120214"/>
                  <a:pt x="4429084" y="2115941"/>
                  <a:pt x="4429084" y="2110717"/>
                </a:cubicBezTo>
                <a:cubicBezTo>
                  <a:pt x="4429084" y="2105495"/>
                  <a:pt x="4427116" y="2101221"/>
                  <a:pt x="4424711" y="2101221"/>
                </a:cubicBezTo>
                <a:cubicBezTo>
                  <a:pt x="4422306" y="2101221"/>
                  <a:pt x="4420338" y="2097185"/>
                  <a:pt x="4420338" y="2092252"/>
                </a:cubicBezTo>
                <a:cubicBezTo>
                  <a:pt x="4420338" y="2087320"/>
                  <a:pt x="4418016" y="2082163"/>
                  <a:pt x="4415178" y="2080794"/>
                </a:cubicBezTo>
                <a:cubicBezTo>
                  <a:pt x="4404971" y="2075869"/>
                  <a:pt x="4415475" y="2056905"/>
                  <a:pt x="4428412" y="2056905"/>
                </a:cubicBezTo>
                <a:cubicBezTo>
                  <a:pt x="4435408" y="2056905"/>
                  <a:pt x="4443582" y="2052632"/>
                  <a:pt x="4446576" y="2047409"/>
                </a:cubicBezTo>
                <a:cubicBezTo>
                  <a:pt x="4449569" y="2042186"/>
                  <a:pt x="4455887" y="2037913"/>
                  <a:pt x="4460614" y="2037913"/>
                </a:cubicBezTo>
                <a:close/>
                <a:moveTo>
                  <a:pt x="103803" y="1997172"/>
                </a:moveTo>
                <a:cubicBezTo>
                  <a:pt x="108304" y="1993144"/>
                  <a:pt x="113732" y="2009429"/>
                  <a:pt x="109790" y="2015136"/>
                </a:cubicBezTo>
                <a:cubicBezTo>
                  <a:pt x="105098" y="2021929"/>
                  <a:pt x="99888" y="2019120"/>
                  <a:pt x="99888" y="2009798"/>
                </a:cubicBezTo>
                <a:cubicBezTo>
                  <a:pt x="99888" y="2004780"/>
                  <a:pt x="101649" y="1999099"/>
                  <a:pt x="103803" y="1997172"/>
                </a:cubicBezTo>
                <a:close/>
                <a:moveTo>
                  <a:pt x="4417411" y="1842865"/>
                </a:moveTo>
                <a:cubicBezTo>
                  <a:pt x="4426211" y="1841865"/>
                  <a:pt x="4436219" y="1843425"/>
                  <a:pt x="4440321" y="1848354"/>
                </a:cubicBezTo>
                <a:cubicBezTo>
                  <a:pt x="4444542" y="1853425"/>
                  <a:pt x="4446576" y="1868924"/>
                  <a:pt x="4446576" y="1896026"/>
                </a:cubicBezTo>
                <a:cubicBezTo>
                  <a:pt x="4446576" y="1932005"/>
                  <a:pt x="4445226" y="1938181"/>
                  <a:pt x="4433604" y="1955393"/>
                </a:cubicBezTo>
                <a:cubicBezTo>
                  <a:pt x="4420486" y="1974823"/>
                  <a:pt x="4415431" y="1978051"/>
                  <a:pt x="4410134" y="1970383"/>
                </a:cubicBezTo>
                <a:cubicBezTo>
                  <a:pt x="4408531" y="1968063"/>
                  <a:pt x="4407219" y="1958295"/>
                  <a:pt x="4407219" y="1948678"/>
                </a:cubicBezTo>
                <a:cubicBezTo>
                  <a:pt x="4407219" y="1939061"/>
                  <a:pt x="4404268" y="1926919"/>
                  <a:pt x="4400659" y="1921696"/>
                </a:cubicBezTo>
                <a:cubicBezTo>
                  <a:pt x="4393356" y="1911121"/>
                  <a:pt x="4391547" y="1860649"/>
                  <a:pt x="4398473" y="1860649"/>
                </a:cubicBezTo>
                <a:cubicBezTo>
                  <a:pt x="4400878" y="1860649"/>
                  <a:pt x="4402354" y="1857087"/>
                  <a:pt x="4401754" y="1852735"/>
                </a:cubicBezTo>
                <a:cubicBezTo>
                  <a:pt x="4401020" y="1847424"/>
                  <a:pt x="4408611" y="1843865"/>
                  <a:pt x="4417411" y="1842865"/>
                </a:cubicBezTo>
                <a:close/>
                <a:moveTo>
                  <a:pt x="4344905" y="1614950"/>
                </a:moveTo>
                <a:cubicBezTo>
                  <a:pt x="4349115" y="1616124"/>
                  <a:pt x="4352557" y="1621279"/>
                  <a:pt x="4352557" y="1626407"/>
                </a:cubicBezTo>
                <a:cubicBezTo>
                  <a:pt x="4352557" y="1631535"/>
                  <a:pt x="4349115" y="1636690"/>
                  <a:pt x="4344905" y="1637863"/>
                </a:cubicBezTo>
                <a:cubicBezTo>
                  <a:pt x="4339535" y="1639360"/>
                  <a:pt x="4337253" y="1635942"/>
                  <a:pt x="4337253" y="1626407"/>
                </a:cubicBezTo>
                <a:cubicBezTo>
                  <a:pt x="4337253" y="1616872"/>
                  <a:pt x="4339535" y="1613453"/>
                  <a:pt x="4344905" y="1614950"/>
                </a:cubicBezTo>
                <a:close/>
                <a:moveTo>
                  <a:pt x="4204363" y="1582188"/>
                </a:moveTo>
                <a:cubicBezTo>
                  <a:pt x="4197064" y="1582102"/>
                  <a:pt x="4196393" y="1585598"/>
                  <a:pt x="4198605" y="1612163"/>
                </a:cubicBezTo>
                <a:cubicBezTo>
                  <a:pt x="4200911" y="1639834"/>
                  <a:pt x="4214478" y="1693454"/>
                  <a:pt x="4221888" y="1704182"/>
                </a:cubicBezTo>
                <a:cubicBezTo>
                  <a:pt x="4226089" y="1710263"/>
                  <a:pt x="4227977" y="1709597"/>
                  <a:pt x="4243234" y="1696654"/>
                </a:cubicBezTo>
                <a:cubicBezTo>
                  <a:pt x="4250450" y="1690534"/>
                  <a:pt x="4257024" y="1680517"/>
                  <a:pt x="4257843" y="1674394"/>
                </a:cubicBezTo>
                <a:cubicBezTo>
                  <a:pt x="4259456" y="1662329"/>
                  <a:pt x="4242669" y="1632479"/>
                  <a:pt x="4235464" y="1634601"/>
                </a:cubicBezTo>
                <a:cubicBezTo>
                  <a:pt x="4233031" y="1635317"/>
                  <a:pt x="4229173" y="1625936"/>
                  <a:pt x="4226892" y="1613755"/>
                </a:cubicBezTo>
                <a:cubicBezTo>
                  <a:pt x="4222385" y="1589697"/>
                  <a:pt x="4217133" y="1582337"/>
                  <a:pt x="4204363" y="1582188"/>
                </a:cubicBezTo>
                <a:close/>
                <a:moveTo>
                  <a:pt x="4407219" y="1487128"/>
                </a:moveTo>
                <a:cubicBezTo>
                  <a:pt x="4409624" y="1487128"/>
                  <a:pt x="4411592" y="1491402"/>
                  <a:pt x="4411592" y="1496625"/>
                </a:cubicBezTo>
                <a:cubicBezTo>
                  <a:pt x="4411592" y="1501848"/>
                  <a:pt x="4409624" y="1506120"/>
                  <a:pt x="4407219" y="1506120"/>
                </a:cubicBezTo>
                <a:cubicBezTo>
                  <a:pt x="4404814" y="1506120"/>
                  <a:pt x="4402846" y="1501848"/>
                  <a:pt x="4402846" y="1496625"/>
                </a:cubicBezTo>
                <a:cubicBezTo>
                  <a:pt x="4402846" y="1491402"/>
                  <a:pt x="4404814" y="1487128"/>
                  <a:pt x="4407219" y="1487128"/>
                </a:cubicBezTo>
                <a:close/>
                <a:moveTo>
                  <a:pt x="4317718" y="1474466"/>
                </a:moveTo>
                <a:cubicBezTo>
                  <a:pt x="4321431" y="1474466"/>
                  <a:pt x="4345998" y="1512422"/>
                  <a:pt x="4345998" y="1518157"/>
                </a:cubicBezTo>
                <a:cubicBezTo>
                  <a:pt x="4345998" y="1527487"/>
                  <a:pt x="4336171" y="1526974"/>
                  <a:pt x="4327663" y="1517200"/>
                </a:cubicBezTo>
                <a:cubicBezTo>
                  <a:pt x="4322087" y="1510793"/>
                  <a:pt x="4313633" y="1474466"/>
                  <a:pt x="4317718" y="1474466"/>
                </a:cubicBezTo>
                <a:close/>
                <a:moveTo>
                  <a:pt x="4293987" y="1306730"/>
                </a:moveTo>
                <a:cubicBezTo>
                  <a:pt x="4296786" y="1305175"/>
                  <a:pt x="4300348" y="1306376"/>
                  <a:pt x="4303395" y="1311043"/>
                </a:cubicBezTo>
                <a:cubicBezTo>
                  <a:pt x="4314481" y="1328015"/>
                  <a:pt x="4320345" y="1352557"/>
                  <a:pt x="4318980" y="1376275"/>
                </a:cubicBezTo>
                <a:cubicBezTo>
                  <a:pt x="4317138" y="1408262"/>
                  <a:pt x="4308655" y="1411397"/>
                  <a:pt x="4300491" y="1383107"/>
                </a:cubicBezTo>
                <a:cubicBezTo>
                  <a:pt x="4296020" y="1367613"/>
                  <a:pt x="4291151" y="1360511"/>
                  <a:pt x="4285001" y="1360511"/>
                </a:cubicBezTo>
                <a:cubicBezTo>
                  <a:pt x="4274509" y="1360511"/>
                  <a:pt x="4273177" y="1346499"/>
                  <a:pt x="4282590" y="1335187"/>
                </a:cubicBezTo>
                <a:cubicBezTo>
                  <a:pt x="4286199" y="1330853"/>
                  <a:pt x="4289150" y="1323550"/>
                  <a:pt x="4289150" y="1318959"/>
                </a:cubicBezTo>
                <a:cubicBezTo>
                  <a:pt x="4289150" y="1312598"/>
                  <a:pt x="4291188" y="1308286"/>
                  <a:pt x="4293987" y="1306730"/>
                </a:cubicBezTo>
                <a:close/>
                <a:moveTo>
                  <a:pt x="4289150" y="1180082"/>
                </a:moveTo>
                <a:cubicBezTo>
                  <a:pt x="4291556" y="1177930"/>
                  <a:pt x="4293523" y="1180610"/>
                  <a:pt x="4293523" y="1186038"/>
                </a:cubicBezTo>
                <a:cubicBezTo>
                  <a:pt x="4293523" y="1191467"/>
                  <a:pt x="4291556" y="1195908"/>
                  <a:pt x="4289150" y="1195908"/>
                </a:cubicBezTo>
                <a:cubicBezTo>
                  <a:pt x="4286745" y="1195908"/>
                  <a:pt x="4284778" y="1193228"/>
                  <a:pt x="4284778" y="1189951"/>
                </a:cubicBezTo>
                <a:cubicBezTo>
                  <a:pt x="4284778" y="1186675"/>
                  <a:pt x="4286745" y="1182233"/>
                  <a:pt x="4289150" y="1180082"/>
                </a:cubicBezTo>
                <a:close/>
                <a:moveTo>
                  <a:pt x="4345236" y="1176916"/>
                </a:moveTo>
                <a:cubicBezTo>
                  <a:pt x="4356140" y="1176916"/>
                  <a:pt x="4373988" y="1205488"/>
                  <a:pt x="4370740" y="1217745"/>
                </a:cubicBezTo>
                <a:cubicBezTo>
                  <a:pt x="4367336" y="1230589"/>
                  <a:pt x="4345998" y="1230866"/>
                  <a:pt x="4345998" y="1218067"/>
                </a:cubicBezTo>
                <a:cubicBezTo>
                  <a:pt x="4345998" y="1212843"/>
                  <a:pt x="4344031" y="1208570"/>
                  <a:pt x="4341625" y="1208570"/>
                </a:cubicBezTo>
                <a:cubicBezTo>
                  <a:pt x="4339220" y="1208570"/>
                  <a:pt x="4337253" y="1201448"/>
                  <a:pt x="4337253" y="1192743"/>
                </a:cubicBezTo>
                <a:cubicBezTo>
                  <a:pt x="4337253" y="1181640"/>
                  <a:pt x="4339636" y="1176916"/>
                  <a:pt x="4345236" y="1176916"/>
                </a:cubicBezTo>
                <a:close/>
                <a:moveTo>
                  <a:pt x="4039894" y="1107277"/>
                </a:moveTo>
                <a:cubicBezTo>
                  <a:pt x="4046077" y="1107277"/>
                  <a:pt x="4045347" y="1153828"/>
                  <a:pt x="4039019" y="1162988"/>
                </a:cubicBezTo>
                <a:cubicBezTo>
                  <a:pt x="4031817" y="1173414"/>
                  <a:pt x="4029404" y="1172663"/>
                  <a:pt x="4019800" y="1156998"/>
                </a:cubicBezTo>
                <a:cubicBezTo>
                  <a:pt x="4013808" y="1147226"/>
                  <a:pt x="4013004" y="1142635"/>
                  <a:pt x="4016936" y="1140644"/>
                </a:cubicBezTo>
                <a:cubicBezTo>
                  <a:pt x="4019942" y="1139122"/>
                  <a:pt x="4022402" y="1133840"/>
                  <a:pt x="4022402" y="1128907"/>
                </a:cubicBezTo>
                <a:cubicBezTo>
                  <a:pt x="4022402" y="1123974"/>
                  <a:pt x="4025354" y="1119938"/>
                  <a:pt x="4028961" y="1119938"/>
                </a:cubicBezTo>
                <a:cubicBezTo>
                  <a:pt x="4032569" y="1119938"/>
                  <a:pt x="4035521" y="1117089"/>
                  <a:pt x="4035521" y="1113607"/>
                </a:cubicBezTo>
                <a:cubicBezTo>
                  <a:pt x="4035521" y="1110125"/>
                  <a:pt x="4037488" y="1107277"/>
                  <a:pt x="4039894" y="1107277"/>
                </a:cubicBezTo>
                <a:close/>
                <a:moveTo>
                  <a:pt x="4144916" y="1053528"/>
                </a:moveTo>
                <a:cubicBezTo>
                  <a:pt x="4149806" y="1057904"/>
                  <a:pt x="4146596" y="1069291"/>
                  <a:pt x="4140471" y="1069291"/>
                </a:cubicBezTo>
                <a:cubicBezTo>
                  <a:pt x="4138350" y="1069291"/>
                  <a:pt x="4135483" y="1066639"/>
                  <a:pt x="4134098" y="1063398"/>
                </a:cubicBezTo>
                <a:cubicBezTo>
                  <a:pt x="4130865" y="1055823"/>
                  <a:pt x="4139091" y="1048316"/>
                  <a:pt x="4144916" y="1053528"/>
                </a:cubicBezTo>
                <a:close/>
                <a:moveTo>
                  <a:pt x="3987419" y="990156"/>
                </a:moveTo>
                <a:cubicBezTo>
                  <a:pt x="3985013" y="988004"/>
                  <a:pt x="3983046" y="989260"/>
                  <a:pt x="3983046" y="992947"/>
                </a:cubicBezTo>
                <a:cubicBezTo>
                  <a:pt x="3983046" y="996635"/>
                  <a:pt x="3985013" y="999652"/>
                  <a:pt x="3987419" y="999652"/>
                </a:cubicBezTo>
                <a:cubicBezTo>
                  <a:pt x="3989824" y="999652"/>
                  <a:pt x="3991792" y="998396"/>
                  <a:pt x="3991792" y="996860"/>
                </a:cubicBezTo>
                <a:cubicBezTo>
                  <a:pt x="3991792" y="995325"/>
                  <a:pt x="3989824" y="992307"/>
                  <a:pt x="3987419" y="990156"/>
                </a:cubicBezTo>
                <a:close/>
                <a:moveTo>
                  <a:pt x="4173388" y="892398"/>
                </a:moveTo>
                <a:cubicBezTo>
                  <a:pt x="4176923" y="893423"/>
                  <a:pt x="4180831" y="898778"/>
                  <a:pt x="4182372" y="907667"/>
                </a:cubicBezTo>
                <a:cubicBezTo>
                  <a:pt x="4184110" y="917692"/>
                  <a:pt x="4182681" y="926784"/>
                  <a:pt x="4178395" y="932991"/>
                </a:cubicBezTo>
                <a:cubicBezTo>
                  <a:pt x="4168370" y="947502"/>
                  <a:pt x="4160861" y="945131"/>
                  <a:pt x="4163952" y="928430"/>
                </a:cubicBezTo>
                <a:cubicBezTo>
                  <a:pt x="4165402" y="920596"/>
                  <a:pt x="4166617" y="909200"/>
                  <a:pt x="4166648" y="903107"/>
                </a:cubicBezTo>
                <a:cubicBezTo>
                  <a:pt x="4166694" y="894677"/>
                  <a:pt x="4169854" y="891373"/>
                  <a:pt x="4173388" y="892398"/>
                </a:cubicBezTo>
                <a:close/>
                <a:moveTo>
                  <a:pt x="4006132" y="869101"/>
                </a:moveTo>
                <a:cubicBezTo>
                  <a:pt x="4005672" y="869767"/>
                  <a:pt x="4005361" y="871985"/>
                  <a:pt x="4005256" y="875673"/>
                </a:cubicBezTo>
                <a:cubicBezTo>
                  <a:pt x="4005065" y="882347"/>
                  <a:pt x="4006100" y="886085"/>
                  <a:pt x="4007552" y="883982"/>
                </a:cubicBezTo>
                <a:cubicBezTo>
                  <a:pt x="4009005" y="881878"/>
                  <a:pt x="4009160" y="876418"/>
                  <a:pt x="4007897" y="871848"/>
                </a:cubicBezTo>
                <a:lnTo>
                  <a:pt x="4007897" y="871848"/>
                </a:lnTo>
                <a:cubicBezTo>
                  <a:pt x="4007199" y="869323"/>
                  <a:pt x="4006592" y="868435"/>
                  <a:pt x="4006132" y="869101"/>
                </a:cubicBezTo>
                <a:close/>
                <a:moveTo>
                  <a:pt x="4268481" y="836466"/>
                </a:moveTo>
                <a:cubicBezTo>
                  <a:pt x="4270763" y="838424"/>
                  <a:pt x="4271747" y="843443"/>
                  <a:pt x="4272461" y="852405"/>
                </a:cubicBezTo>
                <a:cubicBezTo>
                  <a:pt x="4274274" y="875150"/>
                  <a:pt x="4288053" y="879265"/>
                  <a:pt x="4298063" y="860052"/>
                </a:cubicBezTo>
                <a:cubicBezTo>
                  <a:pt x="4311044" y="835139"/>
                  <a:pt x="4319761" y="847756"/>
                  <a:pt x="4319761" y="891455"/>
                </a:cubicBezTo>
                <a:cubicBezTo>
                  <a:pt x="4319761" y="912251"/>
                  <a:pt x="4317633" y="931169"/>
                  <a:pt x="4315033" y="933496"/>
                </a:cubicBezTo>
                <a:cubicBezTo>
                  <a:pt x="4312432" y="935823"/>
                  <a:pt x="4304257" y="929581"/>
                  <a:pt x="4296867" y="919625"/>
                </a:cubicBezTo>
                <a:cubicBezTo>
                  <a:pt x="4287877" y="907516"/>
                  <a:pt x="4284326" y="905176"/>
                  <a:pt x="4286139" y="912555"/>
                </a:cubicBezTo>
                <a:cubicBezTo>
                  <a:pt x="4287631" y="918623"/>
                  <a:pt x="4286316" y="927016"/>
                  <a:pt x="4283218" y="931206"/>
                </a:cubicBezTo>
                <a:cubicBezTo>
                  <a:pt x="4278637" y="937401"/>
                  <a:pt x="4278846" y="940959"/>
                  <a:pt x="4284339" y="950245"/>
                </a:cubicBezTo>
                <a:cubicBezTo>
                  <a:pt x="4292546" y="964120"/>
                  <a:pt x="4305993" y="965152"/>
                  <a:pt x="4309434" y="952171"/>
                </a:cubicBezTo>
                <a:cubicBezTo>
                  <a:pt x="4312086" y="942162"/>
                  <a:pt x="4324134" y="938818"/>
                  <a:pt x="4324134" y="948089"/>
                </a:cubicBezTo>
                <a:cubicBezTo>
                  <a:pt x="4324134" y="951068"/>
                  <a:pt x="4330529" y="956148"/>
                  <a:pt x="4338345" y="959380"/>
                </a:cubicBezTo>
                <a:cubicBezTo>
                  <a:pt x="4347889" y="963325"/>
                  <a:pt x="4353004" y="969714"/>
                  <a:pt x="4353914" y="978828"/>
                </a:cubicBezTo>
                <a:cubicBezTo>
                  <a:pt x="4354660" y="986294"/>
                  <a:pt x="4358103" y="995806"/>
                  <a:pt x="4361566" y="999968"/>
                </a:cubicBezTo>
                <a:cubicBezTo>
                  <a:pt x="4365030" y="1004128"/>
                  <a:pt x="4367863" y="1012679"/>
                  <a:pt x="4367863" y="1018968"/>
                </a:cubicBezTo>
                <a:cubicBezTo>
                  <a:pt x="4367863" y="1025256"/>
                  <a:pt x="4370672" y="1034469"/>
                  <a:pt x="4374106" y="1039440"/>
                </a:cubicBezTo>
                <a:cubicBezTo>
                  <a:pt x="4382062" y="1050959"/>
                  <a:pt x="4388092" y="1094615"/>
                  <a:pt x="4381726" y="1094615"/>
                </a:cubicBezTo>
                <a:cubicBezTo>
                  <a:pt x="4379196" y="1094615"/>
                  <a:pt x="4375865" y="1091664"/>
                  <a:pt x="4374326" y="1088058"/>
                </a:cubicBezTo>
                <a:cubicBezTo>
                  <a:pt x="4372787" y="1084452"/>
                  <a:pt x="4364307" y="1081952"/>
                  <a:pt x="4355483" y="1082503"/>
                </a:cubicBezTo>
                <a:cubicBezTo>
                  <a:pt x="4346659" y="1083055"/>
                  <a:pt x="4323735" y="1081281"/>
                  <a:pt x="4304542" y="1078559"/>
                </a:cubicBezTo>
                <a:cubicBezTo>
                  <a:pt x="4271459" y="1073869"/>
                  <a:pt x="4270039" y="1074181"/>
                  <a:pt x="4277212" y="1084565"/>
                </a:cubicBezTo>
                <a:cubicBezTo>
                  <a:pt x="4281373" y="1090590"/>
                  <a:pt x="4284778" y="1098653"/>
                  <a:pt x="4284778" y="1102482"/>
                </a:cubicBezTo>
                <a:cubicBezTo>
                  <a:pt x="4284778" y="1106311"/>
                  <a:pt x="4288045" y="1114672"/>
                  <a:pt x="4292039" y="1121061"/>
                </a:cubicBezTo>
                <a:cubicBezTo>
                  <a:pt x="4301680" y="1136485"/>
                  <a:pt x="4298237" y="1140004"/>
                  <a:pt x="4280650" y="1132702"/>
                </a:cubicBezTo>
                <a:cubicBezTo>
                  <a:pt x="4271423" y="1128871"/>
                  <a:pt x="4263302" y="1128910"/>
                  <a:pt x="4258269" y="1132810"/>
                </a:cubicBezTo>
                <a:cubicBezTo>
                  <a:pt x="4244828" y="1143225"/>
                  <a:pt x="4242260" y="1139931"/>
                  <a:pt x="4239604" y="1108859"/>
                </a:cubicBezTo>
                <a:cubicBezTo>
                  <a:pt x="4238189" y="1092320"/>
                  <a:pt x="4237659" y="1068817"/>
                  <a:pt x="4238427" y="1056630"/>
                </a:cubicBezTo>
                <a:cubicBezTo>
                  <a:pt x="4239195" y="1044443"/>
                  <a:pt x="4238397" y="1013105"/>
                  <a:pt x="4236655" y="986990"/>
                </a:cubicBezTo>
                <a:cubicBezTo>
                  <a:pt x="4234913" y="960875"/>
                  <a:pt x="4235189" y="936803"/>
                  <a:pt x="4237269" y="933495"/>
                </a:cubicBezTo>
                <a:cubicBezTo>
                  <a:pt x="4239347" y="930187"/>
                  <a:pt x="4241048" y="922352"/>
                  <a:pt x="4241048" y="916085"/>
                </a:cubicBezTo>
                <a:cubicBezTo>
                  <a:pt x="4241048" y="909817"/>
                  <a:pt x="4243016" y="904689"/>
                  <a:pt x="4245421" y="904689"/>
                </a:cubicBezTo>
                <a:cubicBezTo>
                  <a:pt x="4247827" y="904689"/>
                  <a:pt x="4249794" y="890749"/>
                  <a:pt x="4249794" y="873712"/>
                </a:cubicBezTo>
                <a:cubicBezTo>
                  <a:pt x="4249794" y="851305"/>
                  <a:pt x="4251707" y="841672"/>
                  <a:pt x="4256711" y="838893"/>
                </a:cubicBezTo>
                <a:cubicBezTo>
                  <a:pt x="4262618" y="835611"/>
                  <a:pt x="4266199" y="834508"/>
                  <a:pt x="4268481" y="836466"/>
                </a:cubicBezTo>
                <a:close/>
                <a:moveTo>
                  <a:pt x="1503102" y="801258"/>
                </a:moveTo>
                <a:cubicBezTo>
                  <a:pt x="1488778" y="800264"/>
                  <a:pt x="1488325" y="800958"/>
                  <a:pt x="1489315" y="822388"/>
                </a:cubicBezTo>
                <a:cubicBezTo>
                  <a:pt x="1489878" y="834575"/>
                  <a:pt x="1490478" y="849818"/>
                  <a:pt x="1490647" y="856262"/>
                </a:cubicBezTo>
                <a:cubicBezTo>
                  <a:pt x="1491505" y="888858"/>
                  <a:pt x="1511509" y="893844"/>
                  <a:pt x="1530226" y="866125"/>
                </a:cubicBezTo>
                <a:cubicBezTo>
                  <a:pt x="1544790" y="844556"/>
                  <a:pt x="1545333" y="830570"/>
                  <a:pt x="1532021" y="819901"/>
                </a:cubicBezTo>
                <a:cubicBezTo>
                  <a:pt x="1527211" y="816046"/>
                  <a:pt x="1522069" y="810505"/>
                  <a:pt x="1520594" y="807589"/>
                </a:cubicBezTo>
                <a:cubicBezTo>
                  <a:pt x="1519119" y="804671"/>
                  <a:pt x="1511248" y="801823"/>
                  <a:pt x="1503102" y="801258"/>
                </a:cubicBezTo>
                <a:close/>
                <a:moveTo>
                  <a:pt x="3729804" y="798436"/>
                </a:moveTo>
                <a:cubicBezTo>
                  <a:pt x="3720308" y="798826"/>
                  <a:pt x="3717720" y="801396"/>
                  <a:pt x="3719615" y="808547"/>
                </a:cubicBezTo>
                <a:cubicBezTo>
                  <a:pt x="3721273" y="814804"/>
                  <a:pt x="3720379" y="816544"/>
                  <a:pt x="3717041" y="813557"/>
                </a:cubicBezTo>
                <a:cubicBezTo>
                  <a:pt x="3709675" y="806967"/>
                  <a:pt x="3710735" y="819762"/>
                  <a:pt x="3718483" y="830980"/>
                </a:cubicBezTo>
                <a:cubicBezTo>
                  <a:pt x="3725695" y="841420"/>
                  <a:pt x="3727207" y="854042"/>
                  <a:pt x="3721246" y="854042"/>
                </a:cubicBezTo>
                <a:cubicBezTo>
                  <a:pt x="3713880" y="854042"/>
                  <a:pt x="3712066" y="907075"/>
                  <a:pt x="3718912" y="922278"/>
                </a:cubicBezTo>
                <a:cubicBezTo>
                  <a:pt x="3722484" y="930211"/>
                  <a:pt x="3724299" y="939297"/>
                  <a:pt x="3722944" y="942470"/>
                </a:cubicBezTo>
                <a:cubicBezTo>
                  <a:pt x="3720559" y="948057"/>
                  <a:pt x="3741606" y="980659"/>
                  <a:pt x="3747598" y="980659"/>
                </a:cubicBezTo>
                <a:cubicBezTo>
                  <a:pt x="3749230" y="980659"/>
                  <a:pt x="3753678" y="978930"/>
                  <a:pt x="3757482" y="976816"/>
                </a:cubicBezTo>
                <a:cubicBezTo>
                  <a:pt x="3765240" y="972507"/>
                  <a:pt x="3767398" y="927111"/>
                  <a:pt x="3760153" y="920630"/>
                </a:cubicBezTo>
                <a:cubicBezTo>
                  <a:pt x="3757818" y="918540"/>
                  <a:pt x="3754613" y="902703"/>
                  <a:pt x="3753030" y="885437"/>
                </a:cubicBezTo>
                <a:cubicBezTo>
                  <a:pt x="3751448" y="868170"/>
                  <a:pt x="3748439" y="854042"/>
                  <a:pt x="3746345" y="854042"/>
                </a:cubicBezTo>
                <a:cubicBezTo>
                  <a:pt x="3744249" y="854042"/>
                  <a:pt x="3742535" y="841413"/>
                  <a:pt x="3742535" y="825977"/>
                </a:cubicBezTo>
                <a:cubicBezTo>
                  <a:pt x="3742535" y="799084"/>
                  <a:pt x="3742003" y="797933"/>
                  <a:pt x="3729804" y="798436"/>
                </a:cubicBezTo>
                <a:close/>
                <a:moveTo>
                  <a:pt x="4044267" y="755914"/>
                </a:moveTo>
                <a:cubicBezTo>
                  <a:pt x="4047874" y="755914"/>
                  <a:pt x="4051454" y="762324"/>
                  <a:pt x="4052223" y="770158"/>
                </a:cubicBezTo>
                <a:cubicBezTo>
                  <a:pt x="4053299" y="781121"/>
                  <a:pt x="4051466" y="784403"/>
                  <a:pt x="4044267" y="784403"/>
                </a:cubicBezTo>
                <a:cubicBezTo>
                  <a:pt x="4037067" y="784403"/>
                  <a:pt x="4035234" y="781121"/>
                  <a:pt x="4036310" y="770158"/>
                </a:cubicBezTo>
                <a:cubicBezTo>
                  <a:pt x="4037079" y="762324"/>
                  <a:pt x="4040659" y="755914"/>
                  <a:pt x="4044267" y="755914"/>
                </a:cubicBezTo>
                <a:close/>
                <a:moveTo>
                  <a:pt x="4191963" y="753633"/>
                </a:moveTo>
                <a:cubicBezTo>
                  <a:pt x="4198131" y="750512"/>
                  <a:pt x="4210791" y="769985"/>
                  <a:pt x="4213395" y="793226"/>
                </a:cubicBezTo>
                <a:cubicBezTo>
                  <a:pt x="4215517" y="812150"/>
                  <a:pt x="4214647" y="816057"/>
                  <a:pt x="4208313" y="816057"/>
                </a:cubicBezTo>
                <a:cubicBezTo>
                  <a:pt x="4202539" y="816057"/>
                  <a:pt x="4201178" y="812225"/>
                  <a:pt x="4202744" y="800369"/>
                </a:cubicBezTo>
                <a:cubicBezTo>
                  <a:pt x="4204246" y="788989"/>
                  <a:pt x="4202585" y="783657"/>
                  <a:pt x="4196694" y="780951"/>
                </a:cubicBezTo>
                <a:cubicBezTo>
                  <a:pt x="4192228" y="778898"/>
                  <a:pt x="4188573" y="771713"/>
                  <a:pt x="4188573" y="764983"/>
                </a:cubicBezTo>
                <a:cubicBezTo>
                  <a:pt x="4188573" y="758225"/>
                  <a:pt x="4189907" y="754674"/>
                  <a:pt x="4191963" y="753633"/>
                </a:cubicBezTo>
                <a:close/>
                <a:moveTo>
                  <a:pt x="2207638" y="740087"/>
                </a:moveTo>
                <a:cubicBezTo>
                  <a:pt x="2205233" y="740087"/>
                  <a:pt x="2203265" y="744151"/>
                  <a:pt x="2203265" y="749119"/>
                </a:cubicBezTo>
                <a:cubicBezTo>
                  <a:pt x="2203265" y="754087"/>
                  <a:pt x="2199821" y="759454"/>
                  <a:pt x="2195613" y="761046"/>
                </a:cubicBezTo>
                <a:cubicBezTo>
                  <a:pt x="2189736" y="763269"/>
                  <a:pt x="2189533" y="764112"/>
                  <a:pt x="2194738" y="764676"/>
                </a:cubicBezTo>
                <a:cubicBezTo>
                  <a:pt x="2198466" y="765080"/>
                  <a:pt x="2203877" y="761992"/>
                  <a:pt x="2206763" y="757813"/>
                </a:cubicBezTo>
                <a:cubicBezTo>
                  <a:pt x="2213149" y="748569"/>
                  <a:pt x="2213567" y="740087"/>
                  <a:pt x="2207638" y="740087"/>
                </a:cubicBezTo>
                <a:close/>
                <a:moveTo>
                  <a:pt x="2492685" y="661279"/>
                </a:moveTo>
                <a:cubicBezTo>
                  <a:pt x="2490926" y="662292"/>
                  <a:pt x="2489272" y="665607"/>
                  <a:pt x="2487033" y="671621"/>
                </a:cubicBezTo>
                <a:cubicBezTo>
                  <a:pt x="2484033" y="679681"/>
                  <a:pt x="2481367" y="692814"/>
                  <a:pt x="2481109" y="700808"/>
                </a:cubicBezTo>
                <a:cubicBezTo>
                  <a:pt x="2480723" y="712774"/>
                  <a:pt x="2482598" y="715011"/>
                  <a:pt x="2491725" y="713470"/>
                </a:cubicBezTo>
                <a:cubicBezTo>
                  <a:pt x="2500563" y="711977"/>
                  <a:pt x="2503077" y="707639"/>
                  <a:pt x="2504127" y="692066"/>
                </a:cubicBezTo>
                <a:cubicBezTo>
                  <a:pt x="2504906" y="680506"/>
                  <a:pt x="2502800" y="669357"/>
                  <a:pt x="2498966" y="664751"/>
                </a:cubicBezTo>
                <a:cubicBezTo>
                  <a:pt x="2496307" y="661557"/>
                  <a:pt x="2494444" y="660267"/>
                  <a:pt x="2492685" y="661279"/>
                </a:cubicBezTo>
                <a:close/>
                <a:moveTo>
                  <a:pt x="1542281" y="646751"/>
                </a:moveTo>
                <a:cubicBezTo>
                  <a:pt x="1544973" y="646195"/>
                  <a:pt x="1547326" y="648503"/>
                  <a:pt x="1547326" y="654093"/>
                </a:cubicBezTo>
                <a:cubicBezTo>
                  <a:pt x="1547326" y="659605"/>
                  <a:pt x="1544211" y="664117"/>
                  <a:pt x="1540402" y="664117"/>
                </a:cubicBezTo>
                <a:cubicBezTo>
                  <a:pt x="1536594" y="664117"/>
                  <a:pt x="1534257" y="660733"/>
                  <a:pt x="1535210" y="656599"/>
                </a:cubicBezTo>
                <a:cubicBezTo>
                  <a:pt x="1536561" y="650729"/>
                  <a:pt x="1539590" y="647308"/>
                  <a:pt x="1542281" y="646751"/>
                </a:cubicBezTo>
                <a:close/>
                <a:moveTo>
                  <a:pt x="4233596" y="626131"/>
                </a:moveTo>
                <a:cubicBezTo>
                  <a:pt x="4240376" y="626131"/>
                  <a:pt x="4297896" y="709201"/>
                  <a:pt x="4297896" y="718993"/>
                </a:cubicBezTo>
                <a:cubicBezTo>
                  <a:pt x="4297896" y="722885"/>
                  <a:pt x="4294945" y="727710"/>
                  <a:pt x="4291336" y="729715"/>
                </a:cubicBezTo>
                <a:cubicBezTo>
                  <a:pt x="4287249" y="731985"/>
                  <a:pt x="4284778" y="741642"/>
                  <a:pt x="4284778" y="755341"/>
                </a:cubicBezTo>
                <a:cubicBezTo>
                  <a:pt x="4284778" y="782795"/>
                  <a:pt x="4281153" y="786183"/>
                  <a:pt x="4266012" y="772883"/>
                </a:cubicBezTo>
                <a:cubicBezTo>
                  <a:pt x="4259427" y="767098"/>
                  <a:pt x="4254990" y="758777"/>
                  <a:pt x="4256152" y="754391"/>
                </a:cubicBezTo>
                <a:cubicBezTo>
                  <a:pt x="4257314" y="750006"/>
                  <a:pt x="4256359" y="746418"/>
                  <a:pt x="4254030" y="746418"/>
                </a:cubicBezTo>
                <a:cubicBezTo>
                  <a:pt x="4251700" y="746418"/>
                  <a:pt x="4249794" y="739206"/>
                  <a:pt x="4249794" y="730392"/>
                </a:cubicBezTo>
                <a:cubicBezTo>
                  <a:pt x="4249794" y="720839"/>
                  <a:pt x="4246703" y="712787"/>
                  <a:pt x="4242141" y="710456"/>
                </a:cubicBezTo>
                <a:cubicBezTo>
                  <a:pt x="4229647" y="704072"/>
                  <a:pt x="4214811" y="681755"/>
                  <a:pt x="4214811" y="669344"/>
                </a:cubicBezTo>
                <a:cubicBezTo>
                  <a:pt x="4214811" y="662987"/>
                  <a:pt x="4216566" y="657786"/>
                  <a:pt x="4218709" y="657786"/>
                </a:cubicBezTo>
                <a:cubicBezTo>
                  <a:pt x="4220854" y="657786"/>
                  <a:pt x="4223843" y="650663"/>
                  <a:pt x="4225352" y="641959"/>
                </a:cubicBezTo>
                <a:cubicBezTo>
                  <a:pt x="4226861" y="633254"/>
                  <a:pt x="4230571" y="626131"/>
                  <a:pt x="4233596" y="626131"/>
                </a:cubicBezTo>
                <a:close/>
                <a:moveTo>
                  <a:pt x="2100311" y="609600"/>
                </a:moveTo>
                <a:cubicBezTo>
                  <a:pt x="2101797" y="608433"/>
                  <a:pt x="2104256" y="608884"/>
                  <a:pt x="2108154" y="610589"/>
                </a:cubicBezTo>
                <a:cubicBezTo>
                  <a:pt x="2121281" y="616331"/>
                  <a:pt x="2126172" y="623548"/>
                  <a:pt x="2122602" y="631911"/>
                </a:cubicBezTo>
                <a:cubicBezTo>
                  <a:pt x="2119357" y="639510"/>
                  <a:pt x="2105807" y="641198"/>
                  <a:pt x="2101230" y="634573"/>
                </a:cubicBezTo>
                <a:cubicBezTo>
                  <a:pt x="2099627" y="632251"/>
                  <a:pt x="2098315" y="624937"/>
                  <a:pt x="2098315" y="618319"/>
                </a:cubicBezTo>
                <a:cubicBezTo>
                  <a:pt x="2098315" y="613552"/>
                  <a:pt x="2098826" y="610767"/>
                  <a:pt x="2100311" y="609600"/>
                </a:cubicBezTo>
                <a:close/>
                <a:moveTo>
                  <a:pt x="4009611" y="608352"/>
                </a:moveTo>
                <a:cubicBezTo>
                  <a:pt x="4012197" y="609600"/>
                  <a:pt x="4014312" y="613327"/>
                  <a:pt x="4014312" y="616635"/>
                </a:cubicBezTo>
                <a:cubicBezTo>
                  <a:pt x="4014312" y="619943"/>
                  <a:pt x="4012197" y="623670"/>
                  <a:pt x="4009611" y="624918"/>
                </a:cubicBezTo>
                <a:cubicBezTo>
                  <a:pt x="4007026" y="626166"/>
                  <a:pt x="4004911" y="622439"/>
                  <a:pt x="4004911" y="616635"/>
                </a:cubicBezTo>
                <a:cubicBezTo>
                  <a:pt x="4004911" y="610832"/>
                  <a:pt x="4007026" y="607104"/>
                  <a:pt x="4009611" y="608352"/>
                </a:cubicBezTo>
                <a:close/>
                <a:moveTo>
                  <a:pt x="4096448" y="583964"/>
                </a:moveTo>
                <a:cubicBezTo>
                  <a:pt x="4099965" y="584780"/>
                  <a:pt x="4102840" y="587903"/>
                  <a:pt x="4107195" y="593827"/>
                </a:cubicBezTo>
                <a:cubicBezTo>
                  <a:pt x="4112580" y="601148"/>
                  <a:pt x="4122107" y="607139"/>
                  <a:pt x="4128369" y="607139"/>
                </a:cubicBezTo>
                <a:cubicBezTo>
                  <a:pt x="4146484" y="607139"/>
                  <a:pt x="4153590" y="613678"/>
                  <a:pt x="4153590" y="630348"/>
                </a:cubicBezTo>
                <a:cubicBezTo>
                  <a:pt x="4153590" y="639262"/>
                  <a:pt x="4151695" y="644176"/>
                  <a:pt x="4149141" y="641890"/>
                </a:cubicBezTo>
                <a:cubicBezTo>
                  <a:pt x="4146693" y="639701"/>
                  <a:pt x="4133816" y="639877"/>
                  <a:pt x="4120525" y="642281"/>
                </a:cubicBezTo>
                <a:cubicBezTo>
                  <a:pt x="4092856" y="647286"/>
                  <a:pt x="4071898" y="671436"/>
                  <a:pt x="4067481" y="703404"/>
                </a:cubicBezTo>
                <a:cubicBezTo>
                  <a:pt x="4064125" y="727699"/>
                  <a:pt x="4035521" y="746365"/>
                  <a:pt x="4035521" y="724260"/>
                </a:cubicBezTo>
                <a:cubicBezTo>
                  <a:pt x="4035521" y="719037"/>
                  <a:pt x="4037488" y="714763"/>
                  <a:pt x="4039894" y="714763"/>
                </a:cubicBezTo>
                <a:cubicBezTo>
                  <a:pt x="4045855" y="714763"/>
                  <a:pt x="4045426" y="685624"/>
                  <a:pt x="4039254" y="671317"/>
                </a:cubicBezTo>
                <a:cubicBezTo>
                  <a:pt x="4033742" y="658539"/>
                  <a:pt x="4037738" y="623455"/>
                  <a:pt x="4044061" y="629112"/>
                </a:cubicBezTo>
                <a:cubicBezTo>
                  <a:pt x="4046212" y="631037"/>
                  <a:pt x="4052090" y="624236"/>
                  <a:pt x="4057125" y="614000"/>
                </a:cubicBezTo>
                <a:cubicBezTo>
                  <a:pt x="4062159" y="603764"/>
                  <a:pt x="4073282" y="592043"/>
                  <a:pt x="4081844" y="587951"/>
                </a:cubicBezTo>
                <a:cubicBezTo>
                  <a:pt x="4088770" y="584642"/>
                  <a:pt x="4092930" y="583149"/>
                  <a:pt x="4096448" y="583964"/>
                </a:cubicBezTo>
                <a:close/>
                <a:moveTo>
                  <a:pt x="3399607" y="565410"/>
                </a:moveTo>
                <a:cubicBezTo>
                  <a:pt x="3391884" y="563769"/>
                  <a:pt x="3387224" y="579464"/>
                  <a:pt x="3390710" y="595369"/>
                </a:cubicBezTo>
                <a:cubicBezTo>
                  <a:pt x="3394209" y="611327"/>
                  <a:pt x="3408911" y="610296"/>
                  <a:pt x="3412518" y="593840"/>
                </a:cubicBezTo>
                <a:cubicBezTo>
                  <a:pt x="3415603" y="579774"/>
                  <a:pt x="3410090" y="567638"/>
                  <a:pt x="3399607" y="565410"/>
                </a:cubicBezTo>
                <a:close/>
                <a:moveTo>
                  <a:pt x="3753272" y="543830"/>
                </a:moveTo>
                <a:cubicBezTo>
                  <a:pt x="3760971" y="543830"/>
                  <a:pt x="3790344" y="587515"/>
                  <a:pt x="3790519" y="599225"/>
                </a:cubicBezTo>
                <a:cubicBezTo>
                  <a:pt x="3790583" y="603578"/>
                  <a:pt x="3792516" y="607139"/>
                  <a:pt x="3794812" y="607139"/>
                </a:cubicBezTo>
                <a:cubicBezTo>
                  <a:pt x="3798720" y="607139"/>
                  <a:pt x="3806586" y="648938"/>
                  <a:pt x="3804642" y="659368"/>
                </a:cubicBezTo>
                <a:cubicBezTo>
                  <a:pt x="3804155" y="661980"/>
                  <a:pt x="3805723" y="664117"/>
                  <a:pt x="3808129" y="664117"/>
                </a:cubicBezTo>
                <a:cubicBezTo>
                  <a:pt x="3810534" y="664117"/>
                  <a:pt x="3812502" y="671239"/>
                  <a:pt x="3812502" y="679944"/>
                </a:cubicBezTo>
                <a:cubicBezTo>
                  <a:pt x="3812502" y="689792"/>
                  <a:pt x="3810023" y="695771"/>
                  <a:pt x="3805943" y="695771"/>
                </a:cubicBezTo>
                <a:cubicBezTo>
                  <a:pt x="3802334" y="695771"/>
                  <a:pt x="3799383" y="691458"/>
                  <a:pt x="3799383" y="686189"/>
                </a:cubicBezTo>
                <a:cubicBezTo>
                  <a:pt x="3799383" y="680918"/>
                  <a:pt x="3797558" y="671660"/>
                  <a:pt x="3795328" y="665613"/>
                </a:cubicBezTo>
                <a:cubicBezTo>
                  <a:pt x="3793100" y="659567"/>
                  <a:pt x="3790199" y="649592"/>
                  <a:pt x="3788882" y="643446"/>
                </a:cubicBezTo>
                <a:cubicBezTo>
                  <a:pt x="3787566" y="637300"/>
                  <a:pt x="3781819" y="629702"/>
                  <a:pt x="3776114" y="626562"/>
                </a:cubicBezTo>
                <a:cubicBezTo>
                  <a:pt x="3770409" y="623421"/>
                  <a:pt x="3762196" y="609932"/>
                  <a:pt x="3757864" y="596585"/>
                </a:cubicBezTo>
                <a:cubicBezTo>
                  <a:pt x="3753532" y="583239"/>
                  <a:pt x="3748025" y="570470"/>
                  <a:pt x="3745624" y="568210"/>
                </a:cubicBezTo>
                <a:cubicBezTo>
                  <a:pt x="3739464" y="562409"/>
                  <a:pt x="3745291" y="543830"/>
                  <a:pt x="3753272" y="543830"/>
                </a:cubicBezTo>
                <a:close/>
                <a:moveTo>
                  <a:pt x="2508411" y="515434"/>
                </a:moveTo>
                <a:cubicBezTo>
                  <a:pt x="2504104" y="514401"/>
                  <a:pt x="2499878" y="515729"/>
                  <a:pt x="2493352" y="518847"/>
                </a:cubicBezTo>
                <a:cubicBezTo>
                  <a:pt x="2482992" y="523798"/>
                  <a:pt x="2476746" y="523968"/>
                  <a:pt x="2472948" y="519406"/>
                </a:cubicBezTo>
                <a:cubicBezTo>
                  <a:pt x="2468354" y="513886"/>
                  <a:pt x="2443606" y="526013"/>
                  <a:pt x="2426655" y="542091"/>
                </a:cubicBezTo>
                <a:cubicBezTo>
                  <a:pt x="2421983" y="546522"/>
                  <a:pt x="2417762" y="622657"/>
                  <a:pt x="2421860" y="628589"/>
                </a:cubicBezTo>
                <a:cubicBezTo>
                  <a:pt x="2424293" y="632112"/>
                  <a:pt x="2426284" y="641221"/>
                  <a:pt x="2426284" y="648832"/>
                </a:cubicBezTo>
                <a:cubicBezTo>
                  <a:pt x="2426284" y="661372"/>
                  <a:pt x="2431239" y="679043"/>
                  <a:pt x="2440777" y="700519"/>
                </a:cubicBezTo>
                <a:cubicBezTo>
                  <a:pt x="2445394" y="710913"/>
                  <a:pt x="2451698" y="710530"/>
                  <a:pt x="2459393" y="699389"/>
                </a:cubicBezTo>
                <a:cubicBezTo>
                  <a:pt x="2467519" y="687625"/>
                  <a:pt x="2467369" y="667744"/>
                  <a:pt x="2459081" y="657786"/>
                </a:cubicBezTo>
                <a:cubicBezTo>
                  <a:pt x="2450414" y="647372"/>
                  <a:pt x="2450672" y="636411"/>
                  <a:pt x="2459470" y="641298"/>
                </a:cubicBezTo>
                <a:cubicBezTo>
                  <a:pt x="2463325" y="643440"/>
                  <a:pt x="2471373" y="639515"/>
                  <a:pt x="2477551" y="632480"/>
                </a:cubicBezTo>
                <a:cubicBezTo>
                  <a:pt x="2483674" y="625506"/>
                  <a:pt x="2486451" y="619800"/>
                  <a:pt x="2483722" y="619800"/>
                </a:cubicBezTo>
                <a:cubicBezTo>
                  <a:pt x="2480682" y="619800"/>
                  <a:pt x="2478759" y="607536"/>
                  <a:pt x="2478759" y="588146"/>
                </a:cubicBezTo>
                <a:cubicBezTo>
                  <a:pt x="2478759" y="564230"/>
                  <a:pt x="2480363" y="556492"/>
                  <a:pt x="2485319" y="556492"/>
                </a:cubicBezTo>
                <a:cubicBezTo>
                  <a:pt x="2488926" y="556492"/>
                  <a:pt x="2491878" y="560167"/>
                  <a:pt x="2491878" y="564659"/>
                </a:cubicBezTo>
                <a:cubicBezTo>
                  <a:pt x="2491878" y="569151"/>
                  <a:pt x="2499398" y="584856"/>
                  <a:pt x="2508588" y="599558"/>
                </a:cubicBezTo>
                <a:lnTo>
                  <a:pt x="2525299" y="626289"/>
                </a:lnTo>
                <a:lnTo>
                  <a:pt x="2539199" y="616250"/>
                </a:lnTo>
                <a:cubicBezTo>
                  <a:pt x="2553351" y="606030"/>
                  <a:pt x="2558554" y="581112"/>
                  <a:pt x="2548428" y="572052"/>
                </a:cubicBezTo>
                <a:cubicBezTo>
                  <a:pt x="2545859" y="569754"/>
                  <a:pt x="2544897" y="563571"/>
                  <a:pt x="2546291" y="558312"/>
                </a:cubicBezTo>
                <a:cubicBezTo>
                  <a:pt x="2548026" y="551769"/>
                  <a:pt x="2546810" y="549871"/>
                  <a:pt x="2542439" y="552299"/>
                </a:cubicBezTo>
                <a:cubicBezTo>
                  <a:pt x="2538651" y="554404"/>
                  <a:pt x="2536783" y="552759"/>
                  <a:pt x="2537847" y="548256"/>
                </a:cubicBezTo>
                <a:cubicBezTo>
                  <a:pt x="2538834" y="544081"/>
                  <a:pt x="2532586" y="534151"/>
                  <a:pt x="2523962" y="526189"/>
                </a:cubicBezTo>
                <a:cubicBezTo>
                  <a:pt x="2517108" y="519862"/>
                  <a:pt x="2512719" y="516468"/>
                  <a:pt x="2508411" y="515434"/>
                </a:cubicBezTo>
                <a:close/>
                <a:moveTo>
                  <a:pt x="3394917" y="499514"/>
                </a:moveTo>
                <a:cubicBezTo>
                  <a:pt x="3385202" y="499514"/>
                  <a:pt x="3378100" y="529260"/>
                  <a:pt x="3385075" y="540733"/>
                </a:cubicBezTo>
                <a:cubicBezTo>
                  <a:pt x="3393394" y="554416"/>
                  <a:pt x="3400986" y="551857"/>
                  <a:pt x="3404022" y="534348"/>
                </a:cubicBezTo>
                <a:cubicBezTo>
                  <a:pt x="3407506" y="514244"/>
                  <a:pt x="3403656" y="499514"/>
                  <a:pt x="3394917" y="499514"/>
                </a:cubicBezTo>
                <a:close/>
                <a:moveTo>
                  <a:pt x="2473972" y="490389"/>
                </a:moveTo>
                <a:cubicBezTo>
                  <a:pt x="2471843" y="492294"/>
                  <a:pt x="2472541" y="497688"/>
                  <a:pt x="2475523" y="502376"/>
                </a:cubicBezTo>
                <a:cubicBezTo>
                  <a:pt x="2482232" y="512920"/>
                  <a:pt x="2484208" y="510938"/>
                  <a:pt x="2480591" y="497291"/>
                </a:cubicBezTo>
                <a:cubicBezTo>
                  <a:pt x="2479079" y="491590"/>
                  <a:pt x="2476101" y="488484"/>
                  <a:pt x="2473972" y="490389"/>
                </a:cubicBezTo>
                <a:close/>
                <a:moveTo>
                  <a:pt x="2576610" y="482359"/>
                </a:moveTo>
                <a:cubicBezTo>
                  <a:pt x="2571620" y="489583"/>
                  <a:pt x="2578946" y="505856"/>
                  <a:pt x="2586852" y="505111"/>
                </a:cubicBezTo>
                <a:cubicBezTo>
                  <a:pt x="2594153" y="504423"/>
                  <a:pt x="2594161" y="504195"/>
                  <a:pt x="2586989" y="501481"/>
                </a:cubicBezTo>
                <a:cubicBezTo>
                  <a:pt x="2582780" y="499888"/>
                  <a:pt x="2579336" y="494047"/>
                  <a:pt x="2579336" y="488499"/>
                </a:cubicBezTo>
                <a:cubicBezTo>
                  <a:pt x="2579336" y="482950"/>
                  <a:pt x="2578110" y="480188"/>
                  <a:pt x="2576610" y="482359"/>
                </a:cubicBezTo>
                <a:close/>
                <a:moveTo>
                  <a:pt x="2585636" y="469292"/>
                </a:moveTo>
                <a:cubicBezTo>
                  <a:pt x="2584175" y="471406"/>
                  <a:pt x="2586588" y="478477"/>
                  <a:pt x="2590998" y="485006"/>
                </a:cubicBezTo>
                <a:cubicBezTo>
                  <a:pt x="2595407" y="491535"/>
                  <a:pt x="2599735" y="494341"/>
                  <a:pt x="2600616" y="491243"/>
                </a:cubicBezTo>
                <a:cubicBezTo>
                  <a:pt x="2601496" y="488144"/>
                  <a:pt x="2599083" y="481073"/>
                  <a:pt x="2595253" y="475529"/>
                </a:cubicBezTo>
                <a:cubicBezTo>
                  <a:pt x="2591424" y="469984"/>
                  <a:pt x="2587096" y="467178"/>
                  <a:pt x="2585636" y="469292"/>
                </a:cubicBezTo>
                <a:close/>
                <a:moveTo>
                  <a:pt x="3422903" y="465059"/>
                </a:moveTo>
                <a:cubicBezTo>
                  <a:pt x="3420722" y="467011"/>
                  <a:pt x="3418939" y="472713"/>
                  <a:pt x="3418939" y="477730"/>
                </a:cubicBezTo>
                <a:cubicBezTo>
                  <a:pt x="3418939" y="490833"/>
                  <a:pt x="3421910" y="488965"/>
                  <a:pt x="3424580" y="474182"/>
                </a:cubicBezTo>
                <a:cubicBezTo>
                  <a:pt x="3425839" y="467213"/>
                  <a:pt x="3425085" y="463108"/>
                  <a:pt x="3422903" y="465059"/>
                </a:cubicBezTo>
                <a:close/>
                <a:moveTo>
                  <a:pt x="3788764" y="436206"/>
                </a:moveTo>
                <a:cubicBezTo>
                  <a:pt x="3792030" y="436206"/>
                  <a:pt x="3797049" y="442616"/>
                  <a:pt x="3799916" y="450450"/>
                </a:cubicBezTo>
                <a:cubicBezTo>
                  <a:pt x="3802782" y="458284"/>
                  <a:pt x="3808936" y="469529"/>
                  <a:pt x="3813589" y="475438"/>
                </a:cubicBezTo>
                <a:cubicBezTo>
                  <a:pt x="3818243" y="481347"/>
                  <a:pt x="3820770" y="489181"/>
                  <a:pt x="3819205" y="492847"/>
                </a:cubicBezTo>
                <a:cubicBezTo>
                  <a:pt x="3815196" y="502237"/>
                  <a:pt x="3802588" y="500707"/>
                  <a:pt x="3796103" y="490044"/>
                </a:cubicBezTo>
                <a:cubicBezTo>
                  <a:pt x="3793097" y="485101"/>
                  <a:pt x="3790637" y="478436"/>
                  <a:pt x="3790637" y="475233"/>
                </a:cubicBezTo>
                <a:cubicBezTo>
                  <a:pt x="3790637" y="472031"/>
                  <a:pt x="3787802" y="466004"/>
                  <a:pt x="3784337" y="461842"/>
                </a:cubicBezTo>
                <a:cubicBezTo>
                  <a:pt x="3777074" y="453114"/>
                  <a:pt x="3779994" y="436206"/>
                  <a:pt x="3788764" y="436206"/>
                </a:cubicBezTo>
                <a:close/>
                <a:moveTo>
                  <a:pt x="2416536" y="393600"/>
                </a:moveTo>
                <a:cubicBezTo>
                  <a:pt x="2419357" y="392997"/>
                  <a:pt x="2421911" y="396309"/>
                  <a:pt x="2421911" y="404024"/>
                </a:cubicBezTo>
                <a:cubicBezTo>
                  <a:pt x="2421911" y="411800"/>
                  <a:pt x="2419088" y="417213"/>
                  <a:pt x="2415031" y="417213"/>
                </a:cubicBezTo>
                <a:cubicBezTo>
                  <a:pt x="2410959" y="417213"/>
                  <a:pt x="2408728" y="412906"/>
                  <a:pt x="2409565" y="406659"/>
                </a:cubicBezTo>
                <a:cubicBezTo>
                  <a:pt x="2410629" y="398718"/>
                  <a:pt x="2413716" y="394202"/>
                  <a:pt x="2416536" y="393600"/>
                </a:cubicBezTo>
                <a:close/>
                <a:moveTo>
                  <a:pt x="3384911" y="341340"/>
                </a:moveTo>
                <a:cubicBezTo>
                  <a:pt x="3374162" y="341236"/>
                  <a:pt x="3368359" y="354420"/>
                  <a:pt x="3372417" y="369731"/>
                </a:cubicBezTo>
                <a:cubicBezTo>
                  <a:pt x="3373802" y="374955"/>
                  <a:pt x="3377455" y="379003"/>
                  <a:pt x="3380538" y="378728"/>
                </a:cubicBezTo>
                <a:cubicBezTo>
                  <a:pt x="3384927" y="378337"/>
                  <a:pt x="3384957" y="377536"/>
                  <a:pt x="3380675" y="375035"/>
                </a:cubicBezTo>
                <a:lnTo>
                  <a:pt x="3380675" y="375035"/>
                </a:lnTo>
                <a:cubicBezTo>
                  <a:pt x="3377669" y="373279"/>
                  <a:pt x="3375209" y="366213"/>
                  <a:pt x="3375209" y="359334"/>
                </a:cubicBezTo>
                <a:cubicBezTo>
                  <a:pt x="3375209" y="352455"/>
                  <a:pt x="3376779" y="348231"/>
                  <a:pt x="3378698" y="349948"/>
                </a:cubicBezTo>
                <a:cubicBezTo>
                  <a:pt x="3380617" y="351665"/>
                  <a:pt x="3385044" y="350452"/>
                  <a:pt x="3388537" y="347252"/>
                </a:cubicBezTo>
                <a:cubicBezTo>
                  <a:pt x="3393480" y="342726"/>
                  <a:pt x="3392677" y="341415"/>
                  <a:pt x="3384911" y="341340"/>
                </a:cubicBezTo>
                <a:close/>
                <a:moveTo>
                  <a:pt x="3481752" y="328581"/>
                </a:moveTo>
                <a:cubicBezTo>
                  <a:pt x="3478562" y="328581"/>
                  <a:pt x="3474719" y="335704"/>
                  <a:pt x="3473209" y="344408"/>
                </a:cubicBezTo>
                <a:cubicBezTo>
                  <a:pt x="3470799" y="358313"/>
                  <a:pt x="3468111" y="360235"/>
                  <a:pt x="3451077" y="360235"/>
                </a:cubicBezTo>
                <a:cubicBezTo>
                  <a:pt x="3440413" y="360235"/>
                  <a:pt x="3429123" y="363704"/>
                  <a:pt x="3425989" y="367943"/>
                </a:cubicBezTo>
                <a:cubicBezTo>
                  <a:pt x="3418508" y="378060"/>
                  <a:pt x="3424306" y="416876"/>
                  <a:pt x="3435239" y="429875"/>
                </a:cubicBezTo>
                <a:cubicBezTo>
                  <a:pt x="3441469" y="437282"/>
                  <a:pt x="3442631" y="444595"/>
                  <a:pt x="3440516" y="463112"/>
                </a:cubicBezTo>
                <a:cubicBezTo>
                  <a:pt x="3438509" y="480705"/>
                  <a:pt x="3439327" y="486853"/>
                  <a:pt x="3443678" y="486853"/>
                </a:cubicBezTo>
                <a:cubicBezTo>
                  <a:pt x="3446913" y="486853"/>
                  <a:pt x="3449549" y="493485"/>
                  <a:pt x="3449549" y="501624"/>
                </a:cubicBezTo>
                <a:cubicBezTo>
                  <a:pt x="3449549" y="520284"/>
                  <a:pt x="3453399" y="525859"/>
                  <a:pt x="3464675" y="523522"/>
                </a:cubicBezTo>
                <a:cubicBezTo>
                  <a:pt x="3472450" y="521910"/>
                  <a:pt x="3473771" y="516371"/>
                  <a:pt x="3474924" y="480522"/>
                </a:cubicBezTo>
                <a:cubicBezTo>
                  <a:pt x="3475653" y="457889"/>
                  <a:pt x="3478112" y="436665"/>
                  <a:pt x="3480390" y="433357"/>
                </a:cubicBezTo>
                <a:cubicBezTo>
                  <a:pt x="3482669" y="430049"/>
                  <a:pt x="3484532" y="420790"/>
                  <a:pt x="3484532" y="412781"/>
                </a:cubicBezTo>
                <a:cubicBezTo>
                  <a:pt x="3484532" y="404214"/>
                  <a:pt x="3487169" y="398220"/>
                  <a:pt x="3490938" y="398220"/>
                </a:cubicBezTo>
                <a:cubicBezTo>
                  <a:pt x="3498511" y="398220"/>
                  <a:pt x="3506292" y="379500"/>
                  <a:pt x="3504808" y="364853"/>
                </a:cubicBezTo>
                <a:cubicBezTo>
                  <a:pt x="3503420" y="351174"/>
                  <a:pt x="3489060" y="328581"/>
                  <a:pt x="3481752" y="328581"/>
                </a:cubicBezTo>
                <a:close/>
                <a:moveTo>
                  <a:pt x="3250209" y="322250"/>
                </a:moveTo>
                <a:cubicBezTo>
                  <a:pt x="3243214" y="322250"/>
                  <a:pt x="3227889" y="333810"/>
                  <a:pt x="3218734" y="345991"/>
                </a:cubicBezTo>
                <a:cubicBezTo>
                  <a:pt x="3215463" y="350343"/>
                  <a:pt x="3210413" y="353905"/>
                  <a:pt x="3207511" y="353905"/>
                </a:cubicBezTo>
                <a:cubicBezTo>
                  <a:pt x="3200783" y="353905"/>
                  <a:pt x="3188954" y="373794"/>
                  <a:pt x="3185026" y="391710"/>
                </a:cubicBezTo>
                <a:cubicBezTo>
                  <a:pt x="3182959" y="401144"/>
                  <a:pt x="3184556" y="409295"/>
                  <a:pt x="3190049" y="417333"/>
                </a:cubicBezTo>
                <a:cubicBezTo>
                  <a:pt x="3198704" y="429998"/>
                  <a:pt x="3209038" y="433607"/>
                  <a:pt x="3209038" y="423965"/>
                </a:cubicBezTo>
                <a:cubicBezTo>
                  <a:pt x="3209038" y="420714"/>
                  <a:pt x="3214450" y="417153"/>
                  <a:pt x="3221064" y="416051"/>
                </a:cubicBezTo>
                <a:cubicBezTo>
                  <a:pt x="3230509" y="414477"/>
                  <a:pt x="3233387" y="410312"/>
                  <a:pt x="3234472" y="396638"/>
                </a:cubicBezTo>
                <a:cubicBezTo>
                  <a:pt x="3236215" y="374710"/>
                  <a:pt x="3252767" y="371301"/>
                  <a:pt x="3252767" y="392871"/>
                </a:cubicBezTo>
                <a:cubicBezTo>
                  <a:pt x="3252767" y="406113"/>
                  <a:pt x="3253025" y="406177"/>
                  <a:pt x="3261513" y="395055"/>
                </a:cubicBezTo>
                <a:cubicBezTo>
                  <a:pt x="3277567" y="374022"/>
                  <a:pt x="3269528" y="322250"/>
                  <a:pt x="3250209" y="322250"/>
                </a:cubicBezTo>
                <a:close/>
                <a:moveTo>
                  <a:pt x="3735611" y="303258"/>
                </a:moveTo>
                <a:cubicBezTo>
                  <a:pt x="3739420" y="303258"/>
                  <a:pt x="3742535" y="307294"/>
                  <a:pt x="3742535" y="312227"/>
                </a:cubicBezTo>
                <a:cubicBezTo>
                  <a:pt x="3742535" y="317159"/>
                  <a:pt x="3744851" y="322313"/>
                  <a:pt x="3747682" y="323679"/>
                </a:cubicBezTo>
                <a:cubicBezTo>
                  <a:pt x="3750513" y="325045"/>
                  <a:pt x="3751381" y="329556"/>
                  <a:pt x="3749611" y="333703"/>
                </a:cubicBezTo>
                <a:cubicBezTo>
                  <a:pt x="3745013" y="344472"/>
                  <a:pt x="3739615" y="343017"/>
                  <a:pt x="3736483" y="330164"/>
                </a:cubicBezTo>
                <a:cubicBezTo>
                  <a:pt x="3734998" y="324070"/>
                  <a:pt x="3732636" y="315524"/>
                  <a:pt x="3731235" y="311171"/>
                </a:cubicBezTo>
                <a:cubicBezTo>
                  <a:pt x="3729770" y="306619"/>
                  <a:pt x="3731629" y="303258"/>
                  <a:pt x="3735611" y="303258"/>
                </a:cubicBezTo>
                <a:close/>
                <a:moveTo>
                  <a:pt x="2667524" y="278974"/>
                </a:moveTo>
                <a:cubicBezTo>
                  <a:pt x="2661560" y="280156"/>
                  <a:pt x="2658185" y="293159"/>
                  <a:pt x="2658117" y="316447"/>
                </a:cubicBezTo>
                <a:cubicBezTo>
                  <a:pt x="2658039" y="342968"/>
                  <a:pt x="2660977" y="348786"/>
                  <a:pt x="2673175" y="346258"/>
                </a:cubicBezTo>
                <a:cubicBezTo>
                  <a:pt x="2680611" y="344717"/>
                  <a:pt x="2682100" y="339770"/>
                  <a:pt x="2682100" y="316609"/>
                </a:cubicBezTo>
                <a:cubicBezTo>
                  <a:pt x="2682100" y="296817"/>
                  <a:pt x="2679861" y="286788"/>
                  <a:pt x="2674323" y="281790"/>
                </a:cubicBezTo>
                <a:cubicBezTo>
                  <a:pt x="2671787" y="279500"/>
                  <a:pt x="2669512" y="278580"/>
                  <a:pt x="2667524" y="278974"/>
                </a:cubicBezTo>
                <a:close/>
                <a:moveTo>
                  <a:pt x="2403748" y="222584"/>
                </a:moveTo>
                <a:cubicBezTo>
                  <a:pt x="2406439" y="222027"/>
                  <a:pt x="2408792" y="224335"/>
                  <a:pt x="2408792" y="229925"/>
                </a:cubicBezTo>
                <a:cubicBezTo>
                  <a:pt x="2408792" y="235438"/>
                  <a:pt x="2405677" y="239949"/>
                  <a:pt x="2401869" y="239949"/>
                </a:cubicBezTo>
                <a:cubicBezTo>
                  <a:pt x="2398060" y="239949"/>
                  <a:pt x="2395724" y="236566"/>
                  <a:pt x="2396676" y="232431"/>
                </a:cubicBezTo>
                <a:cubicBezTo>
                  <a:pt x="2398027" y="226562"/>
                  <a:pt x="2401056" y="223140"/>
                  <a:pt x="2403748" y="222584"/>
                </a:cubicBezTo>
                <a:close/>
                <a:moveTo>
                  <a:pt x="3661635" y="214625"/>
                </a:moveTo>
                <a:cubicBezTo>
                  <a:pt x="3665279" y="214625"/>
                  <a:pt x="3668195" y="220253"/>
                  <a:pt x="3668195" y="227287"/>
                </a:cubicBezTo>
                <a:cubicBezTo>
                  <a:pt x="3668195" y="234321"/>
                  <a:pt x="3665279" y="239949"/>
                  <a:pt x="3661635" y="239949"/>
                </a:cubicBezTo>
                <a:cubicBezTo>
                  <a:pt x="3657991" y="239949"/>
                  <a:pt x="3655077" y="234321"/>
                  <a:pt x="3655077" y="227287"/>
                </a:cubicBezTo>
                <a:cubicBezTo>
                  <a:pt x="3655077" y="220253"/>
                  <a:pt x="3657991" y="214625"/>
                  <a:pt x="3661635" y="214625"/>
                </a:cubicBezTo>
                <a:close/>
                <a:moveTo>
                  <a:pt x="2458546" y="189624"/>
                </a:moveTo>
                <a:cubicBezTo>
                  <a:pt x="2461856" y="188735"/>
                  <a:pt x="2465760" y="190792"/>
                  <a:pt x="2468139" y="196363"/>
                </a:cubicBezTo>
                <a:cubicBezTo>
                  <a:pt x="2469953" y="200613"/>
                  <a:pt x="2478604" y="202209"/>
                  <a:pt x="2489869" y="200371"/>
                </a:cubicBezTo>
                <a:cubicBezTo>
                  <a:pt x="2506662" y="197630"/>
                  <a:pt x="2509560" y="199226"/>
                  <a:pt x="2518076" y="215902"/>
                </a:cubicBezTo>
                <a:cubicBezTo>
                  <a:pt x="2523296" y="226123"/>
                  <a:pt x="2526486" y="238565"/>
                  <a:pt x="2525165" y="243549"/>
                </a:cubicBezTo>
                <a:cubicBezTo>
                  <a:pt x="2521689" y="256664"/>
                  <a:pt x="2516449" y="254691"/>
                  <a:pt x="2511500" y="238403"/>
                </a:cubicBezTo>
                <a:cubicBezTo>
                  <a:pt x="2504650" y="215859"/>
                  <a:pt x="2492282" y="216449"/>
                  <a:pt x="2489102" y="239473"/>
                </a:cubicBezTo>
                <a:cubicBezTo>
                  <a:pt x="2485958" y="262227"/>
                  <a:pt x="2470013" y="267861"/>
                  <a:pt x="2470013" y="246218"/>
                </a:cubicBezTo>
                <a:cubicBezTo>
                  <a:pt x="2470013" y="239220"/>
                  <a:pt x="2466078" y="228616"/>
                  <a:pt x="2461268" y="222653"/>
                </a:cubicBezTo>
                <a:cubicBezTo>
                  <a:pt x="2456458" y="216690"/>
                  <a:pt x="2452522" y="206747"/>
                  <a:pt x="2452522" y="200557"/>
                </a:cubicBezTo>
                <a:cubicBezTo>
                  <a:pt x="2452522" y="194347"/>
                  <a:pt x="2455237" y="190513"/>
                  <a:pt x="2458546" y="189624"/>
                </a:cubicBezTo>
                <a:close/>
                <a:moveTo>
                  <a:pt x="2511298" y="176640"/>
                </a:moveTo>
                <a:cubicBezTo>
                  <a:pt x="2515048" y="176640"/>
                  <a:pt x="2518116" y="179489"/>
                  <a:pt x="2518116" y="182971"/>
                </a:cubicBezTo>
                <a:cubicBezTo>
                  <a:pt x="2518116" y="186454"/>
                  <a:pt x="2516264" y="189302"/>
                  <a:pt x="2514001" y="189302"/>
                </a:cubicBezTo>
                <a:cubicBezTo>
                  <a:pt x="2511738" y="189302"/>
                  <a:pt x="2508670" y="186454"/>
                  <a:pt x="2507183" y="182971"/>
                </a:cubicBezTo>
                <a:cubicBezTo>
                  <a:pt x="2505697" y="179489"/>
                  <a:pt x="2507548" y="176640"/>
                  <a:pt x="2511298" y="176640"/>
                </a:cubicBezTo>
                <a:close/>
                <a:moveTo>
                  <a:pt x="2555929" y="171777"/>
                </a:moveTo>
                <a:cubicBezTo>
                  <a:pt x="2566610" y="171004"/>
                  <a:pt x="2578329" y="172802"/>
                  <a:pt x="2582482" y="177792"/>
                </a:cubicBezTo>
                <a:cubicBezTo>
                  <a:pt x="2587445" y="183755"/>
                  <a:pt x="2586019" y="186637"/>
                  <a:pt x="2574699" y="193528"/>
                </a:cubicBezTo>
                <a:cubicBezTo>
                  <a:pt x="2558114" y="203624"/>
                  <a:pt x="2558671" y="203563"/>
                  <a:pt x="2555286" y="195633"/>
                </a:cubicBezTo>
                <a:cubicBezTo>
                  <a:pt x="2553799" y="192151"/>
                  <a:pt x="2548763" y="189302"/>
                  <a:pt x="2544095" y="189302"/>
                </a:cubicBezTo>
                <a:cubicBezTo>
                  <a:pt x="2539427" y="189302"/>
                  <a:pt x="2535607" y="185648"/>
                  <a:pt x="2535607" y="181183"/>
                </a:cubicBezTo>
                <a:cubicBezTo>
                  <a:pt x="2535607" y="175892"/>
                  <a:pt x="2545249" y="172549"/>
                  <a:pt x="2555929" y="171777"/>
                </a:cubicBezTo>
                <a:close/>
                <a:moveTo>
                  <a:pt x="2651238" y="166688"/>
                </a:moveTo>
                <a:cubicBezTo>
                  <a:pt x="2657528" y="168492"/>
                  <a:pt x="2662423" y="175539"/>
                  <a:pt x="2662423" y="186823"/>
                </a:cubicBezTo>
                <a:cubicBezTo>
                  <a:pt x="2662423" y="195151"/>
                  <a:pt x="2660493" y="201964"/>
                  <a:pt x="2658132" y="201964"/>
                </a:cubicBezTo>
                <a:cubicBezTo>
                  <a:pt x="2655774" y="201964"/>
                  <a:pt x="2652609" y="209086"/>
                  <a:pt x="2651099" y="217791"/>
                </a:cubicBezTo>
                <a:cubicBezTo>
                  <a:pt x="2648579" y="232326"/>
                  <a:pt x="2632643" y="241240"/>
                  <a:pt x="2631294" y="228870"/>
                </a:cubicBezTo>
                <a:cubicBezTo>
                  <a:pt x="2631009" y="226259"/>
                  <a:pt x="2631009" y="221985"/>
                  <a:pt x="2631294" y="219374"/>
                </a:cubicBezTo>
                <a:cubicBezTo>
                  <a:pt x="2631578" y="216762"/>
                  <a:pt x="2629844" y="214625"/>
                  <a:pt x="2627439" y="214625"/>
                </a:cubicBezTo>
                <a:cubicBezTo>
                  <a:pt x="2620291" y="214625"/>
                  <a:pt x="2622736" y="193545"/>
                  <a:pt x="2631687" y="178004"/>
                </a:cubicBezTo>
                <a:cubicBezTo>
                  <a:pt x="2637265" y="168321"/>
                  <a:pt x="2644949" y="164883"/>
                  <a:pt x="2651238" y="166688"/>
                </a:cubicBezTo>
                <a:close/>
                <a:moveTo>
                  <a:pt x="3294675" y="163979"/>
                </a:moveTo>
                <a:cubicBezTo>
                  <a:pt x="3302396" y="163979"/>
                  <a:pt x="3301052" y="177608"/>
                  <a:pt x="3292944" y="181520"/>
                </a:cubicBezTo>
                <a:cubicBezTo>
                  <a:pt x="3290088" y="182899"/>
                  <a:pt x="3287751" y="179516"/>
                  <a:pt x="3287751" y="174003"/>
                </a:cubicBezTo>
                <a:cubicBezTo>
                  <a:pt x="3287751" y="168490"/>
                  <a:pt x="3290866" y="163979"/>
                  <a:pt x="3294675" y="163979"/>
                </a:cubicBezTo>
                <a:close/>
                <a:moveTo>
                  <a:pt x="3593184" y="152944"/>
                </a:moveTo>
                <a:cubicBezTo>
                  <a:pt x="3595875" y="152388"/>
                  <a:pt x="3598229" y="154696"/>
                  <a:pt x="3598229" y="160286"/>
                </a:cubicBezTo>
                <a:cubicBezTo>
                  <a:pt x="3598229" y="165799"/>
                  <a:pt x="3595112" y="170310"/>
                  <a:pt x="3591305" y="170310"/>
                </a:cubicBezTo>
                <a:cubicBezTo>
                  <a:pt x="3587497" y="170310"/>
                  <a:pt x="3585159" y="166926"/>
                  <a:pt x="3586112" y="162792"/>
                </a:cubicBezTo>
                <a:cubicBezTo>
                  <a:pt x="3587463" y="156923"/>
                  <a:pt x="3590492" y="153501"/>
                  <a:pt x="3593184" y="152944"/>
                </a:cubicBezTo>
                <a:close/>
                <a:moveTo>
                  <a:pt x="2447768" y="122488"/>
                </a:moveTo>
                <a:cubicBezTo>
                  <a:pt x="2454976" y="128937"/>
                  <a:pt x="2453468" y="151317"/>
                  <a:pt x="2445825" y="151317"/>
                </a:cubicBezTo>
                <a:cubicBezTo>
                  <a:pt x="2442142" y="151317"/>
                  <a:pt x="2437945" y="146852"/>
                  <a:pt x="2436499" y="141395"/>
                </a:cubicBezTo>
                <a:cubicBezTo>
                  <a:pt x="2433343" y="129488"/>
                  <a:pt x="2441081" y="116504"/>
                  <a:pt x="2447768" y="122488"/>
                </a:cubicBezTo>
                <a:close/>
                <a:moveTo>
                  <a:pt x="2758453" y="113837"/>
                </a:moveTo>
                <a:cubicBezTo>
                  <a:pt x="2758489" y="112848"/>
                  <a:pt x="2756442" y="113310"/>
                  <a:pt x="2752343" y="114355"/>
                </a:cubicBezTo>
                <a:cubicBezTo>
                  <a:pt x="2743193" y="116691"/>
                  <a:pt x="2733150" y="156532"/>
                  <a:pt x="2739995" y="163342"/>
                </a:cubicBezTo>
                <a:cubicBezTo>
                  <a:pt x="2746060" y="169373"/>
                  <a:pt x="2753611" y="202383"/>
                  <a:pt x="2756797" y="236783"/>
                </a:cubicBezTo>
                <a:cubicBezTo>
                  <a:pt x="2760450" y="276217"/>
                  <a:pt x="2765335" y="286290"/>
                  <a:pt x="2776577" y="277579"/>
                </a:cubicBezTo>
                <a:cubicBezTo>
                  <a:pt x="2782786" y="272768"/>
                  <a:pt x="2784864" y="264163"/>
                  <a:pt x="2784864" y="243265"/>
                </a:cubicBezTo>
                <a:cubicBezTo>
                  <a:pt x="2784864" y="227925"/>
                  <a:pt x="2786832" y="213612"/>
                  <a:pt x="2789237" y="211460"/>
                </a:cubicBezTo>
                <a:cubicBezTo>
                  <a:pt x="2796011" y="205400"/>
                  <a:pt x="2794395" y="176679"/>
                  <a:pt x="2787050" y="172599"/>
                </a:cubicBezTo>
                <a:cubicBezTo>
                  <a:pt x="2783443" y="170595"/>
                  <a:pt x="2780492" y="164868"/>
                  <a:pt x="2780492" y="159871"/>
                </a:cubicBezTo>
                <a:cubicBezTo>
                  <a:pt x="2780492" y="143577"/>
                  <a:pt x="2765437" y="126054"/>
                  <a:pt x="2754010" y="129045"/>
                </a:cubicBezTo>
                <a:cubicBezTo>
                  <a:pt x="2743566" y="131779"/>
                  <a:pt x="2743521" y="131619"/>
                  <a:pt x="2752067" y="122018"/>
                </a:cubicBezTo>
                <a:cubicBezTo>
                  <a:pt x="2756299" y="117264"/>
                  <a:pt x="2758418" y="114826"/>
                  <a:pt x="2758453" y="113837"/>
                </a:cubicBezTo>
                <a:close/>
                <a:moveTo>
                  <a:pt x="3208103" y="91897"/>
                </a:moveTo>
                <a:cubicBezTo>
                  <a:pt x="3213281" y="90045"/>
                  <a:pt x="3217784" y="97707"/>
                  <a:pt x="3217784" y="116250"/>
                </a:cubicBezTo>
                <a:cubicBezTo>
                  <a:pt x="3217784" y="127720"/>
                  <a:pt x="3220735" y="140651"/>
                  <a:pt x="3224343" y="144986"/>
                </a:cubicBezTo>
                <a:cubicBezTo>
                  <a:pt x="3227951" y="149321"/>
                  <a:pt x="3230903" y="159844"/>
                  <a:pt x="3230903" y="168372"/>
                </a:cubicBezTo>
                <a:cubicBezTo>
                  <a:pt x="3230903" y="176899"/>
                  <a:pt x="3233854" y="188149"/>
                  <a:pt x="3237462" y="193372"/>
                </a:cubicBezTo>
                <a:cubicBezTo>
                  <a:pt x="3244242" y="203188"/>
                  <a:pt x="3246531" y="221731"/>
                  <a:pt x="3240742" y="219944"/>
                </a:cubicBezTo>
                <a:cubicBezTo>
                  <a:pt x="3238938" y="219386"/>
                  <a:pt x="3231221" y="217798"/>
                  <a:pt x="3223595" y="216414"/>
                </a:cubicBezTo>
                <a:cubicBezTo>
                  <a:pt x="3203557" y="212779"/>
                  <a:pt x="3185757" y="185085"/>
                  <a:pt x="3189004" y="162600"/>
                </a:cubicBezTo>
                <a:cubicBezTo>
                  <a:pt x="3190402" y="152912"/>
                  <a:pt x="3192816" y="135822"/>
                  <a:pt x="3194368" y="124622"/>
                </a:cubicBezTo>
                <a:cubicBezTo>
                  <a:pt x="3197072" y="105112"/>
                  <a:pt x="3202925" y="93748"/>
                  <a:pt x="3208103" y="91897"/>
                </a:cubicBezTo>
                <a:close/>
                <a:moveTo>
                  <a:pt x="3421125" y="62685"/>
                </a:moveTo>
                <a:cubicBezTo>
                  <a:pt x="3424732" y="62685"/>
                  <a:pt x="3427684" y="66958"/>
                  <a:pt x="3427684" y="72181"/>
                </a:cubicBezTo>
                <a:cubicBezTo>
                  <a:pt x="3427684" y="77405"/>
                  <a:pt x="3429221" y="81678"/>
                  <a:pt x="3431098" y="81678"/>
                </a:cubicBezTo>
                <a:cubicBezTo>
                  <a:pt x="3435608" y="81678"/>
                  <a:pt x="3445240" y="118931"/>
                  <a:pt x="3441509" y="121946"/>
                </a:cubicBezTo>
                <a:cubicBezTo>
                  <a:pt x="3439919" y="123233"/>
                  <a:pt x="3436145" y="123001"/>
                  <a:pt x="3433123" y="121434"/>
                </a:cubicBezTo>
                <a:cubicBezTo>
                  <a:pt x="3430102" y="119865"/>
                  <a:pt x="3428743" y="115976"/>
                  <a:pt x="3430102" y="112791"/>
                </a:cubicBezTo>
                <a:cubicBezTo>
                  <a:pt x="3431461" y="109606"/>
                  <a:pt x="3430490" y="107001"/>
                  <a:pt x="3427942" y="107001"/>
                </a:cubicBezTo>
                <a:cubicBezTo>
                  <a:pt x="3425395" y="107001"/>
                  <a:pt x="3423312" y="101303"/>
                  <a:pt x="3423312" y="94339"/>
                </a:cubicBezTo>
                <a:cubicBezTo>
                  <a:pt x="3423312" y="87375"/>
                  <a:pt x="3421344" y="81678"/>
                  <a:pt x="3418939" y="81678"/>
                </a:cubicBezTo>
                <a:cubicBezTo>
                  <a:pt x="3416533" y="81678"/>
                  <a:pt x="3414566" y="77405"/>
                  <a:pt x="3414566" y="72181"/>
                </a:cubicBezTo>
                <a:cubicBezTo>
                  <a:pt x="3414566" y="66958"/>
                  <a:pt x="3417517" y="62685"/>
                  <a:pt x="3421125" y="62685"/>
                </a:cubicBezTo>
                <a:close/>
                <a:moveTo>
                  <a:pt x="3123228" y="39762"/>
                </a:moveTo>
                <a:cubicBezTo>
                  <a:pt x="3124340" y="38590"/>
                  <a:pt x="3126716" y="40562"/>
                  <a:pt x="3129915" y="46141"/>
                </a:cubicBezTo>
                <a:cubicBezTo>
                  <a:pt x="3133020" y="51558"/>
                  <a:pt x="3133456" y="56718"/>
                  <a:pt x="3130996" y="58920"/>
                </a:cubicBezTo>
                <a:cubicBezTo>
                  <a:pt x="3128726" y="60950"/>
                  <a:pt x="3125632" y="57947"/>
                  <a:pt x="3124122" y="52246"/>
                </a:cubicBezTo>
                <a:cubicBezTo>
                  <a:pt x="3122267" y="45250"/>
                  <a:pt x="3122116" y="40934"/>
                  <a:pt x="3123228" y="39762"/>
                </a:cubicBezTo>
                <a:close/>
                <a:moveTo>
                  <a:pt x="3491456" y="6650"/>
                </a:moveTo>
                <a:cubicBezTo>
                  <a:pt x="3493713" y="7680"/>
                  <a:pt x="3496272" y="11147"/>
                  <a:pt x="3502024" y="18369"/>
                </a:cubicBezTo>
                <a:cubicBezTo>
                  <a:pt x="3507571" y="25333"/>
                  <a:pt x="3514759" y="31031"/>
                  <a:pt x="3517999" y="31031"/>
                </a:cubicBezTo>
                <a:cubicBezTo>
                  <a:pt x="3521238" y="31031"/>
                  <a:pt x="3523889" y="33879"/>
                  <a:pt x="3523889" y="37362"/>
                </a:cubicBezTo>
                <a:cubicBezTo>
                  <a:pt x="3523889" y="40844"/>
                  <a:pt x="3526840" y="43693"/>
                  <a:pt x="3530448" y="43693"/>
                </a:cubicBezTo>
                <a:cubicBezTo>
                  <a:pt x="3534146" y="43693"/>
                  <a:pt x="3537008" y="49356"/>
                  <a:pt x="3537008" y="56677"/>
                </a:cubicBezTo>
                <a:cubicBezTo>
                  <a:pt x="3537008" y="68583"/>
                  <a:pt x="3565454" y="113232"/>
                  <a:pt x="3573084" y="113301"/>
                </a:cubicBezTo>
                <a:cubicBezTo>
                  <a:pt x="3574888" y="113318"/>
                  <a:pt x="3576364" y="117914"/>
                  <a:pt x="3576364" y="123514"/>
                </a:cubicBezTo>
                <a:cubicBezTo>
                  <a:pt x="3576364" y="131092"/>
                  <a:pt x="3573688" y="132724"/>
                  <a:pt x="3565906" y="129897"/>
                </a:cubicBezTo>
                <a:cubicBezTo>
                  <a:pt x="3556533" y="126491"/>
                  <a:pt x="3555257" y="128464"/>
                  <a:pt x="3553610" y="148893"/>
                </a:cubicBezTo>
                <a:cubicBezTo>
                  <a:pt x="3552230" y="165993"/>
                  <a:pt x="3553751" y="173479"/>
                  <a:pt x="3559695" y="178853"/>
                </a:cubicBezTo>
                <a:cubicBezTo>
                  <a:pt x="3568675" y="186973"/>
                  <a:pt x="3570011" y="202298"/>
                  <a:pt x="3562664" y="212934"/>
                </a:cubicBezTo>
                <a:cubicBezTo>
                  <a:pt x="3556064" y="222489"/>
                  <a:pt x="3561075" y="239949"/>
                  <a:pt x="3570416" y="239949"/>
                </a:cubicBezTo>
                <a:cubicBezTo>
                  <a:pt x="3574511" y="239949"/>
                  <a:pt x="3581581" y="235077"/>
                  <a:pt x="3586126" y="229122"/>
                </a:cubicBezTo>
                <a:cubicBezTo>
                  <a:pt x="3593093" y="219993"/>
                  <a:pt x="3594988" y="219697"/>
                  <a:pt x="3598207" y="227237"/>
                </a:cubicBezTo>
                <a:cubicBezTo>
                  <a:pt x="3600306" y="232155"/>
                  <a:pt x="3600918" y="238770"/>
                  <a:pt x="3599566" y="241937"/>
                </a:cubicBezTo>
                <a:cubicBezTo>
                  <a:pt x="3596331" y="249514"/>
                  <a:pt x="3606716" y="258723"/>
                  <a:pt x="3618632" y="258845"/>
                </a:cubicBezTo>
                <a:cubicBezTo>
                  <a:pt x="3629513" y="258956"/>
                  <a:pt x="3661535" y="300242"/>
                  <a:pt x="3665357" y="319085"/>
                </a:cubicBezTo>
                <a:cubicBezTo>
                  <a:pt x="3666770" y="326049"/>
                  <a:pt x="3666225" y="342430"/>
                  <a:pt x="3664147" y="355487"/>
                </a:cubicBezTo>
                <a:cubicBezTo>
                  <a:pt x="3661949" y="369306"/>
                  <a:pt x="3662006" y="379228"/>
                  <a:pt x="3664283" y="379228"/>
                </a:cubicBezTo>
                <a:cubicBezTo>
                  <a:pt x="3666434" y="379228"/>
                  <a:pt x="3668196" y="383501"/>
                  <a:pt x="3668196" y="388724"/>
                </a:cubicBezTo>
                <a:cubicBezTo>
                  <a:pt x="3668196" y="393948"/>
                  <a:pt x="3670163" y="398220"/>
                  <a:pt x="3672568" y="398220"/>
                </a:cubicBezTo>
                <a:cubicBezTo>
                  <a:pt x="3674973" y="398220"/>
                  <a:pt x="3676941" y="408680"/>
                  <a:pt x="3676941" y="421463"/>
                </a:cubicBezTo>
                <a:cubicBezTo>
                  <a:pt x="3676941" y="434246"/>
                  <a:pt x="3679674" y="449202"/>
                  <a:pt x="3683014" y="454700"/>
                </a:cubicBezTo>
                <a:cubicBezTo>
                  <a:pt x="3686353" y="460197"/>
                  <a:pt x="3690445" y="473953"/>
                  <a:pt x="3692108" y="485270"/>
                </a:cubicBezTo>
                <a:cubicBezTo>
                  <a:pt x="3694511" y="501645"/>
                  <a:pt x="3693718" y="505845"/>
                  <a:pt x="3688220" y="505845"/>
                </a:cubicBezTo>
                <a:cubicBezTo>
                  <a:pt x="3684422" y="505845"/>
                  <a:pt x="3681806" y="502731"/>
                  <a:pt x="3682407" y="498925"/>
                </a:cubicBezTo>
                <a:cubicBezTo>
                  <a:pt x="3684346" y="486656"/>
                  <a:pt x="3669145" y="476556"/>
                  <a:pt x="3660542" y="484398"/>
                </a:cubicBezTo>
                <a:cubicBezTo>
                  <a:pt x="3649957" y="494048"/>
                  <a:pt x="3648855" y="508671"/>
                  <a:pt x="3656943" y="532140"/>
                </a:cubicBezTo>
                <a:cubicBezTo>
                  <a:pt x="3660727" y="543122"/>
                  <a:pt x="3663823" y="559054"/>
                  <a:pt x="3663823" y="567545"/>
                </a:cubicBezTo>
                <a:cubicBezTo>
                  <a:pt x="3663823" y="576036"/>
                  <a:pt x="3667758" y="590227"/>
                  <a:pt x="3672568" y="599081"/>
                </a:cubicBezTo>
                <a:cubicBezTo>
                  <a:pt x="3677379" y="607934"/>
                  <a:pt x="3681314" y="620323"/>
                  <a:pt x="3681314" y="626611"/>
                </a:cubicBezTo>
                <a:cubicBezTo>
                  <a:pt x="3681314" y="632900"/>
                  <a:pt x="3683281" y="639807"/>
                  <a:pt x="3685687" y="641959"/>
                </a:cubicBezTo>
                <a:cubicBezTo>
                  <a:pt x="3688092" y="644110"/>
                  <a:pt x="3690060" y="652384"/>
                  <a:pt x="3690060" y="660343"/>
                </a:cubicBezTo>
                <a:cubicBezTo>
                  <a:pt x="3690060" y="678177"/>
                  <a:pt x="3704117" y="697639"/>
                  <a:pt x="3714879" y="694706"/>
                </a:cubicBezTo>
                <a:cubicBezTo>
                  <a:pt x="3719266" y="693510"/>
                  <a:pt x="3724799" y="686138"/>
                  <a:pt x="3727174" y="678324"/>
                </a:cubicBezTo>
                <a:cubicBezTo>
                  <a:pt x="3729816" y="669628"/>
                  <a:pt x="3735329" y="664117"/>
                  <a:pt x="3741385" y="664117"/>
                </a:cubicBezTo>
                <a:cubicBezTo>
                  <a:pt x="3756867" y="664117"/>
                  <a:pt x="3753920" y="686819"/>
                  <a:pt x="3736264" y="703575"/>
                </a:cubicBezTo>
                <a:cubicBezTo>
                  <a:pt x="3719509" y="719476"/>
                  <a:pt x="3710769" y="756437"/>
                  <a:pt x="3721445" y="766238"/>
                </a:cubicBezTo>
                <a:cubicBezTo>
                  <a:pt x="3730163" y="774239"/>
                  <a:pt x="3743706" y="772450"/>
                  <a:pt x="3753209" y="762044"/>
                </a:cubicBezTo>
                <a:cubicBezTo>
                  <a:pt x="3769495" y="744212"/>
                  <a:pt x="3785979" y="753179"/>
                  <a:pt x="3792622" y="783484"/>
                </a:cubicBezTo>
                <a:cubicBezTo>
                  <a:pt x="3796816" y="802612"/>
                  <a:pt x="3814112" y="799777"/>
                  <a:pt x="3816087" y="779639"/>
                </a:cubicBezTo>
                <a:cubicBezTo>
                  <a:pt x="3816856" y="771797"/>
                  <a:pt x="3824235" y="757926"/>
                  <a:pt x="3832485" y="748816"/>
                </a:cubicBezTo>
                <a:cubicBezTo>
                  <a:pt x="3844749" y="735275"/>
                  <a:pt x="3847474" y="728059"/>
                  <a:pt x="3847425" y="709264"/>
                </a:cubicBezTo>
                <a:cubicBezTo>
                  <a:pt x="3847352" y="681364"/>
                  <a:pt x="3843200" y="656960"/>
                  <a:pt x="3839142" y="660590"/>
                </a:cubicBezTo>
                <a:cubicBezTo>
                  <a:pt x="3834328" y="664898"/>
                  <a:pt x="3838060" y="573936"/>
                  <a:pt x="3842989" y="566799"/>
                </a:cubicBezTo>
                <a:cubicBezTo>
                  <a:pt x="3845462" y="563219"/>
                  <a:pt x="3847485" y="555512"/>
                  <a:pt x="3847485" y="549670"/>
                </a:cubicBezTo>
                <a:cubicBezTo>
                  <a:pt x="3847485" y="543829"/>
                  <a:pt x="3850200" y="535788"/>
                  <a:pt x="3853517" y="531802"/>
                </a:cubicBezTo>
                <a:cubicBezTo>
                  <a:pt x="3861375" y="522361"/>
                  <a:pt x="3865336" y="492780"/>
                  <a:pt x="3861473" y="472401"/>
                </a:cubicBezTo>
                <a:cubicBezTo>
                  <a:pt x="3859792" y="463537"/>
                  <a:pt x="3851164" y="444615"/>
                  <a:pt x="3842299" y="430355"/>
                </a:cubicBezTo>
                <a:cubicBezTo>
                  <a:pt x="3833435" y="416093"/>
                  <a:pt x="3824791" y="398044"/>
                  <a:pt x="3823090" y="390244"/>
                </a:cubicBezTo>
                <a:cubicBezTo>
                  <a:pt x="3821387" y="382444"/>
                  <a:pt x="3816342" y="371455"/>
                  <a:pt x="3811876" y="365824"/>
                </a:cubicBezTo>
                <a:cubicBezTo>
                  <a:pt x="3807409" y="360192"/>
                  <a:pt x="3803756" y="351137"/>
                  <a:pt x="3803756" y="345701"/>
                </a:cubicBezTo>
                <a:cubicBezTo>
                  <a:pt x="3803756" y="340264"/>
                  <a:pt x="3801296" y="331942"/>
                  <a:pt x="3798290" y="327206"/>
                </a:cubicBezTo>
                <a:cubicBezTo>
                  <a:pt x="3787028" y="309466"/>
                  <a:pt x="3782277" y="290931"/>
                  <a:pt x="3783985" y="271395"/>
                </a:cubicBezTo>
                <a:cubicBezTo>
                  <a:pt x="3786140" y="246750"/>
                  <a:pt x="3789194" y="241660"/>
                  <a:pt x="3795958" y="251450"/>
                </a:cubicBezTo>
                <a:cubicBezTo>
                  <a:pt x="3798804" y="255570"/>
                  <a:pt x="3805835" y="258942"/>
                  <a:pt x="3811582" y="258942"/>
                </a:cubicBezTo>
                <a:cubicBezTo>
                  <a:pt x="3823136" y="258942"/>
                  <a:pt x="3838367" y="281252"/>
                  <a:pt x="3838594" y="298509"/>
                </a:cubicBezTo>
                <a:cubicBezTo>
                  <a:pt x="3838673" y="304603"/>
                  <a:pt x="3840707" y="309588"/>
                  <a:pt x="3843112" y="309588"/>
                </a:cubicBezTo>
                <a:cubicBezTo>
                  <a:pt x="3845518" y="309588"/>
                  <a:pt x="3847485" y="313965"/>
                  <a:pt x="3847485" y="319315"/>
                </a:cubicBezTo>
                <a:cubicBezTo>
                  <a:pt x="3847485" y="324665"/>
                  <a:pt x="3862335" y="350059"/>
                  <a:pt x="3880487" y="375747"/>
                </a:cubicBezTo>
                <a:lnTo>
                  <a:pt x="3913488" y="422452"/>
                </a:lnTo>
                <a:lnTo>
                  <a:pt x="3912190" y="462566"/>
                </a:lnTo>
                <a:lnTo>
                  <a:pt x="3910892" y="502680"/>
                </a:lnTo>
                <a:lnTo>
                  <a:pt x="3924010" y="504823"/>
                </a:lnTo>
                <a:cubicBezTo>
                  <a:pt x="3942999" y="507924"/>
                  <a:pt x="3948063" y="516714"/>
                  <a:pt x="3948063" y="546577"/>
                </a:cubicBezTo>
                <a:cubicBezTo>
                  <a:pt x="3948063" y="564774"/>
                  <a:pt x="3950947" y="577580"/>
                  <a:pt x="3957252" y="587378"/>
                </a:cubicBezTo>
                <a:cubicBezTo>
                  <a:pt x="3963929" y="597753"/>
                  <a:pt x="3965963" y="607602"/>
                  <a:pt x="3964689" y="623392"/>
                </a:cubicBezTo>
                <a:cubicBezTo>
                  <a:pt x="3963726" y="635344"/>
                  <a:pt x="3964510" y="645124"/>
                  <a:pt x="3966432" y="645124"/>
                </a:cubicBezTo>
                <a:cubicBezTo>
                  <a:pt x="3968354" y="645124"/>
                  <a:pt x="3969927" y="653671"/>
                  <a:pt x="3969927" y="664117"/>
                </a:cubicBezTo>
                <a:cubicBezTo>
                  <a:pt x="3969927" y="678989"/>
                  <a:pt x="3967999" y="683109"/>
                  <a:pt x="3961040" y="683109"/>
                </a:cubicBezTo>
                <a:cubicBezTo>
                  <a:pt x="3948054" y="683109"/>
                  <a:pt x="3943151" y="707199"/>
                  <a:pt x="3951373" y="730591"/>
                </a:cubicBezTo>
                <a:cubicBezTo>
                  <a:pt x="3955046" y="741036"/>
                  <a:pt x="3959445" y="753857"/>
                  <a:pt x="3961150" y="759079"/>
                </a:cubicBezTo>
                <a:cubicBezTo>
                  <a:pt x="3962855" y="764302"/>
                  <a:pt x="3969441" y="769474"/>
                  <a:pt x="3975786" y="770572"/>
                </a:cubicBezTo>
                <a:cubicBezTo>
                  <a:pt x="3982132" y="771671"/>
                  <a:pt x="3990139" y="778389"/>
                  <a:pt x="3993580" y="785503"/>
                </a:cubicBezTo>
                <a:cubicBezTo>
                  <a:pt x="3997023" y="792617"/>
                  <a:pt x="4001963" y="796536"/>
                  <a:pt x="4004560" y="794212"/>
                </a:cubicBezTo>
                <a:cubicBezTo>
                  <a:pt x="4014268" y="785527"/>
                  <a:pt x="4018223" y="797801"/>
                  <a:pt x="4011235" y="814926"/>
                </a:cubicBezTo>
                <a:cubicBezTo>
                  <a:pt x="4005848" y="828130"/>
                  <a:pt x="4005321" y="835790"/>
                  <a:pt x="4008872" y="849310"/>
                </a:cubicBezTo>
                <a:cubicBezTo>
                  <a:pt x="4014915" y="872322"/>
                  <a:pt x="4024350" y="871260"/>
                  <a:pt x="4041280" y="845658"/>
                </a:cubicBezTo>
                <a:cubicBezTo>
                  <a:pt x="4048936" y="834083"/>
                  <a:pt x="4058642" y="822777"/>
                  <a:pt x="4062851" y="820534"/>
                </a:cubicBezTo>
                <a:cubicBezTo>
                  <a:pt x="4067060" y="818290"/>
                  <a:pt x="4070504" y="810836"/>
                  <a:pt x="4070504" y="803968"/>
                </a:cubicBezTo>
                <a:cubicBezTo>
                  <a:pt x="4070504" y="797100"/>
                  <a:pt x="4072558" y="789643"/>
                  <a:pt x="4075068" y="787397"/>
                </a:cubicBezTo>
                <a:cubicBezTo>
                  <a:pt x="4082578" y="780678"/>
                  <a:pt x="4092369" y="797337"/>
                  <a:pt x="4092369" y="816832"/>
                </a:cubicBezTo>
                <a:cubicBezTo>
                  <a:pt x="4092369" y="826852"/>
                  <a:pt x="4094336" y="835050"/>
                  <a:pt x="4096742" y="835050"/>
                </a:cubicBezTo>
                <a:cubicBezTo>
                  <a:pt x="4099147" y="835050"/>
                  <a:pt x="4101115" y="838974"/>
                  <a:pt x="4101115" y="843771"/>
                </a:cubicBezTo>
                <a:cubicBezTo>
                  <a:pt x="4101115" y="848568"/>
                  <a:pt x="4103939" y="855887"/>
                  <a:pt x="4107393" y="860036"/>
                </a:cubicBezTo>
                <a:cubicBezTo>
                  <a:pt x="4110846" y="864184"/>
                  <a:pt x="4114938" y="875929"/>
                  <a:pt x="4116486" y="886134"/>
                </a:cubicBezTo>
                <a:cubicBezTo>
                  <a:pt x="4118035" y="896339"/>
                  <a:pt x="4120903" y="904689"/>
                  <a:pt x="4122859" y="904689"/>
                </a:cubicBezTo>
                <a:cubicBezTo>
                  <a:pt x="4129480" y="904689"/>
                  <a:pt x="4132273" y="926431"/>
                  <a:pt x="4126496" y="933011"/>
                </a:cubicBezTo>
                <a:cubicBezTo>
                  <a:pt x="4123360" y="936585"/>
                  <a:pt x="4120164" y="950905"/>
                  <a:pt x="4119395" y="964833"/>
                </a:cubicBezTo>
                <a:cubicBezTo>
                  <a:pt x="4118627" y="978760"/>
                  <a:pt x="4114199" y="996037"/>
                  <a:pt x="4109556" y="1003225"/>
                </a:cubicBezTo>
                <a:cubicBezTo>
                  <a:pt x="4102882" y="1013559"/>
                  <a:pt x="4101223" y="1024826"/>
                  <a:pt x="4101632" y="1057038"/>
                </a:cubicBezTo>
                <a:cubicBezTo>
                  <a:pt x="4102419" y="1118983"/>
                  <a:pt x="4105729" y="1134108"/>
                  <a:pt x="4119684" y="1139507"/>
                </a:cubicBezTo>
                <a:cubicBezTo>
                  <a:pt x="4129383" y="1143260"/>
                  <a:pt x="4133289" y="1141217"/>
                  <a:pt x="4139990" y="1128881"/>
                </a:cubicBezTo>
                <a:cubicBezTo>
                  <a:pt x="4149734" y="1110949"/>
                  <a:pt x="4161440" y="1109019"/>
                  <a:pt x="4165434" y="1124687"/>
                </a:cubicBezTo>
                <a:cubicBezTo>
                  <a:pt x="4166987" y="1130780"/>
                  <a:pt x="4169593" y="1137190"/>
                  <a:pt x="4171225" y="1138931"/>
                </a:cubicBezTo>
                <a:cubicBezTo>
                  <a:pt x="4172858" y="1140671"/>
                  <a:pt x="4175524" y="1152580"/>
                  <a:pt x="4177151" y="1165392"/>
                </a:cubicBezTo>
                <a:cubicBezTo>
                  <a:pt x="4179716" y="1185600"/>
                  <a:pt x="4178500" y="1190847"/>
                  <a:pt x="4167975" y="1204976"/>
                </a:cubicBezTo>
                <a:cubicBezTo>
                  <a:pt x="4149740" y="1229454"/>
                  <a:pt x="4143811" y="1222224"/>
                  <a:pt x="4151601" y="1185009"/>
                </a:cubicBezTo>
                <a:cubicBezTo>
                  <a:pt x="4157255" y="1157992"/>
                  <a:pt x="4122446" y="1148532"/>
                  <a:pt x="4115472" y="1175190"/>
                </a:cubicBezTo>
                <a:cubicBezTo>
                  <a:pt x="4111829" y="1189114"/>
                  <a:pt x="4103120" y="1202239"/>
                  <a:pt x="4097522" y="1202239"/>
                </a:cubicBezTo>
                <a:cubicBezTo>
                  <a:pt x="4090898" y="1202239"/>
                  <a:pt x="4088241" y="1185964"/>
                  <a:pt x="4090938" y="1161908"/>
                </a:cubicBezTo>
                <a:cubicBezTo>
                  <a:pt x="4092778" y="1145484"/>
                  <a:pt x="4091040" y="1135021"/>
                  <a:pt x="4084144" y="1120998"/>
                </a:cubicBezTo>
                <a:cubicBezTo>
                  <a:pt x="4079047" y="1110635"/>
                  <a:pt x="4074877" y="1098965"/>
                  <a:pt x="4074877" y="1095063"/>
                </a:cubicBezTo>
                <a:cubicBezTo>
                  <a:pt x="4074877" y="1091163"/>
                  <a:pt x="4069744" y="1085145"/>
                  <a:pt x="4063469" y="1081691"/>
                </a:cubicBezTo>
                <a:cubicBezTo>
                  <a:pt x="4054637" y="1076829"/>
                  <a:pt x="4053151" y="1073513"/>
                  <a:pt x="4056887" y="1066994"/>
                </a:cubicBezTo>
                <a:cubicBezTo>
                  <a:pt x="4060299" y="1061044"/>
                  <a:pt x="4060487" y="1044568"/>
                  <a:pt x="4057531" y="1010814"/>
                </a:cubicBezTo>
                <a:cubicBezTo>
                  <a:pt x="4055058" y="982581"/>
                  <a:pt x="4054928" y="955081"/>
                  <a:pt x="4057210" y="943558"/>
                </a:cubicBezTo>
                <a:cubicBezTo>
                  <a:pt x="4059334" y="932835"/>
                  <a:pt x="4059619" y="916195"/>
                  <a:pt x="4057842" y="906579"/>
                </a:cubicBezTo>
                <a:cubicBezTo>
                  <a:pt x="4055189" y="892214"/>
                  <a:pt x="4051242" y="888129"/>
                  <a:pt x="4035718" y="883685"/>
                </a:cubicBezTo>
                <a:cubicBezTo>
                  <a:pt x="4015653" y="877940"/>
                  <a:pt x="4009486" y="883293"/>
                  <a:pt x="4009350" y="906575"/>
                </a:cubicBezTo>
                <a:cubicBezTo>
                  <a:pt x="4009314" y="912836"/>
                  <a:pt x="4004078" y="924439"/>
                  <a:pt x="3997719" y="932360"/>
                </a:cubicBezTo>
                <a:cubicBezTo>
                  <a:pt x="3987364" y="945255"/>
                  <a:pt x="3986526" y="949361"/>
                  <a:pt x="3989704" y="971623"/>
                </a:cubicBezTo>
                <a:cubicBezTo>
                  <a:pt x="3991655" y="985298"/>
                  <a:pt x="3992795" y="1000315"/>
                  <a:pt x="3992236" y="1004994"/>
                </a:cubicBezTo>
                <a:cubicBezTo>
                  <a:pt x="3991480" y="1011323"/>
                  <a:pt x="3994652" y="1012410"/>
                  <a:pt x="4004625" y="1009239"/>
                </a:cubicBezTo>
                <a:cubicBezTo>
                  <a:pt x="4014796" y="1006005"/>
                  <a:pt x="4018029" y="1007202"/>
                  <a:pt x="4018029" y="1014201"/>
                </a:cubicBezTo>
                <a:cubicBezTo>
                  <a:pt x="4018029" y="1019274"/>
                  <a:pt x="4020980" y="1026971"/>
                  <a:pt x="4024588" y="1031306"/>
                </a:cubicBezTo>
                <a:cubicBezTo>
                  <a:pt x="4028195" y="1035641"/>
                  <a:pt x="4031148" y="1045961"/>
                  <a:pt x="4031148" y="1054239"/>
                </a:cubicBezTo>
                <a:cubicBezTo>
                  <a:pt x="4031148" y="1062518"/>
                  <a:pt x="4033115" y="1069291"/>
                  <a:pt x="4035521" y="1069291"/>
                </a:cubicBezTo>
                <a:cubicBezTo>
                  <a:pt x="4037926" y="1069291"/>
                  <a:pt x="4039924" y="1074277"/>
                  <a:pt x="4039960" y="1080371"/>
                </a:cubicBezTo>
                <a:cubicBezTo>
                  <a:pt x="4040018" y="1089839"/>
                  <a:pt x="4040644" y="1090069"/>
                  <a:pt x="4044266" y="1081953"/>
                </a:cubicBezTo>
                <a:cubicBezTo>
                  <a:pt x="4046597" y="1076730"/>
                  <a:pt x="4048506" y="1075306"/>
                  <a:pt x="4048506" y="1078788"/>
                </a:cubicBezTo>
                <a:cubicBezTo>
                  <a:pt x="4048506" y="1082270"/>
                  <a:pt x="4046736" y="1089167"/>
                  <a:pt x="4044572" y="1094114"/>
                </a:cubicBezTo>
                <a:cubicBezTo>
                  <a:pt x="4041220" y="1101781"/>
                  <a:pt x="4038992" y="1101547"/>
                  <a:pt x="4029488" y="1092532"/>
                </a:cubicBezTo>
                <a:cubicBezTo>
                  <a:pt x="4015693" y="1079445"/>
                  <a:pt x="4007592" y="1079142"/>
                  <a:pt x="4000537" y="1091450"/>
                </a:cubicBezTo>
                <a:cubicBezTo>
                  <a:pt x="3996171" y="1099065"/>
                  <a:pt x="3996280" y="1103016"/>
                  <a:pt x="4001086" y="1111401"/>
                </a:cubicBezTo>
                <a:cubicBezTo>
                  <a:pt x="4005450" y="1119012"/>
                  <a:pt x="4006701" y="1137522"/>
                  <a:pt x="4005684" y="1179458"/>
                </a:cubicBezTo>
                <a:cubicBezTo>
                  <a:pt x="4004605" y="1223959"/>
                  <a:pt x="4005818" y="1239939"/>
                  <a:pt x="4011018" y="1249721"/>
                </a:cubicBezTo>
                <a:cubicBezTo>
                  <a:pt x="4014722" y="1256685"/>
                  <a:pt x="4017814" y="1270025"/>
                  <a:pt x="4017890" y="1279365"/>
                </a:cubicBezTo>
                <a:cubicBezTo>
                  <a:pt x="4018066" y="1300837"/>
                  <a:pt x="4033415" y="1310120"/>
                  <a:pt x="4041682" y="1293755"/>
                </a:cubicBezTo>
                <a:cubicBezTo>
                  <a:pt x="4047438" y="1282358"/>
                  <a:pt x="4046028" y="1255210"/>
                  <a:pt x="4039371" y="1249254"/>
                </a:cubicBezTo>
                <a:cubicBezTo>
                  <a:pt x="4037254" y="1247358"/>
                  <a:pt x="4035521" y="1236005"/>
                  <a:pt x="4035521" y="1224024"/>
                </a:cubicBezTo>
                <a:cubicBezTo>
                  <a:pt x="4035521" y="1205626"/>
                  <a:pt x="4037056" y="1202239"/>
                  <a:pt x="4045401" y="1202239"/>
                </a:cubicBezTo>
                <a:cubicBezTo>
                  <a:pt x="4057146" y="1202239"/>
                  <a:pt x="4064388" y="1217175"/>
                  <a:pt x="4068670" y="1250220"/>
                </a:cubicBezTo>
                <a:cubicBezTo>
                  <a:pt x="4070396" y="1263538"/>
                  <a:pt x="4073870" y="1277631"/>
                  <a:pt x="4076391" y="1281537"/>
                </a:cubicBezTo>
                <a:cubicBezTo>
                  <a:pt x="4081652" y="1289690"/>
                  <a:pt x="4102235" y="1285958"/>
                  <a:pt x="4098627" y="1277505"/>
                </a:cubicBezTo>
                <a:cubicBezTo>
                  <a:pt x="4097315" y="1274432"/>
                  <a:pt x="4101765" y="1274842"/>
                  <a:pt x="4108517" y="1278416"/>
                </a:cubicBezTo>
                <a:cubicBezTo>
                  <a:pt x="4115269" y="1281992"/>
                  <a:pt x="4123474" y="1286290"/>
                  <a:pt x="4126752" y="1287969"/>
                </a:cubicBezTo>
                <a:cubicBezTo>
                  <a:pt x="4131236" y="1290267"/>
                  <a:pt x="4131496" y="1293137"/>
                  <a:pt x="4127806" y="1299575"/>
                </a:cubicBezTo>
                <a:cubicBezTo>
                  <a:pt x="4123857" y="1306464"/>
                  <a:pt x="4125038" y="1307538"/>
                  <a:pt x="4133874" y="1305093"/>
                </a:cubicBezTo>
                <a:cubicBezTo>
                  <a:pt x="4142564" y="1302688"/>
                  <a:pt x="4144844" y="1298264"/>
                  <a:pt x="4144844" y="1283803"/>
                </a:cubicBezTo>
                <a:cubicBezTo>
                  <a:pt x="4144844" y="1269988"/>
                  <a:pt x="4146897" y="1265548"/>
                  <a:pt x="4153286" y="1265548"/>
                </a:cubicBezTo>
                <a:cubicBezTo>
                  <a:pt x="4158698" y="1265548"/>
                  <a:pt x="4162229" y="1270637"/>
                  <a:pt x="4163125" y="1279728"/>
                </a:cubicBezTo>
                <a:cubicBezTo>
                  <a:pt x="4163894" y="1287527"/>
                  <a:pt x="4168126" y="1294902"/>
                  <a:pt x="4172531" y="1296118"/>
                </a:cubicBezTo>
                <a:cubicBezTo>
                  <a:pt x="4184376" y="1299388"/>
                  <a:pt x="4195852" y="1278682"/>
                  <a:pt x="4193740" y="1257851"/>
                </a:cubicBezTo>
                <a:cubicBezTo>
                  <a:pt x="4192698" y="1247574"/>
                  <a:pt x="4193984" y="1240225"/>
                  <a:pt x="4196823" y="1240225"/>
                </a:cubicBezTo>
                <a:cubicBezTo>
                  <a:pt x="4199501" y="1240225"/>
                  <a:pt x="4201692" y="1235951"/>
                  <a:pt x="4201692" y="1230729"/>
                </a:cubicBezTo>
                <a:cubicBezTo>
                  <a:pt x="4201692" y="1224953"/>
                  <a:pt x="4205761" y="1221232"/>
                  <a:pt x="4212078" y="1221232"/>
                </a:cubicBezTo>
                <a:cubicBezTo>
                  <a:pt x="4220211" y="1221232"/>
                  <a:pt x="4223056" y="1225522"/>
                  <a:pt x="4225197" y="1241016"/>
                </a:cubicBezTo>
                <a:cubicBezTo>
                  <a:pt x="4226700" y="1251897"/>
                  <a:pt x="4227930" y="1266397"/>
                  <a:pt x="4227930" y="1273238"/>
                </a:cubicBezTo>
                <a:cubicBezTo>
                  <a:pt x="4227930" y="1280079"/>
                  <a:pt x="4231767" y="1290406"/>
                  <a:pt x="4236457" y="1296187"/>
                </a:cubicBezTo>
                <a:cubicBezTo>
                  <a:pt x="4245384" y="1307189"/>
                  <a:pt x="4252446" y="1346846"/>
                  <a:pt x="4258151" y="1418012"/>
                </a:cubicBezTo>
                <a:cubicBezTo>
                  <a:pt x="4259989" y="1440933"/>
                  <a:pt x="4262713" y="1462544"/>
                  <a:pt x="4264204" y="1466038"/>
                </a:cubicBezTo>
                <a:cubicBezTo>
                  <a:pt x="4268527" y="1476166"/>
                  <a:pt x="4284247" y="1471595"/>
                  <a:pt x="4291061" y="1458229"/>
                </a:cubicBezTo>
                <a:cubicBezTo>
                  <a:pt x="4295881" y="1448777"/>
                  <a:pt x="4298507" y="1447689"/>
                  <a:pt x="4302556" y="1453466"/>
                </a:cubicBezTo>
                <a:cubicBezTo>
                  <a:pt x="4310667" y="1465041"/>
                  <a:pt x="4304179" y="1479710"/>
                  <a:pt x="4288263" y="1485776"/>
                </a:cubicBezTo>
                <a:lnTo>
                  <a:pt x="4273845" y="1491271"/>
                </a:lnTo>
                <a:lnTo>
                  <a:pt x="4274670" y="1576119"/>
                </a:lnTo>
                <a:cubicBezTo>
                  <a:pt x="4275187" y="1629302"/>
                  <a:pt x="4277226" y="1661803"/>
                  <a:pt x="4280135" y="1663208"/>
                </a:cubicBezTo>
                <a:cubicBezTo>
                  <a:pt x="4282689" y="1664439"/>
                  <a:pt x="4284786" y="1677318"/>
                  <a:pt x="4284796" y="1691826"/>
                </a:cubicBezTo>
                <a:cubicBezTo>
                  <a:pt x="4284805" y="1707440"/>
                  <a:pt x="4289315" y="1731050"/>
                  <a:pt x="4295844" y="1749682"/>
                </a:cubicBezTo>
                <a:cubicBezTo>
                  <a:pt x="4304028" y="1773035"/>
                  <a:pt x="4307579" y="1795505"/>
                  <a:pt x="4309600" y="1836731"/>
                </a:cubicBezTo>
                <a:cubicBezTo>
                  <a:pt x="4311099" y="1867296"/>
                  <a:pt x="4314087" y="1892303"/>
                  <a:pt x="4316241" y="1892303"/>
                </a:cubicBezTo>
                <a:cubicBezTo>
                  <a:pt x="4320687" y="1892303"/>
                  <a:pt x="4317040" y="1930980"/>
                  <a:pt x="4310107" y="1957356"/>
                </a:cubicBezTo>
                <a:cubicBezTo>
                  <a:pt x="4306458" y="1971241"/>
                  <a:pt x="4306914" y="1977217"/>
                  <a:pt x="4312284" y="1985845"/>
                </a:cubicBezTo>
                <a:cubicBezTo>
                  <a:pt x="4316021" y="1991849"/>
                  <a:pt x="4320430" y="2004597"/>
                  <a:pt x="4322081" y="2014172"/>
                </a:cubicBezTo>
                <a:cubicBezTo>
                  <a:pt x="4323731" y="2023747"/>
                  <a:pt x="4326836" y="2031582"/>
                  <a:pt x="4328981" y="2031582"/>
                </a:cubicBezTo>
                <a:cubicBezTo>
                  <a:pt x="4331125" y="2031582"/>
                  <a:pt x="4332880" y="2036931"/>
                  <a:pt x="4332880" y="2043469"/>
                </a:cubicBezTo>
                <a:cubicBezTo>
                  <a:pt x="4332880" y="2063669"/>
                  <a:pt x="4342559" y="2069939"/>
                  <a:pt x="4353651" y="2056924"/>
                </a:cubicBezTo>
                <a:cubicBezTo>
                  <a:pt x="4359063" y="2050574"/>
                  <a:pt x="4363490" y="2040761"/>
                  <a:pt x="4363490" y="2035116"/>
                </a:cubicBezTo>
                <a:cubicBezTo>
                  <a:pt x="4363490" y="2025830"/>
                  <a:pt x="4374965" y="2013985"/>
                  <a:pt x="4378404" y="2019721"/>
                </a:cubicBezTo>
                <a:cubicBezTo>
                  <a:pt x="4382680" y="2026854"/>
                  <a:pt x="4384603" y="2067785"/>
                  <a:pt x="4381043" y="2075898"/>
                </a:cubicBezTo>
                <a:cubicBezTo>
                  <a:pt x="4377629" y="2083677"/>
                  <a:pt x="4375302" y="2083981"/>
                  <a:pt x="4368169" y="2077583"/>
                </a:cubicBezTo>
                <a:cubicBezTo>
                  <a:pt x="4363381" y="2073287"/>
                  <a:pt x="4356207" y="2071582"/>
                  <a:pt x="4352226" y="2073792"/>
                </a:cubicBezTo>
                <a:cubicBezTo>
                  <a:pt x="4346268" y="2077103"/>
                  <a:pt x="4345547" y="2082948"/>
                  <a:pt x="4348141" y="2106926"/>
                </a:cubicBezTo>
                <a:cubicBezTo>
                  <a:pt x="4349873" y="2122939"/>
                  <a:pt x="4351206" y="2141026"/>
                  <a:pt x="4351103" y="2147120"/>
                </a:cubicBezTo>
                <a:cubicBezTo>
                  <a:pt x="4351000" y="2153213"/>
                  <a:pt x="4352761" y="2158199"/>
                  <a:pt x="4355016" y="2158199"/>
                </a:cubicBezTo>
                <a:cubicBezTo>
                  <a:pt x="4357271" y="2158199"/>
                  <a:pt x="4359117" y="2162472"/>
                  <a:pt x="4359117" y="2167695"/>
                </a:cubicBezTo>
                <a:cubicBezTo>
                  <a:pt x="4359117" y="2172918"/>
                  <a:pt x="4361085" y="2177191"/>
                  <a:pt x="4363490" y="2177191"/>
                </a:cubicBezTo>
                <a:cubicBezTo>
                  <a:pt x="4369461" y="2177191"/>
                  <a:pt x="4369033" y="2204620"/>
                  <a:pt x="4362923" y="2213465"/>
                </a:cubicBezTo>
                <a:cubicBezTo>
                  <a:pt x="4360191" y="2217421"/>
                  <a:pt x="4356771" y="2253115"/>
                  <a:pt x="4355271" y="2293337"/>
                </a:cubicBezTo>
                <a:cubicBezTo>
                  <a:pt x="4352827" y="2358834"/>
                  <a:pt x="4353334" y="2366758"/>
                  <a:pt x="4360370" y="2373116"/>
                </a:cubicBezTo>
                <a:cubicBezTo>
                  <a:pt x="4372985" y="2384514"/>
                  <a:pt x="4377570" y="2409853"/>
                  <a:pt x="4371450" y="2434355"/>
                </a:cubicBezTo>
                <a:cubicBezTo>
                  <a:pt x="4368511" y="2446121"/>
                  <a:pt x="4364534" y="2455749"/>
                  <a:pt x="4362612" y="2455749"/>
                </a:cubicBezTo>
                <a:cubicBezTo>
                  <a:pt x="4357631" y="2455749"/>
                  <a:pt x="4358275" y="2489982"/>
                  <a:pt x="4363396" y="2497396"/>
                </a:cubicBezTo>
                <a:cubicBezTo>
                  <a:pt x="4365748" y="2500803"/>
                  <a:pt x="4368713" y="2547510"/>
                  <a:pt x="4369984" y="2601191"/>
                </a:cubicBezTo>
                <a:cubicBezTo>
                  <a:pt x="4371255" y="2654871"/>
                  <a:pt x="4374095" y="2700403"/>
                  <a:pt x="4376297" y="2702374"/>
                </a:cubicBezTo>
                <a:cubicBezTo>
                  <a:pt x="4378499" y="2704344"/>
                  <a:pt x="4381707" y="2733701"/>
                  <a:pt x="4383427" y="2767613"/>
                </a:cubicBezTo>
                <a:cubicBezTo>
                  <a:pt x="4385146" y="2801524"/>
                  <a:pt x="4388251" y="2829270"/>
                  <a:pt x="4390327" y="2829270"/>
                </a:cubicBezTo>
                <a:cubicBezTo>
                  <a:pt x="4392403" y="2829270"/>
                  <a:pt x="4394101" y="2840524"/>
                  <a:pt x="4394101" y="2854279"/>
                </a:cubicBezTo>
                <a:cubicBezTo>
                  <a:pt x="4394101" y="2870956"/>
                  <a:pt x="4396509" y="2881239"/>
                  <a:pt x="4401330" y="2885145"/>
                </a:cubicBezTo>
                <a:cubicBezTo>
                  <a:pt x="4407551" y="2890184"/>
                  <a:pt x="4407887" y="2894843"/>
                  <a:pt x="4403735" y="2918518"/>
                </a:cubicBezTo>
                <a:cubicBezTo>
                  <a:pt x="4401082" y="2933652"/>
                  <a:pt x="4400307" y="2947539"/>
                  <a:pt x="4402014" y="2949378"/>
                </a:cubicBezTo>
                <a:cubicBezTo>
                  <a:pt x="4403720" y="2951217"/>
                  <a:pt x="4408989" y="2963405"/>
                  <a:pt x="4413722" y="2976462"/>
                </a:cubicBezTo>
                <a:cubicBezTo>
                  <a:pt x="4422755" y="3001383"/>
                  <a:pt x="4428254" y="3005204"/>
                  <a:pt x="4436955" y="2992606"/>
                </a:cubicBezTo>
                <a:cubicBezTo>
                  <a:pt x="4443008" y="2983844"/>
                  <a:pt x="4444037" y="2962218"/>
                  <a:pt x="4438402" y="2962218"/>
                </a:cubicBezTo>
                <a:cubicBezTo>
                  <a:pt x="4436311" y="2962218"/>
                  <a:pt x="4433493" y="2952336"/>
                  <a:pt x="4432140" y="2940257"/>
                </a:cubicBezTo>
                <a:cubicBezTo>
                  <a:pt x="4430785" y="2928178"/>
                  <a:pt x="4425583" y="2911933"/>
                  <a:pt x="4420579" y="2904157"/>
                </a:cubicBezTo>
                <a:lnTo>
                  <a:pt x="4411480" y="2890017"/>
                </a:lnTo>
                <a:lnTo>
                  <a:pt x="4423561" y="2875699"/>
                </a:lnTo>
                <a:cubicBezTo>
                  <a:pt x="4437451" y="2859237"/>
                  <a:pt x="4451949" y="2856909"/>
                  <a:pt x="4459419" y="2869941"/>
                </a:cubicBezTo>
                <a:cubicBezTo>
                  <a:pt x="4465644" y="2880798"/>
                  <a:pt x="4461173" y="2922996"/>
                  <a:pt x="4452464" y="2935605"/>
                </a:cubicBezTo>
                <a:cubicBezTo>
                  <a:pt x="4446070" y="2944861"/>
                  <a:pt x="4444467" y="2962218"/>
                  <a:pt x="4450005" y="2962218"/>
                </a:cubicBezTo>
                <a:cubicBezTo>
                  <a:pt x="4451892" y="2962218"/>
                  <a:pt x="4457000" y="2970952"/>
                  <a:pt x="4461356" y="2981627"/>
                </a:cubicBezTo>
                <a:cubicBezTo>
                  <a:pt x="4468620" y="2999432"/>
                  <a:pt x="4468698" y="3001959"/>
                  <a:pt x="4462298" y="3012197"/>
                </a:cubicBezTo>
                <a:cubicBezTo>
                  <a:pt x="4454880" y="3024065"/>
                  <a:pt x="4453231" y="3039382"/>
                  <a:pt x="4458544" y="3047075"/>
                </a:cubicBezTo>
                <a:cubicBezTo>
                  <a:pt x="4460317" y="3049641"/>
                  <a:pt x="4464114" y="3071903"/>
                  <a:pt x="4466982" y="3096545"/>
                </a:cubicBezTo>
                <a:cubicBezTo>
                  <a:pt x="4469850" y="3121186"/>
                  <a:pt x="4474231" y="3143169"/>
                  <a:pt x="4476717" y="3145393"/>
                </a:cubicBezTo>
                <a:cubicBezTo>
                  <a:pt x="4479207" y="3147621"/>
                  <a:pt x="4481629" y="3176354"/>
                  <a:pt x="4482109" y="3209351"/>
                </a:cubicBezTo>
                <a:cubicBezTo>
                  <a:pt x="4482824" y="3258484"/>
                  <a:pt x="4484503" y="3271734"/>
                  <a:pt x="4491442" y="3282990"/>
                </a:cubicBezTo>
                <a:cubicBezTo>
                  <a:pt x="4497783" y="3293278"/>
                  <a:pt x="4499162" y="3301605"/>
                  <a:pt x="4496943" y="3316228"/>
                </a:cubicBezTo>
                <a:cubicBezTo>
                  <a:pt x="4493270" y="3340439"/>
                  <a:pt x="4483514" y="3341615"/>
                  <a:pt x="4479522" y="3318328"/>
                </a:cubicBezTo>
                <a:cubicBezTo>
                  <a:pt x="4476154" y="3298680"/>
                  <a:pt x="4460893" y="3272430"/>
                  <a:pt x="4452840" y="3272430"/>
                </a:cubicBezTo>
                <a:cubicBezTo>
                  <a:pt x="4446154" y="3272430"/>
                  <a:pt x="4442203" y="3286899"/>
                  <a:pt x="4442203" y="3311385"/>
                </a:cubicBezTo>
                <a:cubicBezTo>
                  <a:pt x="4442203" y="3321795"/>
                  <a:pt x="4439184" y="3334682"/>
                  <a:pt x="4435495" y="3340023"/>
                </a:cubicBezTo>
                <a:cubicBezTo>
                  <a:pt x="4431661" y="3345574"/>
                  <a:pt x="4429909" y="3354850"/>
                  <a:pt x="4431405" y="3361676"/>
                </a:cubicBezTo>
                <a:cubicBezTo>
                  <a:pt x="4433651" y="3371920"/>
                  <a:pt x="4432582" y="3372853"/>
                  <a:pt x="4423901" y="3368237"/>
                </a:cubicBezTo>
                <a:cubicBezTo>
                  <a:pt x="4415737" y="3363896"/>
                  <a:pt x="4413356" y="3356944"/>
                  <a:pt x="4411592" y="3332307"/>
                </a:cubicBezTo>
                <a:cubicBezTo>
                  <a:pt x="4409698" y="3305849"/>
                  <a:pt x="4407865" y="3301168"/>
                  <a:pt x="4397896" y="3297338"/>
                </a:cubicBezTo>
                <a:cubicBezTo>
                  <a:pt x="4391566" y="3294906"/>
                  <a:pt x="4384072" y="3294987"/>
                  <a:pt x="4381244" y="3297518"/>
                </a:cubicBezTo>
                <a:cubicBezTo>
                  <a:pt x="4374953" y="3303147"/>
                  <a:pt x="4379280" y="3332143"/>
                  <a:pt x="4387970" y="3342585"/>
                </a:cubicBezTo>
                <a:cubicBezTo>
                  <a:pt x="4395032" y="3351070"/>
                  <a:pt x="4396573" y="3411709"/>
                  <a:pt x="4389728" y="3411709"/>
                </a:cubicBezTo>
                <a:cubicBezTo>
                  <a:pt x="4387322" y="3411709"/>
                  <a:pt x="4385355" y="3423104"/>
                  <a:pt x="4385355" y="3437032"/>
                </a:cubicBezTo>
                <a:cubicBezTo>
                  <a:pt x="4385355" y="3450960"/>
                  <a:pt x="4387322" y="3462355"/>
                  <a:pt x="4389728" y="3462355"/>
                </a:cubicBezTo>
                <a:cubicBezTo>
                  <a:pt x="4392133" y="3462355"/>
                  <a:pt x="4394101" y="3469316"/>
                  <a:pt x="4394101" y="3477824"/>
                </a:cubicBezTo>
                <a:cubicBezTo>
                  <a:pt x="4394101" y="3486331"/>
                  <a:pt x="4398166" y="3497414"/>
                  <a:pt x="4403134" y="3502453"/>
                </a:cubicBezTo>
                <a:cubicBezTo>
                  <a:pt x="4410497" y="3509918"/>
                  <a:pt x="4411638" y="3515708"/>
                  <a:pt x="4409301" y="3533741"/>
                </a:cubicBezTo>
                <a:cubicBezTo>
                  <a:pt x="4407513" y="3547540"/>
                  <a:pt x="4408278" y="3557518"/>
                  <a:pt x="4411334" y="3560252"/>
                </a:cubicBezTo>
                <a:cubicBezTo>
                  <a:pt x="4414360" y="3562961"/>
                  <a:pt x="4415160" y="3572918"/>
                  <a:pt x="4413426" y="3586301"/>
                </a:cubicBezTo>
                <a:cubicBezTo>
                  <a:pt x="4411232" y="3603235"/>
                  <a:pt x="4412068" y="3607965"/>
                  <a:pt x="4417255" y="3607965"/>
                </a:cubicBezTo>
                <a:cubicBezTo>
                  <a:pt x="4421739" y="3607965"/>
                  <a:pt x="4423150" y="3612073"/>
                  <a:pt x="4421605" y="3620627"/>
                </a:cubicBezTo>
                <a:cubicBezTo>
                  <a:pt x="4420347" y="3627590"/>
                  <a:pt x="4416534" y="3633289"/>
                  <a:pt x="4413131" y="3633289"/>
                </a:cubicBezTo>
                <a:cubicBezTo>
                  <a:pt x="4409728" y="3633289"/>
                  <a:pt x="4405812" y="3637562"/>
                  <a:pt x="4404428" y="3642785"/>
                </a:cubicBezTo>
                <a:cubicBezTo>
                  <a:pt x="4403043" y="3648008"/>
                  <a:pt x="4398186" y="3652281"/>
                  <a:pt x="4393632" y="3652281"/>
                </a:cubicBezTo>
                <a:cubicBezTo>
                  <a:pt x="4387073" y="3652281"/>
                  <a:pt x="4385355" y="3647639"/>
                  <a:pt x="4385355" y="3629925"/>
                </a:cubicBezTo>
                <a:cubicBezTo>
                  <a:pt x="4385355" y="3615892"/>
                  <a:pt x="4387797" y="3606211"/>
                  <a:pt x="4391914" y="3603924"/>
                </a:cubicBezTo>
                <a:cubicBezTo>
                  <a:pt x="4395522" y="3601919"/>
                  <a:pt x="4398473" y="3593562"/>
                  <a:pt x="4398473" y="3585352"/>
                </a:cubicBezTo>
                <a:cubicBezTo>
                  <a:pt x="4398473" y="3569607"/>
                  <a:pt x="4387338" y="3557318"/>
                  <a:pt x="4373070" y="3557318"/>
                </a:cubicBezTo>
                <a:cubicBezTo>
                  <a:pt x="4363359" y="3557318"/>
                  <a:pt x="4356613" y="3524686"/>
                  <a:pt x="4362940" y="3508318"/>
                </a:cubicBezTo>
                <a:cubicBezTo>
                  <a:pt x="4365415" y="3501914"/>
                  <a:pt x="4364319" y="3494494"/>
                  <a:pt x="4359759" y="3486782"/>
                </a:cubicBezTo>
                <a:cubicBezTo>
                  <a:pt x="4351128" y="3472190"/>
                  <a:pt x="4342550" y="3471843"/>
                  <a:pt x="4332004" y="3485660"/>
                </a:cubicBezTo>
                <a:cubicBezTo>
                  <a:pt x="4324352" y="3495687"/>
                  <a:pt x="4323493" y="3495504"/>
                  <a:pt x="4317200" y="3482495"/>
                </a:cubicBezTo>
                <a:cubicBezTo>
                  <a:pt x="4308990" y="3465526"/>
                  <a:pt x="4299650" y="3464775"/>
                  <a:pt x="4293795" y="3480613"/>
                </a:cubicBezTo>
                <a:cubicBezTo>
                  <a:pt x="4290442" y="3489683"/>
                  <a:pt x="4291971" y="3499914"/>
                  <a:pt x="4300183" y="3523346"/>
                </a:cubicBezTo>
                <a:cubicBezTo>
                  <a:pt x="4306120" y="3540290"/>
                  <a:pt x="4310987" y="3560395"/>
                  <a:pt x="4310997" y="3568024"/>
                </a:cubicBezTo>
                <a:cubicBezTo>
                  <a:pt x="4311006" y="3575652"/>
                  <a:pt x="4313015" y="3583684"/>
                  <a:pt x="4315459" y="3585871"/>
                </a:cubicBezTo>
                <a:cubicBezTo>
                  <a:pt x="4322971" y="3592592"/>
                  <a:pt x="4315546" y="3601634"/>
                  <a:pt x="4302514" y="3601634"/>
                </a:cubicBezTo>
                <a:cubicBezTo>
                  <a:pt x="4288527" y="3601634"/>
                  <a:pt x="4275275" y="3578803"/>
                  <a:pt x="4271659" y="3548478"/>
                </a:cubicBezTo>
                <a:cubicBezTo>
                  <a:pt x="4269223" y="3528055"/>
                  <a:pt x="4254451" y="3510564"/>
                  <a:pt x="4251054" y="3524081"/>
                </a:cubicBezTo>
                <a:cubicBezTo>
                  <a:pt x="4247155" y="3539593"/>
                  <a:pt x="4236675" y="3532372"/>
                  <a:pt x="4236675" y="3514175"/>
                </a:cubicBezTo>
                <a:cubicBezTo>
                  <a:pt x="4236675" y="3500042"/>
                  <a:pt x="4233508" y="3494168"/>
                  <a:pt x="4221370" y="3485789"/>
                </a:cubicBezTo>
                <a:cubicBezTo>
                  <a:pt x="4212952" y="3479977"/>
                  <a:pt x="4206065" y="3471169"/>
                  <a:pt x="4206065" y="3466216"/>
                </a:cubicBezTo>
                <a:cubicBezTo>
                  <a:pt x="4206065" y="3460319"/>
                  <a:pt x="4203038" y="3458355"/>
                  <a:pt x="4197295" y="3460530"/>
                </a:cubicBezTo>
                <a:cubicBezTo>
                  <a:pt x="4192472" y="3462356"/>
                  <a:pt x="4185586" y="3460316"/>
                  <a:pt x="4181991" y="3455997"/>
                </a:cubicBezTo>
                <a:cubicBezTo>
                  <a:pt x="4176441" y="3449329"/>
                  <a:pt x="4175454" y="3450970"/>
                  <a:pt x="4175454" y="3466856"/>
                </a:cubicBezTo>
                <a:cubicBezTo>
                  <a:pt x="4175454" y="3491796"/>
                  <a:pt x="4172119" y="3495286"/>
                  <a:pt x="4159615" y="3483426"/>
                </a:cubicBezTo>
                <a:cubicBezTo>
                  <a:pt x="4151211" y="3475452"/>
                  <a:pt x="4145688" y="3474774"/>
                  <a:pt x="4131533" y="3479975"/>
                </a:cubicBezTo>
                <a:cubicBezTo>
                  <a:pt x="4114648" y="3486180"/>
                  <a:pt x="4114037" y="3485884"/>
                  <a:pt x="4116891" y="3472870"/>
                </a:cubicBezTo>
                <a:cubicBezTo>
                  <a:pt x="4119527" y="3460840"/>
                  <a:pt x="4119047" y="3460276"/>
                  <a:pt x="4112678" y="3467929"/>
                </a:cubicBezTo>
                <a:cubicBezTo>
                  <a:pt x="4104758" y="3477444"/>
                  <a:pt x="4102969" y="3494010"/>
                  <a:pt x="4109861" y="3494010"/>
                </a:cubicBezTo>
                <a:cubicBezTo>
                  <a:pt x="4116533" y="3494010"/>
                  <a:pt x="4115068" y="3523551"/>
                  <a:pt x="4107881" y="3533957"/>
                </a:cubicBezTo>
                <a:cubicBezTo>
                  <a:pt x="4100407" y="3544778"/>
                  <a:pt x="4102028" y="3595604"/>
                  <a:pt x="4111751" y="3655281"/>
                </a:cubicBezTo>
                <a:cubicBezTo>
                  <a:pt x="4115140" y="3676081"/>
                  <a:pt x="4116973" y="3695300"/>
                  <a:pt x="4115825" y="3697990"/>
                </a:cubicBezTo>
                <a:cubicBezTo>
                  <a:pt x="4114676" y="3700681"/>
                  <a:pt x="4107924" y="3698531"/>
                  <a:pt x="4100821" y="3693212"/>
                </a:cubicBezTo>
                <a:cubicBezTo>
                  <a:pt x="4091076" y="3685916"/>
                  <a:pt x="4088184" y="3685533"/>
                  <a:pt x="4089044" y="3691653"/>
                </a:cubicBezTo>
                <a:cubicBezTo>
                  <a:pt x="4089670" y="3696113"/>
                  <a:pt x="4086739" y="3699367"/>
                  <a:pt x="4082530" y="3698884"/>
                </a:cubicBezTo>
                <a:cubicBezTo>
                  <a:pt x="4073802" y="3697881"/>
                  <a:pt x="4072115" y="3706871"/>
                  <a:pt x="4080291" y="3710817"/>
                </a:cubicBezTo>
                <a:cubicBezTo>
                  <a:pt x="4084569" y="3712881"/>
                  <a:pt x="4084588" y="3716981"/>
                  <a:pt x="4080385" y="3730337"/>
                </a:cubicBezTo>
                <a:cubicBezTo>
                  <a:pt x="4073328" y="3752763"/>
                  <a:pt x="4066131" y="3751823"/>
                  <a:pt x="4066131" y="3728475"/>
                </a:cubicBezTo>
                <a:cubicBezTo>
                  <a:pt x="4066131" y="3716097"/>
                  <a:pt x="4063111" y="3707364"/>
                  <a:pt x="4057262" y="3702834"/>
                </a:cubicBezTo>
                <a:cubicBezTo>
                  <a:pt x="4052386" y="3699054"/>
                  <a:pt x="4049550" y="3693256"/>
                  <a:pt x="4050961" y="3689949"/>
                </a:cubicBezTo>
                <a:cubicBezTo>
                  <a:pt x="4052374" y="3686641"/>
                  <a:pt x="4051925" y="3683935"/>
                  <a:pt x="4049965" y="3683935"/>
                </a:cubicBezTo>
                <a:cubicBezTo>
                  <a:pt x="4048005" y="3683935"/>
                  <a:pt x="4043619" y="3674838"/>
                  <a:pt x="4040220" y="3663718"/>
                </a:cubicBezTo>
                <a:cubicBezTo>
                  <a:pt x="4035659" y="3648798"/>
                  <a:pt x="4035379" y="3642854"/>
                  <a:pt x="4039152" y="3641032"/>
                </a:cubicBezTo>
                <a:cubicBezTo>
                  <a:pt x="4047499" y="3637004"/>
                  <a:pt x="4045039" y="3623665"/>
                  <a:pt x="4032349" y="3604142"/>
                </a:cubicBezTo>
                <a:cubicBezTo>
                  <a:pt x="4025795" y="3594058"/>
                  <a:pt x="4020937" y="3583403"/>
                  <a:pt x="4021554" y="3580466"/>
                </a:cubicBezTo>
                <a:cubicBezTo>
                  <a:pt x="4022171" y="3577528"/>
                  <a:pt x="4020172" y="3576331"/>
                  <a:pt x="4017114" y="3577808"/>
                </a:cubicBezTo>
                <a:cubicBezTo>
                  <a:pt x="4014056" y="3579284"/>
                  <a:pt x="4009389" y="3591658"/>
                  <a:pt x="4006744" y="3605307"/>
                </a:cubicBezTo>
                <a:cubicBezTo>
                  <a:pt x="4004099" y="3618956"/>
                  <a:pt x="3999454" y="3630123"/>
                  <a:pt x="3996422" y="3630123"/>
                </a:cubicBezTo>
                <a:cubicBezTo>
                  <a:pt x="3990802" y="3630123"/>
                  <a:pt x="3981850" y="3596880"/>
                  <a:pt x="3976929" y="3557734"/>
                </a:cubicBezTo>
                <a:cubicBezTo>
                  <a:pt x="3975426" y="3545775"/>
                  <a:pt x="3970962" y="3530818"/>
                  <a:pt x="3967010" y="3524497"/>
                </a:cubicBezTo>
                <a:cubicBezTo>
                  <a:pt x="3958306" y="3510570"/>
                  <a:pt x="3940001" y="3509385"/>
                  <a:pt x="3936518" y="3522521"/>
                </a:cubicBezTo>
                <a:cubicBezTo>
                  <a:pt x="3933561" y="3533681"/>
                  <a:pt x="3950462" y="3588973"/>
                  <a:pt x="3956830" y="3588973"/>
                </a:cubicBezTo>
                <a:cubicBezTo>
                  <a:pt x="3959223" y="3588973"/>
                  <a:pt x="3961181" y="3595657"/>
                  <a:pt x="3961181" y="3603827"/>
                </a:cubicBezTo>
                <a:cubicBezTo>
                  <a:pt x="3961181" y="3619866"/>
                  <a:pt x="3973035" y="3658612"/>
                  <a:pt x="3977941" y="3658612"/>
                </a:cubicBezTo>
                <a:cubicBezTo>
                  <a:pt x="3985899" y="3658612"/>
                  <a:pt x="3992240" y="3686672"/>
                  <a:pt x="3989531" y="3709893"/>
                </a:cubicBezTo>
                <a:cubicBezTo>
                  <a:pt x="3986582" y="3735163"/>
                  <a:pt x="3978673" y="3744302"/>
                  <a:pt x="3978673" y="3722438"/>
                </a:cubicBezTo>
                <a:cubicBezTo>
                  <a:pt x="3978673" y="3700687"/>
                  <a:pt x="3973564" y="3690266"/>
                  <a:pt x="3962900" y="3690266"/>
                </a:cubicBezTo>
                <a:cubicBezTo>
                  <a:pt x="3957144" y="3690266"/>
                  <a:pt x="3952435" y="3687472"/>
                  <a:pt x="3952435" y="3684056"/>
                </a:cubicBezTo>
                <a:cubicBezTo>
                  <a:pt x="3952435" y="3680641"/>
                  <a:pt x="3947777" y="3676154"/>
                  <a:pt x="3942083" y="3674084"/>
                </a:cubicBezTo>
                <a:cubicBezTo>
                  <a:pt x="3934704" y="3671403"/>
                  <a:pt x="3928399" y="3674792"/>
                  <a:pt x="3920131" y="3685884"/>
                </a:cubicBezTo>
                <a:cubicBezTo>
                  <a:pt x="3909683" y="3699904"/>
                  <a:pt x="3909042" y="3703246"/>
                  <a:pt x="3913664" y="3719597"/>
                </a:cubicBezTo>
                <a:cubicBezTo>
                  <a:pt x="3916487" y="3729580"/>
                  <a:pt x="3919379" y="3740597"/>
                  <a:pt x="3920091" y="3744079"/>
                </a:cubicBezTo>
                <a:cubicBezTo>
                  <a:pt x="3920802" y="3747560"/>
                  <a:pt x="3922697" y="3756820"/>
                  <a:pt x="3924301" y="3764654"/>
                </a:cubicBezTo>
                <a:cubicBezTo>
                  <a:pt x="3926643" y="3776090"/>
                  <a:pt x="3925490" y="3778898"/>
                  <a:pt x="3918458" y="3778898"/>
                </a:cubicBezTo>
                <a:cubicBezTo>
                  <a:pt x="3911412" y="3778898"/>
                  <a:pt x="3909114" y="3773252"/>
                  <a:pt x="3906709" y="3750028"/>
                </a:cubicBezTo>
                <a:cubicBezTo>
                  <a:pt x="3904118" y="3725019"/>
                  <a:pt x="3902442" y="3721419"/>
                  <a:pt x="3894186" y="3723122"/>
                </a:cubicBezTo>
                <a:cubicBezTo>
                  <a:pt x="3888079" y="3724380"/>
                  <a:pt x="3884139" y="3730344"/>
                  <a:pt x="3883222" y="3739717"/>
                </a:cubicBezTo>
                <a:cubicBezTo>
                  <a:pt x="3882435" y="3747765"/>
                  <a:pt x="3879004" y="3755896"/>
                  <a:pt x="3875601" y="3757787"/>
                </a:cubicBezTo>
                <a:cubicBezTo>
                  <a:pt x="3871514" y="3760058"/>
                  <a:pt x="3870305" y="3766378"/>
                  <a:pt x="3872041" y="3776393"/>
                </a:cubicBezTo>
                <a:cubicBezTo>
                  <a:pt x="3874722" y="3791853"/>
                  <a:pt x="3867240" y="3798390"/>
                  <a:pt x="3863739" y="3783647"/>
                </a:cubicBezTo>
                <a:cubicBezTo>
                  <a:pt x="3862704" y="3779294"/>
                  <a:pt x="3862320" y="3780006"/>
                  <a:pt x="3862885" y="3785229"/>
                </a:cubicBezTo>
                <a:cubicBezTo>
                  <a:pt x="3865164" y="3806327"/>
                  <a:pt x="3867477" y="3814146"/>
                  <a:pt x="3874122" y="3823214"/>
                </a:cubicBezTo>
                <a:cubicBezTo>
                  <a:pt x="3881165" y="3832827"/>
                  <a:pt x="3889126" y="3899185"/>
                  <a:pt x="3883234" y="3899185"/>
                </a:cubicBezTo>
                <a:cubicBezTo>
                  <a:pt x="3875651" y="3899185"/>
                  <a:pt x="3865380" y="3872580"/>
                  <a:pt x="3862599" y="3845738"/>
                </a:cubicBezTo>
                <a:cubicBezTo>
                  <a:pt x="3860945" y="3829762"/>
                  <a:pt x="3857211" y="3814599"/>
                  <a:pt x="3854301" y="3812039"/>
                </a:cubicBezTo>
                <a:cubicBezTo>
                  <a:pt x="3851392" y="3809480"/>
                  <a:pt x="3847730" y="3802337"/>
                  <a:pt x="3846160" y="3796165"/>
                </a:cubicBezTo>
                <a:cubicBezTo>
                  <a:pt x="3839709" y="3770764"/>
                  <a:pt x="3813703" y="3779786"/>
                  <a:pt x="3819335" y="3805472"/>
                </a:cubicBezTo>
                <a:cubicBezTo>
                  <a:pt x="3821147" y="3813738"/>
                  <a:pt x="3818322" y="3822521"/>
                  <a:pt x="3810462" y="3833067"/>
                </a:cubicBezTo>
                <a:cubicBezTo>
                  <a:pt x="3795842" y="3852685"/>
                  <a:pt x="3792272" y="3852500"/>
                  <a:pt x="3788709" y="3831946"/>
                </a:cubicBezTo>
                <a:cubicBezTo>
                  <a:pt x="3785389" y="3812796"/>
                  <a:pt x="3776330" y="3797899"/>
                  <a:pt x="3767992" y="3797873"/>
                </a:cubicBezTo>
                <a:cubicBezTo>
                  <a:pt x="3761233" y="3797854"/>
                  <a:pt x="3744123" y="3762433"/>
                  <a:pt x="3746015" y="3752380"/>
                </a:cubicBezTo>
                <a:cubicBezTo>
                  <a:pt x="3747342" y="3745323"/>
                  <a:pt x="3717953" y="3702928"/>
                  <a:pt x="3711733" y="3702928"/>
                </a:cubicBezTo>
                <a:cubicBezTo>
                  <a:pt x="3709826" y="3702928"/>
                  <a:pt x="3705154" y="3704657"/>
                  <a:pt x="3701350" y="3706771"/>
                </a:cubicBezTo>
                <a:cubicBezTo>
                  <a:pt x="3693795" y="3710968"/>
                  <a:pt x="3691748" y="3728251"/>
                  <a:pt x="3698806" y="3728251"/>
                </a:cubicBezTo>
                <a:cubicBezTo>
                  <a:pt x="3701211" y="3728251"/>
                  <a:pt x="3703179" y="3736798"/>
                  <a:pt x="3703179" y="3747244"/>
                </a:cubicBezTo>
                <a:cubicBezTo>
                  <a:pt x="3703179" y="3757690"/>
                  <a:pt x="3705146" y="3766237"/>
                  <a:pt x="3707552" y="3766237"/>
                </a:cubicBezTo>
                <a:cubicBezTo>
                  <a:pt x="3709957" y="3766237"/>
                  <a:pt x="3711925" y="3770678"/>
                  <a:pt x="3711925" y="3776107"/>
                </a:cubicBezTo>
                <a:cubicBezTo>
                  <a:pt x="3711925" y="3781535"/>
                  <a:pt x="3713898" y="3784211"/>
                  <a:pt x="3716310" y="3782052"/>
                </a:cubicBezTo>
                <a:cubicBezTo>
                  <a:pt x="3718931" y="3779707"/>
                  <a:pt x="3719941" y="3784017"/>
                  <a:pt x="3718822" y="3792758"/>
                </a:cubicBezTo>
                <a:cubicBezTo>
                  <a:pt x="3717790" y="3800803"/>
                  <a:pt x="3716800" y="3810948"/>
                  <a:pt x="3716622" y="3815301"/>
                </a:cubicBezTo>
                <a:cubicBezTo>
                  <a:pt x="3716443" y="3819653"/>
                  <a:pt x="3713017" y="3823214"/>
                  <a:pt x="3709009" y="3823214"/>
                </a:cubicBezTo>
                <a:cubicBezTo>
                  <a:pt x="3705001" y="3823214"/>
                  <a:pt x="3703040" y="3825124"/>
                  <a:pt x="3704652" y="3827457"/>
                </a:cubicBezTo>
                <a:cubicBezTo>
                  <a:pt x="3706263" y="3829790"/>
                  <a:pt x="3704599" y="3838290"/>
                  <a:pt x="3700954" y="3846344"/>
                </a:cubicBezTo>
                <a:cubicBezTo>
                  <a:pt x="3697308" y="3854399"/>
                  <a:pt x="3692816" y="3871511"/>
                  <a:pt x="3690971" y="3884370"/>
                </a:cubicBezTo>
                <a:cubicBezTo>
                  <a:pt x="3686870" y="3912945"/>
                  <a:pt x="3678481" y="3918531"/>
                  <a:pt x="3672702" y="3896534"/>
                </a:cubicBezTo>
                <a:cubicBezTo>
                  <a:pt x="3670343" y="3887546"/>
                  <a:pt x="3666625" y="3880192"/>
                  <a:pt x="3664440" y="3880192"/>
                </a:cubicBezTo>
                <a:cubicBezTo>
                  <a:pt x="3662255" y="3880192"/>
                  <a:pt x="3659099" y="3861675"/>
                  <a:pt x="3657424" y="3839042"/>
                </a:cubicBezTo>
                <a:cubicBezTo>
                  <a:pt x="3655749" y="3816409"/>
                  <a:pt x="3652569" y="3797891"/>
                  <a:pt x="3650356" y="3797891"/>
                </a:cubicBezTo>
                <a:cubicBezTo>
                  <a:pt x="3648141" y="3797891"/>
                  <a:pt x="3646331" y="3789841"/>
                  <a:pt x="3646331" y="3780002"/>
                </a:cubicBezTo>
                <a:cubicBezTo>
                  <a:pt x="3646331" y="3769489"/>
                  <a:pt x="3642158" y="3756438"/>
                  <a:pt x="3636210" y="3748347"/>
                </a:cubicBezTo>
                <a:cubicBezTo>
                  <a:pt x="3625768" y="3734148"/>
                  <a:pt x="3617509" y="3729740"/>
                  <a:pt x="3622279" y="3740913"/>
                </a:cubicBezTo>
                <a:cubicBezTo>
                  <a:pt x="3623765" y="3744395"/>
                  <a:pt x="3622898" y="3747244"/>
                  <a:pt x="3620351" y="3747244"/>
                </a:cubicBezTo>
                <a:cubicBezTo>
                  <a:pt x="3617803" y="3747244"/>
                  <a:pt x="3615720" y="3743784"/>
                  <a:pt x="3615720" y="3739557"/>
                </a:cubicBezTo>
                <a:cubicBezTo>
                  <a:pt x="3615720" y="3734292"/>
                  <a:pt x="3613677" y="3734828"/>
                  <a:pt x="3609235" y="3741257"/>
                </a:cubicBezTo>
                <a:cubicBezTo>
                  <a:pt x="3600172" y="3754379"/>
                  <a:pt x="3598396" y="3868396"/>
                  <a:pt x="3607022" y="3883441"/>
                </a:cubicBezTo>
                <a:cubicBezTo>
                  <a:pt x="3610343" y="3889233"/>
                  <a:pt x="3616619" y="3908678"/>
                  <a:pt x="3620970" y="3926650"/>
                </a:cubicBezTo>
                <a:cubicBezTo>
                  <a:pt x="3625320" y="3944623"/>
                  <a:pt x="3631822" y="3962491"/>
                  <a:pt x="3635418" y="3966357"/>
                </a:cubicBezTo>
                <a:cubicBezTo>
                  <a:pt x="3639015" y="3970222"/>
                  <a:pt x="3641958" y="3977641"/>
                  <a:pt x="3641958" y="3982842"/>
                </a:cubicBezTo>
                <a:cubicBezTo>
                  <a:pt x="3641958" y="3988043"/>
                  <a:pt x="3647035" y="4000231"/>
                  <a:pt x="3653242" y="4009926"/>
                </a:cubicBezTo>
                <a:cubicBezTo>
                  <a:pt x="3661280" y="4022483"/>
                  <a:pt x="3663686" y="4031399"/>
                  <a:pt x="3661604" y="4040922"/>
                </a:cubicBezTo>
                <a:cubicBezTo>
                  <a:pt x="3655493" y="4068883"/>
                  <a:pt x="3657180" y="4079123"/>
                  <a:pt x="3669309" y="4087671"/>
                </a:cubicBezTo>
                <a:cubicBezTo>
                  <a:pt x="3679320" y="4094727"/>
                  <a:pt x="3680875" y="4098933"/>
                  <a:pt x="3678511" y="4112573"/>
                </a:cubicBezTo>
                <a:cubicBezTo>
                  <a:pt x="3676264" y="4125528"/>
                  <a:pt x="3676951" y="4127890"/>
                  <a:pt x="3681769" y="4123786"/>
                </a:cubicBezTo>
                <a:cubicBezTo>
                  <a:pt x="3685629" y="4120499"/>
                  <a:pt x="3685184" y="4123062"/>
                  <a:pt x="3680561" y="4130756"/>
                </a:cubicBezTo>
                <a:cubicBezTo>
                  <a:pt x="3674333" y="4141118"/>
                  <a:pt x="3673955" y="4147383"/>
                  <a:pt x="3678018" y="4172994"/>
                </a:cubicBezTo>
                <a:cubicBezTo>
                  <a:pt x="3680640" y="4189533"/>
                  <a:pt x="3684423" y="4203066"/>
                  <a:pt x="3686423" y="4203066"/>
                </a:cubicBezTo>
                <a:cubicBezTo>
                  <a:pt x="3690559" y="4203066"/>
                  <a:pt x="3691434" y="4236952"/>
                  <a:pt x="3687445" y="4242725"/>
                </a:cubicBezTo>
                <a:cubicBezTo>
                  <a:pt x="3683663" y="4248200"/>
                  <a:pt x="3672199" y="4240707"/>
                  <a:pt x="3674851" y="4234494"/>
                </a:cubicBezTo>
                <a:cubicBezTo>
                  <a:pt x="3676079" y="4231618"/>
                  <a:pt x="3675083" y="4227475"/>
                  <a:pt x="3672639" y="4225288"/>
                </a:cubicBezTo>
                <a:cubicBezTo>
                  <a:pt x="3670195" y="4223101"/>
                  <a:pt x="3668195" y="4216130"/>
                  <a:pt x="3668195" y="4209798"/>
                </a:cubicBezTo>
                <a:cubicBezTo>
                  <a:pt x="3668195" y="4203466"/>
                  <a:pt x="3665244" y="4194739"/>
                  <a:pt x="3661635" y="4190404"/>
                </a:cubicBezTo>
                <a:cubicBezTo>
                  <a:pt x="3658027" y="4186069"/>
                  <a:pt x="3655077" y="4174325"/>
                  <a:pt x="3655077" y="4164306"/>
                </a:cubicBezTo>
                <a:cubicBezTo>
                  <a:pt x="3655077" y="4154286"/>
                  <a:pt x="3653109" y="4146088"/>
                  <a:pt x="3650704" y="4146088"/>
                </a:cubicBezTo>
                <a:cubicBezTo>
                  <a:pt x="3648298" y="4146088"/>
                  <a:pt x="3646331" y="4137891"/>
                  <a:pt x="3646331" y="4127870"/>
                </a:cubicBezTo>
                <a:cubicBezTo>
                  <a:pt x="3646331" y="4117851"/>
                  <a:pt x="3643578" y="4106346"/>
                  <a:pt x="3640215" y="4102305"/>
                </a:cubicBezTo>
                <a:cubicBezTo>
                  <a:pt x="3634809" y="4095810"/>
                  <a:pt x="3629407" y="4062547"/>
                  <a:pt x="3628573" y="4030629"/>
                </a:cubicBezTo>
                <a:cubicBezTo>
                  <a:pt x="3628416" y="4024579"/>
                  <a:pt x="3624261" y="4015548"/>
                  <a:pt x="3619343" y="4010560"/>
                </a:cubicBezTo>
                <a:cubicBezTo>
                  <a:pt x="3614423" y="4005572"/>
                  <a:pt x="3611608" y="3998657"/>
                  <a:pt x="3613087" y="3995194"/>
                </a:cubicBezTo>
                <a:cubicBezTo>
                  <a:pt x="3614564" y="3991731"/>
                  <a:pt x="3613916" y="3987943"/>
                  <a:pt x="3611643" y="3986775"/>
                </a:cubicBezTo>
                <a:cubicBezTo>
                  <a:pt x="3609371" y="3985607"/>
                  <a:pt x="3606848" y="3977529"/>
                  <a:pt x="3606039" y="3968824"/>
                </a:cubicBezTo>
                <a:cubicBezTo>
                  <a:pt x="3603957" y="3946450"/>
                  <a:pt x="3599028" y="3937170"/>
                  <a:pt x="3589225" y="3937170"/>
                </a:cubicBezTo>
                <a:cubicBezTo>
                  <a:pt x="3583738" y="3937170"/>
                  <a:pt x="3580737" y="3932825"/>
                  <a:pt x="3580737" y="3924882"/>
                </a:cubicBezTo>
                <a:cubicBezTo>
                  <a:pt x="3580737" y="3918123"/>
                  <a:pt x="3579023" y="3911061"/>
                  <a:pt x="3576929" y="3909186"/>
                </a:cubicBezTo>
                <a:cubicBezTo>
                  <a:pt x="3574833" y="3907312"/>
                  <a:pt x="3571988" y="3897885"/>
                  <a:pt x="3570603" y="3888238"/>
                </a:cubicBezTo>
                <a:cubicBezTo>
                  <a:pt x="3569192" y="3878392"/>
                  <a:pt x="3562322" y="3865208"/>
                  <a:pt x="3554944" y="3858187"/>
                </a:cubicBezTo>
                <a:cubicBezTo>
                  <a:pt x="3535458" y="3839642"/>
                  <a:pt x="3529333" y="3819997"/>
                  <a:pt x="3538478" y="3805368"/>
                </a:cubicBezTo>
                <a:cubicBezTo>
                  <a:pt x="3548320" y="3789621"/>
                  <a:pt x="3547733" y="3784929"/>
                  <a:pt x="3533727" y="3767505"/>
                </a:cubicBezTo>
                <a:cubicBezTo>
                  <a:pt x="3523284" y="3754512"/>
                  <a:pt x="3521825" y="3748412"/>
                  <a:pt x="3522632" y="3721158"/>
                </a:cubicBezTo>
                <a:cubicBezTo>
                  <a:pt x="3523455" y="3693358"/>
                  <a:pt x="3522378" y="3689122"/>
                  <a:pt x="3513197" y="3684068"/>
                </a:cubicBezTo>
                <a:cubicBezTo>
                  <a:pt x="3506658" y="3680469"/>
                  <a:pt x="3501749" y="3671213"/>
                  <a:pt x="3499894" y="3658986"/>
                </a:cubicBezTo>
                <a:cubicBezTo>
                  <a:pt x="3496854" y="3638944"/>
                  <a:pt x="3482669" y="3628111"/>
                  <a:pt x="3469237" y="3635573"/>
                </a:cubicBezTo>
                <a:cubicBezTo>
                  <a:pt x="3461766" y="3639723"/>
                  <a:pt x="3460014" y="3680814"/>
                  <a:pt x="3467041" y="3687101"/>
                </a:cubicBezTo>
                <a:cubicBezTo>
                  <a:pt x="3469446" y="3689253"/>
                  <a:pt x="3471414" y="3697826"/>
                  <a:pt x="3471414" y="3706153"/>
                </a:cubicBezTo>
                <a:cubicBezTo>
                  <a:pt x="3471414" y="3714479"/>
                  <a:pt x="3473914" y="3723570"/>
                  <a:pt x="3476971" y="3726354"/>
                </a:cubicBezTo>
                <a:cubicBezTo>
                  <a:pt x="3484344" y="3733069"/>
                  <a:pt x="3494051" y="3765634"/>
                  <a:pt x="3490888" y="3773042"/>
                </a:cubicBezTo>
                <a:cubicBezTo>
                  <a:pt x="3489514" y="3776263"/>
                  <a:pt x="3490473" y="3778898"/>
                  <a:pt x="3493020" y="3778898"/>
                </a:cubicBezTo>
                <a:cubicBezTo>
                  <a:pt x="3495567" y="3778898"/>
                  <a:pt x="3497651" y="3785672"/>
                  <a:pt x="3497651" y="3793950"/>
                </a:cubicBezTo>
                <a:cubicBezTo>
                  <a:pt x="3497651" y="3802229"/>
                  <a:pt x="3500753" y="3812729"/>
                  <a:pt x="3504545" y="3817285"/>
                </a:cubicBezTo>
                <a:cubicBezTo>
                  <a:pt x="3509560" y="3823311"/>
                  <a:pt x="3510707" y="3831717"/>
                  <a:pt x="3508755" y="3848132"/>
                </a:cubicBezTo>
                <a:cubicBezTo>
                  <a:pt x="3506803" y="3864551"/>
                  <a:pt x="3507290" y="3868110"/>
                  <a:pt x="3510540" y="3861199"/>
                </a:cubicBezTo>
                <a:cubicBezTo>
                  <a:pt x="3514556" y="3852664"/>
                  <a:pt x="3517037" y="3856496"/>
                  <a:pt x="3515661" y="3869113"/>
                </a:cubicBezTo>
                <a:cubicBezTo>
                  <a:pt x="3515376" y="3871725"/>
                  <a:pt x="3517110" y="3873861"/>
                  <a:pt x="3519516" y="3873861"/>
                </a:cubicBezTo>
                <a:cubicBezTo>
                  <a:pt x="3521921" y="3873861"/>
                  <a:pt x="3523889" y="3878254"/>
                  <a:pt x="3523889" y="3883622"/>
                </a:cubicBezTo>
                <a:cubicBezTo>
                  <a:pt x="3523889" y="3888991"/>
                  <a:pt x="3527726" y="3899347"/>
                  <a:pt x="3532417" y="3906635"/>
                </a:cubicBezTo>
                <a:cubicBezTo>
                  <a:pt x="3537108" y="3913925"/>
                  <a:pt x="3542129" y="3928762"/>
                  <a:pt x="3543578" y="3939608"/>
                </a:cubicBezTo>
                <a:cubicBezTo>
                  <a:pt x="3550438" y="3991000"/>
                  <a:pt x="3561569" y="4033585"/>
                  <a:pt x="3572787" y="4051368"/>
                </a:cubicBezTo>
                <a:cubicBezTo>
                  <a:pt x="3579565" y="4062111"/>
                  <a:pt x="3585110" y="4076421"/>
                  <a:pt x="3585110" y="4083170"/>
                </a:cubicBezTo>
                <a:cubicBezTo>
                  <a:pt x="3585110" y="4089919"/>
                  <a:pt x="3586586" y="4095464"/>
                  <a:pt x="3588390" y="4095491"/>
                </a:cubicBezTo>
                <a:cubicBezTo>
                  <a:pt x="3593117" y="4095562"/>
                  <a:pt x="3602793" y="4127855"/>
                  <a:pt x="3600027" y="4134333"/>
                </a:cubicBezTo>
                <a:cubicBezTo>
                  <a:pt x="3595593" y="4144721"/>
                  <a:pt x="3580737" y="4126788"/>
                  <a:pt x="3580737" y="4111046"/>
                </a:cubicBezTo>
                <a:cubicBezTo>
                  <a:pt x="3580737" y="4102463"/>
                  <a:pt x="3578988" y="4095441"/>
                  <a:pt x="3576851" y="4095441"/>
                </a:cubicBezTo>
                <a:cubicBezTo>
                  <a:pt x="3574712" y="4095441"/>
                  <a:pt x="3571710" y="4085756"/>
                  <a:pt x="3570176" y="4073920"/>
                </a:cubicBezTo>
                <a:cubicBezTo>
                  <a:pt x="3566607" y="4046379"/>
                  <a:pt x="3557870" y="4035867"/>
                  <a:pt x="3543030" y="4041258"/>
                </a:cubicBezTo>
                <a:cubicBezTo>
                  <a:pt x="3532038" y="4045253"/>
                  <a:pt x="3531584" y="4044483"/>
                  <a:pt x="3534118" y="4026138"/>
                </a:cubicBezTo>
                <a:cubicBezTo>
                  <a:pt x="3536130" y="4011576"/>
                  <a:pt x="3535198" y="4006809"/>
                  <a:pt x="3530338" y="4006809"/>
                </a:cubicBezTo>
                <a:cubicBezTo>
                  <a:pt x="3522512" y="4006809"/>
                  <a:pt x="3522231" y="4000008"/>
                  <a:pt x="3529155" y="3978011"/>
                </a:cubicBezTo>
                <a:cubicBezTo>
                  <a:pt x="3533632" y="3963785"/>
                  <a:pt x="3533304" y="3960374"/>
                  <a:pt x="3526968" y="3955240"/>
                </a:cubicBezTo>
                <a:cubicBezTo>
                  <a:pt x="3522869" y="3951920"/>
                  <a:pt x="3519516" y="3943344"/>
                  <a:pt x="3519516" y="3936183"/>
                </a:cubicBezTo>
                <a:cubicBezTo>
                  <a:pt x="3519516" y="3929024"/>
                  <a:pt x="3514596" y="3917563"/>
                  <a:pt x="3508583" y="3910715"/>
                </a:cubicBezTo>
                <a:cubicBezTo>
                  <a:pt x="3502570" y="3903868"/>
                  <a:pt x="3497651" y="3894641"/>
                  <a:pt x="3497651" y="3890210"/>
                </a:cubicBezTo>
                <a:cubicBezTo>
                  <a:pt x="3497651" y="3878020"/>
                  <a:pt x="3482873" y="3861199"/>
                  <a:pt x="3472162" y="3861199"/>
                </a:cubicBezTo>
                <a:cubicBezTo>
                  <a:pt x="3465679" y="3861199"/>
                  <a:pt x="3462668" y="3857303"/>
                  <a:pt x="3462668" y="3848911"/>
                </a:cubicBezTo>
                <a:cubicBezTo>
                  <a:pt x="3462668" y="3842153"/>
                  <a:pt x="3460700" y="3834862"/>
                  <a:pt x="3458295" y="3832711"/>
                </a:cubicBezTo>
                <a:cubicBezTo>
                  <a:pt x="3455889" y="3830559"/>
                  <a:pt x="3453922" y="3822414"/>
                  <a:pt x="3453922" y="3814611"/>
                </a:cubicBezTo>
                <a:cubicBezTo>
                  <a:pt x="3453922" y="3806808"/>
                  <a:pt x="3452191" y="3797717"/>
                  <a:pt x="3450078" y="3794409"/>
                </a:cubicBezTo>
                <a:cubicBezTo>
                  <a:pt x="3447963" y="3791101"/>
                  <a:pt x="3443875" y="3777711"/>
                  <a:pt x="3440992" y="3764654"/>
                </a:cubicBezTo>
                <a:cubicBezTo>
                  <a:pt x="3438110" y="3751597"/>
                  <a:pt x="3433937" y="3740913"/>
                  <a:pt x="3431719" y="3740913"/>
                </a:cubicBezTo>
                <a:cubicBezTo>
                  <a:pt x="3429500" y="3740913"/>
                  <a:pt x="3427684" y="3734140"/>
                  <a:pt x="3427684" y="3725861"/>
                </a:cubicBezTo>
                <a:cubicBezTo>
                  <a:pt x="3427684" y="3717583"/>
                  <a:pt x="3424364" y="3706899"/>
                  <a:pt x="3420306" y="3702120"/>
                </a:cubicBezTo>
                <a:cubicBezTo>
                  <a:pt x="3413761" y="3694412"/>
                  <a:pt x="3413294" y="3694839"/>
                  <a:pt x="3416164" y="3705901"/>
                </a:cubicBezTo>
                <a:cubicBezTo>
                  <a:pt x="3417944" y="3712758"/>
                  <a:pt x="3418110" y="3716502"/>
                  <a:pt x="3416533" y="3714219"/>
                </a:cubicBezTo>
                <a:cubicBezTo>
                  <a:pt x="3414956" y="3711935"/>
                  <a:pt x="3408725" y="3712788"/>
                  <a:pt x="3402685" y="3716112"/>
                </a:cubicBezTo>
                <a:cubicBezTo>
                  <a:pt x="3394139" y="3720816"/>
                  <a:pt x="3392198" y="3720288"/>
                  <a:pt x="3393935" y="3713735"/>
                </a:cubicBezTo>
                <a:cubicBezTo>
                  <a:pt x="3395162" y="3709103"/>
                  <a:pt x="3392479" y="3698366"/>
                  <a:pt x="3387971" y="3689876"/>
                </a:cubicBezTo>
                <a:cubicBezTo>
                  <a:pt x="3382841" y="3680212"/>
                  <a:pt x="3379715" y="3663786"/>
                  <a:pt x="3379613" y="3645950"/>
                </a:cubicBezTo>
                <a:cubicBezTo>
                  <a:pt x="3379417" y="3612135"/>
                  <a:pt x="3374880" y="3599578"/>
                  <a:pt x="3363957" y="3602624"/>
                </a:cubicBezTo>
                <a:cubicBezTo>
                  <a:pt x="3358653" y="3604103"/>
                  <a:pt x="3354165" y="3614495"/>
                  <a:pt x="3350698" y="3633318"/>
                </a:cubicBezTo>
                <a:cubicBezTo>
                  <a:pt x="3347816" y="3648971"/>
                  <a:pt x="3345264" y="3656792"/>
                  <a:pt x="3345028" y="3650699"/>
                </a:cubicBezTo>
                <a:cubicBezTo>
                  <a:pt x="3344440" y="3635538"/>
                  <a:pt x="3332715" y="3636676"/>
                  <a:pt x="3329305" y="3652225"/>
                </a:cubicBezTo>
                <a:cubicBezTo>
                  <a:pt x="3325712" y="3668622"/>
                  <a:pt x="3329813" y="3677605"/>
                  <a:pt x="3340893" y="3677605"/>
                </a:cubicBezTo>
                <a:cubicBezTo>
                  <a:pt x="3346112" y="3677605"/>
                  <a:pt x="3350736" y="3682839"/>
                  <a:pt x="3352077" y="3690266"/>
                </a:cubicBezTo>
                <a:cubicBezTo>
                  <a:pt x="3353336" y="3697231"/>
                  <a:pt x="3355857" y="3702928"/>
                  <a:pt x="3357681" y="3702928"/>
                </a:cubicBezTo>
                <a:cubicBezTo>
                  <a:pt x="3359504" y="3702928"/>
                  <a:pt x="3362178" y="3711475"/>
                  <a:pt x="3363620" y="3721921"/>
                </a:cubicBezTo>
                <a:cubicBezTo>
                  <a:pt x="3365160" y="3733060"/>
                  <a:pt x="3369002" y="3740913"/>
                  <a:pt x="3372913" y="3740913"/>
                </a:cubicBezTo>
                <a:cubicBezTo>
                  <a:pt x="3380073" y="3740913"/>
                  <a:pt x="3380926" y="3749508"/>
                  <a:pt x="3375688" y="3768853"/>
                </a:cubicBezTo>
                <a:cubicBezTo>
                  <a:pt x="3370945" y="3786368"/>
                  <a:pt x="3327107" y="3789068"/>
                  <a:pt x="3327107" y="3771846"/>
                </a:cubicBezTo>
                <a:cubicBezTo>
                  <a:pt x="3327107" y="3765561"/>
                  <a:pt x="3321806" y="3753303"/>
                  <a:pt x="3315329" y="3744607"/>
                </a:cubicBezTo>
                <a:cubicBezTo>
                  <a:pt x="3304846" y="3730535"/>
                  <a:pt x="3304392" y="3728327"/>
                  <a:pt x="3311207" y="3724541"/>
                </a:cubicBezTo>
                <a:cubicBezTo>
                  <a:pt x="3315417" y="3722201"/>
                  <a:pt x="3317867" y="3716526"/>
                  <a:pt x="3316649" y="3711929"/>
                </a:cubicBezTo>
                <a:cubicBezTo>
                  <a:pt x="3315240" y="3706616"/>
                  <a:pt x="3316740" y="3704855"/>
                  <a:pt x="3320770" y="3707093"/>
                </a:cubicBezTo>
                <a:cubicBezTo>
                  <a:pt x="3324708" y="3709281"/>
                  <a:pt x="3327107" y="3706703"/>
                  <a:pt x="3327107" y="3700282"/>
                </a:cubicBezTo>
                <a:cubicBezTo>
                  <a:pt x="3327107" y="3693867"/>
                  <a:pt x="3322133" y="3688510"/>
                  <a:pt x="3313988" y="3686151"/>
                </a:cubicBezTo>
                <a:cubicBezTo>
                  <a:pt x="3306772" y="3684062"/>
                  <a:pt x="3300870" y="3678824"/>
                  <a:pt x="3300870" y="3674511"/>
                </a:cubicBezTo>
                <a:cubicBezTo>
                  <a:pt x="3300870" y="3670198"/>
                  <a:pt x="3295555" y="3658976"/>
                  <a:pt x="3289059" y="3649571"/>
                </a:cubicBezTo>
                <a:cubicBezTo>
                  <a:pt x="3277057" y="3632197"/>
                  <a:pt x="3272152" y="3614296"/>
                  <a:pt x="3279392" y="3614296"/>
                </a:cubicBezTo>
                <a:cubicBezTo>
                  <a:pt x="3281584" y="3614296"/>
                  <a:pt x="3283312" y="3610735"/>
                  <a:pt x="3283232" y="3606383"/>
                </a:cubicBezTo>
                <a:cubicBezTo>
                  <a:pt x="3283152" y="3602030"/>
                  <a:pt x="3279168" y="3605283"/>
                  <a:pt x="3274377" y="3613610"/>
                </a:cubicBezTo>
                <a:cubicBezTo>
                  <a:pt x="3264430" y="3630902"/>
                  <a:pt x="3262685" y="3630064"/>
                  <a:pt x="3260548" y="3606968"/>
                </a:cubicBezTo>
                <a:cubicBezTo>
                  <a:pt x="3259704" y="3597841"/>
                  <a:pt x="3256227" y="3585072"/>
                  <a:pt x="3252822" y="3578594"/>
                </a:cubicBezTo>
                <a:cubicBezTo>
                  <a:pt x="3248580" y="3570523"/>
                  <a:pt x="3248452" y="3569150"/>
                  <a:pt x="3252417" y="3574234"/>
                </a:cubicBezTo>
                <a:cubicBezTo>
                  <a:pt x="3255601" y="3578314"/>
                  <a:pt x="3260918" y="3580146"/>
                  <a:pt x="3264232" y="3578304"/>
                </a:cubicBezTo>
                <a:cubicBezTo>
                  <a:pt x="3267951" y="3576238"/>
                  <a:pt x="3270426" y="3579458"/>
                  <a:pt x="3270698" y="3586713"/>
                </a:cubicBezTo>
                <a:cubicBezTo>
                  <a:pt x="3270940" y="3593178"/>
                  <a:pt x="3272955" y="3587243"/>
                  <a:pt x="3275175" y="3573523"/>
                </a:cubicBezTo>
                <a:cubicBezTo>
                  <a:pt x="3278336" y="3554003"/>
                  <a:pt x="3277792" y="3546520"/>
                  <a:pt x="3272678" y="3539117"/>
                </a:cubicBezTo>
                <a:cubicBezTo>
                  <a:pt x="3267122" y="3531072"/>
                  <a:pt x="3264510" y="3530922"/>
                  <a:pt x="3255231" y="3538110"/>
                </a:cubicBezTo>
                <a:cubicBezTo>
                  <a:pt x="3246422" y="3544936"/>
                  <a:pt x="3243037" y="3545025"/>
                  <a:pt x="3237667" y="3538572"/>
                </a:cubicBezTo>
                <a:cubicBezTo>
                  <a:pt x="3225463" y="3523909"/>
                  <a:pt x="3218426" y="3535666"/>
                  <a:pt x="3215276" y="3575977"/>
                </a:cubicBezTo>
                <a:cubicBezTo>
                  <a:pt x="3212800" y="3607649"/>
                  <a:pt x="3210861" y="3614296"/>
                  <a:pt x="3204100" y="3614296"/>
                </a:cubicBezTo>
                <a:cubicBezTo>
                  <a:pt x="3198994" y="3614296"/>
                  <a:pt x="3195919" y="3609800"/>
                  <a:pt x="3195919" y="3602335"/>
                </a:cubicBezTo>
                <a:cubicBezTo>
                  <a:pt x="3195919" y="3595757"/>
                  <a:pt x="3192107" y="3583650"/>
                  <a:pt x="3187447" y="3575429"/>
                </a:cubicBezTo>
                <a:cubicBezTo>
                  <a:pt x="3180562" y="3563282"/>
                  <a:pt x="3177492" y="3561790"/>
                  <a:pt x="3171048" y="3567461"/>
                </a:cubicBezTo>
                <a:cubicBezTo>
                  <a:pt x="3161705" y="3575686"/>
                  <a:pt x="3158183" y="3600182"/>
                  <a:pt x="3164938" y="3609962"/>
                </a:cubicBezTo>
                <a:cubicBezTo>
                  <a:pt x="3171801" y="3619898"/>
                  <a:pt x="3170760" y="3633289"/>
                  <a:pt x="3163122" y="3633289"/>
                </a:cubicBezTo>
                <a:cubicBezTo>
                  <a:pt x="3159514" y="3633289"/>
                  <a:pt x="3156563" y="3630442"/>
                  <a:pt x="3156563" y="3626962"/>
                </a:cubicBezTo>
                <a:cubicBezTo>
                  <a:pt x="3156563" y="3618894"/>
                  <a:pt x="3124818" y="3621686"/>
                  <a:pt x="3120606" y="3630123"/>
                </a:cubicBezTo>
                <a:cubicBezTo>
                  <a:pt x="3116868" y="3637611"/>
                  <a:pt x="3121487" y="3704672"/>
                  <a:pt x="3126056" y="3709259"/>
                </a:cubicBezTo>
                <a:cubicBezTo>
                  <a:pt x="3130096" y="3713313"/>
                  <a:pt x="3144041" y="3803333"/>
                  <a:pt x="3143221" y="3820049"/>
                </a:cubicBezTo>
                <a:cubicBezTo>
                  <a:pt x="3142879" y="3827013"/>
                  <a:pt x="3142831" y="3854789"/>
                  <a:pt x="3143117" y="3881775"/>
                </a:cubicBezTo>
                <a:cubicBezTo>
                  <a:pt x="3143628" y="3930201"/>
                  <a:pt x="3143491" y="3930839"/>
                  <a:pt x="3132608" y="3930839"/>
                </a:cubicBezTo>
                <a:cubicBezTo>
                  <a:pt x="3122920" y="3930839"/>
                  <a:pt x="3121580" y="3928147"/>
                  <a:pt x="3121580" y="3908681"/>
                </a:cubicBezTo>
                <a:cubicBezTo>
                  <a:pt x="3121580" y="3896494"/>
                  <a:pt x="3119831" y="3886523"/>
                  <a:pt x="3117693" y="3886523"/>
                </a:cubicBezTo>
                <a:cubicBezTo>
                  <a:pt x="3115555" y="3886523"/>
                  <a:pt x="3112514" y="3876552"/>
                  <a:pt x="3110936" y="3864365"/>
                </a:cubicBezTo>
                <a:cubicBezTo>
                  <a:pt x="3109357" y="3852178"/>
                  <a:pt x="3106436" y="3842207"/>
                  <a:pt x="3104446" y="3842207"/>
                </a:cubicBezTo>
                <a:cubicBezTo>
                  <a:pt x="3102456" y="3842207"/>
                  <a:pt x="3099843" y="3827371"/>
                  <a:pt x="3098639" y="3809238"/>
                </a:cubicBezTo>
                <a:cubicBezTo>
                  <a:pt x="3097436" y="3791105"/>
                  <a:pt x="3094234" y="3775198"/>
                  <a:pt x="3091524" y="3773890"/>
                </a:cubicBezTo>
                <a:cubicBezTo>
                  <a:pt x="3088687" y="3772521"/>
                  <a:pt x="3086596" y="3757124"/>
                  <a:pt x="3086596" y="3737594"/>
                </a:cubicBezTo>
                <a:cubicBezTo>
                  <a:pt x="3086596" y="3718939"/>
                  <a:pt x="3084596" y="3701886"/>
                  <a:pt x="3082151" y="3699699"/>
                </a:cubicBezTo>
                <a:cubicBezTo>
                  <a:pt x="3079708" y="3697512"/>
                  <a:pt x="3078840" y="3693070"/>
                  <a:pt x="3080224" y="3689829"/>
                </a:cubicBezTo>
                <a:cubicBezTo>
                  <a:pt x="3081607" y="3686588"/>
                  <a:pt x="3080656" y="3683935"/>
                  <a:pt x="3078108" y="3683935"/>
                </a:cubicBezTo>
                <a:cubicBezTo>
                  <a:pt x="3075477" y="3683935"/>
                  <a:pt x="3073478" y="3670496"/>
                  <a:pt x="3073478" y="3652809"/>
                </a:cubicBezTo>
                <a:cubicBezTo>
                  <a:pt x="3073478" y="3634097"/>
                  <a:pt x="3071369" y="3620664"/>
                  <a:pt x="3068189" y="3619131"/>
                </a:cubicBezTo>
                <a:cubicBezTo>
                  <a:pt x="3065282" y="3617728"/>
                  <a:pt x="3062584" y="3609655"/>
                  <a:pt x="3062193" y="3601193"/>
                </a:cubicBezTo>
                <a:cubicBezTo>
                  <a:pt x="3061803" y="3592731"/>
                  <a:pt x="3060036" y="3580822"/>
                  <a:pt x="3058266" y="3574728"/>
                </a:cubicBezTo>
                <a:cubicBezTo>
                  <a:pt x="3056498" y="3568635"/>
                  <a:pt x="3056158" y="3559467"/>
                  <a:pt x="3057514" y="3554356"/>
                </a:cubicBezTo>
                <a:cubicBezTo>
                  <a:pt x="3058868" y="3549245"/>
                  <a:pt x="3058250" y="3543517"/>
                  <a:pt x="3056138" y="3541627"/>
                </a:cubicBezTo>
                <a:cubicBezTo>
                  <a:pt x="3054026" y="3539738"/>
                  <a:pt x="3050926" y="3519628"/>
                  <a:pt x="3049247" y="3496938"/>
                </a:cubicBezTo>
                <a:cubicBezTo>
                  <a:pt x="3045966" y="3452577"/>
                  <a:pt x="3037781" y="3437032"/>
                  <a:pt x="3017705" y="3437032"/>
                </a:cubicBezTo>
                <a:cubicBezTo>
                  <a:pt x="3004148" y="3437032"/>
                  <a:pt x="3001872" y="3448804"/>
                  <a:pt x="3009991" y="3476935"/>
                </a:cubicBezTo>
                <a:cubicBezTo>
                  <a:pt x="3016478" y="3499410"/>
                  <a:pt x="3016397" y="3500341"/>
                  <a:pt x="3007942" y="3500341"/>
                </a:cubicBezTo>
                <a:cubicBezTo>
                  <a:pt x="3002380" y="3500341"/>
                  <a:pt x="2999138" y="3504536"/>
                  <a:pt x="2999138" y="3511736"/>
                </a:cubicBezTo>
                <a:cubicBezTo>
                  <a:pt x="2999138" y="3518004"/>
                  <a:pt x="2996925" y="3526335"/>
                  <a:pt x="2994221" y="3530249"/>
                </a:cubicBezTo>
                <a:cubicBezTo>
                  <a:pt x="2990581" y="3535519"/>
                  <a:pt x="2990581" y="3542668"/>
                  <a:pt x="2994221" y="3557784"/>
                </a:cubicBezTo>
                <a:cubicBezTo>
                  <a:pt x="3005745" y="3605645"/>
                  <a:pt x="2994002" y="3637728"/>
                  <a:pt x="2981646" y="3592138"/>
                </a:cubicBezTo>
                <a:cubicBezTo>
                  <a:pt x="2978343" y="3579951"/>
                  <a:pt x="2974233" y="3569980"/>
                  <a:pt x="2972514" y="3569980"/>
                </a:cubicBezTo>
                <a:cubicBezTo>
                  <a:pt x="2970793" y="3569980"/>
                  <a:pt x="2968015" y="3552882"/>
                  <a:pt x="2966340" y="3531984"/>
                </a:cubicBezTo>
                <a:cubicBezTo>
                  <a:pt x="2964664" y="3511085"/>
                  <a:pt x="2961519" y="3492400"/>
                  <a:pt x="2959351" y="3490460"/>
                </a:cubicBezTo>
                <a:cubicBezTo>
                  <a:pt x="2957183" y="3488520"/>
                  <a:pt x="2955409" y="3469018"/>
                  <a:pt x="2955409" y="3447123"/>
                </a:cubicBezTo>
                <a:cubicBezTo>
                  <a:pt x="2955409" y="3416502"/>
                  <a:pt x="2953405" y="3403971"/>
                  <a:pt x="2946728" y="3392826"/>
                </a:cubicBezTo>
                <a:cubicBezTo>
                  <a:pt x="2941102" y="3383435"/>
                  <a:pt x="2938925" y="3373276"/>
                  <a:pt x="2940541" y="3363958"/>
                </a:cubicBezTo>
                <a:cubicBezTo>
                  <a:pt x="2943882" y="3344684"/>
                  <a:pt x="2934299" y="3317725"/>
                  <a:pt x="2928518" y="3330135"/>
                </a:cubicBezTo>
                <a:cubicBezTo>
                  <a:pt x="2925129" y="3337412"/>
                  <a:pt x="2924581" y="3337288"/>
                  <a:pt x="2925305" y="3329407"/>
                </a:cubicBezTo>
                <a:cubicBezTo>
                  <a:pt x="2925785" y="3324185"/>
                  <a:pt x="2924596" y="3314638"/>
                  <a:pt x="2922663" y="3308194"/>
                </a:cubicBezTo>
                <a:cubicBezTo>
                  <a:pt x="2920387" y="3300601"/>
                  <a:pt x="2921177" y="3294662"/>
                  <a:pt x="2924908" y="3291324"/>
                </a:cubicBezTo>
                <a:cubicBezTo>
                  <a:pt x="2932964" y="3284116"/>
                  <a:pt x="2918867" y="3253437"/>
                  <a:pt x="2907500" y="3253437"/>
                </a:cubicBezTo>
                <a:cubicBezTo>
                  <a:pt x="2894479" y="3253437"/>
                  <a:pt x="2891108" y="3278834"/>
                  <a:pt x="2902377" y="3292044"/>
                </a:cubicBezTo>
                <a:cubicBezTo>
                  <a:pt x="2918941" y="3311461"/>
                  <a:pt x="2910064" y="3321581"/>
                  <a:pt x="2888666" y="3307676"/>
                </a:cubicBezTo>
                <a:cubicBezTo>
                  <a:pt x="2873988" y="3298139"/>
                  <a:pt x="2866652" y="3315701"/>
                  <a:pt x="2869372" y="3353858"/>
                </a:cubicBezTo>
                <a:cubicBezTo>
                  <a:pt x="2871207" y="3379599"/>
                  <a:pt x="2870569" y="3386379"/>
                  <a:pt x="2866824" y="3380956"/>
                </a:cubicBezTo>
                <a:cubicBezTo>
                  <a:pt x="2853092" y="3361076"/>
                  <a:pt x="2836282" y="3385189"/>
                  <a:pt x="2845843" y="3411053"/>
                </a:cubicBezTo>
                <a:cubicBezTo>
                  <a:pt x="2853035" y="3430512"/>
                  <a:pt x="2851394" y="3443363"/>
                  <a:pt x="2841712" y="3443363"/>
                </a:cubicBezTo>
                <a:cubicBezTo>
                  <a:pt x="2836902" y="3443363"/>
                  <a:pt x="2832967" y="3439439"/>
                  <a:pt x="2832967" y="3434642"/>
                </a:cubicBezTo>
                <a:cubicBezTo>
                  <a:pt x="2832967" y="3429845"/>
                  <a:pt x="2829865" y="3422194"/>
                  <a:pt x="2826073" y="3417638"/>
                </a:cubicBezTo>
                <a:cubicBezTo>
                  <a:pt x="2821062" y="3411617"/>
                  <a:pt x="2819944" y="3403452"/>
                  <a:pt x="2821980" y="3387738"/>
                </a:cubicBezTo>
                <a:cubicBezTo>
                  <a:pt x="2824031" y="3371916"/>
                  <a:pt x="2822766" y="3362898"/>
                  <a:pt x="2817264" y="3354095"/>
                </a:cubicBezTo>
                <a:cubicBezTo>
                  <a:pt x="2813129" y="3347481"/>
                  <a:pt x="2811336" y="3342069"/>
                  <a:pt x="2813279" y="3342069"/>
                </a:cubicBezTo>
                <a:cubicBezTo>
                  <a:pt x="2815223" y="3342069"/>
                  <a:pt x="2812891" y="3337084"/>
                  <a:pt x="2808098" y="3330990"/>
                </a:cubicBezTo>
                <a:cubicBezTo>
                  <a:pt x="2803304" y="3324897"/>
                  <a:pt x="2798045" y="3312077"/>
                  <a:pt x="2796413" y="3302501"/>
                </a:cubicBezTo>
                <a:cubicBezTo>
                  <a:pt x="2794577" y="3291741"/>
                  <a:pt x="2790552" y="3285165"/>
                  <a:pt x="2785874" y="3285284"/>
                </a:cubicBezTo>
                <a:cubicBezTo>
                  <a:pt x="2778749" y="3285465"/>
                  <a:pt x="2778754" y="3285855"/>
                  <a:pt x="2785958" y="3291929"/>
                </a:cubicBezTo>
                <a:cubicBezTo>
                  <a:pt x="2793394" y="3298200"/>
                  <a:pt x="2796910" y="3323174"/>
                  <a:pt x="2790331" y="3322979"/>
                </a:cubicBezTo>
                <a:cubicBezTo>
                  <a:pt x="2784980" y="3322821"/>
                  <a:pt x="2777557" y="3314142"/>
                  <a:pt x="2775681" y="3305853"/>
                </a:cubicBezTo>
                <a:cubicBezTo>
                  <a:pt x="2774304" y="3299772"/>
                  <a:pt x="2771665" y="3299772"/>
                  <a:pt x="2763282" y="3305853"/>
                </a:cubicBezTo>
                <a:cubicBezTo>
                  <a:pt x="2753453" y="3312984"/>
                  <a:pt x="2752721" y="3316706"/>
                  <a:pt x="2753779" y="3354086"/>
                </a:cubicBezTo>
                <a:cubicBezTo>
                  <a:pt x="2754450" y="3377814"/>
                  <a:pt x="2757397" y="3398171"/>
                  <a:pt x="2760892" y="3403232"/>
                </a:cubicBezTo>
                <a:cubicBezTo>
                  <a:pt x="2764856" y="3408971"/>
                  <a:pt x="2766580" y="3424957"/>
                  <a:pt x="2766023" y="3450840"/>
                </a:cubicBezTo>
                <a:cubicBezTo>
                  <a:pt x="2765115" y="3493128"/>
                  <a:pt x="2757353" y="3506636"/>
                  <a:pt x="2750015" y="3478697"/>
                </a:cubicBezTo>
                <a:cubicBezTo>
                  <a:pt x="2747655" y="3469710"/>
                  <a:pt x="2742724" y="3462355"/>
                  <a:pt x="2739057" y="3462355"/>
                </a:cubicBezTo>
                <a:cubicBezTo>
                  <a:pt x="2735389" y="3462355"/>
                  <a:pt x="2732389" y="3458387"/>
                  <a:pt x="2732389" y="3453537"/>
                </a:cubicBezTo>
                <a:cubicBezTo>
                  <a:pt x="2732389" y="3444483"/>
                  <a:pt x="2723344" y="3437032"/>
                  <a:pt x="2712353" y="3437032"/>
                </a:cubicBezTo>
                <a:cubicBezTo>
                  <a:pt x="2708267" y="3437032"/>
                  <a:pt x="2706152" y="3444077"/>
                  <a:pt x="2706152" y="3457689"/>
                </a:cubicBezTo>
                <a:cubicBezTo>
                  <a:pt x="2706152" y="3473038"/>
                  <a:pt x="2703623" y="3479951"/>
                  <a:pt x="2696312" y="3484595"/>
                </a:cubicBezTo>
                <a:cubicBezTo>
                  <a:pt x="2688688" y="3489438"/>
                  <a:pt x="2686788" y="3495120"/>
                  <a:pt x="2687868" y="3509837"/>
                </a:cubicBezTo>
                <a:cubicBezTo>
                  <a:pt x="2688637" y="3520283"/>
                  <a:pt x="2689620" y="3541650"/>
                  <a:pt x="2690056" y="3557318"/>
                </a:cubicBezTo>
                <a:cubicBezTo>
                  <a:pt x="2690491" y="3572988"/>
                  <a:pt x="2692544" y="3589617"/>
                  <a:pt x="2694620" y="3594273"/>
                </a:cubicBezTo>
                <a:cubicBezTo>
                  <a:pt x="2699065" y="3604246"/>
                  <a:pt x="2694360" y="3612158"/>
                  <a:pt x="2682100" y="3615329"/>
                </a:cubicBezTo>
                <a:cubicBezTo>
                  <a:pt x="2672226" y="3617883"/>
                  <a:pt x="2667680" y="3643432"/>
                  <a:pt x="2675171" y="3654278"/>
                </a:cubicBezTo>
                <a:cubicBezTo>
                  <a:pt x="2677779" y="3658054"/>
                  <a:pt x="2680146" y="3672683"/>
                  <a:pt x="2680432" y="3686784"/>
                </a:cubicBezTo>
                <a:cubicBezTo>
                  <a:pt x="2680908" y="3710451"/>
                  <a:pt x="2681163" y="3710963"/>
                  <a:pt x="2683731" y="3693432"/>
                </a:cubicBezTo>
                <a:cubicBezTo>
                  <a:pt x="2685938" y="3678378"/>
                  <a:pt x="2689133" y="3674006"/>
                  <a:pt x="2699137" y="3672350"/>
                </a:cubicBezTo>
                <a:cubicBezTo>
                  <a:pt x="2710910" y="3670401"/>
                  <a:pt x="2711590" y="3671476"/>
                  <a:pt x="2709257" y="3688362"/>
                </a:cubicBezTo>
                <a:cubicBezTo>
                  <a:pt x="2707217" y="3703131"/>
                  <a:pt x="2709128" y="3709197"/>
                  <a:pt x="2719638" y="3721312"/>
                </a:cubicBezTo>
                <a:cubicBezTo>
                  <a:pt x="2726725" y="3729479"/>
                  <a:pt x="2732182" y="3739367"/>
                  <a:pt x="2731766" y="3743285"/>
                </a:cubicBezTo>
                <a:cubicBezTo>
                  <a:pt x="2731350" y="3747203"/>
                  <a:pt x="2732566" y="3755587"/>
                  <a:pt x="2734466" y="3761914"/>
                </a:cubicBezTo>
                <a:cubicBezTo>
                  <a:pt x="2736409" y="3768377"/>
                  <a:pt x="2735991" y="3776216"/>
                  <a:pt x="2733513" y="3779804"/>
                </a:cubicBezTo>
                <a:cubicBezTo>
                  <a:pt x="2730548" y="3784097"/>
                  <a:pt x="2727529" y="3779653"/>
                  <a:pt x="2724300" y="3766243"/>
                </a:cubicBezTo>
                <a:cubicBezTo>
                  <a:pt x="2721659" y="3755272"/>
                  <a:pt x="2714863" y="3738325"/>
                  <a:pt x="2709200" y="3728581"/>
                </a:cubicBezTo>
                <a:lnTo>
                  <a:pt x="2698904" y="3710865"/>
                </a:lnTo>
                <a:lnTo>
                  <a:pt x="2694804" y="3727472"/>
                </a:lnTo>
                <a:cubicBezTo>
                  <a:pt x="2690816" y="3743619"/>
                  <a:pt x="2695578" y="3792599"/>
                  <a:pt x="2703659" y="3818561"/>
                </a:cubicBezTo>
                <a:cubicBezTo>
                  <a:pt x="2705572" y="3824706"/>
                  <a:pt x="2706116" y="3835387"/>
                  <a:pt x="2704869" y="3842295"/>
                </a:cubicBezTo>
                <a:cubicBezTo>
                  <a:pt x="2703621" y="3849204"/>
                  <a:pt x="2704382" y="3856451"/>
                  <a:pt x="2706562" y="3858401"/>
                </a:cubicBezTo>
                <a:cubicBezTo>
                  <a:pt x="2713294" y="3864424"/>
                  <a:pt x="2711151" y="3892854"/>
                  <a:pt x="2703965" y="3892854"/>
                </a:cubicBezTo>
                <a:cubicBezTo>
                  <a:pt x="2700358" y="3892854"/>
                  <a:pt x="2697406" y="3889150"/>
                  <a:pt x="2697406" y="3884624"/>
                </a:cubicBezTo>
                <a:cubicBezTo>
                  <a:pt x="2697406" y="3880097"/>
                  <a:pt x="2695225" y="3873236"/>
                  <a:pt x="2692559" y="3869377"/>
                </a:cubicBezTo>
                <a:cubicBezTo>
                  <a:pt x="2689893" y="3865517"/>
                  <a:pt x="2686903" y="3847367"/>
                  <a:pt x="2685914" y="3829043"/>
                </a:cubicBezTo>
                <a:cubicBezTo>
                  <a:pt x="2684926" y="3810719"/>
                  <a:pt x="2682458" y="3792652"/>
                  <a:pt x="2680432" y="3788895"/>
                </a:cubicBezTo>
                <a:cubicBezTo>
                  <a:pt x="2678405" y="3785138"/>
                  <a:pt x="2675339" y="3773517"/>
                  <a:pt x="2673617" y="3763071"/>
                </a:cubicBezTo>
                <a:cubicBezTo>
                  <a:pt x="2671896" y="3752626"/>
                  <a:pt x="2667953" y="3739805"/>
                  <a:pt x="2664856" y="3734582"/>
                </a:cubicBezTo>
                <a:cubicBezTo>
                  <a:pt x="2661758" y="3729359"/>
                  <a:pt x="2657917" y="3717130"/>
                  <a:pt x="2656320" y="3707405"/>
                </a:cubicBezTo>
                <a:cubicBezTo>
                  <a:pt x="2652637" y="3684989"/>
                  <a:pt x="2642017" y="3678717"/>
                  <a:pt x="2633990" y="3694220"/>
                </a:cubicBezTo>
                <a:cubicBezTo>
                  <a:pt x="2628693" y="3704451"/>
                  <a:pt x="2628722" y="3707066"/>
                  <a:pt x="2634199" y="3713122"/>
                </a:cubicBezTo>
                <a:cubicBezTo>
                  <a:pt x="2637696" y="3716988"/>
                  <a:pt x="2640557" y="3728020"/>
                  <a:pt x="2640557" y="3737638"/>
                </a:cubicBezTo>
                <a:cubicBezTo>
                  <a:pt x="2640557" y="3752464"/>
                  <a:pt x="2639560" y="3753926"/>
                  <a:pt x="2633998" y="3747244"/>
                </a:cubicBezTo>
                <a:cubicBezTo>
                  <a:pt x="2630390" y="3742909"/>
                  <a:pt x="2627438" y="3735528"/>
                  <a:pt x="2627438" y="3730840"/>
                </a:cubicBezTo>
                <a:cubicBezTo>
                  <a:pt x="2627438" y="3726153"/>
                  <a:pt x="2624695" y="3723842"/>
                  <a:pt x="2621342" y="3725705"/>
                </a:cubicBezTo>
                <a:cubicBezTo>
                  <a:pt x="2616724" y="3728271"/>
                  <a:pt x="2614499" y="3719780"/>
                  <a:pt x="2612167" y="3690686"/>
                </a:cubicBezTo>
                <a:cubicBezTo>
                  <a:pt x="2610474" y="3669564"/>
                  <a:pt x="2607314" y="3652281"/>
                  <a:pt x="2605145" y="3652281"/>
                </a:cubicBezTo>
                <a:cubicBezTo>
                  <a:pt x="2602976" y="3652281"/>
                  <a:pt x="2601158" y="3644447"/>
                  <a:pt x="2601104" y="3634871"/>
                </a:cubicBezTo>
                <a:cubicBezTo>
                  <a:pt x="2600974" y="3611715"/>
                  <a:pt x="2587069" y="3585752"/>
                  <a:pt x="2577610" y="3591006"/>
                </a:cubicBezTo>
                <a:cubicBezTo>
                  <a:pt x="2566765" y="3597032"/>
                  <a:pt x="2564271" y="3613351"/>
                  <a:pt x="2572247" y="3626110"/>
                </a:cubicBezTo>
                <a:cubicBezTo>
                  <a:pt x="2580831" y="3639841"/>
                  <a:pt x="2581612" y="3664943"/>
                  <a:pt x="2573455" y="3664943"/>
                </a:cubicBezTo>
                <a:cubicBezTo>
                  <a:pt x="2565487" y="3664943"/>
                  <a:pt x="2553099" y="3644289"/>
                  <a:pt x="2553099" y="3631003"/>
                </a:cubicBezTo>
                <a:cubicBezTo>
                  <a:pt x="2553099" y="3625072"/>
                  <a:pt x="2548671" y="3617809"/>
                  <a:pt x="2543260" y="3614862"/>
                </a:cubicBezTo>
                <a:cubicBezTo>
                  <a:pt x="2530755" y="3608056"/>
                  <a:pt x="2523216" y="3623383"/>
                  <a:pt x="2530623" y="3640554"/>
                </a:cubicBezTo>
                <a:cubicBezTo>
                  <a:pt x="2539261" y="3660579"/>
                  <a:pt x="2536826" y="3698781"/>
                  <a:pt x="2526305" y="3708293"/>
                </a:cubicBezTo>
                <a:cubicBezTo>
                  <a:pt x="2518040" y="3715766"/>
                  <a:pt x="2517311" y="3720509"/>
                  <a:pt x="2519771" y="3750816"/>
                </a:cubicBezTo>
                <a:lnTo>
                  <a:pt x="2522540" y="3784928"/>
                </a:lnTo>
                <a:lnTo>
                  <a:pt x="2509726" y="3781217"/>
                </a:lnTo>
                <a:cubicBezTo>
                  <a:pt x="2491618" y="3775974"/>
                  <a:pt x="2485001" y="3787442"/>
                  <a:pt x="2486852" y="3820858"/>
                </a:cubicBezTo>
                <a:cubicBezTo>
                  <a:pt x="2488027" y="3842062"/>
                  <a:pt x="2486874" y="3848538"/>
                  <a:pt x="2481921" y="3848538"/>
                </a:cubicBezTo>
                <a:cubicBezTo>
                  <a:pt x="2473028" y="3848538"/>
                  <a:pt x="2466210" y="3835250"/>
                  <a:pt x="2462933" y="3811532"/>
                </a:cubicBezTo>
                <a:cubicBezTo>
                  <a:pt x="2461416" y="3800547"/>
                  <a:pt x="2458645" y="3791560"/>
                  <a:pt x="2456776" y="3791560"/>
                </a:cubicBezTo>
                <a:cubicBezTo>
                  <a:pt x="2454907" y="3791560"/>
                  <a:pt x="2451266" y="3782791"/>
                  <a:pt x="2448685" y="3772074"/>
                </a:cubicBezTo>
                <a:cubicBezTo>
                  <a:pt x="2443551" y="3750749"/>
                  <a:pt x="2429132" y="3747939"/>
                  <a:pt x="2427873" y="3768017"/>
                </a:cubicBezTo>
                <a:cubicBezTo>
                  <a:pt x="2427379" y="3775892"/>
                  <a:pt x="2427778" y="3776333"/>
                  <a:pt x="2429236" y="3769526"/>
                </a:cubicBezTo>
                <a:cubicBezTo>
                  <a:pt x="2431510" y="3758919"/>
                  <a:pt x="2443776" y="3756143"/>
                  <a:pt x="2443776" y="3766237"/>
                </a:cubicBezTo>
                <a:cubicBezTo>
                  <a:pt x="2443776" y="3769719"/>
                  <a:pt x="2442301" y="3772585"/>
                  <a:pt x="2440496" y="3772608"/>
                </a:cubicBezTo>
                <a:cubicBezTo>
                  <a:pt x="2438692" y="3772627"/>
                  <a:pt x="2433773" y="3781407"/>
                  <a:pt x="2429564" y="3792113"/>
                </a:cubicBezTo>
                <a:cubicBezTo>
                  <a:pt x="2419134" y="3818643"/>
                  <a:pt x="2419508" y="3859863"/>
                  <a:pt x="2430302" y="3873416"/>
                </a:cubicBezTo>
                <a:cubicBezTo>
                  <a:pt x="2435288" y="3879676"/>
                  <a:pt x="2440996" y="3900531"/>
                  <a:pt x="2444369" y="3924805"/>
                </a:cubicBezTo>
                <a:cubicBezTo>
                  <a:pt x="2447491" y="3947274"/>
                  <a:pt x="2451793" y="3967437"/>
                  <a:pt x="2453931" y="3969610"/>
                </a:cubicBezTo>
                <a:cubicBezTo>
                  <a:pt x="2456068" y="3971784"/>
                  <a:pt x="2454718" y="3980410"/>
                  <a:pt x="2450930" y="3988781"/>
                </a:cubicBezTo>
                <a:cubicBezTo>
                  <a:pt x="2443890" y="4004334"/>
                  <a:pt x="2442745" y="4083398"/>
                  <a:pt x="2449419" y="4093060"/>
                </a:cubicBezTo>
                <a:cubicBezTo>
                  <a:pt x="2454210" y="4099996"/>
                  <a:pt x="2453085" y="4138506"/>
                  <a:pt x="2447957" y="4143094"/>
                </a:cubicBezTo>
                <a:cubicBezTo>
                  <a:pt x="2441139" y="4149195"/>
                  <a:pt x="2430657" y="4133852"/>
                  <a:pt x="2430657" y="4117769"/>
                </a:cubicBezTo>
                <a:cubicBezTo>
                  <a:pt x="2430657" y="4094995"/>
                  <a:pt x="2421562" y="4063787"/>
                  <a:pt x="2414924" y="4063787"/>
                </a:cubicBezTo>
                <a:cubicBezTo>
                  <a:pt x="2411552" y="4063787"/>
                  <a:pt x="2408547" y="4060938"/>
                  <a:pt x="2408246" y="4057456"/>
                </a:cubicBezTo>
                <a:cubicBezTo>
                  <a:pt x="2407945" y="4053974"/>
                  <a:pt x="2407207" y="4048276"/>
                  <a:pt x="2406606" y="4044794"/>
                </a:cubicBezTo>
                <a:cubicBezTo>
                  <a:pt x="2406005" y="4041312"/>
                  <a:pt x="2405267" y="4017301"/>
                  <a:pt x="2404966" y="3991434"/>
                </a:cubicBezTo>
                <a:cubicBezTo>
                  <a:pt x="2404557" y="3956255"/>
                  <a:pt x="2402534" y="3941674"/>
                  <a:pt x="2396933" y="3933567"/>
                </a:cubicBezTo>
                <a:cubicBezTo>
                  <a:pt x="2392816" y="3927605"/>
                  <a:pt x="2389152" y="3919568"/>
                  <a:pt x="2388791" y="3915705"/>
                </a:cubicBezTo>
                <a:cubicBezTo>
                  <a:pt x="2388431" y="3911842"/>
                  <a:pt x="2386709" y="3884465"/>
                  <a:pt x="2384965" y="3854869"/>
                </a:cubicBezTo>
                <a:cubicBezTo>
                  <a:pt x="2381682" y="3799164"/>
                  <a:pt x="2376003" y="3782877"/>
                  <a:pt x="2358125" y="3777893"/>
                </a:cubicBezTo>
                <a:cubicBezTo>
                  <a:pt x="2353578" y="3776624"/>
                  <a:pt x="2349153" y="3769923"/>
                  <a:pt x="2348290" y="3762998"/>
                </a:cubicBezTo>
                <a:cubicBezTo>
                  <a:pt x="2346031" y="3744853"/>
                  <a:pt x="2340915" y="3739100"/>
                  <a:pt x="2331066" y="3743626"/>
                </a:cubicBezTo>
                <a:cubicBezTo>
                  <a:pt x="2323601" y="3747056"/>
                  <a:pt x="2322418" y="3753375"/>
                  <a:pt x="2322362" y="3790153"/>
                </a:cubicBezTo>
                <a:cubicBezTo>
                  <a:pt x="2322327" y="3813559"/>
                  <a:pt x="2323776" y="3835560"/>
                  <a:pt x="2325585" y="3839042"/>
                </a:cubicBezTo>
                <a:cubicBezTo>
                  <a:pt x="2330367" y="3848252"/>
                  <a:pt x="2334803" y="3904455"/>
                  <a:pt x="2331015" y="3907844"/>
                </a:cubicBezTo>
                <a:cubicBezTo>
                  <a:pt x="2325179" y="3913065"/>
                  <a:pt x="2314097" y="3896350"/>
                  <a:pt x="2310583" y="3877027"/>
                </a:cubicBezTo>
                <a:cubicBezTo>
                  <a:pt x="2308684" y="3866581"/>
                  <a:pt x="2307525" y="3841244"/>
                  <a:pt x="2308008" y="3820722"/>
                </a:cubicBezTo>
                <a:cubicBezTo>
                  <a:pt x="2308911" y="3782312"/>
                  <a:pt x="2305309" y="3772864"/>
                  <a:pt x="2289689" y="3772664"/>
                </a:cubicBezTo>
                <a:cubicBezTo>
                  <a:pt x="2281272" y="3772557"/>
                  <a:pt x="2267066" y="3813894"/>
                  <a:pt x="2271750" y="3824865"/>
                </a:cubicBezTo>
                <a:cubicBezTo>
                  <a:pt x="2273403" y="3828737"/>
                  <a:pt x="2272480" y="3829620"/>
                  <a:pt x="2269535" y="3826984"/>
                </a:cubicBezTo>
                <a:cubicBezTo>
                  <a:pt x="2266543" y="3824308"/>
                  <a:pt x="2264486" y="3826489"/>
                  <a:pt x="2264486" y="3832337"/>
                </a:cubicBezTo>
                <a:cubicBezTo>
                  <a:pt x="2264486" y="3837766"/>
                  <a:pt x="2262362" y="3842207"/>
                  <a:pt x="2259765" y="3842207"/>
                </a:cubicBezTo>
                <a:cubicBezTo>
                  <a:pt x="2256796" y="3842207"/>
                  <a:pt x="2256114" y="3835164"/>
                  <a:pt x="2257927" y="3823214"/>
                </a:cubicBezTo>
                <a:cubicBezTo>
                  <a:pt x="2259826" y="3810697"/>
                  <a:pt x="2259092" y="3804222"/>
                  <a:pt x="2255775" y="3804222"/>
                </a:cubicBezTo>
                <a:cubicBezTo>
                  <a:pt x="2253007" y="3804222"/>
                  <a:pt x="2247538" y="3799582"/>
                  <a:pt x="2243620" y="3793911"/>
                </a:cubicBezTo>
                <a:cubicBezTo>
                  <a:pt x="2237039" y="3784383"/>
                  <a:pt x="2237259" y="3782707"/>
                  <a:pt x="2246518" y="3771854"/>
                </a:cubicBezTo>
                <a:cubicBezTo>
                  <a:pt x="2255048" y="3761853"/>
                  <a:pt x="2256154" y="3756142"/>
                  <a:pt x="2253959" y="3733428"/>
                </a:cubicBezTo>
                <a:cubicBezTo>
                  <a:pt x="2252542" y="3718753"/>
                  <a:pt x="2249411" y="3703894"/>
                  <a:pt x="2247002" y="3700406"/>
                </a:cubicBezTo>
                <a:cubicBezTo>
                  <a:pt x="2244592" y="3696919"/>
                  <a:pt x="2242621" y="3689474"/>
                  <a:pt x="2242621" y="3683863"/>
                </a:cubicBezTo>
                <a:cubicBezTo>
                  <a:pt x="2242621" y="3678252"/>
                  <a:pt x="2238686" y="3667546"/>
                  <a:pt x="2233875" y="3660071"/>
                </a:cubicBezTo>
                <a:cubicBezTo>
                  <a:pt x="2229065" y="3652596"/>
                  <a:pt x="2225130" y="3640663"/>
                  <a:pt x="2225130" y="3633553"/>
                </a:cubicBezTo>
                <a:cubicBezTo>
                  <a:pt x="2225130" y="3626444"/>
                  <a:pt x="2223654" y="3620376"/>
                  <a:pt x="2221850" y="3620071"/>
                </a:cubicBezTo>
                <a:cubicBezTo>
                  <a:pt x="2220046" y="3619765"/>
                  <a:pt x="2211683" y="3619052"/>
                  <a:pt x="2203265" y="3618488"/>
                </a:cubicBezTo>
                <a:cubicBezTo>
                  <a:pt x="2188217" y="3617479"/>
                  <a:pt x="2187981" y="3617853"/>
                  <a:pt x="2189200" y="3640708"/>
                </a:cubicBezTo>
                <a:cubicBezTo>
                  <a:pt x="2190210" y="3659648"/>
                  <a:pt x="2188734" y="3664739"/>
                  <a:pt x="2181231" y="3668186"/>
                </a:cubicBezTo>
                <a:cubicBezTo>
                  <a:pt x="2175294" y="3670914"/>
                  <a:pt x="2172929" y="3675839"/>
                  <a:pt x="2174574" y="3682047"/>
                </a:cubicBezTo>
                <a:cubicBezTo>
                  <a:pt x="2176448" y="3689115"/>
                  <a:pt x="2175143" y="3690574"/>
                  <a:pt x="2169669" y="3687533"/>
                </a:cubicBezTo>
                <a:cubicBezTo>
                  <a:pt x="2163315" y="3684003"/>
                  <a:pt x="2163466" y="3685395"/>
                  <a:pt x="2170689" y="3696951"/>
                </a:cubicBezTo>
                <a:cubicBezTo>
                  <a:pt x="2177398" y="3707683"/>
                  <a:pt x="2182591" y="3709846"/>
                  <a:pt x="2195588" y="3707322"/>
                </a:cubicBezTo>
                <a:cubicBezTo>
                  <a:pt x="2211612" y="3704211"/>
                  <a:pt x="2212011" y="3704626"/>
                  <a:pt x="2212011" y="3724422"/>
                </a:cubicBezTo>
                <a:cubicBezTo>
                  <a:pt x="2212011" y="3735582"/>
                  <a:pt x="2214256" y="3747962"/>
                  <a:pt x="2216999" y="3751934"/>
                </a:cubicBezTo>
                <a:cubicBezTo>
                  <a:pt x="2223416" y="3761224"/>
                  <a:pt x="2224997" y="3835911"/>
                  <a:pt x="2218775" y="3835779"/>
                </a:cubicBezTo>
                <a:cubicBezTo>
                  <a:pt x="2208830" y="3835568"/>
                  <a:pt x="2204344" y="3825044"/>
                  <a:pt x="2201276" y="3794726"/>
                </a:cubicBezTo>
                <a:cubicBezTo>
                  <a:pt x="2197020" y="3752657"/>
                  <a:pt x="2193267" y="3746638"/>
                  <a:pt x="2176875" y="3755596"/>
                </a:cubicBezTo>
                <a:cubicBezTo>
                  <a:pt x="2161020" y="3764261"/>
                  <a:pt x="2155873" y="3758069"/>
                  <a:pt x="2138525" y="3709464"/>
                </a:cubicBezTo>
                <a:cubicBezTo>
                  <a:pt x="2123766" y="3668115"/>
                  <a:pt x="2115171" y="3658627"/>
                  <a:pt x="2105352" y="3672844"/>
                </a:cubicBezTo>
                <a:cubicBezTo>
                  <a:pt x="2098301" y="3683051"/>
                  <a:pt x="2099961" y="3702928"/>
                  <a:pt x="2107864" y="3702928"/>
                </a:cubicBezTo>
                <a:cubicBezTo>
                  <a:pt x="2110196" y="3702928"/>
                  <a:pt x="2111495" y="3713164"/>
                  <a:pt x="2110750" y="3725675"/>
                </a:cubicBezTo>
                <a:cubicBezTo>
                  <a:pt x="2109802" y="3741608"/>
                  <a:pt x="2111666" y="3750826"/>
                  <a:pt x="2116974" y="3756445"/>
                </a:cubicBezTo>
                <a:cubicBezTo>
                  <a:pt x="2121142" y="3760857"/>
                  <a:pt x="2124552" y="3770563"/>
                  <a:pt x="2124552" y="3778014"/>
                </a:cubicBezTo>
                <a:cubicBezTo>
                  <a:pt x="2124552" y="3788826"/>
                  <a:pt x="2121921" y="3791560"/>
                  <a:pt x="2111517" y="3791560"/>
                </a:cubicBezTo>
                <a:cubicBezTo>
                  <a:pt x="2101338" y="3791560"/>
                  <a:pt x="2097893" y="3794952"/>
                  <a:pt x="2095798" y="3807039"/>
                </a:cubicBezTo>
                <a:cubicBezTo>
                  <a:pt x="2094322" y="3815551"/>
                  <a:pt x="2089857" y="3823768"/>
                  <a:pt x="2085876" y="3825297"/>
                </a:cubicBezTo>
                <a:cubicBezTo>
                  <a:pt x="2080764" y="3827259"/>
                  <a:pt x="2081441" y="3828292"/>
                  <a:pt x="2088181" y="3828811"/>
                </a:cubicBezTo>
                <a:cubicBezTo>
                  <a:pt x="2093433" y="3829215"/>
                  <a:pt x="2098918" y="3834985"/>
                  <a:pt x="2100377" y="3841641"/>
                </a:cubicBezTo>
                <a:cubicBezTo>
                  <a:pt x="2101836" y="3848293"/>
                  <a:pt x="2107979" y="3858432"/>
                  <a:pt x="2114029" y="3864171"/>
                </a:cubicBezTo>
                <a:cubicBezTo>
                  <a:pt x="2123352" y="3873014"/>
                  <a:pt x="2124827" y="3878655"/>
                  <a:pt x="2123698" y="3901140"/>
                </a:cubicBezTo>
                <a:cubicBezTo>
                  <a:pt x="2122193" y="3931115"/>
                  <a:pt x="2110223" y="3939232"/>
                  <a:pt x="2107910" y="3911846"/>
                </a:cubicBezTo>
                <a:cubicBezTo>
                  <a:pt x="2104476" y="3871189"/>
                  <a:pt x="2098711" y="3858131"/>
                  <a:pt x="2080582" y="3849939"/>
                </a:cubicBezTo>
                <a:cubicBezTo>
                  <a:pt x="2061553" y="3841341"/>
                  <a:pt x="2054585" y="3843688"/>
                  <a:pt x="2054585" y="3858695"/>
                </a:cubicBezTo>
                <a:cubicBezTo>
                  <a:pt x="2054585" y="3866014"/>
                  <a:pt x="2051196" y="3867184"/>
                  <a:pt x="2039326" y="3863960"/>
                </a:cubicBezTo>
                <a:cubicBezTo>
                  <a:pt x="2027534" y="3860757"/>
                  <a:pt x="2023454" y="3862131"/>
                  <a:pt x="2021367" y="3870003"/>
                </a:cubicBezTo>
                <a:cubicBezTo>
                  <a:pt x="2017577" y="3884301"/>
                  <a:pt x="2006483" y="3882736"/>
                  <a:pt x="2006483" y="3867904"/>
                </a:cubicBezTo>
                <a:cubicBezTo>
                  <a:pt x="2006483" y="3861146"/>
                  <a:pt x="2004483" y="3853826"/>
                  <a:pt x="2002040" y="3851640"/>
                </a:cubicBezTo>
                <a:cubicBezTo>
                  <a:pt x="1999595" y="3849452"/>
                  <a:pt x="1998824" y="3844783"/>
                  <a:pt x="2000327" y="3841264"/>
                </a:cubicBezTo>
                <a:cubicBezTo>
                  <a:pt x="2001829" y="3837744"/>
                  <a:pt x="1998909" y="3830657"/>
                  <a:pt x="1993839" y="3825515"/>
                </a:cubicBezTo>
                <a:cubicBezTo>
                  <a:pt x="1987608" y="3819197"/>
                  <a:pt x="1984619" y="3809349"/>
                  <a:pt x="1984619" y="3795142"/>
                </a:cubicBezTo>
                <a:cubicBezTo>
                  <a:pt x="1984619" y="3769202"/>
                  <a:pt x="1974654" y="3754565"/>
                  <a:pt x="1964941" y="3766237"/>
                </a:cubicBezTo>
                <a:cubicBezTo>
                  <a:pt x="1961333" y="3770571"/>
                  <a:pt x="1958381" y="3778042"/>
                  <a:pt x="1958381" y="3782839"/>
                </a:cubicBezTo>
                <a:cubicBezTo>
                  <a:pt x="1958381" y="3787636"/>
                  <a:pt x="1955430" y="3791560"/>
                  <a:pt x="1951822" y="3791560"/>
                </a:cubicBezTo>
                <a:cubicBezTo>
                  <a:pt x="1948214" y="3791560"/>
                  <a:pt x="1945262" y="3788711"/>
                  <a:pt x="1945262" y="3785229"/>
                </a:cubicBezTo>
                <a:cubicBezTo>
                  <a:pt x="1945262" y="3781747"/>
                  <a:pt x="1939359" y="3778898"/>
                  <a:pt x="1932144" y="3778898"/>
                </a:cubicBezTo>
                <a:cubicBezTo>
                  <a:pt x="1921186" y="3778898"/>
                  <a:pt x="1919025" y="3776378"/>
                  <a:pt x="1919025" y="3763599"/>
                </a:cubicBezTo>
                <a:cubicBezTo>
                  <a:pt x="1919025" y="3755184"/>
                  <a:pt x="1921033" y="3747330"/>
                  <a:pt x="1923488" y="3746145"/>
                </a:cubicBezTo>
                <a:cubicBezTo>
                  <a:pt x="1930205" y="3742904"/>
                  <a:pt x="1918350" y="3709947"/>
                  <a:pt x="1908872" y="3705513"/>
                </a:cubicBezTo>
                <a:cubicBezTo>
                  <a:pt x="1899063" y="3700925"/>
                  <a:pt x="1884041" y="3719355"/>
                  <a:pt x="1884041" y="3735980"/>
                </a:cubicBezTo>
                <a:cubicBezTo>
                  <a:pt x="1884041" y="3742633"/>
                  <a:pt x="1886078" y="3753587"/>
                  <a:pt x="1888568" y="3760322"/>
                </a:cubicBezTo>
                <a:cubicBezTo>
                  <a:pt x="1893887" y="3774711"/>
                  <a:pt x="1885030" y="3777798"/>
                  <a:pt x="1875988" y="3764707"/>
                </a:cubicBezTo>
                <a:cubicBezTo>
                  <a:pt x="1871664" y="3758447"/>
                  <a:pt x="1869719" y="3758769"/>
                  <a:pt x="1866434" y="3766290"/>
                </a:cubicBezTo>
                <a:cubicBezTo>
                  <a:pt x="1861190" y="3778299"/>
                  <a:pt x="1860967" y="3797891"/>
                  <a:pt x="1866075" y="3797891"/>
                </a:cubicBezTo>
                <a:cubicBezTo>
                  <a:pt x="1868220" y="3797891"/>
                  <a:pt x="1871209" y="3805013"/>
                  <a:pt x="1872718" y="3813718"/>
                </a:cubicBezTo>
                <a:cubicBezTo>
                  <a:pt x="1874227" y="3822423"/>
                  <a:pt x="1877392" y="3829545"/>
                  <a:pt x="1879752" y="3829545"/>
                </a:cubicBezTo>
                <a:cubicBezTo>
                  <a:pt x="1882111" y="3829545"/>
                  <a:pt x="1884041" y="3836499"/>
                  <a:pt x="1884041" y="3844998"/>
                </a:cubicBezTo>
                <a:cubicBezTo>
                  <a:pt x="1884041" y="3853498"/>
                  <a:pt x="1886113" y="3862306"/>
                  <a:pt x="1888645" y="3864572"/>
                </a:cubicBezTo>
                <a:cubicBezTo>
                  <a:pt x="1891177" y="3866837"/>
                  <a:pt x="1892520" y="3871854"/>
                  <a:pt x="1891630" y="3875720"/>
                </a:cubicBezTo>
                <a:cubicBezTo>
                  <a:pt x="1889035" y="3886993"/>
                  <a:pt x="1902591" y="3905515"/>
                  <a:pt x="1913437" y="3905515"/>
                </a:cubicBezTo>
                <a:cubicBezTo>
                  <a:pt x="1919375" y="3905515"/>
                  <a:pt x="1923398" y="3909350"/>
                  <a:pt x="1923398" y="3915012"/>
                </a:cubicBezTo>
                <a:cubicBezTo>
                  <a:pt x="1923398" y="3920235"/>
                  <a:pt x="1925365" y="3924508"/>
                  <a:pt x="1927771" y="3924508"/>
                </a:cubicBezTo>
                <a:cubicBezTo>
                  <a:pt x="1930176" y="3924508"/>
                  <a:pt x="1932144" y="3930106"/>
                  <a:pt x="1932144" y="3936947"/>
                </a:cubicBezTo>
                <a:cubicBezTo>
                  <a:pt x="1932144" y="3943788"/>
                  <a:pt x="1936079" y="3952436"/>
                  <a:pt x="1940889" y="3956162"/>
                </a:cubicBezTo>
                <a:cubicBezTo>
                  <a:pt x="1954852" y="3966980"/>
                  <a:pt x="1951574" y="3977299"/>
                  <a:pt x="1935640" y="3972686"/>
                </a:cubicBezTo>
                <a:cubicBezTo>
                  <a:pt x="1927944" y="3970457"/>
                  <a:pt x="1920564" y="3966474"/>
                  <a:pt x="1919242" y="3963834"/>
                </a:cubicBezTo>
                <a:cubicBezTo>
                  <a:pt x="1917920" y="3961195"/>
                  <a:pt x="1911339" y="3953967"/>
                  <a:pt x="1904617" y="3947772"/>
                </a:cubicBezTo>
                <a:cubicBezTo>
                  <a:pt x="1897896" y="3941576"/>
                  <a:pt x="1890509" y="3929320"/>
                  <a:pt x="1888202" y="3920535"/>
                </a:cubicBezTo>
                <a:cubicBezTo>
                  <a:pt x="1883345" y="3902041"/>
                  <a:pt x="1873609" y="3886523"/>
                  <a:pt x="1866862" y="3886523"/>
                </a:cubicBezTo>
                <a:cubicBezTo>
                  <a:pt x="1864285" y="3886523"/>
                  <a:pt x="1862177" y="3881029"/>
                  <a:pt x="1862177" y="3874314"/>
                </a:cubicBezTo>
                <a:cubicBezTo>
                  <a:pt x="1862177" y="3867598"/>
                  <a:pt x="1859607" y="3858339"/>
                  <a:pt x="1856466" y="3853739"/>
                </a:cubicBezTo>
                <a:cubicBezTo>
                  <a:pt x="1853325" y="3849137"/>
                  <a:pt x="1849451" y="3840387"/>
                  <a:pt x="1847857" y="3834293"/>
                </a:cubicBezTo>
                <a:cubicBezTo>
                  <a:pt x="1844203" y="3820320"/>
                  <a:pt x="1827822" y="3819806"/>
                  <a:pt x="1824179" y="3833550"/>
                </a:cubicBezTo>
                <a:cubicBezTo>
                  <a:pt x="1822673" y="3839234"/>
                  <a:pt x="1823855" y="3849482"/>
                  <a:pt x="1826806" y="3856324"/>
                </a:cubicBezTo>
                <a:cubicBezTo>
                  <a:pt x="1829757" y="3863165"/>
                  <a:pt x="1830945" y="3870540"/>
                  <a:pt x="1829445" y="3872712"/>
                </a:cubicBezTo>
                <a:cubicBezTo>
                  <a:pt x="1827945" y="3874883"/>
                  <a:pt x="1825077" y="3872816"/>
                  <a:pt x="1823072" y="3868119"/>
                </a:cubicBezTo>
                <a:cubicBezTo>
                  <a:pt x="1818209" y="3856728"/>
                  <a:pt x="1809702" y="3865026"/>
                  <a:pt x="1809702" y="3881158"/>
                </a:cubicBezTo>
                <a:cubicBezTo>
                  <a:pt x="1809702" y="3888715"/>
                  <a:pt x="1813317" y="3895408"/>
                  <a:pt x="1818447" y="3897350"/>
                </a:cubicBezTo>
                <a:cubicBezTo>
                  <a:pt x="1824168" y="3899516"/>
                  <a:pt x="1827193" y="3905986"/>
                  <a:pt x="1827193" y="3916052"/>
                </a:cubicBezTo>
                <a:cubicBezTo>
                  <a:pt x="1827193" y="3932239"/>
                  <a:pt x="1846127" y="3962493"/>
                  <a:pt x="1856256" y="3962493"/>
                </a:cubicBezTo>
                <a:cubicBezTo>
                  <a:pt x="1859512" y="3962493"/>
                  <a:pt x="1862177" y="3968191"/>
                  <a:pt x="1862177" y="3975155"/>
                </a:cubicBezTo>
                <a:cubicBezTo>
                  <a:pt x="1862177" y="3984267"/>
                  <a:pt x="1859262" y="3987817"/>
                  <a:pt x="1851780" y="3987817"/>
                </a:cubicBezTo>
                <a:cubicBezTo>
                  <a:pt x="1846061" y="3987817"/>
                  <a:pt x="1838933" y="3992090"/>
                  <a:pt x="1835939" y="3997313"/>
                </a:cubicBezTo>
                <a:cubicBezTo>
                  <a:pt x="1832945" y="4002536"/>
                  <a:pt x="1828768" y="4006809"/>
                  <a:pt x="1826658" y="4006809"/>
                </a:cubicBezTo>
                <a:cubicBezTo>
                  <a:pt x="1824547" y="4006809"/>
                  <a:pt x="1822820" y="4002536"/>
                  <a:pt x="1822820" y="3997313"/>
                </a:cubicBezTo>
                <a:cubicBezTo>
                  <a:pt x="1822820" y="3992090"/>
                  <a:pt x="1820853" y="3987817"/>
                  <a:pt x="1818447" y="3987817"/>
                </a:cubicBezTo>
                <a:cubicBezTo>
                  <a:pt x="1816042" y="3987817"/>
                  <a:pt x="1814075" y="3983167"/>
                  <a:pt x="1814075" y="3977485"/>
                </a:cubicBezTo>
                <a:cubicBezTo>
                  <a:pt x="1814075" y="3964980"/>
                  <a:pt x="1797850" y="3925247"/>
                  <a:pt x="1786969" y="3911104"/>
                </a:cubicBezTo>
                <a:cubicBezTo>
                  <a:pt x="1782636" y="3905473"/>
                  <a:pt x="1779091" y="3894814"/>
                  <a:pt x="1779091" y="3887418"/>
                </a:cubicBezTo>
                <a:cubicBezTo>
                  <a:pt x="1779091" y="3875266"/>
                  <a:pt x="1765017" y="3844344"/>
                  <a:pt x="1741945" y="3805804"/>
                </a:cubicBezTo>
                <a:cubicBezTo>
                  <a:pt x="1737256" y="3797970"/>
                  <a:pt x="1729920" y="3791560"/>
                  <a:pt x="1725644" y="3791560"/>
                </a:cubicBezTo>
                <a:cubicBezTo>
                  <a:pt x="1721369" y="3791560"/>
                  <a:pt x="1717870" y="3787082"/>
                  <a:pt x="1717870" y="3781609"/>
                </a:cubicBezTo>
                <a:cubicBezTo>
                  <a:pt x="1717870" y="3769873"/>
                  <a:pt x="1697380" y="3717614"/>
                  <a:pt x="1690111" y="3710809"/>
                </a:cubicBezTo>
                <a:cubicBezTo>
                  <a:pt x="1687340" y="3708215"/>
                  <a:pt x="1682895" y="3700396"/>
                  <a:pt x="1680232" y="3693432"/>
                </a:cubicBezTo>
                <a:cubicBezTo>
                  <a:pt x="1677569" y="3686468"/>
                  <a:pt x="1671979" y="3679799"/>
                  <a:pt x="1667809" y="3678612"/>
                </a:cubicBezTo>
                <a:cubicBezTo>
                  <a:pt x="1659247" y="3676176"/>
                  <a:pt x="1643530" y="3655329"/>
                  <a:pt x="1643530" y="3646410"/>
                </a:cubicBezTo>
                <a:cubicBezTo>
                  <a:pt x="1643530" y="3643181"/>
                  <a:pt x="1638611" y="3634936"/>
                  <a:pt x="1632598" y="3628089"/>
                </a:cubicBezTo>
                <a:cubicBezTo>
                  <a:pt x="1626078" y="3620663"/>
                  <a:pt x="1621666" y="3609167"/>
                  <a:pt x="1621666" y="3599604"/>
                </a:cubicBezTo>
                <a:cubicBezTo>
                  <a:pt x="1621666" y="3587944"/>
                  <a:pt x="1617908" y="3580855"/>
                  <a:pt x="1607892" y="3573621"/>
                </a:cubicBezTo>
                <a:cubicBezTo>
                  <a:pt x="1592334" y="3562385"/>
                  <a:pt x="1582310" y="3568877"/>
                  <a:pt x="1582310" y="3590188"/>
                </a:cubicBezTo>
                <a:cubicBezTo>
                  <a:pt x="1582310" y="3608936"/>
                  <a:pt x="1563990" y="3602336"/>
                  <a:pt x="1556968" y="3581059"/>
                </a:cubicBezTo>
                <a:cubicBezTo>
                  <a:pt x="1553808" y="3571483"/>
                  <a:pt x="1549853" y="3563286"/>
                  <a:pt x="1548180" y="3562841"/>
                </a:cubicBezTo>
                <a:cubicBezTo>
                  <a:pt x="1534416" y="3559184"/>
                  <a:pt x="1525461" y="3559990"/>
                  <a:pt x="1525461" y="3564887"/>
                </a:cubicBezTo>
                <a:cubicBezTo>
                  <a:pt x="1525461" y="3568100"/>
                  <a:pt x="1523850" y="3569285"/>
                  <a:pt x="1521880" y="3567523"/>
                </a:cubicBezTo>
                <a:cubicBezTo>
                  <a:pt x="1515780" y="3562065"/>
                  <a:pt x="1521675" y="3600788"/>
                  <a:pt x="1528124" y="3608537"/>
                </a:cubicBezTo>
                <a:cubicBezTo>
                  <a:pt x="1531470" y="3612557"/>
                  <a:pt x="1534207" y="3621363"/>
                  <a:pt x="1534207" y="3628104"/>
                </a:cubicBezTo>
                <a:cubicBezTo>
                  <a:pt x="1534207" y="3634846"/>
                  <a:pt x="1540440" y="3651589"/>
                  <a:pt x="1548057" y="3665312"/>
                </a:cubicBezTo>
                <a:cubicBezTo>
                  <a:pt x="1555674" y="3679035"/>
                  <a:pt x="1562260" y="3695249"/>
                  <a:pt x="1562692" y="3701343"/>
                </a:cubicBezTo>
                <a:cubicBezTo>
                  <a:pt x="1563458" y="3712152"/>
                  <a:pt x="1570563" y="3739304"/>
                  <a:pt x="1578407" y="3761403"/>
                </a:cubicBezTo>
                <a:cubicBezTo>
                  <a:pt x="1580554" y="3767449"/>
                  <a:pt x="1582310" y="3778174"/>
                  <a:pt x="1582310" y="3785236"/>
                </a:cubicBezTo>
                <a:cubicBezTo>
                  <a:pt x="1582310" y="3792808"/>
                  <a:pt x="1587872" y="3802974"/>
                  <a:pt x="1595866" y="3810012"/>
                </a:cubicBezTo>
                <a:lnTo>
                  <a:pt x="1609422" y="3821947"/>
                </a:lnTo>
                <a:lnTo>
                  <a:pt x="1599783" y="3835903"/>
                </a:lnTo>
                <a:cubicBezTo>
                  <a:pt x="1592444" y="3846528"/>
                  <a:pt x="1590770" y="3854389"/>
                  <a:pt x="1592769" y="3868858"/>
                </a:cubicBezTo>
                <a:cubicBezTo>
                  <a:pt x="1594782" y="3883425"/>
                  <a:pt x="1593985" y="3887076"/>
                  <a:pt x="1589357" y="3884504"/>
                </a:cubicBezTo>
                <a:cubicBezTo>
                  <a:pt x="1584420" y="3881763"/>
                  <a:pt x="1584200" y="3884530"/>
                  <a:pt x="1588146" y="3899664"/>
                </a:cubicBezTo>
                <a:cubicBezTo>
                  <a:pt x="1591360" y="3911992"/>
                  <a:pt x="1596026" y="3918177"/>
                  <a:pt x="1602110" y="3918177"/>
                </a:cubicBezTo>
                <a:cubicBezTo>
                  <a:pt x="1615135" y="3918177"/>
                  <a:pt x="1626341" y="3931870"/>
                  <a:pt x="1628191" y="3950044"/>
                </a:cubicBezTo>
                <a:cubicBezTo>
                  <a:pt x="1629067" y="3958632"/>
                  <a:pt x="1631165" y="3976342"/>
                  <a:pt x="1632855" y="3989399"/>
                </a:cubicBezTo>
                <a:cubicBezTo>
                  <a:pt x="1634574" y="4002674"/>
                  <a:pt x="1634178" y="4013140"/>
                  <a:pt x="1631957" y="4013140"/>
                </a:cubicBezTo>
                <a:cubicBezTo>
                  <a:pt x="1622428" y="4013140"/>
                  <a:pt x="1608547" y="3992280"/>
                  <a:pt x="1608547" y="3977962"/>
                </a:cubicBezTo>
                <a:cubicBezTo>
                  <a:pt x="1608547" y="3969454"/>
                  <a:pt x="1606463" y="3962493"/>
                  <a:pt x="1603916" y="3962493"/>
                </a:cubicBezTo>
                <a:cubicBezTo>
                  <a:pt x="1601369" y="3962493"/>
                  <a:pt x="1600693" y="3959196"/>
                  <a:pt x="1602413" y="3955165"/>
                </a:cubicBezTo>
                <a:cubicBezTo>
                  <a:pt x="1604547" y="3950166"/>
                  <a:pt x="1602608" y="3948948"/>
                  <a:pt x="1596313" y="3951331"/>
                </a:cubicBezTo>
                <a:cubicBezTo>
                  <a:pt x="1589579" y="3953881"/>
                  <a:pt x="1585069" y="3950297"/>
                  <a:pt x="1579635" y="3938084"/>
                </a:cubicBezTo>
                <a:cubicBezTo>
                  <a:pt x="1575539" y="3928876"/>
                  <a:pt x="1569545" y="3919064"/>
                  <a:pt x="1566316" y="3916280"/>
                </a:cubicBezTo>
                <a:cubicBezTo>
                  <a:pt x="1563087" y="3913495"/>
                  <a:pt x="1560382" y="3903524"/>
                  <a:pt x="1560307" y="3894122"/>
                </a:cubicBezTo>
                <a:cubicBezTo>
                  <a:pt x="1560115" y="3870440"/>
                  <a:pt x="1542195" y="3842024"/>
                  <a:pt x="1530293" y="3846530"/>
                </a:cubicBezTo>
                <a:cubicBezTo>
                  <a:pt x="1517387" y="3851416"/>
                  <a:pt x="1518670" y="3838281"/>
                  <a:pt x="1532819" y="3820661"/>
                </a:cubicBezTo>
                <a:cubicBezTo>
                  <a:pt x="1544538" y="3806067"/>
                  <a:pt x="1544542" y="3806029"/>
                  <a:pt x="1536987" y="3782979"/>
                </a:cubicBezTo>
                <a:cubicBezTo>
                  <a:pt x="1530753" y="3763960"/>
                  <a:pt x="1527108" y="3759906"/>
                  <a:pt x="1516242" y="3759906"/>
                </a:cubicBezTo>
                <a:cubicBezTo>
                  <a:pt x="1503186" y="3759906"/>
                  <a:pt x="1503088" y="3759648"/>
                  <a:pt x="1505885" y="3732637"/>
                </a:cubicBezTo>
                <a:cubicBezTo>
                  <a:pt x="1509108" y="3701524"/>
                  <a:pt x="1501545" y="3686337"/>
                  <a:pt x="1486312" y="3693337"/>
                </a:cubicBezTo>
                <a:cubicBezTo>
                  <a:pt x="1477958" y="3697175"/>
                  <a:pt x="1451344" y="3676788"/>
                  <a:pt x="1447478" y="3663589"/>
                </a:cubicBezTo>
                <a:cubicBezTo>
                  <a:pt x="1446676" y="3660852"/>
                  <a:pt x="1443232" y="3658612"/>
                  <a:pt x="1439825" y="3658612"/>
                </a:cubicBezTo>
                <a:cubicBezTo>
                  <a:pt x="1429673" y="3658612"/>
                  <a:pt x="1432795" y="3646096"/>
                  <a:pt x="1444562" y="3639619"/>
                </a:cubicBezTo>
                <a:cubicBezTo>
                  <a:pt x="1450575" y="3636310"/>
                  <a:pt x="1455495" y="3629090"/>
                  <a:pt x="1455495" y="3623575"/>
                </a:cubicBezTo>
                <a:cubicBezTo>
                  <a:pt x="1455495" y="3617656"/>
                  <a:pt x="1457734" y="3615176"/>
                  <a:pt x="1460961" y="3617522"/>
                </a:cubicBezTo>
                <a:cubicBezTo>
                  <a:pt x="1463968" y="3619706"/>
                  <a:pt x="1460312" y="3613464"/>
                  <a:pt x="1452837" y="3603651"/>
                </a:cubicBezTo>
                <a:cubicBezTo>
                  <a:pt x="1442928" y="3590641"/>
                  <a:pt x="1438581" y="3578327"/>
                  <a:pt x="1436789" y="3558195"/>
                </a:cubicBezTo>
                <a:cubicBezTo>
                  <a:pt x="1433074" y="3516449"/>
                  <a:pt x="1404079" y="3477046"/>
                  <a:pt x="1396928" y="3504024"/>
                </a:cubicBezTo>
                <a:cubicBezTo>
                  <a:pt x="1392375" y="3521202"/>
                  <a:pt x="1393960" y="3531540"/>
                  <a:pt x="1403198" y="3544914"/>
                </a:cubicBezTo>
                <a:cubicBezTo>
                  <a:pt x="1410061" y="3554850"/>
                  <a:pt x="1412379" y="3567442"/>
                  <a:pt x="1413240" y="3599452"/>
                </a:cubicBezTo>
                <a:cubicBezTo>
                  <a:pt x="1414062" y="3630005"/>
                  <a:pt x="1416340" y="3643168"/>
                  <a:pt x="1421808" y="3648957"/>
                </a:cubicBezTo>
                <a:cubicBezTo>
                  <a:pt x="1429750" y="3657364"/>
                  <a:pt x="1431902" y="3671274"/>
                  <a:pt x="1425263" y="3671274"/>
                </a:cubicBezTo>
                <a:cubicBezTo>
                  <a:pt x="1423045" y="3671274"/>
                  <a:pt x="1422690" y="3679020"/>
                  <a:pt x="1424464" y="3688684"/>
                </a:cubicBezTo>
                <a:cubicBezTo>
                  <a:pt x="1426515" y="3699859"/>
                  <a:pt x="1431077" y="3706818"/>
                  <a:pt x="1437204" y="3708117"/>
                </a:cubicBezTo>
                <a:cubicBezTo>
                  <a:pt x="1444851" y="3709737"/>
                  <a:pt x="1446749" y="3714383"/>
                  <a:pt x="1446749" y="3731484"/>
                </a:cubicBezTo>
                <a:cubicBezTo>
                  <a:pt x="1446749" y="3743223"/>
                  <a:pt x="1448948" y="3754796"/>
                  <a:pt x="1451637" y="3757202"/>
                </a:cubicBezTo>
                <a:cubicBezTo>
                  <a:pt x="1454723" y="3759963"/>
                  <a:pt x="1455559" y="3771776"/>
                  <a:pt x="1453905" y="3789250"/>
                </a:cubicBezTo>
                <a:cubicBezTo>
                  <a:pt x="1451711" y="3812432"/>
                  <a:pt x="1452692" y="3818195"/>
                  <a:pt x="1459949" y="3824758"/>
                </a:cubicBezTo>
                <a:cubicBezTo>
                  <a:pt x="1464715" y="3829066"/>
                  <a:pt x="1468613" y="3835830"/>
                  <a:pt x="1468613" y="3839789"/>
                </a:cubicBezTo>
                <a:cubicBezTo>
                  <a:pt x="1468613" y="3843748"/>
                  <a:pt x="1471702" y="3850699"/>
                  <a:pt x="1475477" y="3855234"/>
                </a:cubicBezTo>
                <a:cubicBezTo>
                  <a:pt x="1479252" y="3859769"/>
                  <a:pt x="1481517" y="3868037"/>
                  <a:pt x="1480511" y="3873606"/>
                </a:cubicBezTo>
                <a:cubicBezTo>
                  <a:pt x="1478594" y="3884222"/>
                  <a:pt x="1486874" y="3899185"/>
                  <a:pt x="1494666" y="3899185"/>
                </a:cubicBezTo>
                <a:cubicBezTo>
                  <a:pt x="1497173" y="3899185"/>
                  <a:pt x="1499224" y="3909090"/>
                  <a:pt x="1499224" y="3921197"/>
                </a:cubicBezTo>
                <a:cubicBezTo>
                  <a:pt x="1499224" y="3937382"/>
                  <a:pt x="1501973" y="3945817"/>
                  <a:pt x="1509610" y="3953061"/>
                </a:cubicBezTo>
                <a:cubicBezTo>
                  <a:pt x="1519932" y="3962853"/>
                  <a:pt x="1524025" y="3990773"/>
                  <a:pt x="1516169" y="3997802"/>
                </a:cubicBezTo>
                <a:cubicBezTo>
                  <a:pt x="1514065" y="3999685"/>
                  <a:pt x="1512343" y="3998208"/>
                  <a:pt x="1512343" y="3994521"/>
                </a:cubicBezTo>
                <a:cubicBezTo>
                  <a:pt x="1512343" y="3990833"/>
                  <a:pt x="1509604" y="3987817"/>
                  <a:pt x="1506257" y="3987817"/>
                </a:cubicBezTo>
                <a:cubicBezTo>
                  <a:pt x="1502911" y="3987817"/>
                  <a:pt x="1499039" y="3981284"/>
                  <a:pt x="1497656" y="3973300"/>
                </a:cubicBezTo>
                <a:cubicBezTo>
                  <a:pt x="1496096" y="3964303"/>
                  <a:pt x="1488706" y="3954673"/>
                  <a:pt x="1478220" y="3947976"/>
                </a:cubicBezTo>
                <a:cubicBezTo>
                  <a:pt x="1456305" y="3933979"/>
                  <a:pt x="1452330" y="3934348"/>
                  <a:pt x="1448741" y="3950719"/>
                </a:cubicBezTo>
                <a:cubicBezTo>
                  <a:pt x="1446440" y="3961216"/>
                  <a:pt x="1449383" y="3969058"/>
                  <a:pt x="1461808" y="3985538"/>
                </a:cubicBezTo>
                <a:cubicBezTo>
                  <a:pt x="1470629" y="3997237"/>
                  <a:pt x="1479463" y="4006809"/>
                  <a:pt x="1481440" y="4006809"/>
                </a:cubicBezTo>
                <a:cubicBezTo>
                  <a:pt x="1487212" y="4006809"/>
                  <a:pt x="1493425" y="4021174"/>
                  <a:pt x="1496501" y="4041629"/>
                </a:cubicBezTo>
                <a:cubicBezTo>
                  <a:pt x="1499066" y="4058676"/>
                  <a:pt x="1498736" y="4059475"/>
                  <a:pt x="1493287" y="4049433"/>
                </a:cubicBezTo>
                <a:cubicBezTo>
                  <a:pt x="1482027" y="4028678"/>
                  <a:pt x="1472986" y="4042419"/>
                  <a:pt x="1472986" y="4080292"/>
                </a:cubicBezTo>
                <a:cubicBezTo>
                  <a:pt x="1472986" y="4117150"/>
                  <a:pt x="1471933" y="4118339"/>
                  <a:pt x="1442104" y="4115143"/>
                </a:cubicBezTo>
                <a:cubicBezTo>
                  <a:pt x="1435256" y="4114409"/>
                  <a:pt x="1426158" y="4120305"/>
                  <a:pt x="1418702" y="4130309"/>
                </a:cubicBezTo>
                <a:lnTo>
                  <a:pt x="1406504" y="4146676"/>
                </a:lnTo>
                <a:lnTo>
                  <a:pt x="1417881" y="4160828"/>
                </a:lnTo>
                <a:cubicBezTo>
                  <a:pt x="1424138" y="4168612"/>
                  <a:pt x="1429257" y="4177765"/>
                  <a:pt x="1429257" y="4181169"/>
                </a:cubicBezTo>
                <a:cubicBezTo>
                  <a:pt x="1429257" y="4184573"/>
                  <a:pt x="1433193" y="4190917"/>
                  <a:pt x="1438003" y="4195266"/>
                </a:cubicBezTo>
                <a:cubicBezTo>
                  <a:pt x="1447662" y="4204000"/>
                  <a:pt x="1449888" y="4222114"/>
                  <a:pt x="1441283" y="4221961"/>
                </a:cubicBezTo>
                <a:cubicBezTo>
                  <a:pt x="1432591" y="4221807"/>
                  <a:pt x="1426304" y="4213680"/>
                  <a:pt x="1422992" y="4198318"/>
                </a:cubicBezTo>
                <a:cubicBezTo>
                  <a:pt x="1421198" y="4189993"/>
                  <a:pt x="1416410" y="4184073"/>
                  <a:pt x="1411471" y="4184073"/>
                </a:cubicBezTo>
                <a:cubicBezTo>
                  <a:pt x="1406287" y="4184073"/>
                  <a:pt x="1403020" y="4179722"/>
                  <a:pt x="1403020" y="4172819"/>
                </a:cubicBezTo>
                <a:cubicBezTo>
                  <a:pt x="1403020" y="4161295"/>
                  <a:pt x="1385964" y="4135643"/>
                  <a:pt x="1380062" y="4138288"/>
                </a:cubicBezTo>
                <a:cubicBezTo>
                  <a:pt x="1378258" y="4139096"/>
                  <a:pt x="1376782" y="4135484"/>
                  <a:pt x="1376782" y="4130261"/>
                </a:cubicBezTo>
                <a:cubicBezTo>
                  <a:pt x="1376782" y="4125038"/>
                  <a:pt x="1373179" y="4120765"/>
                  <a:pt x="1368775" y="4120765"/>
                </a:cubicBezTo>
                <a:cubicBezTo>
                  <a:pt x="1356373" y="4120765"/>
                  <a:pt x="1348483" y="4094119"/>
                  <a:pt x="1354046" y="4071017"/>
                </a:cubicBezTo>
                <a:cubicBezTo>
                  <a:pt x="1357615" y="4056193"/>
                  <a:pt x="1357295" y="4050278"/>
                  <a:pt x="1352620" y="4044661"/>
                </a:cubicBezTo>
                <a:cubicBezTo>
                  <a:pt x="1342683" y="4032721"/>
                  <a:pt x="1331004" y="4040005"/>
                  <a:pt x="1329483" y="4059093"/>
                </a:cubicBezTo>
                <a:cubicBezTo>
                  <a:pt x="1328273" y="4074272"/>
                  <a:pt x="1324663" y="4078966"/>
                  <a:pt x="1315264" y="4077582"/>
                </a:cubicBezTo>
                <a:cubicBezTo>
                  <a:pt x="1310380" y="4076864"/>
                  <a:pt x="1316632" y="4114170"/>
                  <a:pt x="1322597" y="4121336"/>
                </a:cubicBezTo>
                <a:cubicBezTo>
                  <a:pt x="1325942" y="4125357"/>
                  <a:pt x="1328680" y="4133646"/>
                  <a:pt x="1328680" y="4139757"/>
                </a:cubicBezTo>
                <a:cubicBezTo>
                  <a:pt x="1328680" y="4145869"/>
                  <a:pt x="1331631" y="4154415"/>
                  <a:pt x="1335239" y="4158750"/>
                </a:cubicBezTo>
                <a:cubicBezTo>
                  <a:pt x="1338847" y="4163085"/>
                  <a:pt x="1341799" y="4173405"/>
                  <a:pt x="1341799" y="4181683"/>
                </a:cubicBezTo>
                <a:cubicBezTo>
                  <a:pt x="1341799" y="4189961"/>
                  <a:pt x="1343766" y="4196735"/>
                  <a:pt x="1346172" y="4196735"/>
                </a:cubicBezTo>
                <a:cubicBezTo>
                  <a:pt x="1348577" y="4196735"/>
                  <a:pt x="1350544" y="4201008"/>
                  <a:pt x="1350544" y="4206232"/>
                </a:cubicBezTo>
                <a:cubicBezTo>
                  <a:pt x="1350544" y="4211454"/>
                  <a:pt x="1352242" y="4215728"/>
                  <a:pt x="1354316" y="4215728"/>
                </a:cubicBezTo>
                <a:cubicBezTo>
                  <a:pt x="1359967" y="4215728"/>
                  <a:pt x="1364711" y="4286383"/>
                  <a:pt x="1359560" y="4293840"/>
                </a:cubicBezTo>
                <a:cubicBezTo>
                  <a:pt x="1356667" y="4298027"/>
                  <a:pt x="1354165" y="4296068"/>
                  <a:pt x="1352111" y="4288008"/>
                </a:cubicBezTo>
                <a:cubicBezTo>
                  <a:pt x="1350410" y="4281333"/>
                  <a:pt x="1346409" y="4273593"/>
                  <a:pt x="1343221" y="4270808"/>
                </a:cubicBezTo>
                <a:cubicBezTo>
                  <a:pt x="1340034" y="4268023"/>
                  <a:pt x="1337426" y="4260357"/>
                  <a:pt x="1337426" y="4253772"/>
                </a:cubicBezTo>
                <a:cubicBezTo>
                  <a:pt x="1337426" y="4247186"/>
                  <a:pt x="1335458" y="4240037"/>
                  <a:pt x="1333053" y="4237886"/>
                </a:cubicBezTo>
                <a:cubicBezTo>
                  <a:pt x="1330648" y="4235734"/>
                  <a:pt x="1328680" y="4228841"/>
                  <a:pt x="1328680" y="4222568"/>
                </a:cubicBezTo>
                <a:cubicBezTo>
                  <a:pt x="1328680" y="4216296"/>
                  <a:pt x="1323647" y="4200428"/>
                  <a:pt x="1317496" y="4187305"/>
                </a:cubicBezTo>
                <a:cubicBezTo>
                  <a:pt x="1311345" y="4174183"/>
                  <a:pt x="1307348" y="4159541"/>
                  <a:pt x="1308613" y="4154767"/>
                </a:cubicBezTo>
                <a:cubicBezTo>
                  <a:pt x="1309878" y="4149994"/>
                  <a:pt x="1309150" y="4146088"/>
                  <a:pt x="1306994" y="4146088"/>
                </a:cubicBezTo>
                <a:cubicBezTo>
                  <a:pt x="1304839" y="4146088"/>
                  <a:pt x="1299602" y="4134692"/>
                  <a:pt x="1295358" y="4120765"/>
                </a:cubicBezTo>
                <a:cubicBezTo>
                  <a:pt x="1291113" y="4106837"/>
                  <a:pt x="1286051" y="4095441"/>
                  <a:pt x="1284109" y="4095441"/>
                </a:cubicBezTo>
                <a:cubicBezTo>
                  <a:pt x="1282167" y="4095441"/>
                  <a:pt x="1280578" y="4091517"/>
                  <a:pt x="1280578" y="4086720"/>
                </a:cubicBezTo>
                <a:cubicBezTo>
                  <a:pt x="1280578" y="4081923"/>
                  <a:pt x="1277627" y="4074453"/>
                  <a:pt x="1274018" y="4070118"/>
                </a:cubicBezTo>
                <a:cubicBezTo>
                  <a:pt x="1270410" y="4065783"/>
                  <a:pt x="1267425" y="4054751"/>
                  <a:pt x="1267383" y="4045602"/>
                </a:cubicBezTo>
                <a:cubicBezTo>
                  <a:pt x="1267307" y="4028781"/>
                  <a:pt x="1254172" y="4006148"/>
                  <a:pt x="1240129" y="3998638"/>
                </a:cubicBezTo>
                <a:cubicBezTo>
                  <a:pt x="1235919" y="3996387"/>
                  <a:pt x="1232476" y="3988961"/>
                  <a:pt x="1232476" y="3982137"/>
                </a:cubicBezTo>
                <a:cubicBezTo>
                  <a:pt x="1232476" y="3962494"/>
                  <a:pt x="1220354" y="3949831"/>
                  <a:pt x="1201553" y="3949831"/>
                </a:cubicBezTo>
                <a:cubicBezTo>
                  <a:pt x="1183145" y="3949831"/>
                  <a:pt x="1179938" y="3942097"/>
                  <a:pt x="1191004" y="3924394"/>
                </a:cubicBezTo>
                <a:cubicBezTo>
                  <a:pt x="1196019" y="3916371"/>
                  <a:pt x="1196776" y="3907769"/>
                  <a:pt x="1194112" y="3889076"/>
                </a:cubicBezTo>
                <a:cubicBezTo>
                  <a:pt x="1191174" y="3868470"/>
                  <a:pt x="1188620" y="3864032"/>
                  <a:pt x="1178736" y="3862362"/>
                </a:cubicBezTo>
                <a:cubicBezTo>
                  <a:pt x="1167843" y="3860521"/>
                  <a:pt x="1166882" y="3862153"/>
                  <a:pt x="1166882" y="3882485"/>
                </a:cubicBezTo>
                <a:cubicBezTo>
                  <a:pt x="1166882" y="3894654"/>
                  <a:pt x="1169833" y="3908885"/>
                  <a:pt x="1173441" y="3914107"/>
                </a:cubicBezTo>
                <a:cubicBezTo>
                  <a:pt x="1181913" y="3926373"/>
                  <a:pt x="1181753" y="3928302"/>
                  <a:pt x="1170962" y="3943924"/>
                </a:cubicBezTo>
                <a:cubicBezTo>
                  <a:pt x="1163777" y="3954326"/>
                  <a:pt x="1162990" y="3958870"/>
                  <a:pt x="1167124" y="3966082"/>
                </a:cubicBezTo>
                <a:cubicBezTo>
                  <a:pt x="1169985" y="3971072"/>
                  <a:pt x="1175922" y="3975155"/>
                  <a:pt x="1180319" y="3975155"/>
                </a:cubicBezTo>
                <a:cubicBezTo>
                  <a:pt x="1184715" y="3975155"/>
                  <a:pt x="1189885" y="3978721"/>
                  <a:pt x="1191809" y="3983079"/>
                </a:cubicBezTo>
                <a:cubicBezTo>
                  <a:pt x="1193732" y="3987437"/>
                  <a:pt x="1200405" y="3994799"/>
                  <a:pt x="1206636" y="3999437"/>
                </a:cubicBezTo>
                <a:cubicBezTo>
                  <a:pt x="1215472" y="4006015"/>
                  <a:pt x="1218100" y="4012974"/>
                  <a:pt x="1218569" y="4031037"/>
                </a:cubicBezTo>
                <a:cubicBezTo>
                  <a:pt x="1218899" y="4043777"/>
                  <a:pt x="1221215" y="4055188"/>
                  <a:pt x="1223715" y="4056394"/>
                </a:cubicBezTo>
                <a:cubicBezTo>
                  <a:pt x="1226214" y="4057600"/>
                  <a:pt x="1231175" y="4062809"/>
                  <a:pt x="1234740" y="4067970"/>
                </a:cubicBezTo>
                <a:cubicBezTo>
                  <a:pt x="1240530" y="4076353"/>
                  <a:pt x="1241690" y="4084387"/>
                  <a:pt x="1243044" y="4125505"/>
                </a:cubicBezTo>
                <a:cubicBezTo>
                  <a:pt x="1243268" y="4132318"/>
                  <a:pt x="1240234" y="4136578"/>
                  <a:pt x="1235153" y="4136583"/>
                </a:cubicBezTo>
                <a:cubicBezTo>
                  <a:pt x="1223754" y="4136596"/>
                  <a:pt x="1215032" y="4157179"/>
                  <a:pt x="1223274" y="4164622"/>
                </a:cubicBezTo>
                <a:cubicBezTo>
                  <a:pt x="1233075" y="4173473"/>
                  <a:pt x="1225614" y="4192124"/>
                  <a:pt x="1214344" y="4186944"/>
                </a:cubicBezTo>
                <a:cubicBezTo>
                  <a:pt x="1206748" y="4183454"/>
                  <a:pt x="1205459" y="4184665"/>
                  <a:pt x="1207713" y="4193168"/>
                </a:cubicBezTo>
                <a:cubicBezTo>
                  <a:pt x="1209359" y="4199378"/>
                  <a:pt x="1208731" y="4202131"/>
                  <a:pt x="1206188" y="4199856"/>
                </a:cubicBezTo>
                <a:cubicBezTo>
                  <a:pt x="1203811" y="4197729"/>
                  <a:pt x="1201865" y="4200711"/>
                  <a:pt x="1201865" y="4206484"/>
                </a:cubicBezTo>
                <a:cubicBezTo>
                  <a:pt x="1201865" y="4219051"/>
                  <a:pt x="1226414" y="4253713"/>
                  <a:pt x="1235316" y="4253713"/>
                </a:cubicBezTo>
                <a:cubicBezTo>
                  <a:pt x="1238775" y="4253713"/>
                  <a:pt x="1241285" y="4257274"/>
                  <a:pt x="1240895" y="4261626"/>
                </a:cubicBezTo>
                <a:cubicBezTo>
                  <a:pt x="1239252" y="4279944"/>
                  <a:pt x="1241824" y="4285367"/>
                  <a:pt x="1252153" y="4285367"/>
                </a:cubicBezTo>
                <a:cubicBezTo>
                  <a:pt x="1259084" y="4285367"/>
                  <a:pt x="1263086" y="4288938"/>
                  <a:pt x="1263086" y="4295120"/>
                </a:cubicBezTo>
                <a:cubicBezTo>
                  <a:pt x="1263086" y="4302596"/>
                  <a:pt x="1258748" y="4304541"/>
                  <a:pt x="1244501" y="4303451"/>
                </a:cubicBezTo>
                <a:cubicBezTo>
                  <a:pt x="1223712" y="4301861"/>
                  <a:pt x="1210611" y="4292883"/>
                  <a:pt x="1210611" y="4280227"/>
                </a:cubicBezTo>
                <a:cubicBezTo>
                  <a:pt x="1210611" y="4275593"/>
                  <a:pt x="1207641" y="4267502"/>
                  <a:pt x="1204011" y="4262246"/>
                </a:cubicBezTo>
                <a:cubicBezTo>
                  <a:pt x="1200382" y="4256991"/>
                  <a:pt x="1198357" y="4250477"/>
                  <a:pt x="1199513" y="4247770"/>
                </a:cubicBezTo>
                <a:cubicBezTo>
                  <a:pt x="1200669" y="4245063"/>
                  <a:pt x="1192991" y="4229251"/>
                  <a:pt x="1182452" y="4212632"/>
                </a:cubicBezTo>
                <a:cubicBezTo>
                  <a:pt x="1165571" y="4186013"/>
                  <a:pt x="1161818" y="4182951"/>
                  <a:pt x="1150918" y="4186912"/>
                </a:cubicBezTo>
                <a:cubicBezTo>
                  <a:pt x="1144113" y="4189385"/>
                  <a:pt x="1137080" y="4194744"/>
                  <a:pt x="1135289" y="4198820"/>
                </a:cubicBezTo>
                <a:cubicBezTo>
                  <a:pt x="1129071" y="4212971"/>
                  <a:pt x="1131844" y="4240278"/>
                  <a:pt x="1140378" y="4248933"/>
                </a:cubicBezTo>
                <a:cubicBezTo>
                  <a:pt x="1145042" y="4253662"/>
                  <a:pt x="1149578" y="4265309"/>
                  <a:pt x="1150457" y="4274815"/>
                </a:cubicBezTo>
                <a:cubicBezTo>
                  <a:pt x="1151337" y="4284321"/>
                  <a:pt x="1155392" y="4297739"/>
                  <a:pt x="1159469" y="4304632"/>
                </a:cubicBezTo>
                <a:cubicBezTo>
                  <a:pt x="1163546" y="4311526"/>
                  <a:pt x="1166882" y="4321153"/>
                  <a:pt x="1166882" y="4326027"/>
                </a:cubicBezTo>
                <a:cubicBezTo>
                  <a:pt x="1166882" y="4330901"/>
                  <a:pt x="1172786" y="4342080"/>
                  <a:pt x="1180000" y="4350870"/>
                </a:cubicBezTo>
                <a:cubicBezTo>
                  <a:pt x="1187216" y="4359659"/>
                  <a:pt x="1193119" y="4369015"/>
                  <a:pt x="1193119" y="4371661"/>
                </a:cubicBezTo>
                <a:cubicBezTo>
                  <a:pt x="1193119" y="4374307"/>
                  <a:pt x="1198254" y="4384231"/>
                  <a:pt x="1204529" y="4393713"/>
                </a:cubicBezTo>
                <a:cubicBezTo>
                  <a:pt x="1215886" y="4410876"/>
                  <a:pt x="1215312" y="4428613"/>
                  <a:pt x="1203609" y="4422111"/>
                </a:cubicBezTo>
                <a:cubicBezTo>
                  <a:pt x="1200245" y="4420242"/>
                  <a:pt x="1197492" y="4421472"/>
                  <a:pt x="1197492" y="4424845"/>
                </a:cubicBezTo>
                <a:cubicBezTo>
                  <a:pt x="1197492" y="4432023"/>
                  <a:pt x="1181420" y="4433200"/>
                  <a:pt x="1178586" y="4426228"/>
                </a:cubicBezTo>
                <a:cubicBezTo>
                  <a:pt x="1177525" y="4423618"/>
                  <a:pt x="1175285" y="4412222"/>
                  <a:pt x="1173608" y="4400905"/>
                </a:cubicBezTo>
                <a:cubicBezTo>
                  <a:pt x="1171931" y="4389589"/>
                  <a:pt x="1169196" y="4380330"/>
                  <a:pt x="1167529" y="4380330"/>
                </a:cubicBezTo>
                <a:cubicBezTo>
                  <a:pt x="1165862" y="4380330"/>
                  <a:pt x="1160820" y="4370440"/>
                  <a:pt x="1156323" y="4358354"/>
                </a:cubicBezTo>
                <a:cubicBezTo>
                  <a:pt x="1151827" y="4346267"/>
                  <a:pt x="1146459" y="4337888"/>
                  <a:pt x="1144396" y="4339735"/>
                </a:cubicBezTo>
                <a:cubicBezTo>
                  <a:pt x="1142333" y="4341581"/>
                  <a:pt x="1140644" y="4340248"/>
                  <a:pt x="1140644" y="4336772"/>
                </a:cubicBezTo>
                <a:cubicBezTo>
                  <a:pt x="1140644" y="4333295"/>
                  <a:pt x="1132281" y="4330990"/>
                  <a:pt x="1122060" y="4331650"/>
                </a:cubicBezTo>
                <a:cubicBezTo>
                  <a:pt x="1108087" y="4332551"/>
                  <a:pt x="1103474" y="4330492"/>
                  <a:pt x="1103474" y="4323352"/>
                </a:cubicBezTo>
                <a:cubicBezTo>
                  <a:pt x="1103474" y="4317790"/>
                  <a:pt x="1108272" y="4313052"/>
                  <a:pt x="1115054" y="4311915"/>
                </a:cubicBezTo>
                <a:cubicBezTo>
                  <a:pt x="1128371" y="4309683"/>
                  <a:pt x="1134241" y="4289732"/>
                  <a:pt x="1124887" y="4278494"/>
                </a:cubicBezTo>
                <a:cubicBezTo>
                  <a:pt x="1121528" y="4274458"/>
                  <a:pt x="1118779" y="4267231"/>
                  <a:pt x="1118779" y="4262434"/>
                </a:cubicBezTo>
                <a:cubicBezTo>
                  <a:pt x="1118779" y="4257638"/>
                  <a:pt x="1116812" y="4253713"/>
                  <a:pt x="1114407" y="4253713"/>
                </a:cubicBezTo>
                <a:cubicBezTo>
                  <a:pt x="1112001" y="4253713"/>
                  <a:pt x="1110034" y="4249745"/>
                  <a:pt x="1110034" y="4244894"/>
                </a:cubicBezTo>
                <a:cubicBezTo>
                  <a:pt x="1110034" y="4240043"/>
                  <a:pt x="1106980" y="4234379"/>
                  <a:pt x="1103247" y="4232305"/>
                </a:cubicBezTo>
                <a:cubicBezTo>
                  <a:pt x="1098848" y="4229860"/>
                  <a:pt x="1097550" y="4231086"/>
                  <a:pt x="1099558" y="4235790"/>
                </a:cubicBezTo>
                <a:cubicBezTo>
                  <a:pt x="1101683" y="4240769"/>
                  <a:pt x="1099562" y="4241874"/>
                  <a:pt x="1092793" y="4239312"/>
                </a:cubicBezTo>
                <a:cubicBezTo>
                  <a:pt x="1084258" y="4236081"/>
                  <a:pt x="1083326" y="4237437"/>
                  <a:pt x="1085867" y="4249394"/>
                </a:cubicBezTo>
                <a:cubicBezTo>
                  <a:pt x="1089276" y="4265439"/>
                  <a:pt x="1089254" y="4268861"/>
                  <a:pt x="1085559" y="4296446"/>
                </a:cubicBezTo>
                <a:cubicBezTo>
                  <a:pt x="1084044" y="4307763"/>
                  <a:pt x="1081284" y="4317021"/>
                  <a:pt x="1079427" y="4317021"/>
                </a:cubicBezTo>
                <a:cubicBezTo>
                  <a:pt x="1066480" y="4317021"/>
                  <a:pt x="1026948" y="4271870"/>
                  <a:pt x="1026948" y="4257083"/>
                </a:cubicBezTo>
                <a:cubicBezTo>
                  <a:pt x="1026948" y="4251523"/>
                  <a:pt x="1023504" y="4244929"/>
                  <a:pt x="1019295" y="4242429"/>
                </a:cubicBezTo>
                <a:cubicBezTo>
                  <a:pt x="1015087" y="4239930"/>
                  <a:pt x="1011367" y="4235037"/>
                  <a:pt x="1011029" y="4231555"/>
                </a:cubicBezTo>
                <a:cubicBezTo>
                  <a:pt x="1010691" y="4228073"/>
                  <a:pt x="1009059" y="4215966"/>
                  <a:pt x="1007402" y="4204648"/>
                </a:cubicBezTo>
                <a:cubicBezTo>
                  <a:pt x="1005630" y="4192550"/>
                  <a:pt x="1006141" y="4184073"/>
                  <a:pt x="1008641" y="4184073"/>
                </a:cubicBezTo>
                <a:cubicBezTo>
                  <a:pt x="1017991" y="4184073"/>
                  <a:pt x="1017850" y="4163144"/>
                  <a:pt x="1008391" y="4147050"/>
                </a:cubicBezTo>
                <a:cubicBezTo>
                  <a:pt x="1001455" y="4135249"/>
                  <a:pt x="995116" y="4130833"/>
                  <a:pt x="987053" y="4132187"/>
                </a:cubicBezTo>
                <a:cubicBezTo>
                  <a:pt x="976259" y="4133999"/>
                  <a:pt x="975609" y="4132580"/>
                  <a:pt x="976052" y="4108153"/>
                </a:cubicBezTo>
                <a:cubicBezTo>
                  <a:pt x="976310" y="4093877"/>
                  <a:pt x="974249" y="4080161"/>
                  <a:pt x="971471" y="4077676"/>
                </a:cubicBezTo>
                <a:cubicBezTo>
                  <a:pt x="968693" y="4075190"/>
                  <a:pt x="965067" y="4065351"/>
                  <a:pt x="963413" y="4055810"/>
                </a:cubicBezTo>
                <a:cubicBezTo>
                  <a:pt x="961760" y="4046270"/>
                  <a:pt x="959132" y="4038463"/>
                  <a:pt x="957575" y="4038463"/>
                </a:cubicBezTo>
                <a:cubicBezTo>
                  <a:pt x="956018" y="4038463"/>
                  <a:pt x="952070" y="4029721"/>
                  <a:pt x="948803" y="4019035"/>
                </a:cubicBezTo>
                <a:cubicBezTo>
                  <a:pt x="945536" y="4008350"/>
                  <a:pt x="938168" y="3992810"/>
                  <a:pt x="932430" y="3984503"/>
                </a:cubicBezTo>
                <a:cubicBezTo>
                  <a:pt x="926693" y="3976196"/>
                  <a:pt x="922028" y="3965709"/>
                  <a:pt x="922065" y="3961198"/>
                </a:cubicBezTo>
                <a:cubicBezTo>
                  <a:pt x="922113" y="3955348"/>
                  <a:pt x="923347" y="3955719"/>
                  <a:pt x="926371" y="3962493"/>
                </a:cubicBezTo>
                <a:cubicBezTo>
                  <a:pt x="928702" y="3967716"/>
                  <a:pt x="930640" y="3968777"/>
                  <a:pt x="930677" y="3964851"/>
                </a:cubicBezTo>
                <a:cubicBezTo>
                  <a:pt x="930712" y="3960925"/>
                  <a:pt x="927792" y="3954166"/>
                  <a:pt x="924185" y="3949831"/>
                </a:cubicBezTo>
                <a:cubicBezTo>
                  <a:pt x="920577" y="3945497"/>
                  <a:pt x="917625" y="3937043"/>
                  <a:pt x="917625" y="3931045"/>
                </a:cubicBezTo>
                <a:cubicBezTo>
                  <a:pt x="917625" y="3925047"/>
                  <a:pt x="913690" y="3914983"/>
                  <a:pt x="908879" y="3908681"/>
                </a:cubicBezTo>
                <a:cubicBezTo>
                  <a:pt x="903383" y="3901480"/>
                  <a:pt x="900133" y="3889182"/>
                  <a:pt x="900133" y="3875582"/>
                </a:cubicBezTo>
                <a:cubicBezTo>
                  <a:pt x="900133" y="3858345"/>
                  <a:pt x="896574" y="3849317"/>
                  <a:pt x="882642" y="3831209"/>
                </a:cubicBezTo>
                <a:cubicBezTo>
                  <a:pt x="868169" y="3812400"/>
                  <a:pt x="865150" y="3804400"/>
                  <a:pt x="865150" y="3784868"/>
                </a:cubicBezTo>
                <a:cubicBezTo>
                  <a:pt x="865150" y="3769724"/>
                  <a:pt x="862798" y="3759954"/>
                  <a:pt x="858591" y="3757617"/>
                </a:cubicBezTo>
                <a:cubicBezTo>
                  <a:pt x="853801" y="3754956"/>
                  <a:pt x="852031" y="3744046"/>
                  <a:pt x="852031" y="3717196"/>
                </a:cubicBezTo>
                <a:cubicBezTo>
                  <a:pt x="852031" y="3688253"/>
                  <a:pt x="850168" y="3678109"/>
                  <a:pt x="843285" y="3669577"/>
                </a:cubicBezTo>
                <a:cubicBezTo>
                  <a:pt x="838475" y="3663615"/>
                  <a:pt x="834539" y="3654266"/>
                  <a:pt x="834539" y="3648804"/>
                </a:cubicBezTo>
                <a:cubicBezTo>
                  <a:pt x="834539" y="3643341"/>
                  <a:pt x="832856" y="3640378"/>
                  <a:pt x="830798" y="3642220"/>
                </a:cubicBezTo>
                <a:cubicBezTo>
                  <a:pt x="828740" y="3644061"/>
                  <a:pt x="827979" y="3638584"/>
                  <a:pt x="829106" y="3630048"/>
                </a:cubicBezTo>
                <a:cubicBezTo>
                  <a:pt x="834347" y="3590360"/>
                  <a:pt x="815210" y="3564788"/>
                  <a:pt x="803657" y="3596041"/>
                </a:cubicBezTo>
                <a:cubicBezTo>
                  <a:pt x="798876" y="3608974"/>
                  <a:pt x="797959" y="3608378"/>
                  <a:pt x="777265" y="3578868"/>
                </a:cubicBezTo>
                <a:cubicBezTo>
                  <a:pt x="765474" y="3562055"/>
                  <a:pt x="755827" y="3544630"/>
                  <a:pt x="755827" y="3540146"/>
                </a:cubicBezTo>
                <a:cubicBezTo>
                  <a:pt x="755827" y="3535663"/>
                  <a:pt x="753859" y="3531995"/>
                  <a:pt x="751454" y="3531995"/>
                </a:cubicBezTo>
                <a:cubicBezTo>
                  <a:pt x="749049" y="3531995"/>
                  <a:pt x="747081" y="3524872"/>
                  <a:pt x="747081" y="3516168"/>
                </a:cubicBezTo>
                <a:cubicBezTo>
                  <a:pt x="747081" y="3497574"/>
                  <a:pt x="748340" y="3497095"/>
                  <a:pt x="762326" y="3510362"/>
                </a:cubicBezTo>
                <a:cubicBezTo>
                  <a:pt x="778495" y="3525700"/>
                  <a:pt x="791643" y="3516911"/>
                  <a:pt x="789966" y="3491886"/>
                </a:cubicBezTo>
                <a:cubicBezTo>
                  <a:pt x="788864" y="3475439"/>
                  <a:pt x="786080" y="3470767"/>
                  <a:pt x="774412" y="3465794"/>
                </a:cubicBezTo>
                <a:cubicBezTo>
                  <a:pt x="763726" y="3461240"/>
                  <a:pt x="760200" y="3456135"/>
                  <a:pt x="760200" y="3445219"/>
                </a:cubicBezTo>
                <a:cubicBezTo>
                  <a:pt x="760200" y="3437234"/>
                  <a:pt x="762819" y="3430701"/>
                  <a:pt x="766020" y="3430701"/>
                </a:cubicBezTo>
                <a:cubicBezTo>
                  <a:pt x="769221" y="3430701"/>
                  <a:pt x="774526" y="3423437"/>
                  <a:pt x="777808" y="3414557"/>
                </a:cubicBezTo>
                <a:cubicBezTo>
                  <a:pt x="783331" y="3399618"/>
                  <a:pt x="782853" y="3397265"/>
                  <a:pt x="771392" y="3383009"/>
                </a:cubicBezTo>
                <a:cubicBezTo>
                  <a:pt x="761301" y="3370454"/>
                  <a:pt x="759990" y="3365890"/>
                  <a:pt x="764313" y="3358350"/>
                </a:cubicBezTo>
                <a:cubicBezTo>
                  <a:pt x="767230" y="3353261"/>
                  <a:pt x="768974" y="3342530"/>
                  <a:pt x="768188" y="3334504"/>
                </a:cubicBezTo>
                <a:cubicBezTo>
                  <a:pt x="766066" y="3312831"/>
                  <a:pt x="745481" y="3313854"/>
                  <a:pt x="743360" y="3335738"/>
                </a:cubicBezTo>
                <a:cubicBezTo>
                  <a:pt x="741520" y="3354721"/>
                  <a:pt x="735798" y="3360835"/>
                  <a:pt x="719750" y="3360965"/>
                </a:cubicBezTo>
                <a:cubicBezTo>
                  <a:pt x="709951" y="3361044"/>
                  <a:pt x="707725" y="3363908"/>
                  <a:pt x="707725" y="3376437"/>
                </a:cubicBezTo>
                <a:cubicBezTo>
                  <a:pt x="707725" y="3393857"/>
                  <a:pt x="718119" y="3411709"/>
                  <a:pt x="728262" y="3411709"/>
                </a:cubicBezTo>
                <a:cubicBezTo>
                  <a:pt x="733538" y="3411709"/>
                  <a:pt x="734445" y="3416127"/>
                  <a:pt x="732322" y="3431493"/>
                </a:cubicBezTo>
                <a:cubicBezTo>
                  <a:pt x="730819" y="3442374"/>
                  <a:pt x="729589" y="3453769"/>
                  <a:pt x="729589" y="3456816"/>
                </a:cubicBezTo>
                <a:cubicBezTo>
                  <a:pt x="729589" y="3459863"/>
                  <a:pt x="725810" y="3462355"/>
                  <a:pt x="721191" y="3462355"/>
                </a:cubicBezTo>
                <a:cubicBezTo>
                  <a:pt x="715415" y="3462355"/>
                  <a:pt x="711893" y="3456425"/>
                  <a:pt x="709911" y="3443363"/>
                </a:cubicBezTo>
                <a:cubicBezTo>
                  <a:pt x="708327" y="3432917"/>
                  <a:pt x="705432" y="3424370"/>
                  <a:pt x="703479" y="3424370"/>
                </a:cubicBezTo>
                <a:cubicBezTo>
                  <a:pt x="701525" y="3424370"/>
                  <a:pt x="698777" y="3417736"/>
                  <a:pt x="697371" y="3409629"/>
                </a:cubicBezTo>
                <a:cubicBezTo>
                  <a:pt x="694864" y="3395169"/>
                  <a:pt x="674734" y="3376173"/>
                  <a:pt x="671316" y="3385041"/>
                </a:cubicBezTo>
                <a:cubicBezTo>
                  <a:pt x="666955" y="3396354"/>
                  <a:pt x="664197" y="3424370"/>
                  <a:pt x="667444" y="3424370"/>
                </a:cubicBezTo>
                <a:cubicBezTo>
                  <a:pt x="669431" y="3424370"/>
                  <a:pt x="674531" y="3435766"/>
                  <a:pt x="678776" y="3449694"/>
                </a:cubicBezTo>
                <a:cubicBezTo>
                  <a:pt x="683020" y="3463622"/>
                  <a:pt x="688092" y="3475017"/>
                  <a:pt x="690046" y="3475017"/>
                </a:cubicBezTo>
                <a:cubicBezTo>
                  <a:pt x="691999" y="3475017"/>
                  <a:pt x="694933" y="3490487"/>
                  <a:pt x="696565" y="3509394"/>
                </a:cubicBezTo>
                <a:cubicBezTo>
                  <a:pt x="698196" y="3528301"/>
                  <a:pt x="702359" y="3547168"/>
                  <a:pt x="705815" y="3551320"/>
                </a:cubicBezTo>
                <a:cubicBezTo>
                  <a:pt x="716194" y="3563791"/>
                  <a:pt x="713062" y="3571842"/>
                  <a:pt x="699374" y="3567879"/>
                </a:cubicBezTo>
                <a:cubicBezTo>
                  <a:pt x="690482" y="3565304"/>
                  <a:pt x="685915" y="3566972"/>
                  <a:pt x="684206" y="3573418"/>
                </a:cubicBezTo>
                <a:cubicBezTo>
                  <a:pt x="682862" y="3578492"/>
                  <a:pt x="676913" y="3582642"/>
                  <a:pt x="670986" y="3582642"/>
                </a:cubicBezTo>
                <a:cubicBezTo>
                  <a:pt x="655359" y="3582642"/>
                  <a:pt x="651685" y="3560461"/>
                  <a:pt x="664136" y="3541275"/>
                </a:cubicBezTo>
                <a:cubicBezTo>
                  <a:pt x="669477" y="3533043"/>
                  <a:pt x="672781" y="3522286"/>
                  <a:pt x="671478" y="3517368"/>
                </a:cubicBezTo>
                <a:cubicBezTo>
                  <a:pt x="668773" y="3507163"/>
                  <a:pt x="650877" y="3498485"/>
                  <a:pt x="650877" y="3507379"/>
                </a:cubicBezTo>
                <a:cubicBezTo>
                  <a:pt x="650877" y="3510598"/>
                  <a:pt x="642514" y="3512469"/>
                  <a:pt x="632292" y="3511535"/>
                </a:cubicBezTo>
                <a:cubicBezTo>
                  <a:pt x="615743" y="3510023"/>
                  <a:pt x="613548" y="3511455"/>
                  <a:pt x="612262" y="3524603"/>
                </a:cubicBezTo>
                <a:cubicBezTo>
                  <a:pt x="611467" y="3532725"/>
                  <a:pt x="613547" y="3544121"/>
                  <a:pt x="616883" y="3549927"/>
                </a:cubicBezTo>
                <a:cubicBezTo>
                  <a:pt x="641170" y="3592201"/>
                  <a:pt x="630436" y="3620939"/>
                  <a:pt x="604596" y="3582818"/>
                </a:cubicBezTo>
                <a:cubicBezTo>
                  <a:pt x="596294" y="3570568"/>
                  <a:pt x="587264" y="3563869"/>
                  <a:pt x="578723" y="3563624"/>
                </a:cubicBezTo>
                <a:cubicBezTo>
                  <a:pt x="557396" y="3563010"/>
                  <a:pt x="550299" y="3550762"/>
                  <a:pt x="550299" y="3514565"/>
                </a:cubicBezTo>
                <a:cubicBezTo>
                  <a:pt x="550299" y="3492083"/>
                  <a:pt x="548369" y="3481630"/>
                  <a:pt x="543740" y="3479059"/>
                </a:cubicBezTo>
                <a:cubicBezTo>
                  <a:pt x="540132" y="3477054"/>
                  <a:pt x="537180" y="3468203"/>
                  <a:pt x="537180" y="3459388"/>
                </a:cubicBezTo>
                <a:cubicBezTo>
                  <a:pt x="537180" y="3450575"/>
                  <a:pt x="535213" y="3443363"/>
                  <a:pt x="532807" y="3443363"/>
                </a:cubicBezTo>
                <a:cubicBezTo>
                  <a:pt x="530402" y="3443363"/>
                  <a:pt x="528435" y="3438313"/>
                  <a:pt x="528435" y="3432141"/>
                </a:cubicBezTo>
                <a:cubicBezTo>
                  <a:pt x="528435" y="3425969"/>
                  <a:pt x="520563" y="3411076"/>
                  <a:pt x="510943" y="3399047"/>
                </a:cubicBezTo>
                <a:cubicBezTo>
                  <a:pt x="501322" y="3387017"/>
                  <a:pt x="493451" y="3372475"/>
                  <a:pt x="493451" y="3366729"/>
                </a:cubicBezTo>
                <a:cubicBezTo>
                  <a:pt x="493451" y="3360983"/>
                  <a:pt x="490540" y="3352784"/>
                  <a:pt x="486983" y="3348509"/>
                </a:cubicBezTo>
                <a:cubicBezTo>
                  <a:pt x="478571" y="3338403"/>
                  <a:pt x="467214" y="3305262"/>
                  <a:pt x="467214" y="3290823"/>
                </a:cubicBezTo>
                <a:cubicBezTo>
                  <a:pt x="467214" y="3284600"/>
                  <a:pt x="465214" y="3277718"/>
                  <a:pt x="462770" y="3275532"/>
                </a:cubicBezTo>
                <a:cubicBezTo>
                  <a:pt x="460325" y="3273344"/>
                  <a:pt x="459294" y="3269284"/>
                  <a:pt x="460480" y="3266508"/>
                </a:cubicBezTo>
                <a:cubicBezTo>
                  <a:pt x="461665" y="3263732"/>
                  <a:pt x="458715" y="3256326"/>
                  <a:pt x="453925" y="3250050"/>
                </a:cubicBezTo>
                <a:cubicBezTo>
                  <a:pt x="449136" y="3243774"/>
                  <a:pt x="443990" y="3227531"/>
                  <a:pt x="442490" y="3213955"/>
                </a:cubicBezTo>
                <a:cubicBezTo>
                  <a:pt x="440714" y="3197875"/>
                  <a:pt x="436164" y="3185855"/>
                  <a:pt x="429437" y="3179475"/>
                </a:cubicBezTo>
                <a:cubicBezTo>
                  <a:pt x="420386" y="3170889"/>
                  <a:pt x="419111" y="3164737"/>
                  <a:pt x="419111" y="3129631"/>
                </a:cubicBezTo>
                <a:cubicBezTo>
                  <a:pt x="419111" y="3107604"/>
                  <a:pt x="417144" y="3087821"/>
                  <a:pt x="414739" y="3085670"/>
                </a:cubicBezTo>
                <a:cubicBezTo>
                  <a:pt x="408725" y="3080289"/>
                  <a:pt x="409222" y="3058788"/>
                  <a:pt x="415429" y="3055792"/>
                </a:cubicBezTo>
                <a:cubicBezTo>
                  <a:pt x="426207" y="3050591"/>
                  <a:pt x="414493" y="3021857"/>
                  <a:pt x="393008" y="3000795"/>
                </a:cubicBezTo>
                <a:cubicBezTo>
                  <a:pt x="371303" y="2979517"/>
                  <a:pt x="371009" y="2978788"/>
                  <a:pt x="371009" y="2946175"/>
                </a:cubicBezTo>
                <a:cubicBezTo>
                  <a:pt x="371009" y="2924518"/>
                  <a:pt x="368748" y="2910404"/>
                  <a:pt x="364450" y="2905240"/>
                </a:cubicBezTo>
                <a:cubicBezTo>
                  <a:pt x="360842" y="2900905"/>
                  <a:pt x="357891" y="2889161"/>
                  <a:pt x="357891" y="2879142"/>
                </a:cubicBezTo>
                <a:cubicBezTo>
                  <a:pt x="357891" y="2869122"/>
                  <a:pt x="355792" y="2860924"/>
                  <a:pt x="353227" y="2860924"/>
                </a:cubicBezTo>
                <a:cubicBezTo>
                  <a:pt x="350663" y="2860924"/>
                  <a:pt x="349186" y="2853090"/>
                  <a:pt x="349948" y="2843514"/>
                </a:cubicBezTo>
                <a:cubicBezTo>
                  <a:pt x="350917" y="2831312"/>
                  <a:pt x="348082" y="2821877"/>
                  <a:pt x="340471" y="2811971"/>
                </a:cubicBezTo>
                <a:cubicBezTo>
                  <a:pt x="331901" y="2800818"/>
                  <a:pt x="329719" y="2792140"/>
                  <a:pt x="330125" y="2770820"/>
                </a:cubicBezTo>
                <a:cubicBezTo>
                  <a:pt x="330408" y="2755961"/>
                  <a:pt x="329391" y="2742379"/>
                  <a:pt x="327866" y="2740638"/>
                </a:cubicBezTo>
                <a:cubicBezTo>
                  <a:pt x="321736" y="2733639"/>
                  <a:pt x="305415" y="2675988"/>
                  <a:pt x="305415" y="2661333"/>
                </a:cubicBezTo>
                <a:cubicBezTo>
                  <a:pt x="305415" y="2652721"/>
                  <a:pt x="303448" y="2645675"/>
                  <a:pt x="301042" y="2645675"/>
                </a:cubicBezTo>
                <a:cubicBezTo>
                  <a:pt x="298637" y="2645675"/>
                  <a:pt x="296670" y="2630543"/>
                  <a:pt x="296670" y="2612049"/>
                </a:cubicBezTo>
                <a:cubicBezTo>
                  <a:pt x="296670" y="2585923"/>
                  <a:pt x="294475" y="2575017"/>
                  <a:pt x="286831" y="2563152"/>
                </a:cubicBezTo>
                <a:cubicBezTo>
                  <a:pt x="281419" y="2554752"/>
                  <a:pt x="276629" y="2543532"/>
                  <a:pt x="276187" y="2538217"/>
                </a:cubicBezTo>
                <a:cubicBezTo>
                  <a:pt x="271291" y="2479416"/>
                  <a:pt x="268063" y="2457746"/>
                  <a:pt x="263140" y="2450618"/>
                </a:cubicBezTo>
                <a:cubicBezTo>
                  <a:pt x="259935" y="2445979"/>
                  <a:pt x="257313" y="2438113"/>
                  <a:pt x="257313" y="2433139"/>
                </a:cubicBezTo>
                <a:cubicBezTo>
                  <a:pt x="257313" y="2428164"/>
                  <a:pt x="255346" y="2424095"/>
                  <a:pt x="252940" y="2424095"/>
                </a:cubicBezTo>
                <a:cubicBezTo>
                  <a:pt x="250535" y="2424095"/>
                  <a:pt x="248567" y="2411275"/>
                  <a:pt x="248567" y="2395606"/>
                </a:cubicBezTo>
                <a:cubicBezTo>
                  <a:pt x="248567" y="2378998"/>
                  <a:pt x="246549" y="2367117"/>
                  <a:pt x="243727" y="2367117"/>
                </a:cubicBezTo>
                <a:cubicBezTo>
                  <a:pt x="241064" y="2367117"/>
                  <a:pt x="239948" y="2363111"/>
                  <a:pt x="241245" y="2358215"/>
                </a:cubicBezTo>
                <a:cubicBezTo>
                  <a:pt x="242543" y="2353320"/>
                  <a:pt x="239802" y="2344332"/>
                  <a:pt x="235154" y="2338242"/>
                </a:cubicBezTo>
                <a:cubicBezTo>
                  <a:pt x="230238" y="2331802"/>
                  <a:pt x="226703" y="2318900"/>
                  <a:pt x="226703" y="2307402"/>
                </a:cubicBezTo>
                <a:cubicBezTo>
                  <a:pt x="226703" y="2296529"/>
                  <a:pt x="223914" y="2281868"/>
                  <a:pt x="220505" y="2274822"/>
                </a:cubicBezTo>
                <a:cubicBezTo>
                  <a:pt x="217096" y="2267776"/>
                  <a:pt x="212969" y="2250762"/>
                  <a:pt x="211334" y="2237011"/>
                </a:cubicBezTo>
                <a:cubicBezTo>
                  <a:pt x="207643" y="2205980"/>
                  <a:pt x="199565" y="2177191"/>
                  <a:pt x="194546" y="2177191"/>
                </a:cubicBezTo>
                <a:cubicBezTo>
                  <a:pt x="192465" y="2177191"/>
                  <a:pt x="191567" y="2167220"/>
                  <a:pt x="192550" y="2155033"/>
                </a:cubicBezTo>
                <a:cubicBezTo>
                  <a:pt x="193532" y="2142846"/>
                  <a:pt x="192764" y="2132875"/>
                  <a:pt x="190841" y="2132875"/>
                </a:cubicBezTo>
                <a:cubicBezTo>
                  <a:pt x="188919" y="2132875"/>
                  <a:pt x="187346" y="2127178"/>
                  <a:pt x="187346" y="2120214"/>
                </a:cubicBezTo>
                <a:cubicBezTo>
                  <a:pt x="187346" y="2113250"/>
                  <a:pt x="185468" y="2107552"/>
                  <a:pt x="183172" y="2107552"/>
                </a:cubicBezTo>
                <a:cubicBezTo>
                  <a:pt x="180875" y="2107552"/>
                  <a:pt x="177705" y="2097581"/>
                  <a:pt x="176125" y="2085394"/>
                </a:cubicBezTo>
                <a:cubicBezTo>
                  <a:pt x="174546" y="2073207"/>
                  <a:pt x="171506" y="2063236"/>
                  <a:pt x="169368" y="2063236"/>
                </a:cubicBezTo>
                <a:cubicBezTo>
                  <a:pt x="167231" y="2063236"/>
                  <a:pt x="165482" y="2057449"/>
                  <a:pt x="165482" y="2050375"/>
                </a:cubicBezTo>
                <a:cubicBezTo>
                  <a:pt x="165482" y="2043302"/>
                  <a:pt x="162530" y="2035875"/>
                  <a:pt x="158923" y="2033872"/>
                </a:cubicBezTo>
                <a:cubicBezTo>
                  <a:pt x="155295" y="2031855"/>
                  <a:pt x="152363" y="2022455"/>
                  <a:pt x="152363" y="2012836"/>
                </a:cubicBezTo>
                <a:cubicBezTo>
                  <a:pt x="152363" y="1991912"/>
                  <a:pt x="134460" y="1961942"/>
                  <a:pt x="121961" y="1961942"/>
                </a:cubicBezTo>
                <a:cubicBezTo>
                  <a:pt x="117036" y="1961942"/>
                  <a:pt x="113007" y="1957906"/>
                  <a:pt x="113007" y="1952973"/>
                </a:cubicBezTo>
                <a:cubicBezTo>
                  <a:pt x="113007" y="1948041"/>
                  <a:pt x="110685" y="1942885"/>
                  <a:pt x="107847" y="1941515"/>
                </a:cubicBezTo>
                <a:cubicBezTo>
                  <a:pt x="105009" y="1940146"/>
                  <a:pt x="103936" y="1934314"/>
                  <a:pt x="105462" y="1928555"/>
                </a:cubicBezTo>
                <a:cubicBezTo>
                  <a:pt x="107799" y="1919740"/>
                  <a:pt x="110403" y="1919178"/>
                  <a:pt x="121932" y="1924997"/>
                </a:cubicBezTo>
                <a:cubicBezTo>
                  <a:pt x="133186" y="1930676"/>
                  <a:pt x="136908" y="1930053"/>
                  <a:pt x="142816" y="1921499"/>
                </a:cubicBezTo>
                <a:cubicBezTo>
                  <a:pt x="148733" y="1912932"/>
                  <a:pt x="149053" y="1908883"/>
                  <a:pt x="144625" y="1898617"/>
                </a:cubicBezTo>
                <a:cubicBezTo>
                  <a:pt x="141666" y="1891757"/>
                  <a:pt x="139244" y="1879553"/>
                  <a:pt x="139244" y="1871497"/>
                </a:cubicBezTo>
                <a:cubicBezTo>
                  <a:pt x="139244" y="1863442"/>
                  <a:pt x="137428" y="1854144"/>
                  <a:pt x="135208" y="1850836"/>
                </a:cubicBezTo>
                <a:cubicBezTo>
                  <a:pt x="132989" y="1847528"/>
                  <a:pt x="129144" y="1817757"/>
                  <a:pt x="126665" y="1784678"/>
                </a:cubicBezTo>
                <a:cubicBezTo>
                  <a:pt x="122307" y="1726528"/>
                  <a:pt x="113812" y="1670914"/>
                  <a:pt x="108293" y="1664392"/>
                </a:cubicBezTo>
                <a:cubicBezTo>
                  <a:pt x="106819" y="1662651"/>
                  <a:pt x="104420" y="1650289"/>
                  <a:pt x="102962" y="1636921"/>
                </a:cubicBezTo>
                <a:cubicBezTo>
                  <a:pt x="101504" y="1623553"/>
                  <a:pt x="97787" y="1608213"/>
                  <a:pt x="94702" y="1602831"/>
                </a:cubicBezTo>
                <a:cubicBezTo>
                  <a:pt x="86626" y="1588743"/>
                  <a:pt x="89567" y="1460643"/>
                  <a:pt x="98128" y="1453577"/>
                </a:cubicBezTo>
                <a:cubicBezTo>
                  <a:pt x="101501" y="1450792"/>
                  <a:pt x="104261" y="1438989"/>
                  <a:pt x="104261" y="1427347"/>
                </a:cubicBezTo>
                <a:cubicBezTo>
                  <a:pt x="104261" y="1414373"/>
                  <a:pt x="106800" y="1404771"/>
                  <a:pt x="110821" y="1402538"/>
                </a:cubicBezTo>
                <a:cubicBezTo>
                  <a:pt x="114428" y="1400533"/>
                  <a:pt x="117380" y="1393455"/>
                  <a:pt x="117380" y="1386808"/>
                </a:cubicBezTo>
                <a:cubicBezTo>
                  <a:pt x="117380" y="1380161"/>
                  <a:pt x="120331" y="1371177"/>
                  <a:pt x="123939" y="1366842"/>
                </a:cubicBezTo>
                <a:cubicBezTo>
                  <a:pt x="127547" y="1362507"/>
                  <a:pt x="130498" y="1351111"/>
                  <a:pt x="130498" y="1341518"/>
                </a:cubicBezTo>
                <a:cubicBezTo>
                  <a:pt x="130498" y="1318073"/>
                  <a:pt x="137674" y="1310914"/>
                  <a:pt x="163457" y="1308631"/>
                </a:cubicBezTo>
                <a:cubicBezTo>
                  <a:pt x="194631" y="1305871"/>
                  <a:pt x="202426" y="1293646"/>
                  <a:pt x="198730" y="1253312"/>
                </a:cubicBezTo>
                <a:cubicBezTo>
                  <a:pt x="196229" y="1226013"/>
                  <a:pt x="197082" y="1219880"/>
                  <a:pt x="204698" y="1210441"/>
                </a:cubicBezTo>
                <a:cubicBezTo>
                  <a:pt x="209585" y="1204382"/>
                  <a:pt x="213584" y="1196282"/>
                  <a:pt x="213584" y="1192440"/>
                </a:cubicBezTo>
                <a:cubicBezTo>
                  <a:pt x="213584" y="1188597"/>
                  <a:pt x="218504" y="1178763"/>
                  <a:pt x="224517" y="1170585"/>
                </a:cubicBezTo>
                <a:cubicBezTo>
                  <a:pt x="230529" y="1162407"/>
                  <a:pt x="235449" y="1150864"/>
                  <a:pt x="235449" y="1144933"/>
                </a:cubicBezTo>
                <a:cubicBezTo>
                  <a:pt x="235449" y="1139003"/>
                  <a:pt x="238400" y="1130604"/>
                  <a:pt x="242008" y="1126269"/>
                </a:cubicBezTo>
                <a:cubicBezTo>
                  <a:pt x="245616" y="1121934"/>
                  <a:pt x="248567" y="1114463"/>
                  <a:pt x="248567" y="1109667"/>
                </a:cubicBezTo>
                <a:cubicBezTo>
                  <a:pt x="248567" y="1104871"/>
                  <a:pt x="250358" y="1100946"/>
                  <a:pt x="252548" y="1100946"/>
                </a:cubicBezTo>
                <a:cubicBezTo>
                  <a:pt x="254737" y="1100946"/>
                  <a:pt x="257922" y="1076730"/>
                  <a:pt x="259624" y="1047134"/>
                </a:cubicBezTo>
                <a:cubicBezTo>
                  <a:pt x="261327" y="1017537"/>
                  <a:pt x="264456" y="993321"/>
                  <a:pt x="266576" y="993321"/>
                </a:cubicBezTo>
                <a:cubicBezTo>
                  <a:pt x="268697" y="993321"/>
                  <a:pt x="270432" y="989682"/>
                  <a:pt x="270432" y="985235"/>
                </a:cubicBezTo>
                <a:cubicBezTo>
                  <a:pt x="270432" y="976465"/>
                  <a:pt x="295092" y="942674"/>
                  <a:pt x="301492" y="942674"/>
                </a:cubicBezTo>
                <a:cubicBezTo>
                  <a:pt x="303650" y="942674"/>
                  <a:pt x="305415" y="939703"/>
                  <a:pt x="305415" y="936072"/>
                </a:cubicBezTo>
                <a:cubicBezTo>
                  <a:pt x="305415" y="932441"/>
                  <a:pt x="314270" y="915764"/>
                  <a:pt x="325094" y="899013"/>
                </a:cubicBezTo>
                <a:cubicBezTo>
                  <a:pt x="335917" y="882262"/>
                  <a:pt x="344772" y="866574"/>
                  <a:pt x="344772" y="864151"/>
                </a:cubicBezTo>
                <a:cubicBezTo>
                  <a:pt x="344772" y="858916"/>
                  <a:pt x="373017" y="816057"/>
                  <a:pt x="376468" y="816057"/>
                </a:cubicBezTo>
                <a:cubicBezTo>
                  <a:pt x="379972" y="816057"/>
                  <a:pt x="405993" y="782255"/>
                  <a:pt x="405993" y="777703"/>
                </a:cubicBezTo>
                <a:cubicBezTo>
                  <a:pt x="405993" y="766887"/>
                  <a:pt x="458830" y="695771"/>
                  <a:pt x="466866" y="695771"/>
                </a:cubicBezTo>
                <a:cubicBezTo>
                  <a:pt x="471868" y="695771"/>
                  <a:pt x="475959" y="693114"/>
                  <a:pt x="475959" y="689867"/>
                </a:cubicBezTo>
                <a:cubicBezTo>
                  <a:pt x="475959" y="686619"/>
                  <a:pt x="480295" y="681970"/>
                  <a:pt x="485595" y="679535"/>
                </a:cubicBezTo>
                <a:cubicBezTo>
                  <a:pt x="490894" y="677100"/>
                  <a:pt x="497922" y="671210"/>
                  <a:pt x="501212" y="666447"/>
                </a:cubicBezTo>
                <a:cubicBezTo>
                  <a:pt x="504503" y="661683"/>
                  <a:pt x="513941" y="657786"/>
                  <a:pt x="522188" y="657786"/>
                </a:cubicBezTo>
                <a:cubicBezTo>
                  <a:pt x="530434" y="657786"/>
                  <a:pt x="537180" y="654937"/>
                  <a:pt x="537180" y="651455"/>
                </a:cubicBezTo>
                <a:cubicBezTo>
                  <a:pt x="537180" y="647973"/>
                  <a:pt x="541824" y="645124"/>
                  <a:pt x="547500" y="645124"/>
                </a:cubicBezTo>
                <a:cubicBezTo>
                  <a:pt x="553404" y="645124"/>
                  <a:pt x="561334" y="638350"/>
                  <a:pt x="566030" y="629297"/>
                </a:cubicBezTo>
                <a:cubicBezTo>
                  <a:pt x="570545" y="620592"/>
                  <a:pt x="577568" y="613470"/>
                  <a:pt x="581636" y="613470"/>
                </a:cubicBezTo>
                <a:cubicBezTo>
                  <a:pt x="585703" y="613470"/>
                  <a:pt x="591983" y="609196"/>
                  <a:pt x="595590" y="603974"/>
                </a:cubicBezTo>
                <a:cubicBezTo>
                  <a:pt x="599198" y="598750"/>
                  <a:pt x="603469" y="594477"/>
                  <a:pt x="605081" y="594477"/>
                </a:cubicBezTo>
                <a:cubicBezTo>
                  <a:pt x="606693" y="594477"/>
                  <a:pt x="614213" y="590263"/>
                  <a:pt x="621792" y="585112"/>
                </a:cubicBezTo>
                <a:cubicBezTo>
                  <a:pt x="638495" y="573760"/>
                  <a:pt x="692969" y="562678"/>
                  <a:pt x="758458" y="557307"/>
                </a:cubicBezTo>
                <a:cubicBezTo>
                  <a:pt x="805917" y="553416"/>
                  <a:pt x="817472" y="548216"/>
                  <a:pt x="827104" y="526420"/>
                </a:cubicBezTo>
                <a:cubicBezTo>
                  <a:pt x="829027" y="522068"/>
                  <a:pt x="833087" y="518507"/>
                  <a:pt x="836125" y="518507"/>
                </a:cubicBezTo>
                <a:cubicBezTo>
                  <a:pt x="839163" y="518507"/>
                  <a:pt x="847305" y="509960"/>
                  <a:pt x="854218" y="499514"/>
                </a:cubicBezTo>
                <a:cubicBezTo>
                  <a:pt x="861130" y="489068"/>
                  <a:pt x="870238" y="480522"/>
                  <a:pt x="874456" y="480522"/>
                </a:cubicBezTo>
                <a:cubicBezTo>
                  <a:pt x="878674" y="480522"/>
                  <a:pt x="883342" y="477673"/>
                  <a:pt x="884828" y="474191"/>
                </a:cubicBezTo>
                <a:cubicBezTo>
                  <a:pt x="886314" y="470709"/>
                  <a:pt x="891186" y="467860"/>
                  <a:pt x="895654" y="467860"/>
                </a:cubicBezTo>
                <a:cubicBezTo>
                  <a:pt x="900121" y="467860"/>
                  <a:pt x="907745" y="460026"/>
                  <a:pt x="912594" y="450450"/>
                </a:cubicBezTo>
                <a:cubicBezTo>
                  <a:pt x="919668" y="436483"/>
                  <a:pt x="922507" y="434605"/>
                  <a:pt x="926952" y="440954"/>
                </a:cubicBezTo>
                <a:cubicBezTo>
                  <a:pt x="930000" y="445306"/>
                  <a:pt x="935794" y="448867"/>
                  <a:pt x="939829" y="448867"/>
                </a:cubicBezTo>
                <a:cubicBezTo>
                  <a:pt x="943863" y="448867"/>
                  <a:pt x="949567" y="453057"/>
                  <a:pt x="952502" y="458179"/>
                </a:cubicBezTo>
                <a:cubicBezTo>
                  <a:pt x="956617" y="465356"/>
                  <a:pt x="967169" y="467169"/>
                  <a:pt x="998543" y="466092"/>
                </a:cubicBezTo>
                <a:cubicBezTo>
                  <a:pt x="1020929" y="465323"/>
                  <a:pt x="1038330" y="466831"/>
                  <a:pt x="1037211" y="469443"/>
                </a:cubicBezTo>
                <a:cubicBezTo>
                  <a:pt x="1036093" y="472054"/>
                  <a:pt x="1038362" y="474191"/>
                  <a:pt x="1042254" y="474191"/>
                </a:cubicBezTo>
                <a:cubicBezTo>
                  <a:pt x="1046145" y="474191"/>
                  <a:pt x="1048113" y="471342"/>
                  <a:pt x="1046626" y="467860"/>
                </a:cubicBezTo>
                <a:cubicBezTo>
                  <a:pt x="1041127" y="454979"/>
                  <a:pt x="1051925" y="462057"/>
                  <a:pt x="1061114" y="477356"/>
                </a:cubicBezTo>
                <a:cubicBezTo>
                  <a:pt x="1072567" y="496426"/>
                  <a:pt x="1083781" y="497803"/>
                  <a:pt x="1086902" y="480522"/>
                </a:cubicBezTo>
                <a:cubicBezTo>
                  <a:pt x="1090408" y="461111"/>
                  <a:pt x="1104109" y="464970"/>
                  <a:pt x="1109378" y="486853"/>
                </a:cubicBezTo>
                <a:cubicBezTo>
                  <a:pt x="1111894" y="497298"/>
                  <a:pt x="1116022" y="505845"/>
                  <a:pt x="1118552" y="505845"/>
                </a:cubicBezTo>
                <a:cubicBezTo>
                  <a:pt x="1121082" y="505845"/>
                  <a:pt x="1123152" y="510248"/>
                  <a:pt x="1123152" y="515629"/>
                </a:cubicBezTo>
                <a:cubicBezTo>
                  <a:pt x="1123152" y="521011"/>
                  <a:pt x="1128072" y="532536"/>
                  <a:pt x="1134085" y="541240"/>
                </a:cubicBezTo>
                <a:cubicBezTo>
                  <a:pt x="1140098" y="549945"/>
                  <a:pt x="1145017" y="561211"/>
                  <a:pt x="1145017" y="566276"/>
                </a:cubicBezTo>
                <a:cubicBezTo>
                  <a:pt x="1145017" y="571340"/>
                  <a:pt x="1146985" y="575485"/>
                  <a:pt x="1149390" y="575485"/>
                </a:cubicBezTo>
                <a:cubicBezTo>
                  <a:pt x="1151796" y="575485"/>
                  <a:pt x="1153763" y="579488"/>
                  <a:pt x="1153763" y="584382"/>
                </a:cubicBezTo>
                <a:cubicBezTo>
                  <a:pt x="1153763" y="591870"/>
                  <a:pt x="1176828" y="638301"/>
                  <a:pt x="1187659" y="652617"/>
                </a:cubicBezTo>
                <a:cubicBezTo>
                  <a:pt x="1218661" y="693591"/>
                  <a:pt x="1254340" y="745441"/>
                  <a:pt x="1254340" y="749518"/>
                </a:cubicBezTo>
                <a:cubicBezTo>
                  <a:pt x="1254340" y="757171"/>
                  <a:pt x="1280568" y="789876"/>
                  <a:pt x="1290288" y="794342"/>
                </a:cubicBezTo>
                <a:cubicBezTo>
                  <a:pt x="1295629" y="796796"/>
                  <a:pt x="1301342" y="793539"/>
                  <a:pt x="1306344" y="785189"/>
                </a:cubicBezTo>
                <a:cubicBezTo>
                  <a:pt x="1310616" y="778060"/>
                  <a:pt x="1321893" y="770425"/>
                  <a:pt x="1331406" y="768222"/>
                </a:cubicBezTo>
                <a:cubicBezTo>
                  <a:pt x="1346576" y="764711"/>
                  <a:pt x="1349748" y="766237"/>
                  <a:pt x="1357220" y="780642"/>
                </a:cubicBezTo>
                <a:cubicBezTo>
                  <a:pt x="1361906" y="789674"/>
                  <a:pt x="1368224" y="797065"/>
                  <a:pt x="1371260" y="797065"/>
                </a:cubicBezTo>
                <a:cubicBezTo>
                  <a:pt x="1374297" y="797065"/>
                  <a:pt x="1376782" y="802321"/>
                  <a:pt x="1376782" y="808745"/>
                </a:cubicBezTo>
                <a:cubicBezTo>
                  <a:pt x="1376782" y="821451"/>
                  <a:pt x="1389677" y="841380"/>
                  <a:pt x="1397898" y="841380"/>
                </a:cubicBezTo>
                <a:cubicBezTo>
                  <a:pt x="1400715" y="841380"/>
                  <a:pt x="1403266" y="847079"/>
                  <a:pt x="1403566" y="854042"/>
                </a:cubicBezTo>
                <a:cubicBezTo>
                  <a:pt x="1404643" y="878986"/>
                  <a:pt x="1405317" y="881243"/>
                  <a:pt x="1413767" y="888172"/>
                </a:cubicBezTo>
                <a:cubicBezTo>
                  <a:pt x="1427980" y="899827"/>
                  <a:pt x="1432763" y="908218"/>
                  <a:pt x="1434326" y="924237"/>
                </a:cubicBezTo>
                <a:cubicBezTo>
                  <a:pt x="1436019" y="941586"/>
                  <a:pt x="1450406" y="945523"/>
                  <a:pt x="1455432" y="930013"/>
                </a:cubicBezTo>
                <a:cubicBezTo>
                  <a:pt x="1457124" y="924790"/>
                  <a:pt x="1460937" y="913785"/>
                  <a:pt x="1463906" y="905557"/>
                </a:cubicBezTo>
                <a:cubicBezTo>
                  <a:pt x="1468658" y="892389"/>
                  <a:pt x="1467954" y="888558"/>
                  <a:pt x="1458027" y="873556"/>
                </a:cubicBezTo>
                <a:cubicBezTo>
                  <a:pt x="1451824" y="864183"/>
                  <a:pt x="1446749" y="851685"/>
                  <a:pt x="1446749" y="845782"/>
                </a:cubicBezTo>
                <a:cubicBezTo>
                  <a:pt x="1446749" y="839879"/>
                  <a:pt x="1444912" y="835050"/>
                  <a:pt x="1442667" y="835050"/>
                </a:cubicBezTo>
                <a:cubicBezTo>
                  <a:pt x="1440421" y="835050"/>
                  <a:pt x="1437961" y="827215"/>
                  <a:pt x="1437200" y="817640"/>
                </a:cubicBezTo>
                <a:cubicBezTo>
                  <a:pt x="1436198" y="805025"/>
                  <a:pt x="1433036" y="799659"/>
                  <a:pt x="1425722" y="798159"/>
                </a:cubicBezTo>
                <a:cubicBezTo>
                  <a:pt x="1412003" y="795343"/>
                  <a:pt x="1414880" y="778695"/>
                  <a:pt x="1431370" y="765466"/>
                </a:cubicBezTo>
                <a:cubicBezTo>
                  <a:pt x="1439248" y="759147"/>
                  <a:pt x="1445995" y="747031"/>
                  <a:pt x="1448402" y="734883"/>
                </a:cubicBezTo>
                <a:cubicBezTo>
                  <a:pt x="1451293" y="720285"/>
                  <a:pt x="1454974" y="714763"/>
                  <a:pt x="1461812" y="714763"/>
                </a:cubicBezTo>
                <a:cubicBezTo>
                  <a:pt x="1466996" y="714763"/>
                  <a:pt x="1473107" y="712136"/>
                  <a:pt x="1475392" y="708925"/>
                </a:cubicBezTo>
                <a:cubicBezTo>
                  <a:pt x="1477677" y="705714"/>
                  <a:pt x="1486459" y="701250"/>
                  <a:pt x="1494907" y="699006"/>
                </a:cubicBezTo>
                <a:cubicBezTo>
                  <a:pt x="1507788" y="695584"/>
                  <a:pt x="1511972" y="697549"/>
                  <a:pt x="1520814" y="711175"/>
                </a:cubicBezTo>
                <a:cubicBezTo>
                  <a:pt x="1531470" y="727595"/>
                  <a:pt x="1542953" y="732741"/>
                  <a:pt x="1542953" y="721094"/>
                </a:cubicBezTo>
                <a:cubicBezTo>
                  <a:pt x="1542953" y="717612"/>
                  <a:pt x="1545305" y="714763"/>
                  <a:pt x="1548180" y="714763"/>
                </a:cubicBezTo>
                <a:cubicBezTo>
                  <a:pt x="1551055" y="714763"/>
                  <a:pt x="1558868" y="707189"/>
                  <a:pt x="1565543" y="697931"/>
                </a:cubicBezTo>
                <a:cubicBezTo>
                  <a:pt x="1576313" y="682993"/>
                  <a:pt x="1578004" y="682326"/>
                  <a:pt x="1580569" y="692004"/>
                </a:cubicBezTo>
                <a:cubicBezTo>
                  <a:pt x="1582158" y="698002"/>
                  <a:pt x="1581490" y="709167"/>
                  <a:pt x="1579083" y="716815"/>
                </a:cubicBezTo>
                <a:cubicBezTo>
                  <a:pt x="1573971" y="733059"/>
                  <a:pt x="1582935" y="749854"/>
                  <a:pt x="1593565" y="743948"/>
                </a:cubicBezTo>
                <a:cubicBezTo>
                  <a:pt x="1602131" y="739190"/>
                  <a:pt x="1607148" y="719364"/>
                  <a:pt x="1600588" y="716198"/>
                </a:cubicBezTo>
                <a:cubicBezTo>
                  <a:pt x="1592584" y="712335"/>
                  <a:pt x="1594497" y="690789"/>
                  <a:pt x="1604075" y="676922"/>
                </a:cubicBezTo>
                <a:cubicBezTo>
                  <a:pt x="1608831" y="670037"/>
                  <a:pt x="1611648" y="660354"/>
                  <a:pt x="1610336" y="655404"/>
                </a:cubicBezTo>
                <a:cubicBezTo>
                  <a:pt x="1606241" y="639955"/>
                  <a:pt x="1616711" y="637515"/>
                  <a:pt x="1627075" y="651503"/>
                </a:cubicBezTo>
                <a:cubicBezTo>
                  <a:pt x="1635408" y="662749"/>
                  <a:pt x="1640251" y="664207"/>
                  <a:pt x="1657724" y="660732"/>
                </a:cubicBezTo>
                <a:cubicBezTo>
                  <a:pt x="1673801" y="657535"/>
                  <a:pt x="1679028" y="658688"/>
                  <a:pt x="1680927" y="665854"/>
                </a:cubicBezTo>
                <a:cubicBezTo>
                  <a:pt x="1682551" y="671980"/>
                  <a:pt x="1693005" y="676530"/>
                  <a:pt x="1711891" y="679332"/>
                </a:cubicBezTo>
                <a:cubicBezTo>
                  <a:pt x="1730763" y="682131"/>
                  <a:pt x="1746175" y="688836"/>
                  <a:pt x="1757474" y="699162"/>
                </a:cubicBezTo>
                <a:cubicBezTo>
                  <a:pt x="1766863" y="707743"/>
                  <a:pt x="1777535" y="714763"/>
                  <a:pt x="1781191" y="714763"/>
                </a:cubicBezTo>
                <a:cubicBezTo>
                  <a:pt x="1784846" y="714763"/>
                  <a:pt x="1787837" y="717333"/>
                  <a:pt x="1787837" y="720473"/>
                </a:cubicBezTo>
                <a:cubicBezTo>
                  <a:pt x="1787837" y="723614"/>
                  <a:pt x="1795170" y="731694"/>
                  <a:pt x="1804133" y="738427"/>
                </a:cubicBezTo>
                <a:cubicBezTo>
                  <a:pt x="1816070" y="747395"/>
                  <a:pt x="1821182" y="756003"/>
                  <a:pt x="1823246" y="770607"/>
                </a:cubicBezTo>
                <a:cubicBezTo>
                  <a:pt x="1826969" y="796962"/>
                  <a:pt x="1843835" y="817162"/>
                  <a:pt x="1854936" y="808560"/>
                </a:cubicBezTo>
                <a:cubicBezTo>
                  <a:pt x="1861330" y="803606"/>
                  <a:pt x="1865591" y="805762"/>
                  <a:pt x="1874886" y="818655"/>
                </a:cubicBezTo>
                <a:cubicBezTo>
                  <a:pt x="1881387" y="827672"/>
                  <a:pt x="1888197" y="835050"/>
                  <a:pt x="1890018" y="835050"/>
                </a:cubicBezTo>
                <a:cubicBezTo>
                  <a:pt x="1891839" y="835050"/>
                  <a:pt x="1907144" y="855209"/>
                  <a:pt x="1924029" y="879848"/>
                </a:cubicBezTo>
                <a:cubicBezTo>
                  <a:pt x="1947915" y="914705"/>
                  <a:pt x="1958287" y="925437"/>
                  <a:pt x="1970767" y="928208"/>
                </a:cubicBezTo>
                <a:cubicBezTo>
                  <a:pt x="1979588" y="930167"/>
                  <a:pt x="1989240" y="934542"/>
                  <a:pt x="1992216" y="937930"/>
                </a:cubicBezTo>
                <a:cubicBezTo>
                  <a:pt x="1995191" y="941318"/>
                  <a:pt x="2000741" y="942361"/>
                  <a:pt x="2004549" y="940246"/>
                </a:cubicBezTo>
                <a:cubicBezTo>
                  <a:pt x="2014139" y="934918"/>
                  <a:pt x="2010854" y="908587"/>
                  <a:pt x="2000233" y="905653"/>
                </a:cubicBezTo>
                <a:cubicBezTo>
                  <a:pt x="1990506" y="902967"/>
                  <a:pt x="1980246" y="889704"/>
                  <a:pt x="1980246" y="879818"/>
                </a:cubicBezTo>
                <a:cubicBezTo>
                  <a:pt x="1980246" y="871202"/>
                  <a:pt x="1982879" y="871305"/>
                  <a:pt x="2000661" y="880614"/>
                </a:cubicBezTo>
                <a:cubicBezTo>
                  <a:pt x="2014087" y="887642"/>
                  <a:pt x="2016093" y="886867"/>
                  <a:pt x="2028302" y="869933"/>
                </a:cubicBezTo>
                <a:cubicBezTo>
                  <a:pt x="2035543" y="859890"/>
                  <a:pt x="2041467" y="845084"/>
                  <a:pt x="2041467" y="837031"/>
                </a:cubicBezTo>
                <a:cubicBezTo>
                  <a:pt x="2041467" y="828236"/>
                  <a:pt x="2044086" y="822388"/>
                  <a:pt x="2048027" y="822388"/>
                </a:cubicBezTo>
                <a:cubicBezTo>
                  <a:pt x="2051634" y="822388"/>
                  <a:pt x="2054585" y="825256"/>
                  <a:pt x="2054585" y="828761"/>
                </a:cubicBezTo>
                <a:cubicBezTo>
                  <a:pt x="2054585" y="832265"/>
                  <a:pt x="2059386" y="841176"/>
                  <a:pt x="2065253" y="848562"/>
                </a:cubicBezTo>
                <a:cubicBezTo>
                  <a:pt x="2075061" y="860908"/>
                  <a:pt x="2075402" y="863133"/>
                  <a:pt x="2069492" y="876195"/>
                </a:cubicBezTo>
                <a:cubicBezTo>
                  <a:pt x="2063387" y="889682"/>
                  <a:pt x="2063842" y="890935"/>
                  <a:pt x="2078502" y="901007"/>
                </a:cubicBezTo>
                <a:cubicBezTo>
                  <a:pt x="2086994" y="906841"/>
                  <a:pt x="2093942" y="914329"/>
                  <a:pt x="2093942" y="917648"/>
                </a:cubicBezTo>
                <a:cubicBezTo>
                  <a:pt x="2093942" y="920967"/>
                  <a:pt x="2096894" y="923682"/>
                  <a:pt x="2100502" y="923682"/>
                </a:cubicBezTo>
                <a:cubicBezTo>
                  <a:pt x="2107463" y="923682"/>
                  <a:pt x="2109052" y="934932"/>
                  <a:pt x="2103714" y="946427"/>
                </a:cubicBezTo>
                <a:cubicBezTo>
                  <a:pt x="2101947" y="950232"/>
                  <a:pt x="2093992" y="955179"/>
                  <a:pt x="2086036" y="957421"/>
                </a:cubicBezTo>
                <a:cubicBezTo>
                  <a:pt x="2067913" y="962528"/>
                  <a:pt x="2058351" y="975401"/>
                  <a:pt x="2063661" y="987546"/>
                </a:cubicBezTo>
                <a:cubicBezTo>
                  <a:pt x="2065812" y="992464"/>
                  <a:pt x="2067600" y="1010810"/>
                  <a:pt x="2067637" y="1028317"/>
                </a:cubicBezTo>
                <a:cubicBezTo>
                  <a:pt x="2067710" y="1062723"/>
                  <a:pt x="2077159" y="1081953"/>
                  <a:pt x="2093992" y="1081953"/>
                </a:cubicBezTo>
                <a:cubicBezTo>
                  <a:pt x="2100657" y="1081953"/>
                  <a:pt x="2102688" y="1086209"/>
                  <a:pt x="2102688" y="1100171"/>
                </a:cubicBezTo>
                <a:cubicBezTo>
                  <a:pt x="2102688" y="1125740"/>
                  <a:pt x="2113772" y="1138266"/>
                  <a:pt x="2123679" y="1123892"/>
                </a:cubicBezTo>
                <a:cubicBezTo>
                  <a:pt x="2129457" y="1115507"/>
                  <a:pt x="2130863" y="1103709"/>
                  <a:pt x="2129992" y="1070902"/>
                </a:cubicBezTo>
                <a:cubicBezTo>
                  <a:pt x="2129377" y="1047689"/>
                  <a:pt x="2126917" y="1025866"/>
                  <a:pt x="2124526" y="1022405"/>
                </a:cubicBezTo>
                <a:cubicBezTo>
                  <a:pt x="2118039" y="1013013"/>
                  <a:pt x="2119278" y="989624"/>
                  <a:pt x="2126739" y="980659"/>
                </a:cubicBezTo>
                <a:cubicBezTo>
                  <a:pt x="2134268" y="971613"/>
                  <a:pt x="2135439" y="951668"/>
                  <a:pt x="2128791" y="945720"/>
                </a:cubicBezTo>
                <a:cubicBezTo>
                  <a:pt x="2126210" y="943411"/>
                  <a:pt x="2125453" y="932663"/>
                  <a:pt x="2127020" y="920573"/>
                </a:cubicBezTo>
                <a:cubicBezTo>
                  <a:pt x="2128525" y="908960"/>
                  <a:pt x="2128387" y="893215"/>
                  <a:pt x="2126714" y="885583"/>
                </a:cubicBezTo>
                <a:cubicBezTo>
                  <a:pt x="2124232" y="874263"/>
                  <a:pt x="2121368" y="872374"/>
                  <a:pt x="2111163" y="875329"/>
                </a:cubicBezTo>
                <a:cubicBezTo>
                  <a:pt x="2098619" y="878962"/>
                  <a:pt x="2089911" y="871058"/>
                  <a:pt x="2098244" y="863602"/>
                </a:cubicBezTo>
                <a:cubicBezTo>
                  <a:pt x="2103992" y="858459"/>
                  <a:pt x="2104054" y="822388"/>
                  <a:pt x="2098315" y="822388"/>
                </a:cubicBezTo>
                <a:cubicBezTo>
                  <a:pt x="2095910" y="822388"/>
                  <a:pt x="2093942" y="813841"/>
                  <a:pt x="2093942" y="803395"/>
                </a:cubicBezTo>
                <a:cubicBezTo>
                  <a:pt x="2093942" y="792950"/>
                  <a:pt x="2096066" y="784403"/>
                  <a:pt x="2098662" y="784403"/>
                </a:cubicBezTo>
                <a:cubicBezTo>
                  <a:pt x="2101561" y="784403"/>
                  <a:pt x="2102341" y="777537"/>
                  <a:pt x="2100683" y="766608"/>
                </a:cubicBezTo>
                <a:cubicBezTo>
                  <a:pt x="2098503" y="752236"/>
                  <a:pt x="2099907" y="747417"/>
                  <a:pt x="2107989" y="741548"/>
                </a:cubicBezTo>
                <a:cubicBezTo>
                  <a:pt x="2113491" y="737553"/>
                  <a:pt x="2122912" y="733452"/>
                  <a:pt x="2128925" y="732437"/>
                </a:cubicBezTo>
                <a:cubicBezTo>
                  <a:pt x="2137207" y="731038"/>
                  <a:pt x="2140193" y="726370"/>
                  <a:pt x="2141241" y="713181"/>
                </a:cubicBezTo>
                <a:cubicBezTo>
                  <a:pt x="2142339" y="699367"/>
                  <a:pt x="2144882" y="695771"/>
                  <a:pt x="2153554" y="695771"/>
                </a:cubicBezTo>
                <a:cubicBezTo>
                  <a:pt x="2159566" y="695771"/>
                  <a:pt x="2167904" y="693121"/>
                  <a:pt x="2172084" y="689882"/>
                </a:cubicBezTo>
                <a:cubicBezTo>
                  <a:pt x="2176573" y="686404"/>
                  <a:pt x="2182266" y="686302"/>
                  <a:pt x="2185988" y="689631"/>
                </a:cubicBezTo>
                <a:cubicBezTo>
                  <a:pt x="2191250" y="694341"/>
                  <a:pt x="2190851" y="696845"/>
                  <a:pt x="2183565" y="704816"/>
                </a:cubicBezTo>
                <a:cubicBezTo>
                  <a:pt x="2176968" y="712034"/>
                  <a:pt x="2176450" y="714410"/>
                  <a:pt x="2181442" y="714562"/>
                </a:cubicBezTo>
                <a:cubicBezTo>
                  <a:pt x="2185072" y="714673"/>
                  <a:pt x="2190395" y="709309"/>
                  <a:pt x="2193271" y="702641"/>
                </a:cubicBezTo>
                <a:cubicBezTo>
                  <a:pt x="2199199" y="688899"/>
                  <a:pt x="2194453" y="679849"/>
                  <a:pt x="2179214" y="675840"/>
                </a:cubicBezTo>
                <a:cubicBezTo>
                  <a:pt x="2174404" y="674574"/>
                  <a:pt x="2168526" y="667145"/>
                  <a:pt x="2166151" y="659332"/>
                </a:cubicBezTo>
                <a:cubicBezTo>
                  <a:pt x="2163777" y="651517"/>
                  <a:pt x="2160334" y="645124"/>
                  <a:pt x="2158499" y="645124"/>
                </a:cubicBezTo>
                <a:cubicBezTo>
                  <a:pt x="2156664" y="645124"/>
                  <a:pt x="2155163" y="640851"/>
                  <a:pt x="2155163" y="635628"/>
                </a:cubicBezTo>
                <a:cubicBezTo>
                  <a:pt x="2155163" y="620205"/>
                  <a:pt x="2172160" y="624706"/>
                  <a:pt x="2184048" y="643278"/>
                </a:cubicBezTo>
                <a:cubicBezTo>
                  <a:pt x="2192775" y="656910"/>
                  <a:pt x="2196541" y="659049"/>
                  <a:pt x="2202425" y="653711"/>
                </a:cubicBezTo>
                <a:cubicBezTo>
                  <a:pt x="2213231" y="643905"/>
                  <a:pt x="2213663" y="624496"/>
                  <a:pt x="2203453" y="607453"/>
                </a:cubicBezTo>
                <a:cubicBezTo>
                  <a:pt x="2193012" y="590025"/>
                  <a:pt x="2192102" y="581815"/>
                  <a:pt x="2200610" y="581815"/>
                </a:cubicBezTo>
                <a:cubicBezTo>
                  <a:pt x="2203961" y="581815"/>
                  <a:pt x="2207897" y="577309"/>
                  <a:pt x="2209356" y="571802"/>
                </a:cubicBezTo>
                <a:cubicBezTo>
                  <a:pt x="2213448" y="556366"/>
                  <a:pt x="2212502" y="537499"/>
                  <a:pt x="2207638" y="537499"/>
                </a:cubicBezTo>
                <a:cubicBezTo>
                  <a:pt x="2200214" y="537499"/>
                  <a:pt x="2202808" y="521779"/>
                  <a:pt x="2211777" y="512421"/>
                </a:cubicBezTo>
                <a:cubicBezTo>
                  <a:pt x="2216458" y="507535"/>
                  <a:pt x="2219456" y="501589"/>
                  <a:pt x="2218439" y="499207"/>
                </a:cubicBezTo>
                <a:cubicBezTo>
                  <a:pt x="2215330" y="491923"/>
                  <a:pt x="2230901" y="475843"/>
                  <a:pt x="2245369" y="471396"/>
                </a:cubicBezTo>
                <a:cubicBezTo>
                  <a:pt x="2257458" y="467681"/>
                  <a:pt x="2259373" y="469060"/>
                  <a:pt x="2261834" y="483257"/>
                </a:cubicBezTo>
                <a:cubicBezTo>
                  <a:pt x="2265391" y="503772"/>
                  <a:pt x="2285196" y="512691"/>
                  <a:pt x="2292979" y="497282"/>
                </a:cubicBezTo>
                <a:cubicBezTo>
                  <a:pt x="2301499" y="480415"/>
                  <a:pt x="2331129" y="488021"/>
                  <a:pt x="2323798" y="505194"/>
                </a:cubicBezTo>
                <a:cubicBezTo>
                  <a:pt x="2318982" y="516475"/>
                  <a:pt x="2325564" y="537499"/>
                  <a:pt x="2333912" y="537499"/>
                </a:cubicBezTo>
                <a:cubicBezTo>
                  <a:pt x="2338100" y="537499"/>
                  <a:pt x="2345347" y="533317"/>
                  <a:pt x="2350016" y="528204"/>
                </a:cubicBezTo>
                <a:cubicBezTo>
                  <a:pt x="2354684" y="523092"/>
                  <a:pt x="2362932" y="518819"/>
                  <a:pt x="2368343" y="518708"/>
                </a:cubicBezTo>
                <a:cubicBezTo>
                  <a:pt x="2373754" y="518597"/>
                  <a:pt x="2378182" y="515658"/>
                  <a:pt x="2378182" y="512176"/>
                </a:cubicBezTo>
                <a:cubicBezTo>
                  <a:pt x="2378182" y="508694"/>
                  <a:pt x="2381133" y="505845"/>
                  <a:pt x="2384742" y="505845"/>
                </a:cubicBezTo>
                <a:cubicBezTo>
                  <a:pt x="2388349" y="505845"/>
                  <a:pt x="2391301" y="502996"/>
                  <a:pt x="2391301" y="499514"/>
                </a:cubicBezTo>
                <a:cubicBezTo>
                  <a:pt x="2391301" y="496032"/>
                  <a:pt x="2394252" y="493183"/>
                  <a:pt x="2397860" y="493183"/>
                </a:cubicBezTo>
                <a:cubicBezTo>
                  <a:pt x="2401468" y="493183"/>
                  <a:pt x="2404419" y="498713"/>
                  <a:pt x="2404419" y="505472"/>
                </a:cubicBezTo>
                <a:cubicBezTo>
                  <a:pt x="2404419" y="520955"/>
                  <a:pt x="2410752" y="526800"/>
                  <a:pt x="2421950" y="521654"/>
                </a:cubicBezTo>
                <a:cubicBezTo>
                  <a:pt x="2427501" y="519104"/>
                  <a:pt x="2430657" y="512070"/>
                  <a:pt x="2430657" y="502253"/>
                </a:cubicBezTo>
                <a:cubicBezTo>
                  <a:pt x="2430657" y="486471"/>
                  <a:pt x="2441550" y="480348"/>
                  <a:pt x="2444767" y="494323"/>
                </a:cubicBezTo>
                <a:cubicBezTo>
                  <a:pt x="2447125" y="504566"/>
                  <a:pt x="2460800" y="496112"/>
                  <a:pt x="2464298" y="482248"/>
                </a:cubicBezTo>
                <a:cubicBezTo>
                  <a:pt x="2465855" y="476076"/>
                  <a:pt x="2470730" y="464231"/>
                  <a:pt x="2475130" y="455927"/>
                </a:cubicBezTo>
                <a:cubicBezTo>
                  <a:pt x="2484828" y="437629"/>
                  <a:pt x="2485486" y="418123"/>
                  <a:pt x="2476573" y="413172"/>
                </a:cubicBezTo>
                <a:cubicBezTo>
                  <a:pt x="2472509" y="410914"/>
                  <a:pt x="2470013" y="401279"/>
                  <a:pt x="2470013" y="387848"/>
                </a:cubicBezTo>
                <a:cubicBezTo>
                  <a:pt x="2470013" y="374418"/>
                  <a:pt x="2467518" y="364782"/>
                  <a:pt x="2463454" y="362525"/>
                </a:cubicBezTo>
                <a:cubicBezTo>
                  <a:pt x="2459846" y="360520"/>
                  <a:pt x="2456910" y="351351"/>
                  <a:pt x="2456929" y="342148"/>
                </a:cubicBezTo>
                <a:cubicBezTo>
                  <a:pt x="2456968" y="323282"/>
                  <a:pt x="2472032" y="309588"/>
                  <a:pt x="2492750" y="309588"/>
                </a:cubicBezTo>
                <a:cubicBezTo>
                  <a:pt x="2499486" y="309588"/>
                  <a:pt x="2504997" y="306740"/>
                  <a:pt x="2504997" y="303258"/>
                </a:cubicBezTo>
                <a:cubicBezTo>
                  <a:pt x="2504997" y="292419"/>
                  <a:pt x="2515749" y="296317"/>
                  <a:pt x="2521291" y="309165"/>
                </a:cubicBezTo>
                <a:cubicBezTo>
                  <a:pt x="2525702" y="319390"/>
                  <a:pt x="2525335" y="321779"/>
                  <a:pt x="2519063" y="323689"/>
                </a:cubicBezTo>
                <a:cubicBezTo>
                  <a:pt x="2514934" y="324947"/>
                  <a:pt x="2522027" y="326405"/>
                  <a:pt x="2534825" y="326930"/>
                </a:cubicBezTo>
                <a:cubicBezTo>
                  <a:pt x="2556889" y="327835"/>
                  <a:pt x="2558327" y="326919"/>
                  <a:pt x="2562584" y="309240"/>
                </a:cubicBezTo>
                <a:cubicBezTo>
                  <a:pt x="2567794" y="287603"/>
                  <a:pt x="2576900" y="285569"/>
                  <a:pt x="2596446" y="301675"/>
                </a:cubicBezTo>
                <a:cubicBezTo>
                  <a:pt x="2605015" y="308735"/>
                  <a:pt x="2609902" y="317785"/>
                  <a:pt x="2609919" y="326625"/>
                </a:cubicBezTo>
                <a:cubicBezTo>
                  <a:pt x="2609955" y="344221"/>
                  <a:pt x="2615370" y="349022"/>
                  <a:pt x="2629424" y="343915"/>
                </a:cubicBezTo>
                <a:cubicBezTo>
                  <a:pt x="2639222" y="340356"/>
                  <a:pt x="2640558" y="336562"/>
                  <a:pt x="2640558" y="312290"/>
                </a:cubicBezTo>
                <a:cubicBezTo>
                  <a:pt x="2640558" y="291190"/>
                  <a:pt x="2642612" y="283118"/>
                  <a:pt x="2649304" y="277934"/>
                </a:cubicBezTo>
                <a:cubicBezTo>
                  <a:pt x="2654568" y="273855"/>
                  <a:pt x="2658050" y="264678"/>
                  <a:pt x="2658050" y="254876"/>
                </a:cubicBezTo>
                <a:cubicBezTo>
                  <a:pt x="2658050" y="242441"/>
                  <a:pt x="2659730" y="239528"/>
                  <a:pt x="2665163" y="242546"/>
                </a:cubicBezTo>
                <a:cubicBezTo>
                  <a:pt x="2669075" y="244720"/>
                  <a:pt x="2674979" y="243252"/>
                  <a:pt x="2678281" y="239283"/>
                </a:cubicBezTo>
                <a:cubicBezTo>
                  <a:pt x="2685187" y="230987"/>
                  <a:pt x="2686456" y="201964"/>
                  <a:pt x="2679914" y="201964"/>
                </a:cubicBezTo>
                <a:cubicBezTo>
                  <a:pt x="2673155" y="201964"/>
                  <a:pt x="2674745" y="182076"/>
                  <a:pt x="2682494" y="169679"/>
                </a:cubicBezTo>
                <a:cubicBezTo>
                  <a:pt x="2693070" y="152761"/>
                  <a:pt x="2686712" y="132325"/>
                  <a:pt x="2670873" y="132325"/>
                </a:cubicBezTo>
                <a:cubicBezTo>
                  <a:pt x="2653920" y="132325"/>
                  <a:pt x="2654096" y="117239"/>
                  <a:pt x="2671168" y="107001"/>
                </a:cubicBezTo>
                <a:cubicBezTo>
                  <a:pt x="2678758" y="102450"/>
                  <a:pt x="2684287" y="94411"/>
                  <a:pt x="2684287" y="87927"/>
                </a:cubicBezTo>
                <a:cubicBezTo>
                  <a:pt x="2684287" y="81252"/>
                  <a:pt x="2688709" y="75113"/>
                  <a:pt x="2695219" y="72747"/>
                </a:cubicBezTo>
                <a:cubicBezTo>
                  <a:pt x="2701232" y="70562"/>
                  <a:pt x="2706152" y="66375"/>
                  <a:pt x="2706152" y="63442"/>
                </a:cubicBezTo>
                <a:cubicBezTo>
                  <a:pt x="2706152" y="55417"/>
                  <a:pt x="2727018" y="62811"/>
                  <a:pt x="2732792" y="72882"/>
                </a:cubicBezTo>
                <a:cubicBezTo>
                  <a:pt x="2735565" y="77719"/>
                  <a:pt x="2742301" y="81678"/>
                  <a:pt x="2747762" y="81678"/>
                </a:cubicBezTo>
                <a:cubicBezTo>
                  <a:pt x="2753223" y="81678"/>
                  <a:pt x="2758824" y="85951"/>
                  <a:pt x="2760208" y="91174"/>
                </a:cubicBezTo>
                <a:cubicBezTo>
                  <a:pt x="2761593" y="96397"/>
                  <a:pt x="2767707" y="100670"/>
                  <a:pt x="2773795" y="100670"/>
                </a:cubicBezTo>
                <a:cubicBezTo>
                  <a:pt x="2782006" y="100670"/>
                  <a:pt x="2784864" y="103991"/>
                  <a:pt x="2784864" y="113531"/>
                </a:cubicBezTo>
                <a:cubicBezTo>
                  <a:pt x="2784864" y="128974"/>
                  <a:pt x="2796460" y="136816"/>
                  <a:pt x="2806176" y="127943"/>
                </a:cubicBezTo>
                <a:cubicBezTo>
                  <a:pt x="2811009" y="123529"/>
                  <a:pt x="2812755" y="114385"/>
                  <a:pt x="2811807" y="98446"/>
                </a:cubicBezTo>
                <a:cubicBezTo>
                  <a:pt x="2810957" y="84169"/>
                  <a:pt x="2812343" y="75347"/>
                  <a:pt x="2815434" y="75347"/>
                </a:cubicBezTo>
                <a:cubicBezTo>
                  <a:pt x="2818242" y="75347"/>
                  <a:pt x="2819352" y="70399"/>
                  <a:pt x="2817964" y="64068"/>
                </a:cubicBezTo>
                <a:cubicBezTo>
                  <a:pt x="2816160" y="55840"/>
                  <a:pt x="2818843" y="50959"/>
                  <a:pt x="2827881" y="46020"/>
                </a:cubicBezTo>
                <a:cubicBezTo>
                  <a:pt x="2843570" y="37446"/>
                  <a:pt x="2867950" y="42245"/>
                  <a:pt x="2867950" y="53908"/>
                </a:cubicBezTo>
                <a:cubicBezTo>
                  <a:pt x="2867950" y="58735"/>
                  <a:pt x="2869918" y="62685"/>
                  <a:pt x="2872323" y="62685"/>
                </a:cubicBezTo>
                <a:cubicBezTo>
                  <a:pt x="2874727" y="62685"/>
                  <a:pt x="2876696" y="66869"/>
                  <a:pt x="2876696" y="71983"/>
                </a:cubicBezTo>
                <a:cubicBezTo>
                  <a:pt x="2876696" y="77575"/>
                  <a:pt x="2879265" y="79852"/>
                  <a:pt x="2883143" y="77698"/>
                </a:cubicBezTo>
                <a:cubicBezTo>
                  <a:pt x="2891144" y="73253"/>
                  <a:pt x="2915481" y="100222"/>
                  <a:pt x="2915810" y="113898"/>
                </a:cubicBezTo>
                <a:cubicBezTo>
                  <a:pt x="2915943" y="119433"/>
                  <a:pt x="2911039" y="127267"/>
                  <a:pt x="2904913" y="131308"/>
                </a:cubicBezTo>
                <a:cubicBezTo>
                  <a:pt x="2890838" y="140594"/>
                  <a:pt x="2889815" y="140513"/>
                  <a:pt x="2889815" y="130128"/>
                </a:cubicBezTo>
                <a:cubicBezTo>
                  <a:pt x="2889815" y="118102"/>
                  <a:pt x="2873609" y="92441"/>
                  <a:pt x="2868756" y="96783"/>
                </a:cubicBezTo>
                <a:cubicBezTo>
                  <a:pt x="2866540" y="98767"/>
                  <a:pt x="2863494" y="111537"/>
                  <a:pt x="2861989" y="125162"/>
                </a:cubicBezTo>
                <a:cubicBezTo>
                  <a:pt x="2860485" y="138787"/>
                  <a:pt x="2856291" y="151581"/>
                  <a:pt x="2852669" y="153593"/>
                </a:cubicBezTo>
                <a:cubicBezTo>
                  <a:pt x="2840741" y="160220"/>
                  <a:pt x="2847175" y="202394"/>
                  <a:pt x="2864473" y="230956"/>
                </a:cubicBezTo>
                <a:cubicBezTo>
                  <a:pt x="2868859" y="238196"/>
                  <a:pt x="2874926" y="256521"/>
                  <a:pt x="2877958" y="271677"/>
                </a:cubicBezTo>
                <a:cubicBezTo>
                  <a:pt x="2881774" y="290765"/>
                  <a:pt x="2887467" y="302627"/>
                  <a:pt x="2896480" y="310278"/>
                </a:cubicBezTo>
                <a:cubicBezTo>
                  <a:pt x="2914313" y="325416"/>
                  <a:pt x="2921265" y="324529"/>
                  <a:pt x="2930626" y="305922"/>
                </a:cubicBezTo>
                <a:cubicBezTo>
                  <a:pt x="2940093" y="287102"/>
                  <a:pt x="2934487" y="271603"/>
                  <a:pt x="2918213" y="271603"/>
                </a:cubicBezTo>
                <a:cubicBezTo>
                  <a:pt x="2911656" y="271603"/>
                  <a:pt x="2907437" y="266805"/>
                  <a:pt x="2905690" y="257359"/>
                </a:cubicBezTo>
                <a:cubicBezTo>
                  <a:pt x="2901610" y="235322"/>
                  <a:pt x="2902186" y="233618"/>
                  <a:pt x="2913711" y="233618"/>
                </a:cubicBezTo>
                <a:cubicBezTo>
                  <a:pt x="2927050" y="233618"/>
                  <a:pt x="2933170" y="217887"/>
                  <a:pt x="2930337" y="190885"/>
                </a:cubicBezTo>
                <a:cubicBezTo>
                  <a:pt x="2928712" y="175393"/>
                  <a:pt x="2929806" y="170310"/>
                  <a:pt x="2934767" y="170310"/>
                </a:cubicBezTo>
                <a:cubicBezTo>
                  <a:pt x="2943173" y="170310"/>
                  <a:pt x="2947395" y="185709"/>
                  <a:pt x="2941378" y="194420"/>
                </a:cubicBezTo>
                <a:cubicBezTo>
                  <a:pt x="2938159" y="199081"/>
                  <a:pt x="2941598" y="202390"/>
                  <a:pt x="2952827" y="205440"/>
                </a:cubicBezTo>
                <a:cubicBezTo>
                  <a:pt x="2965084" y="208769"/>
                  <a:pt x="2970901" y="207145"/>
                  <a:pt x="2977447" y="198569"/>
                </a:cubicBezTo>
                <a:cubicBezTo>
                  <a:pt x="2991133" y="180640"/>
                  <a:pt x="2988109" y="159934"/>
                  <a:pt x="2967852" y="132854"/>
                </a:cubicBezTo>
                <a:cubicBezTo>
                  <a:pt x="2949478" y="108292"/>
                  <a:pt x="2946932" y="88008"/>
                  <a:pt x="2962222" y="88008"/>
                </a:cubicBezTo>
                <a:cubicBezTo>
                  <a:pt x="2970062" y="88008"/>
                  <a:pt x="2985645" y="64023"/>
                  <a:pt x="2985873" y="51606"/>
                </a:cubicBezTo>
                <a:cubicBezTo>
                  <a:pt x="2985960" y="46899"/>
                  <a:pt x="2991929" y="43693"/>
                  <a:pt x="3000606" y="43693"/>
                </a:cubicBezTo>
                <a:cubicBezTo>
                  <a:pt x="3012139" y="43693"/>
                  <a:pt x="3018546" y="49098"/>
                  <a:pt x="3031196" y="69498"/>
                </a:cubicBezTo>
                <a:cubicBezTo>
                  <a:pt x="3045443" y="92473"/>
                  <a:pt x="3047919" y="94259"/>
                  <a:pt x="3053778" y="85778"/>
                </a:cubicBezTo>
                <a:cubicBezTo>
                  <a:pt x="3061714" y="74289"/>
                  <a:pt x="3062205" y="61561"/>
                  <a:pt x="3055111" y="51289"/>
                </a:cubicBezTo>
                <a:cubicBezTo>
                  <a:pt x="3051030" y="45381"/>
                  <a:pt x="3051090" y="41934"/>
                  <a:pt x="3055383" y="35779"/>
                </a:cubicBezTo>
                <a:cubicBezTo>
                  <a:pt x="3059803" y="29442"/>
                  <a:pt x="3061685" y="29872"/>
                  <a:pt x="3064829" y="37931"/>
                </a:cubicBezTo>
                <a:cubicBezTo>
                  <a:pt x="3073651" y="60547"/>
                  <a:pt x="3085007" y="75367"/>
                  <a:pt x="3095119" y="77459"/>
                </a:cubicBezTo>
                <a:cubicBezTo>
                  <a:pt x="3110739" y="80691"/>
                  <a:pt x="3116466" y="97029"/>
                  <a:pt x="3107184" y="111877"/>
                </a:cubicBezTo>
                <a:cubicBezTo>
                  <a:pt x="3099011" y="124950"/>
                  <a:pt x="3097138" y="144986"/>
                  <a:pt x="3104088" y="144986"/>
                </a:cubicBezTo>
                <a:cubicBezTo>
                  <a:pt x="3106492" y="144986"/>
                  <a:pt x="3108461" y="151941"/>
                  <a:pt x="3108461" y="160439"/>
                </a:cubicBezTo>
                <a:cubicBezTo>
                  <a:pt x="3108461" y="168939"/>
                  <a:pt x="3110429" y="177654"/>
                  <a:pt x="3112834" y="179806"/>
                </a:cubicBezTo>
                <a:cubicBezTo>
                  <a:pt x="3115238" y="181958"/>
                  <a:pt x="3117207" y="193663"/>
                  <a:pt x="3117207" y="205817"/>
                </a:cubicBezTo>
                <a:cubicBezTo>
                  <a:pt x="3117207" y="222318"/>
                  <a:pt x="3120918" y="233447"/>
                  <a:pt x="3131860" y="249759"/>
                </a:cubicBezTo>
                <a:cubicBezTo>
                  <a:pt x="3139920" y="261774"/>
                  <a:pt x="3149007" y="271603"/>
                  <a:pt x="3152055" y="271603"/>
                </a:cubicBezTo>
                <a:cubicBezTo>
                  <a:pt x="3155102" y="271603"/>
                  <a:pt x="3164319" y="280150"/>
                  <a:pt x="3172536" y="290596"/>
                </a:cubicBezTo>
                <a:cubicBezTo>
                  <a:pt x="3188581" y="310992"/>
                  <a:pt x="3207725" y="315576"/>
                  <a:pt x="3211850" y="300011"/>
                </a:cubicBezTo>
                <a:cubicBezTo>
                  <a:pt x="3213246" y="294744"/>
                  <a:pt x="3211890" y="286077"/>
                  <a:pt x="3208838" y="280750"/>
                </a:cubicBezTo>
                <a:cubicBezTo>
                  <a:pt x="3201373" y="267728"/>
                  <a:pt x="3210491" y="252182"/>
                  <a:pt x="3218659" y="264006"/>
                </a:cubicBezTo>
                <a:cubicBezTo>
                  <a:pt x="3224862" y="272988"/>
                  <a:pt x="3249230" y="274134"/>
                  <a:pt x="3255173" y="265724"/>
                </a:cubicBezTo>
                <a:cubicBezTo>
                  <a:pt x="3257458" y="262490"/>
                  <a:pt x="3266214" y="258929"/>
                  <a:pt x="3274632" y="257810"/>
                </a:cubicBezTo>
                <a:cubicBezTo>
                  <a:pt x="3287659" y="256079"/>
                  <a:pt x="3290142" y="253185"/>
                  <a:pt x="3291320" y="238366"/>
                </a:cubicBezTo>
                <a:cubicBezTo>
                  <a:pt x="3292306" y="225960"/>
                  <a:pt x="3295174" y="220957"/>
                  <a:pt x="3301297" y="220957"/>
                </a:cubicBezTo>
                <a:cubicBezTo>
                  <a:pt x="3311988" y="220957"/>
                  <a:pt x="3316952" y="203956"/>
                  <a:pt x="3310575" y="189177"/>
                </a:cubicBezTo>
                <a:cubicBezTo>
                  <a:pt x="3306477" y="179673"/>
                  <a:pt x="3307719" y="177506"/>
                  <a:pt x="3319179" y="174188"/>
                </a:cubicBezTo>
                <a:cubicBezTo>
                  <a:pt x="3350857" y="165016"/>
                  <a:pt x="3375209" y="178300"/>
                  <a:pt x="3375209" y="204754"/>
                </a:cubicBezTo>
                <a:cubicBezTo>
                  <a:pt x="3375209" y="212452"/>
                  <a:pt x="3380128" y="225440"/>
                  <a:pt x="3386141" y="233618"/>
                </a:cubicBezTo>
                <a:cubicBezTo>
                  <a:pt x="3392154" y="241796"/>
                  <a:pt x="3397074" y="253213"/>
                  <a:pt x="3397074" y="258990"/>
                </a:cubicBezTo>
                <a:cubicBezTo>
                  <a:pt x="3397074" y="274893"/>
                  <a:pt x="3401750" y="278399"/>
                  <a:pt x="3408988" y="267922"/>
                </a:cubicBezTo>
                <a:cubicBezTo>
                  <a:pt x="3415535" y="258440"/>
                  <a:pt x="3432760" y="261354"/>
                  <a:pt x="3435701" y="272440"/>
                </a:cubicBezTo>
                <a:cubicBezTo>
                  <a:pt x="3436503" y="275462"/>
                  <a:pt x="3441799" y="277934"/>
                  <a:pt x="3447468" y="277934"/>
                </a:cubicBezTo>
                <a:cubicBezTo>
                  <a:pt x="3453139" y="277934"/>
                  <a:pt x="3458994" y="280783"/>
                  <a:pt x="3460481" y="284265"/>
                </a:cubicBezTo>
                <a:cubicBezTo>
                  <a:pt x="3461968" y="287747"/>
                  <a:pt x="3467993" y="290596"/>
                  <a:pt x="3473871" y="290596"/>
                </a:cubicBezTo>
                <a:cubicBezTo>
                  <a:pt x="3482160" y="290596"/>
                  <a:pt x="3486258" y="284916"/>
                  <a:pt x="3492137" y="265273"/>
                </a:cubicBezTo>
                <a:cubicBezTo>
                  <a:pt x="3496304" y="251345"/>
                  <a:pt x="3501176" y="239949"/>
                  <a:pt x="3502962" y="239949"/>
                </a:cubicBezTo>
                <a:cubicBezTo>
                  <a:pt x="3504748" y="239949"/>
                  <a:pt x="3503904" y="232623"/>
                  <a:pt x="3501086" y="223668"/>
                </a:cubicBezTo>
                <a:cubicBezTo>
                  <a:pt x="3497521" y="212342"/>
                  <a:pt x="3497370" y="206081"/>
                  <a:pt x="3500590" y="203093"/>
                </a:cubicBezTo>
                <a:cubicBezTo>
                  <a:pt x="3509297" y="195013"/>
                  <a:pt x="3511914" y="170548"/>
                  <a:pt x="3504512" y="166435"/>
                </a:cubicBezTo>
                <a:cubicBezTo>
                  <a:pt x="3500738" y="164339"/>
                  <a:pt x="3497651" y="156156"/>
                  <a:pt x="3497651" y="148250"/>
                </a:cubicBezTo>
                <a:cubicBezTo>
                  <a:pt x="3497651" y="140344"/>
                  <a:pt x="3494700" y="130329"/>
                  <a:pt x="3491091" y="125994"/>
                </a:cubicBezTo>
                <a:cubicBezTo>
                  <a:pt x="3487483" y="121659"/>
                  <a:pt x="3484532" y="111508"/>
                  <a:pt x="3484532" y="103434"/>
                </a:cubicBezTo>
                <a:cubicBezTo>
                  <a:pt x="3484532" y="95361"/>
                  <a:pt x="3482565" y="86995"/>
                  <a:pt x="3480160" y="84843"/>
                </a:cubicBezTo>
                <a:cubicBezTo>
                  <a:pt x="3477754" y="82691"/>
                  <a:pt x="3475787" y="65734"/>
                  <a:pt x="3475787" y="47161"/>
                </a:cubicBezTo>
                <a:cubicBezTo>
                  <a:pt x="3475787" y="22209"/>
                  <a:pt x="3477593" y="12390"/>
                  <a:pt x="3482704" y="9550"/>
                </a:cubicBezTo>
                <a:cubicBezTo>
                  <a:pt x="3487246" y="7027"/>
                  <a:pt x="3489200" y="5620"/>
                  <a:pt x="3491456" y="6650"/>
                </a:cubicBezTo>
                <a:close/>
                <a:moveTo>
                  <a:pt x="3226906" y="1812"/>
                </a:moveTo>
                <a:cubicBezTo>
                  <a:pt x="3239673" y="-1245"/>
                  <a:pt x="3244752" y="962"/>
                  <a:pt x="3254236" y="13687"/>
                </a:cubicBezTo>
                <a:cubicBezTo>
                  <a:pt x="3260643" y="22284"/>
                  <a:pt x="3265886" y="31224"/>
                  <a:pt x="3265886" y="33553"/>
                </a:cubicBezTo>
                <a:cubicBezTo>
                  <a:pt x="3265886" y="35882"/>
                  <a:pt x="3260213" y="45816"/>
                  <a:pt x="3253280" y="55628"/>
                </a:cubicBezTo>
                <a:cubicBezTo>
                  <a:pt x="3237852" y="77461"/>
                  <a:pt x="3214386" y="85952"/>
                  <a:pt x="3207342" y="72250"/>
                </a:cubicBezTo>
                <a:cubicBezTo>
                  <a:pt x="3202496" y="62824"/>
                  <a:pt x="3163632" y="56671"/>
                  <a:pt x="3158240" y="64477"/>
                </a:cubicBezTo>
                <a:cubicBezTo>
                  <a:pt x="3156779" y="66593"/>
                  <a:pt x="3155075" y="77738"/>
                  <a:pt x="3154454" y="89245"/>
                </a:cubicBezTo>
                <a:cubicBezTo>
                  <a:pt x="3153386" y="109054"/>
                  <a:pt x="3144752" y="119445"/>
                  <a:pt x="3137765" y="109330"/>
                </a:cubicBezTo>
                <a:cubicBezTo>
                  <a:pt x="3133071" y="102536"/>
                  <a:pt x="3134120" y="81678"/>
                  <a:pt x="3139154" y="81678"/>
                </a:cubicBezTo>
                <a:cubicBezTo>
                  <a:pt x="3141720" y="81678"/>
                  <a:pt x="3142451" y="74986"/>
                  <a:pt x="3140877" y="65909"/>
                </a:cubicBezTo>
                <a:cubicBezTo>
                  <a:pt x="3138806" y="53957"/>
                  <a:pt x="3140109" y="49249"/>
                  <a:pt x="3146260" y="46455"/>
                </a:cubicBezTo>
                <a:cubicBezTo>
                  <a:pt x="3150724" y="44427"/>
                  <a:pt x="3157793" y="40127"/>
                  <a:pt x="3161969" y="36900"/>
                </a:cubicBezTo>
                <a:cubicBezTo>
                  <a:pt x="3166146" y="33671"/>
                  <a:pt x="3172542" y="31031"/>
                  <a:pt x="3176182" y="31031"/>
                </a:cubicBezTo>
                <a:cubicBezTo>
                  <a:pt x="3179885" y="31031"/>
                  <a:pt x="3182801" y="25454"/>
                  <a:pt x="3182801" y="18369"/>
                </a:cubicBezTo>
                <a:cubicBezTo>
                  <a:pt x="3182801" y="8319"/>
                  <a:pt x="3185731" y="5693"/>
                  <a:pt x="3197012" y="5637"/>
                </a:cubicBezTo>
                <a:cubicBezTo>
                  <a:pt x="3204829" y="5599"/>
                  <a:pt x="3218281" y="3878"/>
                  <a:pt x="3226906" y="1812"/>
                </a:cubicBezTo>
                <a:close/>
                <a:moveTo>
                  <a:pt x="3353505" y="1044"/>
                </a:moveTo>
                <a:cubicBezTo>
                  <a:pt x="3365314" y="-3635"/>
                  <a:pt x="3365622" y="6767"/>
                  <a:pt x="3364731" y="45612"/>
                </a:cubicBezTo>
                <a:cubicBezTo>
                  <a:pt x="3364148" y="71042"/>
                  <a:pt x="3362215" y="95257"/>
                  <a:pt x="3360436" y="99424"/>
                </a:cubicBezTo>
                <a:cubicBezTo>
                  <a:pt x="3356504" y="108635"/>
                  <a:pt x="3346119" y="109352"/>
                  <a:pt x="3342412" y="100670"/>
                </a:cubicBezTo>
                <a:cubicBezTo>
                  <a:pt x="3340926" y="97188"/>
                  <a:pt x="3335147" y="94339"/>
                  <a:pt x="3329571" y="94339"/>
                </a:cubicBezTo>
                <a:cubicBezTo>
                  <a:pt x="3323994" y="94339"/>
                  <a:pt x="3316982" y="90066"/>
                  <a:pt x="3313988" y="84843"/>
                </a:cubicBezTo>
                <a:cubicBezTo>
                  <a:pt x="3310993" y="79620"/>
                  <a:pt x="3304850" y="75347"/>
                  <a:pt x="3300334" y="75347"/>
                </a:cubicBezTo>
                <a:cubicBezTo>
                  <a:pt x="3295819" y="75347"/>
                  <a:pt x="3292124" y="73173"/>
                  <a:pt x="3292124" y="70517"/>
                </a:cubicBezTo>
                <a:cubicBezTo>
                  <a:pt x="3292124" y="67861"/>
                  <a:pt x="3287696" y="62875"/>
                  <a:pt x="3282285" y="59438"/>
                </a:cubicBezTo>
                <a:cubicBezTo>
                  <a:pt x="3264498" y="48141"/>
                  <a:pt x="3270499" y="34725"/>
                  <a:pt x="3296497" y="27663"/>
                </a:cubicBezTo>
                <a:cubicBezTo>
                  <a:pt x="3309725" y="24071"/>
                  <a:pt x="3328167" y="16237"/>
                  <a:pt x="3337481" y="10254"/>
                </a:cubicBezTo>
                <a:cubicBezTo>
                  <a:pt x="3344354" y="5839"/>
                  <a:pt x="3349568" y="2604"/>
                  <a:pt x="3353505" y="1044"/>
                </a:cubicBezTo>
                <a:close/>
              </a:path>
            </a:pathLst>
          </a:custGeom>
        </p:spPr>
        <p:txBody>
          <a:bodyPr wrap="square">
            <a:noAutofit/>
          </a:bodyPr>
          <a:lstStyle/>
          <a:p>
            <a:endParaRPr lang="en-IN"/>
          </a:p>
        </p:txBody>
      </p:sp>
      <p:sp>
        <p:nvSpPr>
          <p:cNvPr id="6" name="Picture Placeholder 5">
            <a:extLst>
              <a:ext uri="{FF2B5EF4-FFF2-40B4-BE49-F238E27FC236}">
                <a16:creationId xmlns:a16="http://schemas.microsoft.com/office/drawing/2014/main" id="{3D0B7AA4-20D7-4630-AB8A-C2207A5A3D3B}"/>
              </a:ext>
            </a:extLst>
          </p:cNvPr>
          <p:cNvSpPr>
            <a:spLocks noGrp="1"/>
          </p:cNvSpPr>
          <p:nvPr>
            <p:ph type="pic" sz="quarter" idx="14"/>
          </p:nvPr>
        </p:nvSpPr>
        <p:spPr>
          <a:xfrm>
            <a:off x="4580689" y="1405755"/>
            <a:ext cx="3030631" cy="3017293"/>
          </a:xfrm>
          <a:custGeom>
            <a:avLst/>
            <a:gdLst>
              <a:gd name="connsiteX0" fmla="*/ 1260900 w 4545947"/>
              <a:gd name="connsiteY0" fmla="*/ 4513278 h 4525940"/>
              <a:gd name="connsiteX1" fmla="*/ 1267459 w 4545947"/>
              <a:gd name="connsiteY1" fmla="*/ 4519609 h 4525940"/>
              <a:gd name="connsiteX2" fmla="*/ 1260900 w 4545947"/>
              <a:gd name="connsiteY2" fmla="*/ 4525940 h 4525940"/>
              <a:gd name="connsiteX3" fmla="*/ 1254340 w 4545947"/>
              <a:gd name="connsiteY3" fmla="*/ 4519609 h 4525940"/>
              <a:gd name="connsiteX4" fmla="*/ 1260900 w 4545947"/>
              <a:gd name="connsiteY4" fmla="*/ 4513278 h 4525940"/>
              <a:gd name="connsiteX5" fmla="*/ 1096915 w 4545947"/>
              <a:gd name="connsiteY5" fmla="*/ 4392992 h 4525940"/>
              <a:gd name="connsiteX6" fmla="*/ 1101288 w 4545947"/>
              <a:gd name="connsiteY6" fmla="*/ 4402488 h 4525940"/>
              <a:gd name="connsiteX7" fmla="*/ 1096915 w 4545947"/>
              <a:gd name="connsiteY7" fmla="*/ 4411984 h 4525940"/>
              <a:gd name="connsiteX8" fmla="*/ 1092542 w 4545947"/>
              <a:gd name="connsiteY8" fmla="*/ 4402488 h 4525940"/>
              <a:gd name="connsiteX9" fmla="*/ 1096915 w 4545947"/>
              <a:gd name="connsiteY9" fmla="*/ 4392992 h 4525940"/>
              <a:gd name="connsiteX10" fmla="*/ 3812502 w 4545947"/>
              <a:gd name="connsiteY10" fmla="*/ 4386661 h 4525940"/>
              <a:gd name="connsiteX11" fmla="*/ 3816875 w 4545947"/>
              <a:gd name="connsiteY11" fmla="*/ 4392992 h 4525940"/>
              <a:gd name="connsiteX12" fmla="*/ 3812502 w 4545947"/>
              <a:gd name="connsiteY12" fmla="*/ 4399322 h 4525940"/>
              <a:gd name="connsiteX13" fmla="*/ 3808129 w 4545947"/>
              <a:gd name="connsiteY13" fmla="*/ 4392992 h 4525940"/>
              <a:gd name="connsiteX14" fmla="*/ 3812502 w 4545947"/>
              <a:gd name="connsiteY14" fmla="*/ 4386661 h 4525940"/>
              <a:gd name="connsiteX15" fmla="*/ 972287 w 4545947"/>
              <a:gd name="connsiteY15" fmla="*/ 4355006 h 4525940"/>
              <a:gd name="connsiteX16" fmla="*/ 978846 w 4545947"/>
              <a:gd name="connsiteY16" fmla="*/ 4364503 h 4525940"/>
              <a:gd name="connsiteX17" fmla="*/ 972287 w 4545947"/>
              <a:gd name="connsiteY17" fmla="*/ 4373999 h 4525940"/>
              <a:gd name="connsiteX18" fmla="*/ 965727 w 4545947"/>
              <a:gd name="connsiteY18" fmla="*/ 4364503 h 4525940"/>
              <a:gd name="connsiteX19" fmla="*/ 972287 w 4545947"/>
              <a:gd name="connsiteY19" fmla="*/ 4355006 h 4525940"/>
              <a:gd name="connsiteX20" fmla="*/ 3695599 w 4545947"/>
              <a:gd name="connsiteY20" fmla="*/ 4285367 h 4525940"/>
              <a:gd name="connsiteX21" fmla="*/ 3704795 w 4545947"/>
              <a:gd name="connsiteY21" fmla="*/ 4299611 h 4525940"/>
              <a:gd name="connsiteX22" fmla="*/ 3703751 w 4545947"/>
              <a:gd name="connsiteY22" fmla="*/ 4355006 h 4525940"/>
              <a:gd name="connsiteX23" fmla="*/ 3697362 w 4545947"/>
              <a:gd name="connsiteY23" fmla="*/ 4334431 h 4525940"/>
              <a:gd name="connsiteX24" fmla="*/ 3691906 w 4545947"/>
              <a:gd name="connsiteY24" fmla="*/ 4299611 h 4525940"/>
              <a:gd name="connsiteX25" fmla="*/ 3695599 w 4545947"/>
              <a:gd name="connsiteY25" fmla="*/ 4285367 h 4525940"/>
              <a:gd name="connsiteX26" fmla="*/ 3791489 w 4545947"/>
              <a:gd name="connsiteY26" fmla="*/ 4247982 h 4525940"/>
              <a:gd name="connsiteX27" fmla="*/ 3797678 w 4545947"/>
              <a:gd name="connsiteY27" fmla="*/ 4254863 h 4525940"/>
              <a:gd name="connsiteX28" fmla="*/ 3802997 w 4545947"/>
              <a:gd name="connsiteY28" fmla="*/ 4279809 h 4525940"/>
              <a:gd name="connsiteX29" fmla="*/ 3793855 w 4545947"/>
              <a:gd name="connsiteY29" fmla="*/ 4273261 h 4525940"/>
              <a:gd name="connsiteX30" fmla="*/ 3791489 w 4545947"/>
              <a:gd name="connsiteY30" fmla="*/ 4247982 h 4525940"/>
              <a:gd name="connsiteX31" fmla="*/ 932930 w 4545947"/>
              <a:gd name="connsiteY31" fmla="*/ 4222058 h 4525940"/>
              <a:gd name="connsiteX32" fmla="*/ 939490 w 4545947"/>
              <a:gd name="connsiteY32" fmla="*/ 4234720 h 4525940"/>
              <a:gd name="connsiteX33" fmla="*/ 932930 w 4545947"/>
              <a:gd name="connsiteY33" fmla="*/ 4247382 h 4525940"/>
              <a:gd name="connsiteX34" fmla="*/ 926371 w 4545947"/>
              <a:gd name="connsiteY34" fmla="*/ 4234720 h 4525940"/>
              <a:gd name="connsiteX35" fmla="*/ 932930 w 4545947"/>
              <a:gd name="connsiteY35" fmla="*/ 4222058 h 4525940"/>
              <a:gd name="connsiteX36" fmla="*/ 1267119 w 4545947"/>
              <a:gd name="connsiteY36" fmla="*/ 4212536 h 4525940"/>
              <a:gd name="connsiteX37" fmla="*/ 1271832 w 4545947"/>
              <a:gd name="connsiteY37" fmla="*/ 4222432 h 4525940"/>
              <a:gd name="connsiteX38" fmla="*/ 1259340 w 4545947"/>
              <a:gd name="connsiteY38" fmla="*/ 4222753 h 4525940"/>
              <a:gd name="connsiteX39" fmla="*/ 1258247 w 4545947"/>
              <a:gd name="connsiteY39" fmla="*/ 4212980 h 4525940"/>
              <a:gd name="connsiteX40" fmla="*/ 1267119 w 4545947"/>
              <a:gd name="connsiteY40" fmla="*/ 4212536 h 4525940"/>
              <a:gd name="connsiteX41" fmla="*/ 3606974 w 4545947"/>
              <a:gd name="connsiteY41" fmla="*/ 4158750 h 4525940"/>
              <a:gd name="connsiteX42" fmla="*/ 3611347 w 4545947"/>
              <a:gd name="connsiteY42" fmla="*/ 4165081 h 4525940"/>
              <a:gd name="connsiteX43" fmla="*/ 3606974 w 4545947"/>
              <a:gd name="connsiteY43" fmla="*/ 4171411 h 4525940"/>
              <a:gd name="connsiteX44" fmla="*/ 3602601 w 4545947"/>
              <a:gd name="connsiteY44" fmla="*/ 4165081 h 4525940"/>
              <a:gd name="connsiteX45" fmla="*/ 3606974 w 4545947"/>
              <a:gd name="connsiteY45" fmla="*/ 4158750 h 4525940"/>
              <a:gd name="connsiteX46" fmla="*/ 1253971 w 4545947"/>
              <a:gd name="connsiteY46" fmla="*/ 4155079 h 4525940"/>
              <a:gd name="connsiteX47" fmla="*/ 1263086 w 4545947"/>
              <a:gd name="connsiteY47" fmla="*/ 4181282 h 4525940"/>
              <a:gd name="connsiteX48" fmla="*/ 1254814 w 4545947"/>
              <a:gd name="connsiteY48" fmla="*/ 4203066 h 4525940"/>
              <a:gd name="connsiteX49" fmla="*/ 1243753 w 4545947"/>
              <a:gd name="connsiteY49" fmla="*/ 4186974 h 4525940"/>
              <a:gd name="connsiteX50" fmla="*/ 1247618 w 4545947"/>
              <a:gd name="connsiteY50" fmla="*/ 4161246 h 4525940"/>
              <a:gd name="connsiteX51" fmla="*/ 1253971 w 4545947"/>
              <a:gd name="connsiteY51" fmla="*/ 4155079 h 4525940"/>
              <a:gd name="connsiteX52" fmla="*/ 2452780 w 4545947"/>
              <a:gd name="connsiteY52" fmla="*/ 4146088 h 4525940"/>
              <a:gd name="connsiteX53" fmla="*/ 2456895 w 4545947"/>
              <a:gd name="connsiteY53" fmla="*/ 4155585 h 4525940"/>
              <a:gd name="connsiteX54" fmla="*/ 2446810 w 4545947"/>
              <a:gd name="connsiteY54" fmla="*/ 4161032 h 4525940"/>
              <a:gd name="connsiteX55" fmla="*/ 2452780 w 4545947"/>
              <a:gd name="connsiteY55" fmla="*/ 4146088 h 4525940"/>
              <a:gd name="connsiteX56" fmla="*/ 3700993 w 4545947"/>
              <a:gd name="connsiteY56" fmla="*/ 4127095 h 4525940"/>
              <a:gd name="connsiteX57" fmla="*/ 3707552 w 4545947"/>
              <a:gd name="connsiteY57" fmla="*/ 4136592 h 4525940"/>
              <a:gd name="connsiteX58" fmla="*/ 3697347 w 4545947"/>
              <a:gd name="connsiteY58" fmla="*/ 4141867 h 4525940"/>
              <a:gd name="connsiteX59" fmla="*/ 3700993 w 4545947"/>
              <a:gd name="connsiteY59" fmla="*/ 4127095 h 4525940"/>
              <a:gd name="connsiteX60" fmla="*/ 879089 w 4545947"/>
              <a:gd name="connsiteY60" fmla="*/ 4115046 h 4525940"/>
              <a:gd name="connsiteX61" fmla="*/ 887014 w 4545947"/>
              <a:gd name="connsiteY61" fmla="*/ 4127095 h 4525940"/>
              <a:gd name="connsiteX62" fmla="*/ 877084 w 4545947"/>
              <a:gd name="connsiteY62" fmla="*/ 4132845 h 4525940"/>
              <a:gd name="connsiteX63" fmla="*/ 871875 w 4545947"/>
              <a:gd name="connsiteY63" fmla="*/ 4120376 h 4525940"/>
              <a:gd name="connsiteX64" fmla="*/ 879089 w 4545947"/>
              <a:gd name="connsiteY64" fmla="*/ 4115046 h 4525940"/>
              <a:gd name="connsiteX65" fmla="*/ 1862177 w 4545947"/>
              <a:gd name="connsiteY65" fmla="*/ 4108103 h 4525940"/>
              <a:gd name="connsiteX66" fmla="*/ 1866550 w 4545947"/>
              <a:gd name="connsiteY66" fmla="*/ 4114434 h 4525940"/>
              <a:gd name="connsiteX67" fmla="*/ 1862177 w 4545947"/>
              <a:gd name="connsiteY67" fmla="*/ 4120765 h 4525940"/>
              <a:gd name="connsiteX68" fmla="*/ 1857804 w 4545947"/>
              <a:gd name="connsiteY68" fmla="*/ 4114434 h 4525940"/>
              <a:gd name="connsiteX69" fmla="*/ 1862177 w 4545947"/>
              <a:gd name="connsiteY69" fmla="*/ 4108103 h 4525940"/>
              <a:gd name="connsiteX70" fmla="*/ 1183790 w 4545947"/>
              <a:gd name="connsiteY70" fmla="*/ 4089207 h 4525940"/>
              <a:gd name="connsiteX71" fmla="*/ 1177152 w 4545947"/>
              <a:gd name="connsiteY71" fmla="*/ 4126770 h 4525940"/>
              <a:gd name="connsiteX72" fmla="*/ 1180982 w 4545947"/>
              <a:gd name="connsiteY72" fmla="*/ 4116926 h 4525940"/>
              <a:gd name="connsiteX73" fmla="*/ 1184868 w 4545947"/>
              <a:gd name="connsiteY73" fmla="*/ 4094865 h 4525940"/>
              <a:gd name="connsiteX74" fmla="*/ 1183790 w 4545947"/>
              <a:gd name="connsiteY74" fmla="*/ 4089207 h 4525940"/>
              <a:gd name="connsiteX75" fmla="*/ 1852771 w 4545947"/>
              <a:gd name="connsiteY75" fmla="*/ 4080379 h 4525940"/>
              <a:gd name="connsiteX76" fmla="*/ 1859380 w 4545947"/>
              <a:gd name="connsiteY76" fmla="*/ 4080841 h 4525940"/>
              <a:gd name="connsiteX77" fmla="*/ 1858062 w 4545947"/>
              <a:gd name="connsiteY77" fmla="*/ 4095441 h 4525940"/>
              <a:gd name="connsiteX78" fmla="*/ 1851431 w 4545947"/>
              <a:gd name="connsiteY78" fmla="*/ 4089548 h 4525940"/>
              <a:gd name="connsiteX79" fmla="*/ 1852771 w 4545947"/>
              <a:gd name="connsiteY79" fmla="*/ 4080379 h 4525940"/>
              <a:gd name="connsiteX80" fmla="*/ 3747913 w 4545947"/>
              <a:gd name="connsiteY80" fmla="*/ 4076860 h 4525940"/>
              <a:gd name="connsiteX81" fmla="*/ 3759152 w 4545947"/>
              <a:gd name="connsiteY81" fmla="*/ 4084046 h 4525940"/>
              <a:gd name="connsiteX82" fmla="*/ 3756383 w 4545947"/>
              <a:gd name="connsiteY82" fmla="*/ 4108103 h 4525940"/>
              <a:gd name="connsiteX83" fmla="*/ 3745450 w 4545947"/>
              <a:gd name="connsiteY83" fmla="*/ 4103882 h 4525940"/>
              <a:gd name="connsiteX84" fmla="*/ 3742535 w 4545947"/>
              <a:gd name="connsiteY84" fmla="*/ 4088055 h 4525940"/>
              <a:gd name="connsiteX85" fmla="*/ 3747913 w 4545947"/>
              <a:gd name="connsiteY85" fmla="*/ 4076860 h 4525940"/>
              <a:gd name="connsiteX86" fmla="*/ 1114457 w 4545947"/>
              <a:gd name="connsiteY86" fmla="*/ 4072746 h 4525940"/>
              <a:gd name="connsiteX87" fmla="*/ 1107340 w 4545947"/>
              <a:gd name="connsiteY87" fmla="*/ 4105307 h 4525940"/>
              <a:gd name="connsiteX88" fmla="*/ 1117549 w 4545947"/>
              <a:gd name="connsiteY88" fmla="*/ 4113700 h 4525940"/>
              <a:gd name="connsiteX89" fmla="*/ 1117687 w 4545947"/>
              <a:gd name="connsiteY89" fmla="*/ 4110070 h 4525940"/>
              <a:gd name="connsiteX90" fmla="*/ 1115500 w 4545947"/>
              <a:gd name="connsiteY90" fmla="*/ 4074720 h 4525940"/>
              <a:gd name="connsiteX91" fmla="*/ 1114457 w 4545947"/>
              <a:gd name="connsiteY91" fmla="*/ 4072746 h 4525940"/>
              <a:gd name="connsiteX92" fmla="*/ 2356317 w 4545947"/>
              <a:gd name="connsiteY92" fmla="*/ 4044794 h 4525940"/>
              <a:gd name="connsiteX93" fmla="*/ 2360690 w 4545947"/>
              <a:gd name="connsiteY93" fmla="*/ 4050752 h 4525940"/>
              <a:gd name="connsiteX94" fmla="*/ 2356317 w 4545947"/>
              <a:gd name="connsiteY94" fmla="*/ 4060622 h 4525940"/>
              <a:gd name="connsiteX95" fmla="*/ 2351944 w 4545947"/>
              <a:gd name="connsiteY95" fmla="*/ 4054664 h 4525940"/>
              <a:gd name="connsiteX96" fmla="*/ 2356317 w 4545947"/>
              <a:gd name="connsiteY96" fmla="*/ 4044794 h 4525940"/>
              <a:gd name="connsiteX97" fmla="*/ 1890281 w 4545947"/>
              <a:gd name="connsiteY97" fmla="*/ 4038463 h 4525940"/>
              <a:gd name="connsiteX98" fmla="*/ 1903064 w 4545947"/>
              <a:gd name="connsiteY98" fmla="*/ 4057456 h 4525940"/>
              <a:gd name="connsiteX99" fmla="*/ 1908851 w 4545947"/>
              <a:gd name="connsiteY99" fmla="*/ 4075870 h 4525940"/>
              <a:gd name="connsiteX100" fmla="*/ 1896075 w 4545947"/>
              <a:gd name="connsiteY100" fmla="*/ 4064790 h 4525940"/>
              <a:gd name="connsiteX101" fmla="*/ 1890281 w 4545947"/>
              <a:gd name="connsiteY101" fmla="*/ 4038463 h 4525940"/>
              <a:gd name="connsiteX102" fmla="*/ 1534930 w 4545947"/>
              <a:gd name="connsiteY102" fmla="*/ 4031057 h 4525940"/>
              <a:gd name="connsiteX103" fmla="*/ 1547326 w 4545947"/>
              <a:gd name="connsiteY103" fmla="*/ 4034071 h 4525940"/>
              <a:gd name="connsiteX104" fmla="*/ 1556559 w 4545947"/>
              <a:gd name="connsiteY104" fmla="*/ 4057456 h 4525940"/>
              <a:gd name="connsiteX105" fmla="*/ 1556072 w 4545947"/>
              <a:gd name="connsiteY105" fmla="*/ 4082779 h 4525940"/>
              <a:gd name="connsiteX106" fmla="*/ 1569191 w 4545947"/>
              <a:gd name="connsiteY106" fmla="*/ 4122875 h 4525940"/>
              <a:gd name="connsiteX107" fmla="*/ 1577937 w 4545947"/>
              <a:gd name="connsiteY107" fmla="*/ 4146088 h 4525940"/>
              <a:gd name="connsiteX108" fmla="*/ 1586682 w 4545947"/>
              <a:gd name="connsiteY108" fmla="*/ 4168537 h 4525940"/>
              <a:gd name="connsiteX109" fmla="*/ 1593242 w 4545947"/>
              <a:gd name="connsiteY109" fmla="*/ 4180031 h 4525940"/>
              <a:gd name="connsiteX110" fmla="*/ 1596521 w 4545947"/>
              <a:gd name="connsiteY110" fmla="*/ 4203041 h 4525940"/>
              <a:gd name="connsiteX111" fmla="*/ 1561308 w 4545947"/>
              <a:gd name="connsiteY111" fmla="*/ 4157141 h 4525940"/>
              <a:gd name="connsiteX112" fmla="*/ 1521156 w 4545947"/>
              <a:gd name="connsiteY112" fmla="*/ 4087528 h 4525940"/>
              <a:gd name="connsiteX113" fmla="*/ 1535320 w 4545947"/>
              <a:gd name="connsiteY113" fmla="*/ 4090693 h 4525940"/>
              <a:gd name="connsiteX114" fmla="*/ 1540362 w 4545947"/>
              <a:gd name="connsiteY114" fmla="*/ 4074041 h 4525940"/>
              <a:gd name="connsiteX115" fmla="*/ 1538885 w 4545947"/>
              <a:gd name="connsiteY115" fmla="*/ 4042703 h 4525940"/>
              <a:gd name="connsiteX116" fmla="*/ 1534930 w 4545947"/>
              <a:gd name="connsiteY116" fmla="*/ 4031057 h 4525940"/>
              <a:gd name="connsiteX117" fmla="*/ 843613 w 4545947"/>
              <a:gd name="connsiteY117" fmla="*/ 4027015 h 4525940"/>
              <a:gd name="connsiteX118" fmla="*/ 848314 w 4545947"/>
              <a:gd name="connsiteY118" fmla="*/ 4035298 h 4525940"/>
              <a:gd name="connsiteX119" fmla="*/ 843613 w 4545947"/>
              <a:gd name="connsiteY119" fmla="*/ 4043581 h 4525940"/>
              <a:gd name="connsiteX120" fmla="*/ 838912 w 4545947"/>
              <a:gd name="connsiteY120" fmla="*/ 4035298 h 4525940"/>
              <a:gd name="connsiteX121" fmla="*/ 843613 w 4545947"/>
              <a:gd name="connsiteY121" fmla="*/ 4027015 h 4525940"/>
              <a:gd name="connsiteX122" fmla="*/ 2342527 w 4545947"/>
              <a:gd name="connsiteY122" fmla="*/ 4008437 h 4525940"/>
              <a:gd name="connsiteX123" fmla="*/ 2347571 w 4545947"/>
              <a:gd name="connsiteY123" fmla="*/ 4015778 h 4525940"/>
              <a:gd name="connsiteX124" fmla="*/ 2340648 w 4545947"/>
              <a:gd name="connsiteY124" fmla="*/ 4025802 h 4525940"/>
              <a:gd name="connsiteX125" fmla="*/ 2335455 w 4545947"/>
              <a:gd name="connsiteY125" fmla="*/ 4018284 h 4525940"/>
              <a:gd name="connsiteX126" fmla="*/ 2342527 w 4545947"/>
              <a:gd name="connsiteY126" fmla="*/ 4008437 h 4525940"/>
              <a:gd name="connsiteX127" fmla="*/ 3724941 w 4545947"/>
              <a:gd name="connsiteY127" fmla="*/ 4000570 h 4525940"/>
              <a:gd name="connsiteX128" fmla="*/ 3742535 w 4545947"/>
              <a:gd name="connsiteY128" fmla="*/ 4019019 h 4525940"/>
              <a:gd name="connsiteX129" fmla="*/ 3724767 w 4545947"/>
              <a:gd name="connsiteY129" fmla="*/ 4015823 h 4525940"/>
              <a:gd name="connsiteX130" fmla="*/ 3724941 w 4545947"/>
              <a:gd name="connsiteY130" fmla="*/ 4000570 h 4525940"/>
              <a:gd name="connsiteX131" fmla="*/ 1367217 w 4545947"/>
              <a:gd name="connsiteY131" fmla="*/ 3939176 h 4525940"/>
              <a:gd name="connsiteX132" fmla="*/ 1375598 w 4545947"/>
              <a:gd name="connsiteY132" fmla="*/ 3939675 h 4525940"/>
              <a:gd name="connsiteX133" fmla="*/ 1369858 w 4545947"/>
              <a:gd name="connsiteY133" fmla="*/ 3943001 h 4525940"/>
              <a:gd name="connsiteX134" fmla="*/ 1367216 w 4545947"/>
              <a:gd name="connsiteY134" fmla="*/ 3939176 h 4525940"/>
              <a:gd name="connsiteX135" fmla="*/ 1367217 w 4545947"/>
              <a:gd name="connsiteY135" fmla="*/ 3939176 h 4525940"/>
              <a:gd name="connsiteX136" fmla="*/ 1367216 w 4545947"/>
              <a:gd name="connsiteY136" fmla="*/ 3939176 h 4525940"/>
              <a:gd name="connsiteX137" fmla="*/ 2495323 w 4545947"/>
              <a:gd name="connsiteY137" fmla="*/ 3937371 h 4525940"/>
              <a:gd name="connsiteX138" fmla="*/ 2506090 w 4545947"/>
              <a:gd name="connsiteY138" fmla="*/ 3945983 h 4525940"/>
              <a:gd name="connsiteX139" fmla="*/ 2508860 w 4545947"/>
              <a:gd name="connsiteY139" fmla="*/ 3987817 h 4525940"/>
              <a:gd name="connsiteX140" fmla="*/ 2506067 w 4545947"/>
              <a:gd name="connsiteY140" fmla="*/ 4003644 h 4525940"/>
              <a:gd name="connsiteX141" fmla="*/ 2494768 w 4545947"/>
              <a:gd name="connsiteY141" fmla="*/ 4014723 h 4525940"/>
              <a:gd name="connsiteX142" fmla="*/ 2495323 w 4545947"/>
              <a:gd name="connsiteY142" fmla="*/ 3937371 h 4525940"/>
              <a:gd name="connsiteX143" fmla="*/ 3895920 w 4545947"/>
              <a:gd name="connsiteY143" fmla="*/ 3935463 h 4525940"/>
              <a:gd name="connsiteX144" fmla="*/ 3899960 w 4545947"/>
              <a:gd name="connsiteY144" fmla="*/ 3959837 h 4525940"/>
              <a:gd name="connsiteX145" fmla="*/ 3911406 w 4545947"/>
              <a:gd name="connsiteY145" fmla="*/ 3989307 h 4525940"/>
              <a:gd name="connsiteX146" fmla="*/ 3930692 w 4545947"/>
              <a:gd name="connsiteY146" fmla="*/ 3982841 h 4525940"/>
              <a:gd name="connsiteX147" fmla="*/ 3949909 w 4545947"/>
              <a:gd name="connsiteY147" fmla="*/ 3984943 h 4525940"/>
              <a:gd name="connsiteX148" fmla="*/ 3939464 w 4545947"/>
              <a:gd name="connsiteY148" fmla="*/ 4010043 h 4525940"/>
              <a:gd name="connsiteX149" fmla="*/ 3929769 w 4545947"/>
              <a:gd name="connsiteY149" fmla="*/ 4024499 h 4525940"/>
              <a:gd name="connsiteX150" fmla="*/ 3933346 w 4545947"/>
              <a:gd name="connsiteY150" fmla="*/ 4049881 h 4525940"/>
              <a:gd name="connsiteX151" fmla="*/ 3940956 w 4545947"/>
              <a:gd name="connsiteY151" fmla="*/ 4120846 h 4525940"/>
              <a:gd name="connsiteX152" fmla="*/ 3929478 w 4545947"/>
              <a:gd name="connsiteY152" fmla="*/ 4120056 h 4525940"/>
              <a:gd name="connsiteX153" fmla="*/ 3921825 w 4545947"/>
              <a:gd name="connsiteY153" fmla="*/ 4086004 h 4525940"/>
              <a:gd name="connsiteX154" fmla="*/ 3917386 w 4545947"/>
              <a:gd name="connsiteY154" fmla="*/ 4054232 h 4525940"/>
              <a:gd name="connsiteX155" fmla="*/ 3906676 w 4545947"/>
              <a:gd name="connsiteY155" fmla="*/ 4028534 h 4525940"/>
              <a:gd name="connsiteX156" fmla="*/ 3891911 w 4545947"/>
              <a:gd name="connsiteY156" fmla="*/ 4006809 h 4525940"/>
              <a:gd name="connsiteX157" fmla="*/ 3885345 w 4545947"/>
              <a:gd name="connsiteY157" fmla="*/ 3953575 h 4525940"/>
              <a:gd name="connsiteX158" fmla="*/ 3895920 w 4545947"/>
              <a:gd name="connsiteY158" fmla="*/ 3935463 h 4525940"/>
              <a:gd name="connsiteX159" fmla="*/ 2337188 w 4545947"/>
              <a:gd name="connsiteY159" fmla="*/ 3930839 h 4525940"/>
              <a:gd name="connsiteX160" fmla="*/ 2342396 w 4545947"/>
              <a:gd name="connsiteY160" fmla="*/ 3947761 h 4525940"/>
              <a:gd name="connsiteX161" fmla="*/ 2327982 w 4545947"/>
              <a:gd name="connsiteY161" fmla="*/ 3956568 h 4525940"/>
              <a:gd name="connsiteX162" fmla="*/ 2337188 w 4545947"/>
              <a:gd name="connsiteY162" fmla="*/ 3930839 h 4525940"/>
              <a:gd name="connsiteX163" fmla="*/ 2224989 w 4545947"/>
              <a:gd name="connsiteY163" fmla="*/ 3912997 h 4525940"/>
              <a:gd name="connsiteX164" fmla="*/ 2230083 w 4545947"/>
              <a:gd name="connsiteY164" fmla="*/ 3916486 h 4525940"/>
              <a:gd name="connsiteX165" fmla="*/ 2225735 w 4545947"/>
              <a:gd name="connsiteY165" fmla="*/ 3943501 h 4525940"/>
              <a:gd name="connsiteX166" fmla="*/ 2218895 w 4545947"/>
              <a:gd name="connsiteY166" fmla="*/ 3932946 h 4525940"/>
              <a:gd name="connsiteX167" fmla="*/ 2224989 w 4545947"/>
              <a:gd name="connsiteY167" fmla="*/ 3912997 h 4525940"/>
              <a:gd name="connsiteX168" fmla="*/ 1388112 w 4545947"/>
              <a:gd name="connsiteY168" fmla="*/ 3908577 h 4525940"/>
              <a:gd name="connsiteX169" fmla="*/ 1380454 w 4545947"/>
              <a:gd name="connsiteY169" fmla="*/ 3917982 h 4525940"/>
              <a:gd name="connsiteX170" fmla="*/ 1363663 w 4545947"/>
              <a:gd name="connsiteY170" fmla="*/ 3924107 h 4525940"/>
              <a:gd name="connsiteX171" fmla="*/ 1349452 w 4545947"/>
              <a:gd name="connsiteY171" fmla="*/ 3919359 h 4525940"/>
              <a:gd name="connsiteX172" fmla="*/ 1335239 w 4545947"/>
              <a:gd name="connsiteY172" fmla="*/ 3936885 h 4525940"/>
              <a:gd name="connsiteX173" fmla="*/ 1346172 w 4545947"/>
              <a:gd name="connsiteY173" fmla="*/ 3956132 h 4525940"/>
              <a:gd name="connsiteX174" fmla="*/ 1361141 w 4545947"/>
              <a:gd name="connsiteY174" fmla="*/ 3983244 h 4525940"/>
              <a:gd name="connsiteX175" fmla="*/ 1390289 w 4545947"/>
              <a:gd name="connsiteY175" fmla="*/ 3999733 h 4525940"/>
              <a:gd name="connsiteX176" fmla="*/ 1400728 w 4545947"/>
              <a:gd name="connsiteY176" fmla="*/ 4011262 h 4525940"/>
              <a:gd name="connsiteX177" fmla="*/ 1410270 w 4545947"/>
              <a:gd name="connsiteY177" fmla="*/ 4087809 h 4525940"/>
              <a:gd name="connsiteX178" fmla="*/ 1426873 w 4545947"/>
              <a:gd name="connsiteY178" fmla="*/ 4091597 h 4525940"/>
              <a:gd name="connsiteX179" fmla="*/ 1435407 w 4545947"/>
              <a:gd name="connsiteY179" fmla="*/ 4088151 h 4525940"/>
              <a:gd name="connsiteX180" fmla="*/ 1458399 w 4545947"/>
              <a:gd name="connsiteY180" fmla="*/ 4085520 h 4525940"/>
              <a:gd name="connsiteX181" fmla="*/ 1456075 w 4545947"/>
              <a:gd name="connsiteY181" fmla="*/ 4068426 h 4525940"/>
              <a:gd name="connsiteX182" fmla="*/ 1451122 w 4545947"/>
              <a:gd name="connsiteY182" fmla="*/ 4049797 h 4525940"/>
              <a:gd name="connsiteX183" fmla="*/ 1442376 w 4545947"/>
              <a:gd name="connsiteY183" fmla="*/ 4027499 h 4525940"/>
              <a:gd name="connsiteX184" fmla="*/ 1433630 w 4545947"/>
              <a:gd name="connsiteY184" fmla="*/ 4008506 h 4525940"/>
              <a:gd name="connsiteX185" fmla="*/ 1425108 w 4545947"/>
              <a:gd name="connsiteY185" fmla="*/ 3989791 h 4525940"/>
              <a:gd name="connsiteX186" fmla="*/ 1418520 w 4545947"/>
              <a:gd name="connsiteY186" fmla="*/ 3974698 h 4525940"/>
              <a:gd name="connsiteX187" fmla="*/ 1397617 w 4545947"/>
              <a:gd name="connsiteY187" fmla="*/ 3915240 h 4525940"/>
              <a:gd name="connsiteX188" fmla="*/ 1388112 w 4545947"/>
              <a:gd name="connsiteY188" fmla="*/ 3908577 h 4525940"/>
              <a:gd name="connsiteX189" fmla="*/ 523559 w 4545947"/>
              <a:gd name="connsiteY189" fmla="*/ 3899185 h 4525940"/>
              <a:gd name="connsiteX190" fmla="*/ 543663 w 4545947"/>
              <a:gd name="connsiteY190" fmla="*/ 3937349 h 4525940"/>
              <a:gd name="connsiteX191" fmla="*/ 526248 w 4545947"/>
              <a:gd name="connsiteY191" fmla="*/ 3930839 h 4525940"/>
              <a:gd name="connsiteX192" fmla="*/ 519394 w 4545947"/>
              <a:gd name="connsiteY192" fmla="*/ 3918177 h 4525940"/>
              <a:gd name="connsiteX193" fmla="*/ 515316 w 4545947"/>
              <a:gd name="connsiteY193" fmla="*/ 3908681 h 4525940"/>
              <a:gd name="connsiteX194" fmla="*/ 523559 w 4545947"/>
              <a:gd name="connsiteY194" fmla="*/ 3899185 h 4525940"/>
              <a:gd name="connsiteX195" fmla="*/ 4105488 w 4545947"/>
              <a:gd name="connsiteY195" fmla="*/ 3892854 h 4525940"/>
              <a:gd name="connsiteX196" fmla="*/ 4109861 w 4545947"/>
              <a:gd name="connsiteY196" fmla="*/ 3899185 h 4525940"/>
              <a:gd name="connsiteX197" fmla="*/ 4105488 w 4545947"/>
              <a:gd name="connsiteY197" fmla="*/ 3905515 h 4525940"/>
              <a:gd name="connsiteX198" fmla="*/ 4101115 w 4545947"/>
              <a:gd name="connsiteY198" fmla="*/ 3899185 h 4525940"/>
              <a:gd name="connsiteX199" fmla="*/ 4105488 w 4545947"/>
              <a:gd name="connsiteY199" fmla="*/ 3892854 h 4525940"/>
              <a:gd name="connsiteX200" fmla="*/ 2909492 w 4545947"/>
              <a:gd name="connsiteY200" fmla="*/ 3892854 h 4525940"/>
              <a:gd name="connsiteX201" fmla="*/ 2916052 w 4545947"/>
              <a:gd name="connsiteY201" fmla="*/ 3908681 h 4525940"/>
              <a:gd name="connsiteX202" fmla="*/ 2909492 w 4545947"/>
              <a:gd name="connsiteY202" fmla="*/ 3924508 h 4525940"/>
              <a:gd name="connsiteX203" fmla="*/ 2902933 w 4545947"/>
              <a:gd name="connsiteY203" fmla="*/ 3908681 h 4525940"/>
              <a:gd name="connsiteX204" fmla="*/ 2909492 w 4545947"/>
              <a:gd name="connsiteY204" fmla="*/ 3892854 h 4525940"/>
              <a:gd name="connsiteX205" fmla="*/ 2655863 w 4545947"/>
              <a:gd name="connsiteY205" fmla="*/ 3892854 h 4525940"/>
              <a:gd name="connsiteX206" fmla="*/ 2662423 w 4545947"/>
              <a:gd name="connsiteY206" fmla="*/ 3898811 h 4525940"/>
              <a:gd name="connsiteX207" fmla="*/ 2652101 w 4545947"/>
              <a:gd name="connsiteY207" fmla="*/ 3907454 h 4525940"/>
              <a:gd name="connsiteX208" fmla="*/ 2655863 w 4545947"/>
              <a:gd name="connsiteY208" fmla="*/ 3892854 h 4525940"/>
              <a:gd name="connsiteX209" fmla="*/ 2015126 w 4545947"/>
              <a:gd name="connsiteY209" fmla="*/ 3890471 h 4525940"/>
              <a:gd name="connsiteX210" fmla="*/ 2024850 w 4545947"/>
              <a:gd name="connsiteY210" fmla="*/ 3891588 h 4525940"/>
              <a:gd name="connsiteX211" fmla="*/ 2042341 w 4545947"/>
              <a:gd name="connsiteY211" fmla="*/ 3899185 h 4525940"/>
              <a:gd name="connsiteX212" fmla="*/ 2054585 w 4545947"/>
              <a:gd name="connsiteY212" fmla="*/ 3909307 h 4525940"/>
              <a:gd name="connsiteX213" fmla="*/ 2071849 w 4545947"/>
              <a:gd name="connsiteY213" fmla="*/ 3968824 h 4525940"/>
              <a:gd name="connsiteX214" fmla="*/ 2091632 w 4545947"/>
              <a:gd name="connsiteY214" fmla="*/ 4018461 h 4525940"/>
              <a:gd name="connsiteX215" fmla="*/ 2093696 w 4545947"/>
              <a:gd name="connsiteY215" fmla="*/ 4051792 h 4525940"/>
              <a:gd name="connsiteX216" fmla="*/ 2096463 w 4545947"/>
              <a:gd name="connsiteY216" fmla="*/ 4068015 h 4525940"/>
              <a:gd name="connsiteX217" fmla="*/ 2100916 w 4545947"/>
              <a:gd name="connsiteY217" fmla="*/ 4106782 h 4525940"/>
              <a:gd name="connsiteX218" fmla="*/ 2106951 w 4545947"/>
              <a:gd name="connsiteY218" fmla="*/ 4150489 h 4525940"/>
              <a:gd name="connsiteX219" fmla="*/ 2115806 w 4545947"/>
              <a:gd name="connsiteY219" fmla="*/ 4170504 h 4525940"/>
              <a:gd name="connsiteX220" fmla="*/ 2120728 w 4545947"/>
              <a:gd name="connsiteY220" fmla="*/ 4188665 h 4525940"/>
              <a:gd name="connsiteX221" fmla="*/ 2116702 w 4545947"/>
              <a:gd name="connsiteY221" fmla="*/ 4240650 h 4525940"/>
              <a:gd name="connsiteX222" fmla="*/ 2103781 w 4545947"/>
              <a:gd name="connsiteY222" fmla="*/ 4234523 h 4525940"/>
              <a:gd name="connsiteX223" fmla="*/ 2103781 w 4545947"/>
              <a:gd name="connsiteY223" fmla="*/ 4234523 h 4525940"/>
              <a:gd name="connsiteX224" fmla="*/ 2093194 w 4545947"/>
              <a:gd name="connsiteY224" fmla="*/ 4217514 h 4525940"/>
              <a:gd name="connsiteX225" fmla="*/ 2091953 w 4545947"/>
              <a:gd name="connsiteY225" fmla="*/ 4196119 h 4525940"/>
              <a:gd name="connsiteX226" fmla="*/ 2062695 w 4545947"/>
              <a:gd name="connsiteY226" fmla="*/ 4151056 h 4525940"/>
              <a:gd name="connsiteX227" fmla="*/ 2063875 w 4545947"/>
              <a:gd name="connsiteY227" fmla="*/ 4119655 h 4525940"/>
              <a:gd name="connsiteX228" fmla="*/ 2063743 w 4545947"/>
              <a:gd name="connsiteY228" fmla="*/ 4053303 h 4525940"/>
              <a:gd name="connsiteX229" fmla="*/ 2054756 w 4545947"/>
              <a:gd name="connsiteY229" fmla="*/ 4006601 h 4525940"/>
              <a:gd name="connsiteX230" fmla="*/ 2048334 w 4545947"/>
              <a:gd name="connsiteY230" fmla="*/ 3977186 h 4525940"/>
              <a:gd name="connsiteX231" fmla="*/ 2036846 w 4545947"/>
              <a:gd name="connsiteY231" fmla="*/ 3946341 h 4525940"/>
              <a:gd name="connsiteX232" fmla="*/ 2028348 w 4545947"/>
              <a:gd name="connsiteY232" fmla="*/ 3927674 h 4525940"/>
              <a:gd name="connsiteX233" fmla="*/ 2019499 w 4545947"/>
              <a:gd name="connsiteY233" fmla="*/ 3908546 h 4525940"/>
              <a:gd name="connsiteX234" fmla="*/ 2015126 w 4545947"/>
              <a:gd name="connsiteY234" fmla="*/ 3890471 h 4525940"/>
              <a:gd name="connsiteX235" fmla="*/ 3762359 w 4545947"/>
              <a:gd name="connsiteY235" fmla="*/ 3882921 h 4525940"/>
              <a:gd name="connsiteX236" fmla="*/ 3771539 w 4545947"/>
              <a:gd name="connsiteY236" fmla="*/ 3895761 h 4525940"/>
              <a:gd name="connsiteX237" fmla="*/ 3763380 w 4545947"/>
              <a:gd name="connsiteY237" fmla="*/ 3918177 h 4525940"/>
              <a:gd name="connsiteX238" fmla="*/ 3756456 w 4545947"/>
              <a:gd name="connsiteY238" fmla="*/ 3901256 h 4525940"/>
              <a:gd name="connsiteX239" fmla="*/ 3762359 w 4545947"/>
              <a:gd name="connsiteY239" fmla="*/ 3882921 h 4525940"/>
              <a:gd name="connsiteX240" fmla="*/ 4054105 w 4545947"/>
              <a:gd name="connsiteY240" fmla="*/ 3868673 h 4525940"/>
              <a:gd name="connsiteX241" fmla="*/ 4064349 w 4545947"/>
              <a:gd name="connsiteY241" fmla="*/ 3897845 h 4525940"/>
              <a:gd name="connsiteX242" fmla="*/ 4062113 w 4545947"/>
              <a:gd name="connsiteY242" fmla="*/ 3927356 h 4525940"/>
              <a:gd name="connsiteX243" fmla="*/ 4047496 w 4545947"/>
              <a:gd name="connsiteY243" fmla="*/ 3917089 h 4525940"/>
              <a:gd name="connsiteX244" fmla="*/ 4039894 w 4545947"/>
              <a:gd name="connsiteY244" fmla="*/ 3886523 h 4525940"/>
              <a:gd name="connsiteX245" fmla="*/ 4044267 w 4545947"/>
              <a:gd name="connsiteY245" fmla="*/ 3876586 h 4525940"/>
              <a:gd name="connsiteX246" fmla="*/ 4054105 w 4545947"/>
              <a:gd name="connsiteY246" fmla="*/ 3868673 h 4525940"/>
              <a:gd name="connsiteX247" fmla="*/ 2218103 w 4545947"/>
              <a:gd name="connsiteY247" fmla="*/ 3867530 h 4525940"/>
              <a:gd name="connsiteX248" fmla="*/ 2226711 w 4545947"/>
              <a:gd name="connsiteY248" fmla="*/ 3877027 h 4525940"/>
              <a:gd name="connsiteX249" fmla="*/ 2220619 w 4545947"/>
              <a:gd name="connsiteY249" fmla="*/ 3886523 h 4525940"/>
              <a:gd name="connsiteX250" fmla="*/ 2212011 w 4545947"/>
              <a:gd name="connsiteY250" fmla="*/ 3877027 h 4525940"/>
              <a:gd name="connsiteX251" fmla="*/ 2218103 w 4545947"/>
              <a:gd name="connsiteY251" fmla="*/ 3867530 h 4525940"/>
              <a:gd name="connsiteX252" fmla="*/ 1971688 w 4545947"/>
              <a:gd name="connsiteY252" fmla="*/ 3857866 h 4525940"/>
              <a:gd name="connsiteX253" fmla="*/ 1986087 w 4545947"/>
              <a:gd name="connsiteY253" fmla="*/ 3910735 h 4525940"/>
              <a:gd name="connsiteX254" fmla="*/ 1988610 w 4545947"/>
              <a:gd name="connsiteY254" fmla="*/ 3927333 h 4525940"/>
              <a:gd name="connsiteX255" fmla="*/ 1993364 w 4545947"/>
              <a:gd name="connsiteY255" fmla="*/ 3952596 h 4525940"/>
              <a:gd name="connsiteX256" fmla="*/ 1999487 w 4545947"/>
              <a:gd name="connsiteY256" fmla="*/ 3980960 h 4525940"/>
              <a:gd name="connsiteX257" fmla="*/ 2005609 w 4545947"/>
              <a:gd name="connsiteY257" fmla="*/ 4011042 h 4525940"/>
              <a:gd name="connsiteX258" fmla="*/ 2009731 w 4545947"/>
              <a:gd name="connsiteY258" fmla="*/ 4037699 h 4525940"/>
              <a:gd name="connsiteX259" fmla="*/ 2016619 w 4545947"/>
              <a:gd name="connsiteY259" fmla="*/ 4062204 h 4525940"/>
              <a:gd name="connsiteX260" fmla="*/ 2002084 w 4545947"/>
              <a:gd name="connsiteY260" fmla="*/ 4070047 h 4525940"/>
              <a:gd name="connsiteX261" fmla="*/ 1998475 w 4545947"/>
              <a:gd name="connsiteY261" fmla="*/ 4049471 h 4525940"/>
              <a:gd name="connsiteX262" fmla="*/ 1980092 w 4545947"/>
              <a:gd name="connsiteY262" fmla="*/ 4013140 h 4525940"/>
              <a:gd name="connsiteX263" fmla="*/ 1971500 w 4545947"/>
              <a:gd name="connsiteY263" fmla="*/ 4003644 h 4525940"/>
              <a:gd name="connsiteX264" fmla="*/ 1975873 w 4545947"/>
              <a:gd name="connsiteY264" fmla="*/ 3994147 h 4525940"/>
              <a:gd name="connsiteX265" fmla="*/ 1976112 w 4545947"/>
              <a:gd name="connsiteY265" fmla="*/ 3967769 h 4525940"/>
              <a:gd name="connsiteX266" fmla="*/ 1971688 w 4545947"/>
              <a:gd name="connsiteY266" fmla="*/ 3857866 h 4525940"/>
              <a:gd name="connsiteX267" fmla="*/ 502197 w 4545947"/>
              <a:gd name="connsiteY267" fmla="*/ 3851703 h 4525940"/>
              <a:gd name="connsiteX268" fmla="*/ 506570 w 4545947"/>
              <a:gd name="connsiteY268" fmla="*/ 3857660 h 4525940"/>
              <a:gd name="connsiteX269" fmla="*/ 502197 w 4545947"/>
              <a:gd name="connsiteY269" fmla="*/ 3867530 h 4525940"/>
              <a:gd name="connsiteX270" fmla="*/ 497824 w 4545947"/>
              <a:gd name="connsiteY270" fmla="*/ 3861573 h 4525940"/>
              <a:gd name="connsiteX271" fmla="*/ 502197 w 4545947"/>
              <a:gd name="connsiteY271" fmla="*/ 3851703 h 4525940"/>
              <a:gd name="connsiteX272" fmla="*/ 2255504 w 4545947"/>
              <a:gd name="connsiteY272" fmla="*/ 3849289 h 4525940"/>
              <a:gd name="connsiteX273" fmla="*/ 2260113 w 4545947"/>
              <a:gd name="connsiteY273" fmla="*/ 3867157 h 4525940"/>
              <a:gd name="connsiteX274" fmla="*/ 2245726 w 4545947"/>
              <a:gd name="connsiteY274" fmla="*/ 3881626 h 4525940"/>
              <a:gd name="connsiteX275" fmla="*/ 2244530 w 4545947"/>
              <a:gd name="connsiteY275" fmla="*/ 3859617 h 4525940"/>
              <a:gd name="connsiteX276" fmla="*/ 2255504 w 4545947"/>
              <a:gd name="connsiteY276" fmla="*/ 3849289 h 4525940"/>
              <a:gd name="connsiteX277" fmla="*/ 3417010 w 4545947"/>
              <a:gd name="connsiteY277" fmla="*/ 3829545 h 4525940"/>
              <a:gd name="connsiteX278" fmla="*/ 3423312 w 4545947"/>
              <a:gd name="connsiteY278" fmla="*/ 3839042 h 4525940"/>
              <a:gd name="connsiteX279" fmla="*/ 3408853 w 4545947"/>
              <a:gd name="connsiteY279" fmla="*/ 3844489 h 4525940"/>
              <a:gd name="connsiteX280" fmla="*/ 3417010 w 4545947"/>
              <a:gd name="connsiteY280" fmla="*/ 3829545 h 4525940"/>
              <a:gd name="connsiteX281" fmla="*/ 2738431 w 4545947"/>
              <a:gd name="connsiteY281" fmla="*/ 3824454 h 4525940"/>
              <a:gd name="connsiteX282" fmla="*/ 2750318 w 4545947"/>
              <a:gd name="connsiteY282" fmla="*/ 3826407 h 4525940"/>
              <a:gd name="connsiteX283" fmla="*/ 2765687 w 4545947"/>
              <a:gd name="connsiteY283" fmla="*/ 3831867 h 4525940"/>
              <a:gd name="connsiteX284" fmla="*/ 2769047 w 4545947"/>
              <a:gd name="connsiteY284" fmla="*/ 3865187 h 4525940"/>
              <a:gd name="connsiteX285" fmla="*/ 2760550 w 4545947"/>
              <a:gd name="connsiteY285" fmla="*/ 3900807 h 4525940"/>
              <a:gd name="connsiteX286" fmla="*/ 2747649 w 4545947"/>
              <a:gd name="connsiteY286" fmla="*/ 3896820 h 4525940"/>
              <a:gd name="connsiteX287" fmla="*/ 2744287 w 4545947"/>
              <a:gd name="connsiteY287" fmla="*/ 3867530 h 4525940"/>
              <a:gd name="connsiteX288" fmla="*/ 2738958 w 4545947"/>
              <a:gd name="connsiteY288" fmla="*/ 3833582 h 4525940"/>
              <a:gd name="connsiteX289" fmla="*/ 2738431 w 4545947"/>
              <a:gd name="connsiteY289" fmla="*/ 3824454 h 4525940"/>
              <a:gd name="connsiteX290" fmla="*/ 1314629 w 4545947"/>
              <a:gd name="connsiteY290" fmla="*/ 3823496 h 4525940"/>
              <a:gd name="connsiteX291" fmla="*/ 1304002 w 4545947"/>
              <a:gd name="connsiteY291" fmla="*/ 3832791 h 4525940"/>
              <a:gd name="connsiteX292" fmla="*/ 1306949 w 4545947"/>
              <a:gd name="connsiteY292" fmla="*/ 3851937 h 4525940"/>
              <a:gd name="connsiteX293" fmla="*/ 1311067 w 4545947"/>
              <a:gd name="connsiteY293" fmla="*/ 3841880 h 4525940"/>
              <a:gd name="connsiteX294" fmla="*/ 1317140 w 4545947"/>
              <a:gd name="connsiteY294" fmla="*/ 3830926 h 4525940"/>
              <a:gd name="connsiteX295" fmla="*/ 1326103 w 4545947"/>
              <a:gd name="connsiteY295" fmla="*/ 3828631 h 4525940"/>
              <a:gd name="connsiteX296" fmla="*/ 1314629 w 4545947"/>
              <a:gd name="connsiteY296" fmla="*/ 3823496 h 4525940"/>
              <a:gd name="connsiteX297" fmla="*/ 3892163 w 4545947"/>
              <a:gd name="connsiteY297" fmla="*/ 3819903 h 4525940"/>
              <a:gd name="connsiteX298" fmla="*/ 3911267 w 4545947"/>
              <a:gd name="connsiteY298" fmla="*/ 3821285 h 4525940"/>
              <a:gd name="connsiteX299" fmla="*/ 3924522 w 4545947"/>
              <a:gd name="connsiteY299" fmla="*/ 3853537 h 4525940"/>
              <a:gd name="connsiteX300" fmla="*/ 3917443 w 4545947"/>
              <a:gd name="connsiteY300" fmla="*/ 3880192 h 4525940"/>
              <a:gd name="connsiteX301" fmla="*/ 3908706 w 4545947"/>
              <a:gd name="connsiteY301" fmla="*/ 3864893 h 4525940"/>
              <a:gd name="connsiteX302" fmla="*/ 3896680 w 4545947"/>
              <a:gd name="connsiteY302" fmla="*/ 3836855 h 4525940"/>
              <a:gd name="connsiteX303" fmla="*/ 3892163 w 4545947"/>
              <a:gd name="connsiteY303" fmla="*/ 3819903 h 4525940"/>
              <a:gd name="connsiteX304" fmla="*/ 1959090 w 4545947"/>
              <a:gd name="connsiteY304" fmla="*/ 3812273 h 4525940"/>
              <a:gd name="connsiteX305" fmla="*/ 1968903 w 4545947"/>
              <a:gd name="connsiteY305" fmla="*/ 3825000 h 4525940"/>
              <a:gd name="connsiteX306" fmla="*/ 1968122 w 4545947"/>
              <a:gd name="connsiteY306" fmla="*/ 3843299 h 4525940"/>
              <a:gd name="connsiteX307" fmla="*/ 1962236 w 4545947"/>
              <a:gd name="connsiteY307" fmla="*/ 3845056 h 4525940"/>
              <a:gd name="connsiteX308" fmla="*/ 1962236 w 4545947"/>
              <a:gd name="connsiteY308" fmla="*/ 3834293 h 4525940"/>
              <a:gd name="connsiteX309" fmla="*/ 1958381 w 4545947"/>
              <a:gd name="connsiteY309" fmla="*/ 3829545 h 4525940"/>
              <a:gd name="connsiteX310" fmla="*/ 1954008 w 4545947"/>
              <a:gd name="connsiteY310" fmla="*/ 3819521 h 4525940"/>
              <a:gd name="connsiteX311" fmla="*/ 1959090 w 4545947"/>
              <a:gd name="connsiteY311" fmla="*/ 3812273 h 4525940"/>
              <a:gd name="connsiteX312" fmla="*/ 486892 w 4545947"/>
              <a:gd name="connsiteY312" fmla="*/ 3810553 h 4525940"/>
              <a:gd name="connsiteX313" fmla="*/ 493451 w 4545947"/>
              <a:gd name="connsiteY313" fmla="*/ 3820049 h 4525940"/>
              <a:gd name="connsiteX314" fmla="*/ 486892 w 4545947"/>
              <a:gd name="connsiteY314" fmla="*/ 3829545 h 4525940"/>
              <a:gd name="connsiteX315" fmla="*/ 480332 w 4545947"/>
              <a:gd name="connsiteY315" fmla="*/ 3820049 h 4525940"/>
              <a:gd name="connsiteX316" fmla="*/ 486892 w 4545947"/>
              <a:gd name="connsiteY316" fmla="*/ 3810553 h 4525940"/>
              <a:gd name="connsiteX317" fmla="*/ 4113305 w 4545947"/>
              <a:gd name="connsiteY317" fmla="*/ 3809050 h 4525940"/>
              <a:gd name="connsiteX318" fmla="*/ 4110156 w 4545947"/>
              <a:gd name="connsiteY318" fmla="*/ 3823215 h 4525940"/>
              <a:gd name="connsiteX319" fmla="*/ 4098927 w 4545947"/>
              <a:gd name="connsiteY319" fmla="*/ 3835877 h 4525940"/>
              <a:gd name="connsiteX320" fmla="*/ 4087996 w 4545947"/>
              <a:gd name="connsiteY320" fmla="*/ 3830284 h 4525940"/>
              <a:gd name="connsiteX321" fmla="*/ 4098000 w 4545947"/>
              <a:gd name="connsiteY321" fmla="*/ 3809260 h 4525940"/>
              <a:gd name="connsiteX322" fmla="*/ 4113305 w 4545947"/>
              <a:gd name="connsiteY322" fmla="*/ 3809050 h 4525940"/>
              <a:gd name="connsiteX323" fmla="*/ 2043084 w 4545947"/>
              <a:gd name="connsiteY323" fmla="*/ 3794750 h 4525940"/>
              <a:gd name="connsiteX324" fmla="*/ 2041467 w 4545947"/>
              <a:gd name="connsiteY324" fmla="*/ 3801376 h 4525940"/>
              <a:gd name="connsiteX325" fmla="*/ 2045840 w 4545947"/>
              <a:gd name="connsiteY325" fmla="*/ 3807387 h 4525940"/>
              <a:gd name="connsiteX326" fmla="*/ 2050212 w 4545947"/>
              <a:gd name="connsiteY326" fmla="*/ 3810179 h 4525940"/>
              <a:gd name="connsiteX327" fmla="*/ 2054585 w 4545947"/>
              <a:gd name="connsiteY327" fmla="*/ 3816883 h 4525940"/>
              <a:gd name="connsiteX328" fmla="*/ 2058958 w 4545947"/>
              <a:gd name="connsiteY328" fmla="*/ 3812075 h 4525940"/>
              <a:gd name="connsiteX329" fmla="*/ 2050212 w 4545947"/>
              <a:gd name="connsiteY329" fmla="*/ 3799360 h 4525940"/>
              <a:gd name="connsiteX330" fmla="*/ 2043084 w 4545947"/>
              <a:gd name="connsiteY330" fmla="*/ 3794750 h 4525940"/>
              <a:gd name="connsiteX331" fmla="*/ 1790937 w 4545947"/>
              <a:gd name="connsiteY331" fmla="*/ 3787564 h 4525940"/>
              <a:gd name="connsiteX332" fmla="*/ 1789378 w 4545947"/>
              <a:gd name="connsiteY332" fmla="*/ 3795919 h 4525940"/>
              <a:gd name="connsiteX333" fmla="*/ 1779916 w 4545947"/>
              <a:gd name="connsiteY333" fmla="*/ 3812965 h 4525940"/>
              <a:gd name="connsiteX334" fmla="*/ 1781278 w 4545947"/>
              <a:gd name="connsiteY334" fmla="*/ 3814873 h 4525940"/>
              <a:gd name="connsiteX335" fmla="*/ 1790740 w 4545947"/>
              <a:gd name="connsiteY335" fmla="*/ 3797826 h 4525940"/>
              <a:gd name="connsiteX336" fmla="*/ 1790937 w 4545947"/>
              <a:gd name="connsiteY336" fmla="*/ 3787564 h 4525940"/>
              <a:gd name="connsiteX337" fmla="*/ 2023582 w 4545947"/>
              <a:gd name="connsiteY337" fmla="*/ 3786360 h 4525940"/>
              <a:gd name="connsiteX338" fmla="*/ 2017887 w 4545947"/>
              <a:gd name="connsiteY338" fmla="*/ 3793139 h 4525940"/>
              <a:gd name="connsiteX339" fmla="*/ 2016323 w 4545947"/>
              <a:gd name="connsiteY339" fmla="*/ 3808973 h 4525940"/>
              <a:gd name="connsiteX340" fmla="*/ 2023354 w 4545947"/>
              <a:gd name="connsiteY340" fmla="*/ 3794649 h 4525940"/>
              <a:gd name="connsiteX341" fmla="*/ 2023582 w 4545947"/>
              <a:gd name="connsiteY341" fmla="*/ 3786360 h 4525940"/>
              <a:gd name="connsiteX342" fmla="*/ 2013093 w 4545947"/>
              <a:gd name="connsiteY342" fmla="*/ 3774587 h 4525940"/>
              <a:gd name="connsiteX343" fmla="*/ 2003926 w 4545947"/>
              <a:gd name="connsiteY343" fmla="*/ 3785302 h 4525940"/>
              <a:gd name="connsiteX344" fmla="*/ 2005238 w 4545947"/>
              <a:gd name="connsiteY344" fmla="*/ 3787201 h 4525940"/>
              <a:gd name="connsiteX345" fmla="*/ 2014405 w 4545947"/>
              <a:gd name="connsiteY345" fmla="*/ 3776486 h 4525940"/>
              <a:gd name="connsiteX346" fmla="*/ 2013093 w 4545947"/>
              <a:gd name="connsiteY346" fmla="*/ 3774587 h 4525940"/>
              <a:gd name="connsiteX347" fmla="*/ 2633998 w 4545947"/>
              <a:gd name="connsiteY347" fmla="*/ 3759906 h 4525940"/>
              <a:gd name="connsiteX348" fmla="*/ 2640558 w 4545947"/>
              <a:gd name="connsiteY348" fmla="*/ 3769402 h 4525940"/>
              <a:gd name="connsiteX349" fmla="*/ 2633998 w 4545947"/>
              <a:gd name="connsiteY349" fmla="*/ 3778898 h 4525940"/>
              <a:gd name="connsiteX350" fmla="*/ 2627439 w 4545947"/>
              <a:gd name="connsiteY350" fmla="*/ 3769402 h 4525940"/>
              <a:gd name="connsiteX351" fmla="*/ 2633998 w 4545947"/>
              <a:gd name="connsiteY351" fmla="*/ 3759906 h 4525940"/>
              <a:gd name="connsiteX352" fmla="*/ 4107673 w 4545947"/>
              <a:gd name="connsiteY352" fmla="*/ 3751286 h 4525940"/>
              <a:gd name="connsiteX353" fmla="*/ 4111580 w 4545947"/>
              <a:gd name="connsiteY353" fmla="*/ 3768885 h 4525940"/>
              <a:gd name="connsiteX354" fmla="*/ 4101115 w 4545947"/>
              <a:gd name="connsiteY354" fmla="*/ 3763270 h 4525940"/>
              <a:gd name="connsiteX355" fmla="*/ 4107673 w 4545947"/>
              <a:gd name="connsiteY355" fmla="*/ 3751286 h 4525940"/>
              <a:gd name="connsiteX356" fmla="*/ 1769471 w 4545947"/>
              <a:gd name="connsiteY356" fmla="*/ 3740913 h 4525940"/>
              <a:gd name="connsiteX357" fmla="*/ 1766156 w 4545947"/>
              <a:gd name="connsiteY357" fmla="*/ 3773065 h 4525940"/>
              <a:gd name="connsiteX358" fmla="*/ 1779275 w 4545947"/>
              <a:gd name="connsiteY358" fmla="*/ 3778756 h 4525940"/>
              <a:gd name="connsiteX359" fmla="*/ 1787837 w 4545947"/>
              <a:gd name="connsiteY359" fmla="*/ 3764115 h 4525940"/>
              <a:gd name="connsiteX360" fmla="*/ 1769471 w 4545947"/>
              <a:gd name="connsiteY360" fmla="*/ 3740913 h 4525940"/>
              <a:gd name="connsiteX361" fmla="*/ 2273182 w 4545947"/>
              <a:gd name="connsiteY361" fmla="*/ 3737793 h 4525940"/>
              <a:gd name="connsiteX362" fmla="*/ 2268859 w 4545947"/>
              <a:gd name="connsiteY362" fmla="*/ 3747618 h 4525940"/>
              <a:gd name="connsiteX363" fmla="*/ 2274901 w 4545947"/>
              <a:gd name="connsiteY363" fmla="*/ 3743750 h 4525940"/>
              <a:gd name="connsiteX364" fmla="*/ 2273182 w 4545947"/>
              <a:gd name="connsiteY364" fmla="*/ 3737793 h 4525940"/>
              <a:gd name="connsiteX365" fmla="*/ 2067015 w 4545947"/>
              <a:gd name="connsiteY365" fmla="*/ 3729938 h 4525940"/>
              <a:gd name="connsiteX366" fmla="*/ 2060477 w 4545947"/>
              <a:gd name="connsiteY366" fmla="*/ 3736003 h 4525940"/>
              <a:gd name="connsiteX367" fmla="*/ 2067999 w 4545947"/>
              <a:gd name="connsiteY367" fmla="*/ 3772567 h 4525940"/>
              <a:gd name="connsiteX368" fmla="*/ 2076450 w 4545947"/>
              <a:gd name="connsiteY368" fmla="*/ 3778898 h 4525940"/>
              <a:gd name="connsiteX369" fmla="*/ 2091750 w 4545947"/>
              <a:gd name="connsiteY369" fmla="*/ 3777750 h 4525940"/>
              <a:gd name="connsiteX370" fmla="*/ 2089569 w 4545947"/>
              <a:gd name="connsiteY370" fmla="*/ 3741890 h 4525940"/>
              <a:gd name="connsiteX371" fmla="*/ 2072951 w 4545947"/>
              <a:gd name="connsiteY371" fmla="*/ 3732937 h 4525940"/>
              <a:gd name="connsiteX372" fmla="*/ 2067015 w 4545947"/>
              <a:gd name="connsiteY372" fmla="*/ 3729938 h 4525940"/>
              <a:gd name="connsiteX373" fmla="*/ 1479546 w 4545947"/>
              <a:gd name="connsiteY373" fmla="*/ 3728251 h 4525940"/>
              <a:gd name="connsiteX374" fmla="*/ 1486105 w 4545947"/>
              <a:gd name="connsiteY374" fmla="*/ 3737748 h 4525940"/>
              <a:gd name="connsiteX375" fmla="*/ 1479546 w 4545947"/>
              <a:gd name="connsiteY375" fmla="*/ 3747244 h 4525940"/>
              <a:gd name="connsiteX376" fmla="*/ 1472986 w 4545947"/>
              <a:gd name="connsiteY376" fmla="*/ 3737748 h 4525940"/>
              <a:gd name="connsiteX377" fmla="*/ 1479546 w 4545947"/>
              <a:gd name="connsiteY377" fmla="*/ 3728251 h 4525940"/>
              <a:gd name="connsiteX378" fmla="*/ 2608904 w 4545947"/>
              <a:gd name="connsiteY378" fmla="*/ 3725099 h 4525940"/>
              <a:gd name="connsiteX379" fmla="*/ 2607432 w 4545947"/>
              <a:gd name="connsiteY379" fmla="*/ 3734424 h 4525940"/>
              <a:gd name="connsiteX380" fmla="*/ 2597518 w 4545947"/>
              <a:gd name="connsiteY380" fmla="*/ 3735200 h 4525940"/>
              <a:gd name="connsiteX381" fmla="*/ 2599274 w 4545947"/>
              <a:gd name="connsiteY381" fmla="*/ 3725818 h 4525940"/>
              <a:gd name="connsiteX382" fmla="*/ 2608904 w 4545947"/>
              <a:gd name="connsiteY382" fmla="*/ 3725099 h 4525940"/>
              <a:gd name="connsiteX383" fmla="*/ 2581523 w 4545947"/>
              <a:gd name="connsiteY383" fmla="*/ 3714641 h 4525940"/>
              <a:gd name="connsiteX384" fmla="*/ 2587244 w 4545947"/>
              <a:gd name="connsiteY384" fmla="*/ 3721446 h 4525940"/>
              <a:gd name="connsiteX385" fmla="*/ 2581523 w 4545947"/>
              <a:gd name="connsiteY385" fmla="*/ 3728251 h 4525940"/>
              <a:gd name="connsiteX386" fmla="*/ 2575802 w 4545947"/>
              <a:gd name="connsiteY386" fmla="*/ 3721446 h 4525940"/>
              <a:gd name="connsiteX387" fmla="*/ 2581523 w 4545947"/>
              <a:gd name="connsiteY387" fmla="*/ 3714641 h 4525940"/>
              <a:gd name="connsiteX388" fmla="*/ 1636912 w 4545947"/>
              <a:gd name="connsiteY388" fmla="*/ 3707003 h 4525940"/>
              <a:gd name="connsiteX389" fmla="*/ 1641308 w 4545947"/>
              <a:gd name="connsiteY389" fmla="*/ 3709343 h 4525940"/>
              <a:gd name="connsiteX390" fmla="*/ 1649617 w 4545947"/>
              <a:gd name="connsiteY390" fmla="*/ 3721661 h 4525940"/>
              <a:gd name="connsiteX391" fmla="*/ 1666924 w 4545947"/>
              <a:gd name="connsiteY391" fmla="*/ 3745404 h 4525940"/>
              <a:gd name="connsiteX392" fmla="*/ 1682439 w 4545947"/>
              <a:gd name="connsiteY392" fmla="*/ 3775146 h 4525940"/>
              <a:gd name="connsiteX393" fmla="*/ 1691633 w 4545947"/>
              <a:gd name="connsiteY393" fmla="*/ 3798355 h 4525940"/>
              <a:gd name="connsiteX394" fmla="*/ 1707406 w 4545947"/>
              <a:gd name="connsiteY394" fmla="*/ 3829545 h 4525940"/>
              <a:gd name="connsiteX395" fmla="*/ 1705845 w 4545947"/>
              <a:gd name="connsiteY395" fmla="*/ 3849700 h 4525940"/>
              <a:gd name="connsiteX396" fmla="*/ 1692422 w 4545947"/>
              <a:gd name="connsiteY396" fmla="*/ 3865948 h 4525940"/>
              <a:gd name="connsiteX397" fmla="*/ 1670861 w 4545947"/>
              <a:gd name="connsiteY397" fmla="*/ 3868731 h 4525940"/>
              <a:gd name="connsiteX398" fmla="*/ 1656649 w 4545947"/>
              <a:gd name="connsiteY398" fmla="*/ 3850875 h 4525940"/>
              <a:gd name="connsiteX399" fmla="*/ 1648997 w 4545947"/>
              <a:gd name="connsiteY399" fmla="*/ 3835823 h 4525940"/>
              <a:gd name="connsiteX400" fmla="*/ 1646810 w 4545947"/>
              <a:gd name="connsiteY400" fmla="*/ 3825485 h 4525940"/>
              <a:gd name="connsiteX401" fmla="*/ 1652276 w 4545947"/>
              <a:gd name="connsiteY401" fmla="*/ 3810800 h 4525940"/>
              <a:gd name="connsiteX402" fmla="*/ 1632598 w 4545947"/>
              <a:gd name="connsiteY402" fmla="*/ 3791898 h 4525940"/>
              <a:gd name="connsiteX403" fmla="*/ 1617293 w 4545947"/>
              <a:gd name="connsiteY403" fmla="*/ 3788754 h 4525940"/>
              <a:gd name="connsiteX404" fmla="*/ 1626485 w 4545947"/>
              <a:gd name="connsiteY404" fmla="*/ 3770295 h 4525940"/>
              <a:gd name="connsiteX405" fmla="*/ 1632758 w 4545947"/>
              <a:gd name="connsiteY405" fmla="*/ 3735953 h 4525940"/>
              <a:gd name="connsiteX406" fmla="*/ 1636912 w 4545947"/>
              <a:gd name="connsiteY406" fmla="*/ 3707003 h 4525940"/>
              <a:gd name="connsiteX407" fmla="*/ 777691 w 4545947"/>
              <a:gd name="connsiteY407" fmla="*/ 3702928 h 4525940"/>
              <a:gd name="connsiteX408" fmla="*/ 786437 w 4545947"/>
              <a:gd name="connsiteY408" fmla="*/ 3715590 h 4525940"/>
              <a:gd name="connsiteX409" fmla="*/ 774193 w 4545947"/>
              <a:gd name="connsiteY409" fmla="*/ 3720654 h 4525940"/>
              <a:gd name="connsiteX410" fmla="*/ 777691 w 4545947"/>
              <a:gd name="connsiteY410" fmla="*/ 3702928 h 4525940"/>
              <a:gd name="connsiteX411" fmla="*/ 2265717 w 4545947"/>
              <a:gd name="connsiteY411" fmla="*/ 3690468 h 4525940"/>
              <a:gd name="connsiteX412" fmla="*/ 2265579 w 4545947"/>
              <a:gd name="connsiteY412" fmla="*/ 3699080 h 4525940"/>
              <a:gd name="connsiteX413" fmla="*/ 2273577 w 4545947"/>
              <a:gd name="connsiteY413" fmla="*/ 3716288 h 4525940"/>
              <a:gd name="connsiteX414" fmla="*/ 2276176 w 4545947"/>
              <a:gd name="connsiteY414" fmla="*/ 3716964 h 4525940"/>
              <a:gd name="connsiteX415" fmla="*/ 2275968 w 4545947"/>
              <a:gd name="connsiteY415" fmla="*/ 3699554 h 4525940"/>
              <a:gd name="connsiteX416" fmla="*/ 2265717 w 4545947"/>
              <a:gd name="connsiteY416" fmla="*/ 3690468 h 4525940"/>
              <a:gd name="connsiteX417" fmla="*/ 4393541 w 4545947"/>
              <a:gd name="connsiteY417" fmla="*/ 3685390 h 4525940"/>
              <a:gd name="connsiteX418" fmla="*/ 4405396 w 4545947"/>
              <a:gd name="connsiteY418" fmla="*/ 3698051 h 4525940"/>
              <a:gd name="connsiteX419" fmla="*/ 4406971 w 4545947"/>
              <a:gd name="connsiteY419" fmla="*/ 3759714 h 4525940"/>
              <a:gd name="connsiteX420" fmla="*/ 4415127 w 4545947"/>
              <a:gd name="connsiteY420" fmla="*/ 3786745 h 4525940"/>
              <a:gd name="connsiteX421" fmla="*/ 4401479 w 4545947"/>
              <a:gd name="connsiteY421" fmla="*/ 3806464 h 4525940"/>
              <a:gd name="connsiteX422" fmla="*/ 4398473 w 4545947"/>
              <a:gd name="connsiteY422" fmla="*/ 3784626 h 4525940"/>
              <a:gd name="connsiteX423" fmla="*/ 4391914 w 4545947"/>
              <a:gd name="connsiteY423" fmla="*/ 3757645 h 4525940"/>
              <a:gd name="connsiteX424" fmla="*/ 4385355 w 4545947"/>
              <a:gd name="connsiteY424" fmla="*/ 3728704 h 4525940"/>
              <a:gd name="connsiteX425" fmla="*/ 4378795 w 4545947"/>
              <a:gd name="connsiteY425" fmla="*/ 3709259 h 4525940"/>
              <a:gd name="connsiteX426" fmla="*/ 4372303 w 4545947"/>
              <a:gd name="connsiteY426" fmla="*/ 3704511 h 4525940"/>
              <a:gd name="connsiteX427" fmla="*/ 4393541 w 4545947"/>
              <a:gd name="connsiteY427" fmla="*/ 3685390 h 4525940"/>
              <a:gd name="connsiteX428" fmla="*/ 444041 w 4545947"/>
              <a:gd name="connsiteY428" fmla="*/ 3678411 h 4525940"/>
              <a:gd name="connsiteX429" fmla="*/ 453220 w 4545947"/>
              <a:gd name="connsiteY429" fmla="*/ 3685202 h 4525940"/>
              <a:gd name="connsiteX430" fmla="*/ 449722 w 4545947"/>
              <a:gd name="connsiteY430" fmla="*/ 3709259 h 4525940"/>
              <a:gd name="connsiteX431" fmla="*/ 440976 w 4545947"/>
              <a:gd name="connsiteY431" fmla="*/ 3693432 h 4525940"/>
              <a:gd name="connsiteX432" fmla="*/ 444041 w 4545947"/>
              <a:gd name="connsiteY432" fmla="*/ 3678411 h 4525940"/>
              <a:gd name="connsiteX433" fmla="*/ 4470885 w 4545947"/>
              <a:gd name="connsiteY433" fmla="*/ 3671274 h 4525940"/>
              <a:gd name="connsiteX434" fmla="*/ 4472813 w 4545947"/>
              <a:gd name="connsiteY434" fmla="*/ 3677605 h 4525940"/>
              <a:gd name="connsiteX435" fmla="*/ 4468182 w 4545947"/>
              <a:gd name="connsiteY435" fmla="*/ 3683935 h 4525940"/>
              <a:gd name="connsiteX436" fmla="*/ 4466253 w 4545947"/>
              <a:gd name="connsiteY436" fmla="*/ 3677605 h 4525940"/>
              <a:gd name="connsiteX437" fmla="*/ 4470885 w 4545947"/>
              <a:gd name="connsiteY437" fmla="*/ 3671274 h 4525940"/>
              <a:gd name="connsiteX438" fmla="*/ 4171728 w 4545947"/>
              <a:gd name="connsiteY438" fmla="*/ 3669684 h 4525940"/>
              <a:gd name="connsiteX439" fmla="*/ 4194226 w 4545947"/>
              <a:gd name="connsiteY439" fmla="*/ 3722097 h 4525940"/>
              <a:gd name="connsiteX440" fmla="*/ 4198412 w 4545947"/>
              <a:gd name="connsiteY440" fmla="*/ 3740901 h 4525940"/>
              <a:gd name="connsiteX441" fmla="*/ 4201692 w 4545947"/>
              <a:gd name="connsiteY441" fmla="*/ 3750410 h 4525940"/>
              <a:gd name="connsiteX442" fmla="*/ 4195132 w 4545947"/>
              <a:gd name="connsiteY442" fmla="*/ 3759906 h 4525940"/>
              <a:gd name="connsiteX443" fmla="*/ 4188573 w 4545947"/>
              <a:gd name="connsiteY443" fmla="*/ 3750410 h 4525940"/>
              <a:gd name="connsiteX444" fmla="*/ 4183725 w 4545947"/>
              <a:gd name="connsiteY444" fmla="*/ 3740913 h 4525940"/>
              <a:gd name="connsiteX445" fmla="*/ 4181714 w 4545947"/>
              <a:gd name="connsiteY445" fmla="*/ 3724559 h 4525940"/>
              <a:gd name="connsiteX446" fmla="*/ 4176068 w 4545947"/>
              <a:gd name="connsiteY446" fmla="*/ 3704994 h 4525940"/>
              <a:gd name="connsiteX447" fmla="*/ 4165810 w 4545947"/>
              <a:gd name="connsiteY447" fmla="*/ 3684278 h 4525940"/>
              <a:gd name="connsiteX448" fmla="*/ 4171728 w 4545947"/>
              <a:gd name="connsiteY448" fmla="*/ 3669684 h 4525940"/>
              <a:gd name="connsiteX449" fmla="*/ 3781533 w 4545947"/>
              <a:gd name="connsiteY449" fmla="*/ 3666259 h 4525940"/>
              <a:gd name="connsiteX450" fmla="*/ 3772184 w 4545947"/>
              <a:gd name="connsiteY450" fmla="*/ 3676181 h 4525940"/>
              <a:gd name="connsiteX451" fmla="*/ 3767900 w 4545947"/>
              <a:gd name="connsiteY451" fmla="*/ 3703257 h 4525940"/>
              <a:gd name="connsiteX452" fmla="*/ 3770849 w 4545947"/>
              <a:gd name="connsiteY452" fmla="*/ 3722178 h 4525940"/>
              <a:gd name="connsiteX453" fmla="*/ 3772888 w 4545947"/>
              <a:gd name="connsiteY453" fmla="*/ 3728251 h 4525940"/>
              <a:gd name="connsiteX454" fmla="*/ 3777518 w 4545947"/>
              <a:gd name="connsiteY454" fmla="*/ 3735634 h 4525940"/>
              <a:gd name="connsiteX455" fmla="*/ 3797197 w 4545947"/>
              <a:gd name="connsiteY455" fmla="*/ 3763763 h 4525940"/>
              <a:gd name="connsiteX456" fmla="*/ 3802839 w 4545947"/>
              <a:gd name="connsiteY456" fmla="*/ 3743591 h 4525940"/>
              <a:gd name="connsiteX457" fmla="*/ 3789493 w 4545947"/>
              <a:gd name="connsiteY457" fmla="*/ 3668785 h 4525940"/>
              <a:gd name="connsiteX458" fmla="*/ 3781533 w 4545947"/>
              <a:gd name="connsiteY458" fmla="*/ 3666259 h 4525940"/>
              <a:gd name="connsiteX459" fmla="*/ 440976 w 4545947"/>
              <a:gd name="connsiteY459" fmla="*/ 3652281 h 4525940"/>
              <a:gd name="connsiteX460" fmla="*/ 445349 w 4545947"/>
              <a:gd name="connsiteY460" fmla="*/ 3658238 h 4525940"/>
              <a:gd name="connsiteX461" fmla="*/ 440976 w 4545947"/>
              <a:gd name="connsiteY461" fmla="*/ 3668109 h 4525940"/>
              <a:gd name="connsiteX462" fmla="*/ 436603 w 4545947"/>
              <a:gd name="connsiteY462" fmla="*/ 3662151 h 4525940"/>
              <a:gd name="connsiteX463" fmla="*/ 440976 w 4545947"/>
              <a:gd name="connsiteY463" fmla="*/ 3652281 h 4525940"/>
              <a:gd name="connsiteX464" fmla="*/ 3171373 w 4545947"/>
              <a:gd name="connsiteY464" fmla="*/ 3641045 h 4525940"/>
              <a:gd name="connsiteX465" fmla="*/ 3181007 w 4545947"/>
              <a:gd name="connsiteY465" fmla="*/ 3687671 h 4525940"/>
              <a:gd name="connsiteX466" fmla="*/ 3187158 w 4545947"/>
              <a:gd name="connsiteY466" fmla="*/ 3730762 h 4525940"/>
              <a:gd name="connsiteX467" fmla="*/ 3183347 w 4545947"/>
              <a:gd name="connsiteY467" fmla="*/ 3759906 h 4525940"/>
              <a:gd name="connsiteX468" fmla="*/ 3172415 w 4545947"/>
              <a:gd name="connsiteY468" fmla="*/ 3740122 h 4525940"/>
              <a:gd name="connsiteX469" fmla="*/ 3169682 w 4545947"/>
              <a:gd name="connsiteY469" fmla="*/ 3702136 h 4525940"/>
              <a:gd name="connsiteX470" fmla="*/ 3165309 w 4545947"/>
              <a:gd name="connsiteY470" fmla="*/ 3683935 h 4525940"/>
              <a:gd name="connsiteX471" fmla="*/ 3165690 w 4545947"/>
              <a:gd name="connsiteY471" fmla="*/ 3642444 h 4525940"/>
              <a:gd name="connsiteX472" fmla="*/ 3171373 w 4545947"/>
              <a:gd name="connsiteY472" fmla="*/ 3641045 h 4525940"/>
              <a:gd name="connsiteX473" fmla="*/ 4333348 w 4545947"/>
              <a:gd name="connsiteY473" fmla="*/ 3639619 h 4525940"/>
              <a:gd name="connsiteX474" fmla="*/ 4337253 w 4545947"/>
              <a:gd name="connsiteY474" fmla="*/ 3655447 h 4525940"/>
              <a:gd name="connsiteX475" fmla="*/ 4326564 w 4545947"/>
              <a:gd name="connsiteY475" fmla="*/ 3665514 h 4525940"/>
              <a:gd name="connsiteX476" fmla="*/ 4333348 w 4545947"/>
              <a:gd name="connsiteY476" fmla="*/ 3639619 h 4525940"/>
              <a:gd name="connsiteX477" fmla="*/ 3189618 w 4545947"/>
              <a:gd name="connsiteY477" fmla="*/ 3639619 h 4525940"/>
              <a:gd name="connsiteX478" fmla="*/ 3191547 w 4545947"/>
              <a:gd name="connsiteY478" fmla="*/ 3645950 h 4525940"/>
              <a:gd name="connsiteX479" fmla="*/ 3186916 w 4545947"/>
              <a:gd name="connsiteY479" fmla="*/ 3652281 h 4525940"/>
              <a:gd name="connsiteX480" fmla="*/ 3184987 w 4545947"/>
              <a:gd name="connsiteY480" fmla="*/ 3645950 h 4525940"/>
              <a:gd name="connsiteX481" fmla="*/ 3189618 w 4545947"/>
              <a:gd name="connsiteY481" fmla="*/ 3639619 h 4525940"/>
              <a:gd name="connsiteX482" fmla="*/ 682150 w 4545947"/>
              <a:gd name="connsiteY482" fmla="*/ 3636920 h 4525940"/>
              <a:gd name="connsiteX483" fmla="*/ 700310 w 4545947"/>
              <a:gd name="connsiteY483" fmla="*/ 3638085 h 4525940"/>
              <a:gd name="connsiteX484" fmla="*/ 715615 w 4545947"/>
              <a:gd name="connsiteY484" fmla="*/ 3654597 h 4525940"/>
              <a:gd name="connsiteX485" fmla="*/ 688710 w 4545947"/>
              <a:gd name="connsiteY485" fmla="*/ 3654982 h 4525940"/>
              <a:gd name="connsiteX486" fmla="*/ 682150 w 4545947"/>
              <a:gd name="connsiteY486" fmla="*/ 3636920 h 4525940"/>
              <a:gd name="connsiteX487" fmla="*/ 1590882 w 4545947"/>
              <a:gd name="connsiteY487" fmla="*/ 3636609 h 4525940"/>
              <a:gd name="connsiteX488" fmla="*/ 1604107 w 4545947"/>
              <a:gd name="connsiteY488" fmla="*/ 3653864 h 4525940"/>
              <a:gd name="connsiteX489" fmla="*/ 1593415 w 4545947"/>
              <a:gd name="connsiteY489" fmla="*/ 3650082 h 4525940"/>
              <a:gd name="connsiteX490" fmla="*/ 1590882 w 4545947"/>
              <a:gd name="connsiteY490" fmla="*/ 3636609 h 4525940"/>
              <a:gd name="connsiteX491" fmla="*/ 4351611 w 4545947"/>
              <a:gd name="connsiteY491" fmla="*/ 3620852 h 4525940"/>
              <a:gd name="connsiteX492" fmla="*/ 4353385 w 4545947"/>
              <a:gd name="connsiteY492" fmla="*/ 3628541 h 4525940"/>
              <a:gd name="connsiteX493" fmla="*/ 4363301 w 4545947"/>
              <a:gd name="connsiteY493" fmla="*/ 3639620 h 4525940"/>
              <a:gd name="connsiteX494" fmla="*/ 4372776 w 4545947"/>
              <a:gd name="connsiteY494" fmla="*/ 3671956 h 4525940"/>
              <a:gd name="connsiteX495" fmla="*/ 4370269 w 4545947"/>
              <a:gd name="connsiteY495" fmla="*/ 3673264 h 4525940"/>
              <a:gd name="connsiteX496" fmla="*/ 4360839 w 4545947"/>
              <a:gd name="connsiteY496" fmla="*/ 3655351 h 4525940"/>
              <a:gd name="connsiteX497" fmla="*/ 4350879 w 4545947"/>
              <a:gd name="connsiteY497" fmla="*/ 3628828 h 4525940"/>
              <a:gd name="connsiteX498" fmla="*/ 4351611 w 4545947"/>
              <a:gd name="connsiteY498" fmla="*/ 3620852 h 4525940"/>
              <a:gd name="connsiteX499" fmla="*/ 1737013 w 4545947"/>
              <a:gd name="connsiteY499" fmla="*/ 3614296 h 4525940"/>
              <a:gd name="connsiteX500" fmla="*/ 1726616 w 4545947"/>
              <a:gd name="connsiteY500" fmla="*/ 3629068 h 4525940"/>
              <a:gd name="connsiteX501" fmla="*/ 1751414 w 4545947"/>
              <a:gd name="connsiteY501" fmla="*/ 3642608 h 4525940"/>
              <a:gd name="connsiteX502" fmla="*/ 1737013 w 4545947"/>
              <a:gd name="connsiteY502" fmla="*/ 3614296 h 4525940"/>
              <a:gd name="connsiteX503" fmla="*/ 807126 w 4545947"/>
              <a:gd name="connsiteY503" fmla="*/ 3610806 h 4525940"/>
              <a:gd name="connsiteX504" fmla="*/ 805224 w 4545947"/>
              <a:gd name="connsiteY504" fmla="*/ 3621284 h 4525940"/>
              <a:gd name="connsiteX505" fmla="*/ 797792 w 4545947"/>
              <a:gd name="connsiteY505" fmla="*/ 3621616 h 4525940"/>
              <a:gd name="connsiteX506" fmla="*/ 799775 w 4545947"/>
              <a:gd name="connsiteY506" fmla="*/ 3610934 h 4525940"/>
              <a:gd name="connsiteX507" fmla="*/ 807126 w 4545947"/>
              <a:gd name="connsiteY507" fmla="*/ 3610806 h 4525940"/>
              <a:gd name="connsiteX508" fmla="*/ 2205452 w 4545947"/>
              <a:gd name="connsiteY508" fmla="*/ 3601634 h 4525940"/>
              <a:gd name="connsiteX509" fmla="*/ 2198892 w 4545947"/>
              <a:gd name="connsiteY509" fmla="*/ 3607965 h 4525940"/>
              <a:gd name="connsiteX510" fmla="*/ 2205452 w 4545947"/>
              <a:gd name="connsiteY510" fmla="*/ 3614296 h 4525940"/>
              <a:gd name="connsiteX511" fmla="*/ 2212011 w 4545947"/>
              <a:gd name="connsiteY511" fmla="*/ 3607965 h 4525940"/>
              <a:gd name="connsiteX512" fmla="*/ 2205452 w 4545947"/>
              <a:gd name="connsiteY512" fmla="*/ 3601634 h 4525940"/>
              <a:gd name="connsiteX513" fmla="*/ 2052748 w 4545947"/>
              <a:gd name="connsiteY513" fmla="*/ 3583925 h 4525940"/>
              <a:gd name="connsiteX514" fmla="*/ 2050662 w 4545947"/>
              <a:gd name="connsiteY514" fmla="*/ 3643478 h 4525940"/>
              <a:gd name="connsiteX515" fmla="*/ 2072077 w 4545947"/>
              <a:gd name="connsiteY515" fmla="*/ 3648742 h 4525940"/>
              <a:gd name="connsiteX516" fmla="*/ 2077017 w 4545947"/>
              <a:gd name="connsiteY516" fmla="*/ 3643293 h 4525940"/>
              <a:gd name="connsiteX517" fmla="*/ 2079985 w 4545947"/>
              <a:gd name="connsiteY517" fmla="*/ 3642083 h 4525940"/>
              <a:gd name="connsiteX518" fmla="*/ 2069928 w 4545947"/>
              <a:gd name="connsiteY518" fmla="*/ 3609249 h 4525940"/>
              <a:gd name="connsiteX519" fmla="*/ 2052748 w 4545947"/>
              <a:gd name="connsiteY519" fmla="*/ 3583925 h 4525940"/>
              <a:gd name="connsiteX520" fmla="*/ 2102688 w 4545947"/>
              <a:gd name="connsiteY520" fmla="*/ 3582642 h 4525940"/>
              <a:gd name="connsiteX521" fmla="*/ 2091367 w 4545947"/>
              <a:gd name="connsiteY521" fmla="*/ 3617476 h 4525940"/>
              <a:gd name="connsiteX522" fmla="*/ 2102688 w 4545947"/>
              <a:gd name="connsiteY522" fmla="*/ 3633289 h 4525940"/>
              <a:gd name="connsiteX523" fmla="*/ 2114008 w 4545947"/>
              <a:gd name="connsiteY523" fmla="*/ 3617476 h 4525940"/>
              <a:gd name="connsiteX524" fmla="*/ 2102688 w 4545947"/>
              <a:gd name="connsiteY524" fmla="*/ 3582642 h 4525940"/>
              <a:gd name="connsiteX525" fmla="*/ 2147146 w 4545947"/>
              <a:gd name="connsiteY525" fmla="*/ 3571020 h 4525940"/>
              <a:gd name="connsiteX526" fmla="*/ 2137738 w 4545947"/>
              <a:gd name="connsiteY526" fmla="*/ 3608493 h 4525940"/>
              <a:gd name="connsiteX527" fmla="*/ 2152797 w 4545947"/>
              <a:gd name="connsiteY527" fmla="*/ 3638304 h 4525940"/>
              <a:gd name="connsiteX528" fmla="*/ 2161723 w 4545947"/>
              <a:gd name="connsiteY528" fmla="*/ 3608655 h 4525940"/>
              <a:gd name="connsiteX529" fmla="*/ 2153945 w 4545947"/>
              <a:gd name="connsiteY529" fmla="*/ 3573836 h 4525940"/>
              <a:gd name="connsiteX530" fmla="*/ 2147146 w 4545947"/>
              <a:gd name="connsiteY530" fmla="*/ 3571020 h 4525940"/>
              <a:gd name="connsiteX531" fmla="*/ 1798001 w 4545947"/>
              <a:gd name="connsiteY531" fmla="*/ 3564738 h 4525940"/>
              <a:gd name="connsiteX532" fmla="*/ 1804404 w 4545947"/>
              <a:gd name="connsiteY532" fmla="*/ 3690298 h 4525940"/>
              <a:gd name="connsiteX533" fmla="*/ 1825007 w 4545947"/>
              <a:gd name="connsiteY533" fmla="*/ 3705989 h 4525940"/>
              <a:gd name="connsiteX534" fmla="*/ 1854833 w 4545947"/>
              <a:gd name="connsiteY534" fmla="*/ 3708350 h 4525940"/>
              <a:gd name="connsiteX535" fmla="*/ 1852022 w 4545947"/>
              <a:gd name="connsiteY535" fmla="*/ 3687323 h 4525940"/>
              <a:gd name="connsiteX536" fmla="*/ 1844685 w 4545947"/>
              <a:gd name="connsiteY536" fmla="*/ 3667656 h 4525940"/>
              <a:gd name="connsiteX537" fmla="*/ 1839844 w 4545947"/>
              <a:gd name="connsiteY537" fmla="*/ 3658612 h 4525940"/>
              <a:gd name="connsiteX538" fmla="*/ 1837584 w 4545947"/>
              <a:gd name="connsiteY538" fmla="*/ 3648876 h 4525940"/>
              <a:gd name="connsiteX539" fmla="*/ 1834195 w 4545947"/>
              <a:gd name="connsiteY539" fmla="*/ 3635824 h 4525940"/>
              <a:gd name="connsiteX540" fmla="*/ 1825589 w 4545947"/>
              <a:gd name="connsiteY540" fmla="*/ 3608642 h 4525940"/>
              <a:gd name="connsiteX541" fmla="*/ 1798001 w 4545947"/>
              <a:gd name="connsiteY541" fmla="*/ 3564738 h 4525940"/>
              <a:gd name="connsiteX542" fmla="*/ 4146521 w 4545947"/>
              <a:gd name="connsiteY542" fmla="*/ 3557318 h 4525940"/>
              <a:gd name="connsiteX543" fmla="*/ 4155093 w 4545947"/>
              <a:gd name="connsiteY543" fmla="*/ 3571287 h 4525940"/>
              <a:gd name="connsiteX544" fmla="*/ 4148124 w 4545947"/>
              <a:gd name="connsiteY544" fmla="*/ 3584178 h 4525940"/>
              <a:gd name="connsiteX545" fmla="*/ 4146521 w 4545947"/>
              <a:gd name="connsiteY545" fmla="*/ 3557318 h 4525940"/>
              <a:gd name="connsiteX546" fmla="*/ 1509191 w 4545947"/>
              <a:gd name="connsiteY546" fmla="*/ 3547053 h 4525940"/>
              <a:gd name="connsiteX547" fmla="*/ 1508315 w 4545947"/>
              <a:gd name="connsiteY547" fmla="*/ 3553625 h 4525940"/>
              <a:gd name="connsiteX548" fmla="*/ 1510612 w 4545947"/>
              <a:gd name="connsiteY548" fmla="*/ 3561935 h 4525940"/>
              <a:gd name="connsiteX549" fmla="*/ 1510957 w 4545947"/>
              <a:gd name="connsiteY549" fmla="*/ 3549800 h 4525940"/>
              <a:gd name="connsiteX550" fmla="*/ 1510957 w 4545947"/>
              <a:gd name="connsiteY550" fmla="*/ 3549800 h 4525940"/>
              <a:gd name="connsiteX551" fmla="*/ 1509191 w 4545947"/>
              <a:gd name="connsiteY551" fmla="*/ 3547053 h 4525940"/>
              <a:gd name="connsiteX552" fmla="*/ 4384535 w 4545947"/>
              <a:gd name="connsiteY552" fmla="*/ 3546663 h 4525940"/>
              <a:gd name="connsiteX553" fmla="*/ 4387177 w 4545947"/>
              <a:gd name="connsiteY553" fmla="*/ 3550488 h 4525940"/>
              <a:gd name="connsiteX554" fmla="*/ 4392916 w 4545947"/>
              <a:gd name="connsiteY554" fmla="*/ 3547163 h 4525940"/>
              <a:gd name="connsiteX555" fmla="*/ 4392916 w 4545947"/>
              <a:gd name="connsiteY555" fmla="*/ 3547162 h 4525940"/>
              <a:gd name="connsiteX556" fmla="*/ 4384535 w 4545947"/>
              <a:gd name="connsiteY556" fmla="*/ 3546663 h 4525940"/>
              <a:gd name="connsiteX557" fmla="*/ 2522488 w 4545947"/>
              <a:gd name="connsiteY557" fmla="*/ 3535161 h 4525940"/>
              <a:gd name="connsiteX558" fmla="*/ 2512028 w 4545947"/>
              <a:gd name="connsiteY558" fmla="*/ 3569062 h 4525940"/>
              <a:gd name="connsiteX559" fmla="*/ 2537303 w 4545947"/>
              <a:gd name="connsiteY559" fmla="*/ 3568397 h 4525940"/>
              <a:gd name="connsiteX560" fmla="*/ 2522488 w 4545947"/>
              <a:gd name="connsiteY560" fmla="*/ 3535161 h 4525940"/>
              <a:gd name="connsiteX561" fmla="*/ 4512472 w 4545947"/>
              <a:gd name="connsiteY561" fmla="*/ 3529100 h 4525940"/>
              <a:gd name="connsiteX562" fmla="*/ 4509725 w 4545947"/>
              <a:gd name="connsiteY562" fmla="*/ 3538326 h 4525940"/>
              <a:gd name="connsiteX563" fmla="*/ 4505654 w 4545947"/>
              <a:gd name="connsiteY563" fmla="*/ 3531892 h 4525940"/>
              <a:gd name="connsiteX564" fmla="*/ 4512472 w 4545947"/>
              <a:gd name="connsiteY564" fmla="*/ 3529100 h 4525940"/>
              <a:gd name="connsiteX565" fmla="*/ 1784685 w 4545947"/>
              <a:gd name="connsiteY565" fmla="*/ 3528061 h 4525940"/>
              <a:gd name="connsiteX566" fmla="*/ 1786451 w 4545947"/>
              <a:gd name="connsiteY566" fmla="*/ 3530808 h 4525940"/>
              <a:gd name="connsiteX567" fmla="*/ 1786106 w 4545947"/>
              <a:gd name="connsiteY567" fmla="*/ 3542942 h 4525940"/>
              <a:gd name="connsiteX568" fmla="*/ 1783809 w 4545947"/>
              <a:gd name="connsiteY568" fmla="*/ 3534633 h 4525940"/>
              <a:gd name="connsiteX569" fmla="*/ 1784685 w 4545947"/>
              <a:gd name="connsiteY569" fmla="*/ 3528061 h 4525940"/>
              <a:gd name="connsiteX570" fmla="*/ 2708921 w 4545947"/>
              <a:gd name="connsiteY570" fmla="*/ 3527919 h 4525940"/>
              <a:gd name="connsiteX571" fmla="*/ 2719644 w 4545947"/>
              <a:gd name="connsiteY571" fmla="*/ 3532655 h 4525940"/>
              <a:gd name="connsiteX572" fmla="*/ 2712711 w 4545947"/>
              <a:gd name="connsiteY572" fmla="*/ 3550987 h 4525940"/>
              <a:gd name="connsiteX573" fmla="*/ 2701779 w 4545947"/>
              <a:gd name="connsiteY573" fmla="*/ 3541293 h 4525940"/>
              <a:gd name="connsiteX574" fmla="*/ 2708921 w 4545947"/>
              <a:gd name="connsiteY574" fmla="*/ 3527919 h 4525940"/>
              <a:gd name="connsiteX575" fmla="*/ 4454649 w 4545947"/>
              <a:gd name="connsiteY575" fmla="*/ 3527292 h 4525940"/>
              <a:gd name="connsiteX576" fmla="*/ 4459694 w 4545947"/>
              <a:gd name="connsiteY576" fmla="*/ 3534633 h 4525940"/>
              <a:gd name="connsiteX577" fmla="*/ 4452770 w 4545947"/>
              <a:gd name="connsiteY577" fmla="*/ 3544657 h 4525940"/>
              <a:gd name="connsiteX578" fmla="*/ 4447578 w 4545947"/>
              <a:gd name="connsiteY578" fmla="*/ 3537139 h 4525940"/>
              <a:gd name="connsiteX579" fmla="*/ 4454649 w 4545947"/>
              <a:gd name="connsiteY579" fmla="*/ 3527292 h 4525940"/>
              <a:gd name="connsiteX580" fmla="*/ 4330693 w 4545947"/>
              <a:gd name="connsiteY580" fmla="*/ 3513002 h 4525940"/>
              <a:gd name="connsiteX581" fmla="*/ 4337253 w 4545947"/>
              <a:gd name="connsiteY581" fmla="*/ 3522872 h 4525940"/>
              <a:gd name="connsiteX582" fmla="*/ 4341625 w 4545947"/>
              <a:gd name="connsiteY582" fmla="*/ 3528830 h 4525940"/>
              <a:gd name="connsiteX583" fmla="*/ 4345998 w 4545947"/>
              <a:gd name="connsiteY583" fmla="*/ 3531621 h 4525940"/>
              <a:gd name="connsiteX584" fmla="*/ 4331787 w 4545947"/>
              <a:gd name="connsiteY584" fmla="*/ 3533962 h 4525940"/>
              <a:gd name="connsiteX585" fmla="*/ 4330693 w 4545947"/>
              <a:gd name="connsiteY585" fmla="*/ 3513002 h 4525940"/>
              <a:gd name="connsiteX586" fmla="*/ 1781278 w 4545947"/>
              <a:gd name="connsiteY586" fmla="*/ 3513002 h 4525940"/>
              <a:gd name="connsiteX587" fmla="*/ 1770345 w 4545947"/>
              <a:gd name="connsiteY587" fmla="*/ 3522499 h 4525940"/>
              <a:gd name="connsiteX588" fmla="*/ 1770345 w 4545947"/>
              <a:gd name="connsiteY588" fmla="*/ 3541491 h 4525940"/>
              <a:gd name="connsiteX589" fmla="*/ 1781278 w 4545947"/>
              <a:gd name="connsiteY589" fmla="*/ 3550987 h 4525940"/>
              <a:gd name="connsiteX590" fmla="*/ 1792210 w 4545947"/>
              <a:gd name="connsiteY590" fmla="*/ 3541491 h 4525940"/>
              <a:gd name="connsiteX591" fmla="*/ 1792210 w 4545947"/>
              <a:gd name="connsiteY591" fmla="*/ 3522499 h 4525940"/>
              <a:gd name="connsiteX592" fmla="*/ 1781278 w 4545947"/>
              <a:gd name="connsiteY592" fmla="*/ 3513002 h 4525940"/>
              <a:gd name="connsiteX593" fmla="*/ 2765727 w 4545947"/>
              <a:gd name="connsiteY593" fmla="*/ 3506671 h 4525940"/>
              <a:gd name="connsiteX594" fmla="*/ 2771915 w 4545947"/>
              <a:gd name="connsiteY594" fmla="*/ 3549820 h 4525940"/>
              <a:gd name="connsiteX595" fmla="*/ 2777517 w 4545947"/>
              <a:gd name="connsiteY595" fmla="*/ 3587805 h 4525940"/>
              <a:gd name="connsiteX596" fmla="*/ 2777592 w 4545947"/>
              <a:gd name="connsiteY596" fmla="*/ 3645950 h 4525940"/>
              <a:gd name="connsiteX597" fmla="*/ 2767140 w 4545947"/>
              <a:gd name="connsiteY597" fmla="*/ 3632658 h 4525940"/>
              <a:gd name="connsiteX598" fmla="*/ 2750756 w 4545947"/>
              <a:gd name="connsiteY598" fmla="*/ 3622540 h 4525940"/>
              <a:gd name="connsiteX599" fmla="*/ 2733789 w 4545947"/>
              <a:gd name="connsiteY599" fmla="*/ 3615257 h 4525940"/>
              <a:gd name="connsiteX600" fmla="*/ 2734887 w 4545947"/>
              <a:gd name="connsiteY600" fmla="*/ 3595303 h 4525940"/>
              <a:gd name="connsiteX601" fmla="*/ 2757753 w 4545947"/>
              <a:gd name="connsiteY601" fmla="*/ 3540827 h 4525940"/>
              <a:gd name="connsiteX602" fmla="*/ 2765727 w 4545947"/>
              <a:gd name="connsiteY602" fmla="*/ 3506671 h 4525940"/>
              <a:gd name="connsiteX603" fmla="*/ 740522 w 4545947"/>
              <a:gd name="connsiteY603" fmla="*/ 3475017 h 4525940"/>
              <a:gd name="connsiteX604" fmla="*/ 747081 w 4545947"/>
              <a:gd name="connsiteY604" fmla="*/ 3484514 h 4525940"/>
              <a:gd name="connsiteX605" fmla="*/ 740522 w 4545947"/>
              <a:gd name="connsiteY605" fmla="*/ 3494010 h 4525940"/>
              <a:gd name="connsiteX606" fmla="*/ 733962 w 4545947"/>
              <a:gd name="connsiteY606" fmla="*/ 3484514 h 4525940"/>
              <a:gd name="connsiteX607" fmla="*/ 740522 w 4545947"/>
              <a:gd name="connsiteY607" fmla="*/ 3475017 h 4525940"/>
              <a:gd name="connsiteX608" fmla="*/ 2881943 w 4545947"/>
              <a:gd name="connsiteY608" fmla="*/ 3462355 h 4525940"/>
              <a:gd name="connsiteX609" fmla="*/ 2878636 w 4545947"/>
              <a:gd name="connsiteY609" fmla="*/ 3495324 h 4525940"/>
              <a:gd name="connsiteX610" fmla="*/ 2869346 w 4545947"/>
              <a:gd name="connsiteY610" fmla="*/ 3523011 h 4525940"/>
              <a:gd name="connsiteX611" fmla="*/ 2885957 w 4545947"/>
              <a:gd name="connsiteY611" fmla="*/ 3557318 h 4525940"/>
              <a:gd name="connsiteX612" fmla="*/ 2892001 w 4545947"/>
              <a:gd name="connsiteY612" fmla="*/ 3550987 h 4525940"/>
              <a:gd name="connsiteX613" fmla="*/ 2898525 w 4545947"/>
              <a:gd name="connsiteY613" fmla="*/ 3544657 h 4525940"/>
              <a:gd name="connsiteX614" fmla="*/ 2906022 w 4545947"/>
              <a:gd name="connsiteY614" fmla="*/ 3571563 h 4525940"/>
              <a:gd name="connsiteX615" fmla="*/ 2895961 w 4545947"/>
              <a:gd name="connsiteY615" fmla="*/ 3600666 h 4525940"/>
              <a:gd name="connsiteX616" fmla="*/ 2883473 w 4545947"/>
              <a:gd name="connsiteY616" fmla="*/ 3608579 h 4525940"/>
              <a:gd name="connsiteX617" fmla="*/ 2866193 w 4545947"/>
              <a:gd name="connsiteY617" fmla="*/ 3600603 h 4525940"/>
              <a:gd name="connsiteX618" fmla="*/ 2861950 w 4545947"/>
              <a:gd name="connsiteY618" fmla="*/ 3581332 h 4525940"/>
              <a:gd name="connsiteX619" fmla="*/ 2859095 w 4545947"/>
              <a:gd name="connsiteY619" fmla="*/ 3566625 h 4525940"/>
              <a:gd name="connsiteX620" fmla="*/ 2855607 w 4545947"/>
              <a:gd name="connsiteY620" fmla="*/ 3535822 h 4525940"/>
              <a:gd name="connsiteX621" fmla="*/ 2845247 w 4545947"/>
              <a:gd name="connsiteY621" fmla="*/ 3503796 h 4525940"/>
              <a:gd name="connsiteX622" fmla="*/ 2838518 w 4545947"/>
              <a:gd name="connsiteY622" fmla="*/ 3479481 h 4525940"/>
              <a:gd name="connsiteX623" fmla="*/ 2844567 w 4545947"/>
              <a:gd name="connsiteY623" fmla="*/ 3463500 h 4525940"/>
              <a:gd name="connsiteX624" fmla="*/ 2854296 w 4545947"/>
              <a:gd name="connsiteY624" fmla="*/ 3469672 h 4525940"/>
              <a:gd name="connsiteX625" fmla="*/ 2868715 w 4545947"/>
              <a:gd name="connsiteY625" fmla="*/ 3470111 h 4525940"/>
              <a:gd name="connsiteX626" fmla="*/ 2881943 w 4545947"/>
              <a:gd name="connsiteY626" fmla="*/ 3462355 h 4525940"/>
              <a:gd name="connsiteX627" fmla="*/ 3212720 w 4545947"/>
              <a:gd name="connsiteY627" fmla="*/ 3424461 h 4525940"/>
              <a:gd name="connsiteX628" fmla="*/ 3204212 w 4545947"/>
              <a:gd name="connsiteY628" fmla="*/ 3429702 h 4525940"/>
              <a:gd name="connsiteX629" fmla="*/ 3191529 w 4545947"/>
              <a:gd name="connsiteY629" fmla="*/ 3430662 h 4525940"/>
              <a:gd name="connsiteX630" fmla="*/ 3172515 w 4545947"/>
              <a:gd name="connsiteY630" fmla="*/ 3443537 h 4525940"/>
              <a:gd name="connsiteX631" fmla="*/ 3184563 w 4545947"/>
              <a:gd name="connsiteY631" fmla="*/ 3508254 h 4525940"/>
              <a:gd name="connsiteX632" fmla="*/ 3208164 w 4545947"/>
              <a:gd name="connsiteY632" fmla="*/ 3511736 h 4525940"/>
              <a:gd name="connsiteX633" fmla="*/ 3209038 w 4545947"/>
              <a:gd name="connsiteY633" fmla="*/ 3481348 h 4525940"/>
              <a:gd name="connsiteX634" fmla="*/ 3213411 w 4545947"/>
              <a:gd name="connsiteY634" fmla="*/ 3460521 h 4525940"/>
              <a:gd name="connsiteX635" fmla="*/ 3217851 w 4545947"/>
              <a:gd name="connsiteY635" fmla="*/ 3430701 h 4525940"/>
              <a:gd name="connsiteX636" fmla="*/ 3212720 w 4545947"/>
              <a:gd name="connsiteY636" fmla="*/ 3424461 h 4525940"/>
              <a:gd name="connsiteX637" fmla="*/ 4431270 w 4545947"/>
              <a:gd name="connsiteY637" fmla="*/ 3405378 h 4525940"/>
              <a:gd name="connsiteX638" fmla="*/ 4442203 w 4545947"/>
              <a:gd name="connsiteY638" fmla="*/ 3417522 h 4525940"/>
              <a:gd name="connsiteX639" fmla="*/ 4444857 w 4545947"/>
              <a:gd name="connsiteY639" fmla="*/ 3439680 h 4525940"/>
              <a:gd name="connsiteX640" fmla="*/ 4430057 w 4545947"/>
              <a:gd name="connsiteY640" fmla="*/ 3439839 h 4525940"/>
              <a:gd name="connsiteX641" fmla="*/ 4431270 w 4545947"/>
              <a:gd name="connsiteY641" fmla="*/ 3405378 h 4525940"/>
              <a:gd name="connsiteX642" fmla="*/ 549890 w 4545947"/>
              <a:gd name="connsiteY642" fmla="*/ 3399047 h 4525940"/>
              <a:gd name="connsiteX643" fmla="*/ 548842 w 4545947"/>
              <a:gd name="connsiteY643" fmla="*/ 3426481 h 4525940"/>
              <a:gd name="connsiteX644" fmla="*/ 558681 w 4545947"/>
              <a:gd name="connsiteY644" fmla="*/ 3429967 h 4525940"/>
              <a:gd name="connsiteX645" fmla="*/ 557546 w 4545947"/>
              <a:gd name="connsiteY645" fmla="*/ 3426224 h 4525940"/>
              <a:gd name="connsiteX646" fmla="*/ 551671 w 4545947"/>
              <a:gd name="connsiteY646" fmla="*/ 3411132 h 4525940"/>
              <a:gd name="connsiteX647" fmla="*/ 549890 w 4545947"/>
              <a:gd name="connsiteY647" fmla="*/ 3399047 h 4525940"/>
              <a:gd name="connsiteX648" fmla="*/ 4493782 w 4545947"/>
              <a:gd name="connsiteY648" fmla="*/ 3361062 h 4525940"/>
              <a:gd name="connsiteX649" fmla="*/ 4515201 w 4545947"/>
              <a:gd name="connsiteY649" fmla="*/ 3429955 h 4525940"/>
              <a:gd name="connsiteX650" fmla="*/ 4510617 w 4545947"/>
              <a:gd name="connsiteY650" fmla="*/ 3475017 h 4525940"/>
              <a:gd name="connsiteX651" fmla="*/ 4503423 w 4545947"/>
              <a:gd name="connsiteY651" fmla="*/ 3459717 h 4525940"/>
              <a:gd name="connsiteX652" fmla="*/ 4499676 w 4545947"/>
              <a:gd name="connsiteY652" fmla="*/ 3442307 h 4525940"/>
              <a:gd name="connsiteX653" fmla="*/ 4493782 w 4545947"/>
              <a:gd name="connsiteY653" fmla="*/ 3361062 h 4525940"/>
              <a:gd name="connsiteX654" fmla="*/ 2909492 w 4545947"/>
              <a:gd name="connsiteY654" fmla="*/ 3361062 h 4525940"/>
              <a:gd name="connsiteX655" fmla="*/ 2916052 w 4545947"/>
              <a:gd name="connsiteY655" fmla="*/ 3376889 h 4525940"/>
              <a:gd name="connsiteX656" fmla="*/ 2914958 w 4545947"/>
              <a:gd name="connsiteY656" fmla="*/ 3392216 h 4525940"/>
              <a:gd name="connsiteX657" fmla="*/ 2908399 w 4545947"/>
              <a:gd name="connsiteY657" fmla="*/ 3388523 h 4525940"/>
              <a:gd name="connsiteX658" fmla="*/ 2909492 w 4545947"/>
              <a:gd name="connsiteY658" fmla="*/ 3361062 h 4525940"/>
              <a:gd name="connsiteX659" fmla="*/ 4276032 w 4545947"/>
              <a:gd name="connsiteY659" fmla="*/ 3354731 h 4525940"/>
              <a:gd name="connsiteX660" fmla="*/ 4265567 w 4545947"/>
              <a:gd name="connsiteY660" fmla="*/ 3364745 h 4525940"/>
              <a:gd name="connsiteX661" fmla="*/ 4267117 w 4545947"/>
              <a:gd name="connsiteY661" fmla="*/ 3405378 h 4525940"/>
              <a:gd name="connsiteX662" fmla="*/ 4276032 w 4545947"/>
              <a:gd name="connsiteY662" fmla="*/ 3430701 h 4525940"/>
              <a:gd name="connsiteX663" fmla="*/ 4302037 w 4545947"/>
              <a:gd name="connsiteY663" fmla="*/ 3446933 h 4525940"/>
              <a:gd name="connsiteX664" fmla="*/ 4293369 w 4545947"/>
              <a:gd name="connsiteY664" fmla="*/ 3411709 h 4525940"/>
              <a:gd name="connsiteX665" fmla="*/ 4289150 w 4545947"/>
              <a:gd name="connsiteY665" fmla="*/ 3393234 h 4525940"/>
              <a:gd name="connsiteX666" fmla="*/ 4276032 w 4545947"/>
              <a:gd name="connsiteY666" fmla="*/ 3354731 h 4525940"/>
              <a:gd name="connsiteX667" fmla="*/ 2669069 w 4545947"/>
              <a:gd name="connsiteY667" fmla="*/ 3336073 h 4525940"/>
              <a:gd name="connsiteX668" fmla="*/ 2661312 w 4545947"/>
              <a:gd name="connsiteY668" fmla="*/ 3343652 h 4525940"/>
              <a:gd name="connsiteX669" fmla="*/ 2652411 w 4545947"/>
              <a:gd name="connsiteY669" fmla="*/ 3343129 h 4525940"/>
              <a:gd name="connsiteX670" fmla="*/ 2636395 w 4545947"/>
              <a:gd name="connsiteY670" fmla="*/ 3338808 h 4525940"/>
              <a:gd name="connsiteX671" fmla="*/ 2627439 w 4545947"/>
              <a:gd name="connsiteY671" fmla="*/ 3373095 h 4525940"/>
              <a:gd name="connsiteX672" fmla="*/ 2630354 w 4545947"/>
              <a:gd name="connsiteY672" fmla="*/ 3407488 h 4525940"/>
              <a:gd name="connsiteX673" fmla="*/ 2652210 w 4545947"/>
              <a:gd name="connsiteY673" fmla="*/ 3403795 h 4525940"/>
              <a:gd name="connsiteX674" fmla="*/ 2655748 w 4545947"/>
              <a:gd name="connsiteY674" fmla="*/ 3386385 h 4525940"/>
              <a:gd name="connsiteX675" fmla="*/ 2665384 w 4545947"/>
              <a:gd name="connsiteY675" fmla="*/ 3374926 h 4525940"/>
              <a:gd name="connsiteX676" fmla="*/ 2679914 w 4545947"/>
              <a:gd name="connsiteY676" fmla="*/ 3345235 h 4525940"/>
              <a:gd name="connsiteX677" fmla="*/ 2669069 w 4545947"/>
              <a:gd name="connsiteY677" fmla="*/ 3336073 h 4525940"/>
              <a:gd name="connsiteX678" fmla="*/ 587549 w 4545947"/>
              <a:gd name="connsiteY678" fmla="*/ 3300251 h 4525940"/>
              <a:gd name="connsiteX679" fmla="*/ 574278 w 4545947"/>
              <a:gd name="connsiteY679" fmla="*/ 3300379 h 4525940"/>
              <a:gd name="connsiteX680" fmla="*/ 564236 w 4545947"/>
              <a:gd name="connsiteY680" fmla="*/ 3321715 h 4525940"/>
              <a:gd name="connsiteX681" fmla="*/ 575444 w 4545947"/>
              <a:gd name="connsiteY681" fmla="*/ 3340927 h 4525940"/>
              <a:gd name="connsiteX682" fmla="*/ 585283 w 4545947"/>
              <a:gd name="connsiteY682" fmla="*/ 3354654 h 4525940"/>
              <a:gd name="connsiteX683" fmla="*/ 606273 w 4545947"/>
              <a:gd name="connsiteY683" fmla="*/ 3378788 h 4525940"/>
              <a:gd name="connsiteX684" fmla="*/ 601264 w 4545947"/>
              <a:gd name="connsiteY684" fmla="*/ 3348772 h 4525940"/>
              <a:gd name="connsiteX685" fmla="*/ 590611 w 4545947"/>
              <a:gd name="connsiteY685" fmla="*/ 3322956 h 4525940"/>
              <a:gd name="connsiteX686" fmla="*/ 587549 w 4545947"/>
              <a:gd name="connsiteY686" fmla="*/ 3300251 h 4525940"/>
              <a:gd name="connsiteX687" fmla="*/ 4154664 w 4545947"/>
              <a:gd name="connsiteY687" fmla="*/ 3279903 h 4525940"/>
              <a:gd name="connsiteX688" fmla="*/ 4148160 w 4545947"/>
              <a:gd name="connsiteY688" fmla="*/ 3310449 h 4525940"/>
              <a:gd name="connsiteX689" fmla="*/ 4154873 w 4545947"/>
              <a:gd name="connsiteY689" fmla="*/ 3347448 h 4525940"/>
              <a:gd name="connsiteX690" fmla="*/ 4157387 w 4545947"/>
              <a:gd name="connsiteY690" fmla="*/ 3373723 h 4525940"/>
              <a:gd name="connsiteX691" fmla="*/ 4162336 w 4545947"/>
              <a:gd name="connsiteY691" fmla="*/ 3393890 h 4525940"/>
              <a:gd name="connsiteX692" fmla="*/ 4171844 w 4545947"/>
              <a:gd name="connsiteY692" fmla="*/ 3428710 h 4525940"/>
              <a:gd name="connsiteX693" fmla="*/ 4190840 w 4545947"/>
              <a:gd name="connsiteY693" fmla="*/ 3430334 h 4525940"/>
              <a:gd name="connsiteX694" fmla="*/ 4184264 w 4545947"/>
              <a:gd name="connsiteY694" fmla="*/ 3354731 h 4525940"/>
              <a:gd name="connsiteX695" fmla="*/ 4178032 w 4545947"/>
              <a:gd name="connsiteY695" fmla="*/ 3338904 h 4525940"/>
              <a:gd name="connsiteX696" fmla="*/ 4168795 w 4545947"/>
              <a:gd name="connsiteY696" fmla="*/ 3323077 h 4525940"/>
              <a:gd name="connsiteX697" fmla="*/ 4163412 w 4545947"/>
              <a:gd name="connsiteY697" fmla="*/ 3302505 h 4525940"/>
              <a:gd name="connsiteX698" fmla="*/ 4154664 w 4545947"/>
              <a:gd name="connsiteY698" fmla="*/ 3279903 h 4525940"/>
              <a:gd name="connsiteX699" fmla="*/ 3384462 w 4545947"/>
              <a:gd name="connsiteY699" fmla="*/ 3266400 h 4525940"/>
              <a:gd name="connsiteX700" fmla="*/ 3379525 w 4545947"/>
              <a:gd name="connsiteY700" fmla="*/ 3272430 h 4525940"/>
              <a:gd name="connsiteX701" fmla="*/ 3379925 w 4545947"/>
              <a:gd name="connsiteY701" fmla="*/ 3355951 h 4525940"/>
              <a:gd name="connsiteX702" fmla="*/ 3385390 w 4545947"/>
              <a:gd name="connsiteY702" fmla="*/ 3380219 h 4525940"/>
              <a:gd name="connsiteX703" fmla="*/ 3373548 w 4545947"/>
              <a:gd name="connsiteY703" fmla="*/ 3404295 h 4525940"/>
              <a:gd name="connsiteX704" fmla="*/ 3363543 w 4545947"/>
              <a:gd name="connsiteY704" fmla="*/ 3438014 h 4525940"/>
              <a:gd name="connsiteX705" fmla="*/ 3377229 w 4545947"/>
              <a:gd name="connsiteY705" fmla="*/ 3482289 h 4525940"/>
              <a:gd name="connsiteX706" fmla="*/ 3388329 w 4545947"/>
              <a:gd name="connsiteY706" fmla="*/ 3506757 h 4525940"/>
              <a:gd name="connsiteX707" fmla="*/ 3392701 w 4545947"/>
              <a:gd name="connsiteY707" fmla="*/ 3522499 h 4525940"/>
              <a:gd name="connsiteX708" fmla="*/ 3397074 w 4545947"/>
              <a:gd name="connsiteY708" fmla="*/ 3538273 h 4525940"/>
              <a:gd name="connsiteX709" fmla="*/ 3405820 w 4545947"/>
              <a:gd name="connsiteY709" fmla="*/ 3554153 h 4525940"/>
              <a:gd name="connsiteX710" fmla="*/ 3414566 w 4545947"/>
              <a:gd name="connsiteY710" fmla="*/ 3570407 h 4525940"/>
              <a:gd name="connsiteX711" fmla="*/ 3418939 w 4545947"/>
              <a:gd name="connsiteY711" fmla="*/ 3582642 h 4525940"/>
              <a:gd name="connsiteX712" fmla="*/ 3423312 w 4545947"/>
              <a:gd name="connsiteY712" fmla="*/ 3597414 h 4525940"/>
              <a:gd name="connsiteX713" fmla="*/ 3426227 w 4545947"/>
              <a:gd name="connsiteY713" fmla="*/ 3616406 h 4525940"/>
              <a:gd name="connsiteX714" fmla="*/ 3446895 w 4545947"/>
              <a:gd name="connsiteY714" fmla="*/ 3610613 h 4525940"/>
              <a:gd name="connsiteX715" fmla="*/ 3445741 w 4545947"/>
              <a:gd name="connsiteY715" fmla="*/ 3569980 h 4525940"/>
              <a:gd name="connsiteX716" fmla="*/ 3438964 w 4545947"/>
              <a:gd name="connsiteY716" fmla="*/ 3531995 h 4525940"/>
              <a:gd name="connsiteX717" fmla="*/ 3432296 w 4545947"/>
              <a:gd name="connsiteY717" fmla="*/ 3494010 h 4525940"/>
              <a:gd name="connsiteX718" fmla="*/ 3425497 w 4545947"/>
              <a:gd name="connsiteY718" fmla="*/ 3443363 h 4525940"/>
              <a:gd name="connsiteX719" fmla="*/ 3418484 w 4545947"/>
              <a:gd name="connsiteY719" fmla="*/ 3392716 h 4525940"/>
              <a:gd name="connsiteX720" fmla="*/ 3414566 w 4545947"/>
              <a:gd name="connsiteY720" fmla="*/ 3374498 h 4525940"/>
              <a:gd name="connsiteX721" fmla="*/ 3408222 w 4545947"/>
              <a:gd name="connsiteY721" fmla="*/ 3348660 h 4525940"/>
              <a:gd name="connsiteX722" fmla="*/ 3400570 w 4545947"/>
              <a:gd name="connsiteY722" fmla="*/ 3308969 h 4525940"/>
              <a:gd name="connsiteX723" fmla="*/ 3391484 w 4545947"/>
              <a:gd name="connsiteY723" fmla="*/ 3269917 h 4525940"/>
              <a:gd name="connsiteX724" fmla="*/ 3384462 w 4545947"/>
              <a:gd name="connsiteY724" fmla="*/ 3266400 h 4525940"/>
              <a:gd name="connsiteX725" fmla="*/ 3348864 w 4545947"/>
              <a:gd name="connsiteY725" fmla="*/ 3248793 h 4525940"/>
              <a:gd name="connsiteX726" fmla="*/ 3339131 w 4545947"/>
              <a:gd name="connsiteY726" fmla="*/ 3252124 h 4525940"/>
              <a:gd name="connsiteX727" fmla="*/ 3346508 w 4545947"/>
              <a:gd name="connsiteY727" fmla="*/ 3297753 h 4525940"/>
              <a:gd name="connsiteX728" fmla="*/ 3356934 w 4545947"/>
              <a:gd name="connsiteY728" fmla="*/ 3289624 h 4525940"/>
              <a:gd name="connsiteX729" fmla="*/ 3348864 w 4545947"/>
              <a:gd name="connsiteY729" fmla="*/ 3248793 h 4525940"/>
              <a:gd name="connsiteX730" fmla="*/ 313287 w 4545947"/>
              <a:gd name="connsiteY730" fmla="*/ 3234445 h 4525940"/>
              <a:gd name="connsiteX731" fmla="*/ 305415 w 4545947"/>
              <a:gd name="connsiteY731" fmla="*/ 3256085 h 4525940"/>
              <a:gd name="connsiteX732" fmla="*/ 318534 w 4545947"/>
              <a:gd name="connsiteY732" fmla="*/ 3297753 h 4525940"/>
              <a:gd name="connsiteX733" fmla="*/ 328998 w 4545947"/>
              <a:gd name="connsiteY733" fmla="*/ 3287739 h 4525940"/>
              <a:gd name="connsiteX734" fmla="*/ 313287 w 4545947"/>
              <a:gd name="connsiteY734" fmla="*/ 3234445 h 4525940"/>
              <a:gd name="connsiteX735" fmla="*/ 4380392 w 4545947"/>
              <a:gd name="connsiteY735" fmla="*/ 3159521 h 4525940"/>
              <a:gd name="connsiteX736" fmla="*/ 4371629 w 4545947"/>
              <a:gd name="connsiteY736" fmla="*/ 3212287 h 4525940"/>
              <a:gd name="connsiteX737" fmla="*/ 4377095 w 4545947"/>
              <a:gd name="connsiteY737" fmla="*/ 3265043 h 4525940"/>
              <a:gd name="connsiteX738" fmla="*/ 4380982 w 4545947"/>
              <a:gd name="connsiteY738" fmla="*/ 3275924 h 4525940"/>
              <a:gd name="connsiteX739" fmla="*/ 4396210 w 4545947"/>
              <a:gd name="connsiteY739" fmla="*/ 3266447 h 4525940"/>
              <a:gd name="connsiteX740" fmla="*/ 4395554 w 4545947"/>
              <a:gd name="connsiteY740" fmla="*/ 3164378 h 4525940"/>
              <a:gd name="connsiteX741" fmla="*/ 4380392 w 4545947"/>
              <a:gd name="connsiteY741" fmla="*/ 3159521 h 4525940"/>
              <a:gd name="connsiteX742" fmla="*/ 608431 w 4545947"/>
              <a:gd name="connsiteY742" fmla="*/ 3076110 h 4525940"/>
              <a:gd name="connsiteX743" fmla="*/ 602272 w 4545947"/>
              <a:gd name="connsiteY743" fmla="*/ 3083464 h 4525940"/>
              <a:gd name="connsiteX744" fmla="*/ 603005 w 4545947"/>
              <a:gd name="connsiteY744" fmla="*/ 3130192 h 4525940"/>
              <a:gd name="connsiteX745" fmla="*/ 605816 w 4545947"/>
              <a:gd name="connsiteY745" fmla="*/ 3141644 h 4525940"/>
              <a:gd name="connsiteX746" fmla="*/ 621984 w 4545947"/>
              <a:gd name="connsiteY746" fmla="*/ 3177467 h 4525940"/>
              <a:gd name="connsiteX747" fmla="*/ 639944 w 4545947"/>
              <a:gd name="connsiteY747" fmla="*/ 3205956 h 4525940"/>
              <a:gd name="connsiteX748" fmla="*/ 626855 w 4545947"/>
              <a:gd name="connsiteY748" fmla="*/ 3208107 h 4525940"/>
              <a:gd name="connsiteX749" fmla="*/ 601711 w 4545947"/>
              <a:gd name="connsiteY749" fmla="*/ 3189354 h 4525940"/>
              <a:gd name="connsiteX750" fmla="*/ 589378 w 4545947"/>
              <a:gd name="connsiteY750" fmla="*/ 3174540 h 4525940"/>
              <a:gd name="connsiteX751" fmla="*/ 585043 w 4545947"/>
              <a:gd name="connsiteY751" fmla="*/ 3165981 h 4525940"/>
              <a:gd name="connsiteX752" fmla="*/ 577206 w 4545947"/>
              <a:gd name="connsiteY752" fmla="*/ 3154710 h 4525940"/>
              <a:gd name="connsiteX753" fmla="*/ 575492 w 4545947"/>
              <a:gd name="connsiteY753" fmla="*/ 3142456 h 4525940"/>
              <a:gd name="connsiteX754" fmla="*/ 581420 w 4545947"/>
              <a:gd name="connsiteY754" fmla="*/ 3126820 h 4525940"/>
              <a:gd name="connsiteX755" fmla="*/ 574489 w 4545947"/>
              <a:gd name="connsiteY755" fmla="*/ 3102739 h 4525940"/>
              <a:gd name="connsiteX756" fmla="*/ 556997 w 4545947"/>
              <a:gd name="connsiteY756" fmla="*/ 3109463 h 4525940"/>
              <a:gd name="connsiteX757" fmla="*/ 556129 w 4545947"/>
              <a:gd name="connsiteY757" fmla="*/ 3135846 h 4525940"/>
              <a:gd name="connsiteX758" fmla="*/ 560000 w 4545947"/>
              <a:gd name="connsiteY758" fmla="*/ 3151929 h 4525940"/>
              <a:gd name="connsiteX759" fmla="*/ 563838 w 4545947"/>
              <a:gd name="connsiteY759" fmla="*/ 3181366 h 4525940"/>
              <a:gd name="connsiteX760" fmla="*/ 574180 w 4545947"/>
              <a:gd name="connsiteY760" fmla="*/ 3202392 h 4525940"/>
              <a:gd name="connsiteX761" fmla="*/ 600152 w 4545947"/>
              <a:gd name="connsiteY761" fmla="*/ 3246045 h 4525940"/>
              <a:gd name="connsiteX762" fmla="*/ 601046 w 4545947"/>
              <a:gd name="connsiteY762" fmla="*/ 3251855 h 4525940"/>
              <a:gd name="connsiteX763" fmla="*/ 603100 w 4545947"/>
              <a:gd name="connsiteY763" fmla="*/ 3266099 h 4525940"/>
              <a:gd name="connsiteX764" fmla="*/ 609854 w 4545947"/>
              <a:gd name="connsiteY764" fmla="*/ 3283509 h 4525940"/>
              <a:gd name="connsiteX765" fmla="*/ 617032 w 4545947"/>
              <a:gd name="connsiteY765" fmla="*/ 3308832 h 4525940"/>
              <a:gd name="connsiteX766" fmla="*/ 617946 w 4545947"/>
              <a:gd name="connsiteY766" fmla="*/ 3316746 h 4525940"/>
              <a:gd name="connsiteX767" fmla="*/ 623970 w 4545947"/>
              <a:gd name="connsiteY767" fmla="*/ 3328567 h 4525940"/>
              <a:gd name="connsiteX768" fmla="*/ 633385 w 4545947"/>
              <a:gd name="connsiteY768" fmla="*/ 3352836 h 4525940"/>
              <a:gd name="connsiteX769" fmla="*/ 658577 w 4545947"/>
              <a:gd name="connsiteY769" fmla="*/ 3369716 h 4525940"/>
              <a:gd name="connsiteX770" fmla="*/ 671077 w 4545947"/>
              <a:gd name="connsiteY770" fmla="*/ 3350809 h 4525940"/>
              <a:gd name="connsiteX771" fmla="*/ 690819 w 4545947"/>
              <a:gd name="connsiteY771" fmla="*/ 3346003 h 4525940"/>
              <a:gd name="connsiteX772" fmla="*/ 704860 w 4545947"/>
              <a:gd name="connsiteY772" fmla="*/ 3315662 h 4525940"/>
              <a:gd name="connsiteX773" fmla="*/ 683069 w 4545947"/>
              <a:gd name="connsiteY773" fmla="*/ 3313581 h 4525940"/>
              <a:gd name="connsiteX774" fmla="*/ 648396 w 4545947"/>
              <a:gd name="connsiteY774" fmla="*/ 3281551 h 4525940"/>
              <a:gd name="connsiteX775" fmla="*/ 638964 w 4545947"/>
              <a:gd name="connsiteY775" fmla="*/ 3252310 h 4525940"/>
              <a:gd name="connsiteX776" fmla="*/ 636844 w 4545947"/>
              <a:gd name="connsiteY776" fmla="*/ 3230703 h 4525940"/>
              <a:gd name="connsiteX777" fmla="*/ 644091 w 4545947"/>
              <a:gd name="connsiteY777" fmla="*/ 3233414 h 4525940"/>
              <a:gd name="connsiteX778" fmla="*/ 653357 w 4545947"/>
              <a:gd name="connsiteY778" fmla="*/ 3247106 h 4525940"/>
              <a:gd name="connsiteX779" fmla="*/ 659622 w 4545947"/>
              <a:gd name="connsiteY779" fmla="*/ 3255622 h 4525940"/>
              <a:gd name="connsiteX780" fmla="*/ 668613 w 4545947"/>
              <a:gd name="connsiteY780" fmla="*/ 3275916 h 4525940"/>
              <a:gd name="connsiteX781" fmla="*/ 686690 w 4545947"/>
              <a:gd name="connsiteY781" fmla="*/ 3279479 h 4525940"/>
              <a:gd name="connsiteX782" fmla="*/ 698996 w 4545947"/>
              <a:gd name="connsiteY782" fmla="*/ 3278800 h 4525940"/>
              <a:gd name="connsiteX783" fmla="*/ 718657 w 4545947"/>
              <a:gd name="connsiteY783" fmla="*/ 3266012 h 4525940"/>
              <a:gd name="connsiteX784" fmla="*/ 702258 w 4545947"/>
              <a:gd name="connsiteY784" fmla="*/ 3248307 h 4525940"/>
              <a:gd name="connsiteX785" fmla="*/ 685860 w 4545947"/>
              <a:gd name="connsiteY785" fmla="*/ 3218686 h 4525940"/>
              <a:gd name="connsiteX786" fmla="*/ 671132 w 4545947"/>
              <a:gd name="connsiteY786" fmla="*/ 3168421 h 4525940"/>
              <a:gd name="connsiteX787" fmla="*/ 649936 w 4545947"/>
              <a:gd name="connsiteY787" fmla="*/ 3145813 h 4525940"/>
              <a:gd name="connsiteX788" fmla="*/ 623889 w 4545947"/>
              <a:gd name="connsiteY788" fmla="*/ 3101236 h 4525940"/>
              <a:gd name="connsiteX789" fmla="*/ 608431 w 4545947"/>
              <a:gd name="connsiteY789" fmla="*/ 3076110 h 4525940"/>
              <a:gd name="connsiteX790" fmla="*/ 299116 w 4545947"/>
              <a:gd name="connsiteY790" fmla="*/ 2844933 h 4525940"/>
              <a:gd name="connsiteX791" fmla="*/ 305415 w 4545947"/>
              <a:gd name="connsiteY791" fmla="*/ 2859317 h 4525940"/>
              <a:gd name="connsiteX792" fmla="*/ 312354 w 4545947"/>
              <a:gd name="connsiteY792" fmla="*/ 2885111 h 4525940"/>
              <a:gd name="connsiteX793" fmla="*/ 314006 w 4545947"/>
              <a:gd name="connsiteY793" fmla="*/ 2908678 h 4525940"/>
              <a:gd name="connsiteX794" fmla="*/ 303161 w 4545947"/>
              <a:gd name="connsiteY794" fmla="*/ 2917902 h 4525940"/>
              <a:gd name="connsiteX795" fmla="*/ 295229 w 4545947"/>
              <a:gd name="connsiteY795" fmla="*/ 2926867 h 4525940"/>
              <a:gd name="connsiteX796" fmla="*/ 301032 w 4545947"/>
              <a:gd name="connsiteY796" fmla="*/ 3016030 h 4525940"/>
              <a:gd name="connsiteX797" fmla="*/ 307082 w 4545947"/>
              <a:gd name="connsiteY797" fmla="*/ 3039770 h 4525940"/>
              <a:gd name="connsiteX798" fmla="*/ 314244 w 4545947"/>
              <a:gd name="connsiteY798" fmla="*/ 3057181 h 4525940"/>
              <a:gd name="connsiteX799" fmla="*/ 311975 w 4545947"/>
              <a:gd name="connsiteY799" fmla="*/ 3120489 h 4525940"/>
              <a:gd name="connsiteX800" fmla="*/ 314431 w 4545947"/>
              <a:gd name="connsiteY800" fmla="*/ 3160411 h 4525940"/>
              <a:gd name="connsiteX801" fmla="*/ 322659 w 4545947"/>
              <a:gd name="connsiteY801" fmla="*/ 3172228 h 4525940"/>
              <a:gd name="connsiteX802" fmla="*/ 333101 w 4545947"/>
              <a:gd name="connsiteY802" fmla="*/ 3196459 h 4525940"/>
              <a:gd name="connsiteX803" fmla="*/ 351673 w 4545947"/>
              <a:gd name="connsiteY803" fmla="*/ 3244221 h 4525940"/>
              <a:gd name="connsiteX804" fmla="*/ 357674 w 4545947"/>
              <a:gd name="connsiteY804" fmla="*/ 3270391 h 4525940"/>
              <a:gd name="connsiteX805" fmla="*/ 360077 w 4545947"/>
              <a:gd name="connsiteY805" fmla="*/ 3300043 h 4525940"/>
              <a:gd name="connsiteX806" fmla="*/ 362263 w 4545947"/>
              <a:gd name="connsiteY806" fmla="*/ 3345235 h 4525940"/>
              <a:gd name="connsiteX807" fmla="*/ 371009 w 4545947"/>
              <a:gd name="connsiteY807" fmla="*/ 3371539 h 4525940"/>
              <a:gd name="connsiteX808" fmla="*/ 359940 w 4545947"/>
              <a:gd name="connsiteY808" fmla="*/ 3386385 h 4525940"/>
              <a:gd name="connsiteX809" fmla="*/ 348358 w 4545947"/>
              <a:gd name="connsiteY809" fmla="*/ 3410274 h 4525940"/>
              <a:gd name="connsiteX810" fmla="*/ 353518 w 4545947"/>
              <a:gd name="connsiteY810" fmla="*/ 3431779 h 4525940"/>
              <a:gd name="connsiteX811" fmla="*/ 366316 w 4545947"/>
              <a:gd name="connsiteY811" fmla="*/ 3457788 h 4525940"/>
              <a:gd name="connsiteX812" fmla="*/ 388501 w 4545947"/>
              <a:gd name="connsiteY812" fmla="*/ 3503581 h 4525940"/>
              <a:gd name="connsiteX813" fmla="*/ 397247 w 4545947"/>
              <a:gd name="connsiteY813" fmla="*/ 3519333 h 4525940"/>
              <a:gd name="connsiteX814" fmla="*/ 405993 w 4545947"/>
              <a:gd name="connsiteY814" fmla="*/ 3538971 h 4525940"/>
              <a:gd name="connsiteX815" fmla="*/ 416925 w 4545947"/>
              <a:gd name="connsiteY815" fmla="*/ 3572583 h 4525940"/>
              <a:gd name="connsiteX816" fmla="*/ 400289 w 4545947"/>
              <a:gd name="connsiteY816" fmla="*/ 3581960 h 4525940"/>
              <a:gd name="connsiteX817" fmla="*/ 374258 w 4545947"/>
              <a:gd name="connsiteY817" fmla="*/ 3529946 h 4525940"/>
              <a:gd name="connsiteX818" fmla="*/ 357004 w 4545947"/>
              <a:gd name="connsiteY818" fmla="*/ 3495233 h 4525940"/>
              <a:gd name="connsiteX819" fmla="*/ 349145 w 4545947"/>
              <a:gd name="connsiteY819" fmla="*/ 3472244 h 4525940"/>
              <a:gd name="connsiteX820" fmla="*/ 333840 w 4545947"/>
              <a:gd name="connsiteY820" fmla="*/ 3440626 h 4525940"/>
              <a:gd name="connsiteX821" fmla="*/ 318534 w 4545947"/>
              <a:gd name="connsiteY821" fmla="*/ 3411084 h 4525940"/>
              <a:gd name="connsiteX822" fmla="*/ 307602 w 4545947"/>
              <a:gd name="connsiteY822" fmla="*/ 3383774 h 4525940"/>
              <a:gd name="connsiteX823" fmla="*/ 296670 w 4545947"/>
              <a:gd name="connsiteY823" fmla="*/ 3361833 h 4525940"/>
              <a:gd name="connsiteX824" fmla="*/ 291204 w 4545947"/>
              <a:gd name="connsiteY824" fmla="*/ 3341156 h 4525940"/>
              <a:gd name="connsiteX825" fmla="*/ 291204 w 4545947"/>
              <a:gd name="connsiteY825" fmla="*/ 3324887 h 4525940"/>
              <a:gd name="connsiteX826" fmla="*/ 292297 w 4545947"/>
              <a:gd name="connsiteY826" fmla="*/ 3288257 h 4525940"/>
              <a:gd name="connsiteX827" fmla="*/ 287924 w 4545947"/>
              <a:gd name="connsiteY827" fmla="*/ 3268298 h 4525940"/>
              <a:gd name="connsiteX828" fmla="*/ 279316 w 4545947"/>
              <a:gd name="connsiteY828" fmla="*/ 3248993 h 4525940"/>
              <a:gd name="connsiteX829" fmla="*/ 271663 w 4545947"/>
              <a:gd name="connsiteY829" fmla="*/ 3209582 h 4525940"/>
              <a:gd name="connsiteX830" fmla="*/ 255824 w 4545947"/>
              <a:gd name="connsiteY830" fmla="*/ 3151135 h 4525940"/>
              <a:gd name="connsiteX831" fmla="*/ 240519 w 4545947"/>
              <a:gd name="connsiteY831" fmla="*/ 3114065 h 4525940"/>
              <a:gd name="connsiteX832" fmla="*/ 275363 w 4545947"/>
              <a:gd name="connsiteY832" fmla="*/ 3076636 h 4525940"/>
              <a:gd name="connsiteX833" fmla="*/ 287016 w 4545947"/>
              <a:gd name="connsiteY833" fmla="*/ 3068260 h 4525940"/>
              <a:gd name="connsiteX834" fmla="*/ 271736 w 4545947"/>
              <a:gd name="connsiteY834" fmla="*/ 3019134 h 4525940"/>
              <a:gd name="connsiteX835" fmla="*/ 248567 w 4545947"/>
              <a:gd name="connsiteY835" fmla="*/ 2993872 h 4525940"/>
              <a:gd name="connsiteX836" fmla="*/ 219553 w 4545947"/>
              <a:gd name="connsiteY836" fmla="*/ 2968611 h 4525940"/>
              <a:gd name="connsiteX837" fmla="*/ 198550 w 4545947"/>
              <a:gd name="connsiteY837" fmla="*/ 2952433 h 4525940"/>
              <a:gd name="connsiteX838" fmla="*/ 209422 w 4545947"/>
              <a:gd name="connsiteY838" fmla="*/ 2911571 h 4525940"/>
              <a:gd name="connsiteX839" fmla="*/ 225158 w 4545947"/>
              <a:gd name="connsiteY839" fmla="*/ 2894161 h 4525940"/>
              <a:gd name="connsiteX840" fmla="*/ 245762 w 4545947"/>
              <a:gd name="connsiteY840" fmla="*/ 2861125 h 4525940"/>
              <a:gd name="connsiteX841" fmla="*/ 247013 w 4545947"/>
              <a:gd name="connsiteY841" fmla="*/ 2875360 h 4525940"/>
              <a:gd name="connsiteX842" fmla="*/ 275118 w 4545947"/>
              <a:gd name="connsiteY842" fmla="*/ 2914326 h 4525940"/>
              <a:gd name="connsiteX843" fmla="*/ 276532 w 4545947"/>
              <a:gd name="connsiteY843" fmla="*/ 2870294 h 4525940"/>
              <a:gd name="connsiteX844" fmla="*/ 281659 w 4545947"/>
              <a:gd name="connsiteY844" fmla="*/ 2848100 h 4525940"/>
              <a:gd name="connsiteX845" fmla="*/ 299116 w 4545947"/>
              <a:gd name="connsiteY845" fmla="*/ 2844933 h 4525940"/>
              <a:gd name="connsiteX846" fmla="*/ 4347140 w 4545947"/>
              <a:gd name="connsiteY846" fmla="*/ 2808314 h 4525940"/>
              <a:gd name="connsiteX847" fmla="*/ 4335975 w 4545947"/>
              <a:gd name="connsiteY847" fmla="*/ 2820272 h 4525940"/>
              <a:gd name="connsiteX848" fmla="*/ 4313472 w 4545947"/>
              <a:gd name="connsiteY848" fmla="*/ 2830622 h 4525940"/>
              <a:gd name="connsiteX849" fmla="*/ 4287024 w 4545947"/>
              <a:gd name="connsiteY849" fmla="*/ 2841656 h 4525940"/>
              <a:gd name="connsiteX850" fmla="*/ 4290942 w 4545947"/>
              <a:gd name="connsiteY850" fmla="*/ 2866625 h 4525940"/>
              <a:gd name="connsiteX851" fmla="*/ 4293523 w 4545947"/>
              <a:gd name="connsiteY851" fmla="*/ 2892578 h 4525940"/>
              <a:gd name="connsiteX852" fmla="*/ 4298383 w 4545947"/>
              <a:gd name="connsiteY852" fmla="*/ 2914961 h 4525940"/>
              <a:gd name="connsiteX853" fmla="*/ 4316481 w 4545947"/>
              <a:gd name="connsiteY853" fmla="*/ 2894457 h 4525940"/>
              <a:gd name="connsiteX854" fmla="*/ 4322232 w 4545947"/>
              <a:gd name="connsiteY854" fmla="*/ 2867098 h 4525940"/>
              <a:gd name="connsiteX855" fmla="*/ 4344228 w 4545947"/>
              <a:gd name="connsiteY855" fmla="*/ 2883547 h 4525940"/>
              <a:gd name="connsiteX856" fmla="*/ 4341331 w 4545947"/>
              <a:gd name="connsiteY856" fmla="*/ 2930563 h 4525940"/>
              <a:gd name="connsiteX857" fmla="*/ 4341235 w 4545947"/>
              <a:gd name="connsiteY857" fmla="*/ 2950611 h 4525940"/>
              <a:gd name="connsiteX858" fmla="*/ 4346422 w 4545947"/>
              <a:gd name="connsiteY858" fmla="*/ 2978045 h 4525940"/>
              <a:gd name="connsiteX859" fmla="*/ 4351599 w 4545947"/>
              <a:gd name="connsiteY859" fmla="*/ 3011069 h 4525940"/>
              <a:gd name="connsiteX860" fmla="*/ 4353681 w 4545947"/>
              <a:gd name="connsiteY860" fmla="*/ 3026896 h 4525940"/>
              <a:gd name="connsiteX861" fmla="*/ 4358733 w 4545947"/>
              <a:gd name="connsiteY861" fmla="*/ 3042735 h 4525940"/>
              <a:gd name="connsiteX862" fmla="*/ 4374735 w 4545947"/>
              <a:gd name="connsiteY862" fmla="*/ 3041806 h 4525940"/>
              <a:gd name="connsiteX863" fmla="*/ 4376609 w 4545947"/>
              <a:gd name="connsiteY863" fmla="*/ 3009699 h 4525940"/>
              <a:gd name="connsiteX864" fmla="*/ 4372236 w 4545947"/>
              <a:gd name="connsiteY864" fmla="*/ 2977671 h 4525940"/>
              <a:gd name="connsiteX865" fmla="*/ 4376609 w 4545947"/>
              <a:gd name="connsiteY865" fmla="*/ 2949556 h 4525940"/>
              <a:gd name="connsiteX866" fmla="*/ 4375625 w 4545947"/>
              <a:gd name="connsiteY866" fmla="*/ 2919010 h 4525940"/>
              <a:gd name="connsiteX867" fmla="*/ 4374793 w 4545947"/>
              <a:gd name="connsiteY867" fmla="*/ 2900334 h 4525940"/>
              <a:gd name="connsiteX868" fmla="*/ 4376745 w 4545947"/>
              <a:gd name="connsiteY868" fmla="*/ 2841931 h 4525940"/>
              <a:gd name="connsiteX869" fmla="*/ 4372236 w 4545947"/>
              <a:gd name="connsiteY869" fmla="*/ 2835149 h 4525940"/>
              <a:gd name="connsiteX870" fmla="*/ 4347140 w 4545947"/>
              <a:gd name="connsiteY870" fmla="*/ 2808314 h 4525940"/>
              <a:gd name="connsiteX871" fmla="*/ 185194 w 4545947"/>
              <a:gd name="connsiteY871" fmla="*/ 2800466 h 4525940"/>
              <a:gd name="connsiteX872" fmla="*/ 202843 w 4545947"/>
              <a:gd name="connsiteY872" fmla="*/ 2804051 h 4525940"/>
              <a:gd name="connsiteX873" fmla="*/ 209063 w 4545947"/>
              <a:gd name="connsiteY873" fmla="*/ 2816874 h 4525940"/>
              <a:gd name="connsiteX874" fmla="*/ 178601 w 4545947"/>
              <a:gd name="connsiteY874" fmla="*/ 2813244 h 4525940"/>
              <a:gd name="connsiteX875" fmla="*/ 185194 w 4545947"/>
              <a:gd name="connsiteY875" fmla="*/ 2800466 h 4525940"/>
              <a:gd name="connsiteX876" fmla="*/ 222256 w 4545947"/>
              <a:gd name="connsiteY876" fmla="*/ 2788186 h 4525940"/>
              <a:gd name="connsiteX877" fmla="*/ 241934 w 4545947"/>
              <a:gd name="connsiteY877" fmla="*/ 2788517 h 4525940"/>
              <a:gd name="connsiteX878" fmla="*/ 257313 w 4545947"/>
              <a:gd name="connsiteY878" fmla="*/ 2810982 h 4525940"/>
              <a:gd name="connsiteX879" fmla="*/ 249103 w 4545947"/>
              <a:gd name="connsiteY879" fmla="*/ 2829270 h 4525940"/>
              <a:gd name="connsiteX880" fmla="*/ 235449 w 4545947"/>
              <a:gd name="connsiteY880" fmla="*/ 2819774 h 4525940"/>
              <a:gd name="connsiteX881" fmla="*/ 223981 w 4545947"/>
              <a:gd name="connsiteY881" fmla="*/ 2810277 h 4525940"/>
              <a:gd name="connsiteX882" fmla="*/ 222256 w 4545947"/>
              <a:gd name="connsiteY882" fmla="*/ 2788186 h 4525940"/>
              <a:gd name="connsiteX883" fmla="*/ 4412081 w 4545947"/>
              <a:gd name="connsiteY883" fmla="*/ 2689991 h 4525940"/>
              <a:gd name="connsiteX884" fmla="*/ 4428685 w 4545947"/>
              <a:gd name="connsiteY884" fmla="*/ 2766566 h 4525940"/>
              <a:gd name="connsiteX885" fmla="*/ 4416240 w 4545947"/>
              <a:gd name="connsiteY885" fmla="*/ 2811021 h 4525940"/>
              <a:gd name="connsiteX886" fmla="*/ 4408816 w 4545947"/>
              <a:gd name="connsiteY886" fmla="*/ 2744370 h 4525940"/>
              <a:gd name="connsiteX887" fmla="*/ 4412081 w 4545947"/>
              <a:gd name="connsiteY887" fmla="*/ 2689991 h 4525940"/>
              <a:gd name="connsiteX888" fmla="*/ 127218 w 4545947"/>
              <a:gd name="connsiteY888" fmla="*/ 2621494 h 4525940"/>
              <a:gd name="connsiteX889" fmla="*/ 122846 w 4545947"/>
              <a:gd name="connsiteY889" fmla="*/ 2670901 h 4525940"/>
              <a:gd name="connsiteX890" fmla="*/ 117380 w 4545947"/>
              <a:gd name="connsiteY890" fmla="*/ 2645235 h 4525940"/>
              <a:gd name="connsiteX891" fmla="*/ 127218 w 4545947"/>
              <a:gd name="connsiteY891" fmla="*/ 2621494 h 4525940"/>
              <a:gd name="connsiteX892" fmla="*/ 202062 w 4545947"/>
              <a:gd name="connsiteY892" fmla="*/ 2494799 h 4525940"/>
              <a:gd name="connsiteX893" fmla="*/ 208469 w 4545947"/>
              <a:gd name="connsiteY893" fmla="*/ 2507415 h 4525940"/>
              <a:gd name="connsiteX894" fmla="*/ 216859 w 4545947"/>
              <a:gd name="connsiteY894" fmla="*/ 2533762 h 4525940"/>
              <a:gd name="connsiteX895" fmla="*/ 226703 w 4545947"/>
              <a:gd name="connsiteY895" fmla="*/ 2556236 h 4525940"/>
              <a:gd name="connsiteX896" fmla="*/ 231595 w 4545947"/>
              <a:gd name="connsiteY896" fmla="*/ 2574254 h 4525940"/>
              <a:gd name="connsiteX897" fmla="*/ 227222 w 4545947"/>
              <a:gd name="connsiteY897" fmla="*/ 2624068 h 4525940"/>
              <a:gd name="connsiteX898" fmla="*/ 224867 w 4545947"/>
              <a:gd name="connsiteY898" fmla="*/ 2696743 h 4525940"/>
              <a:gd name="connsiteX899" fmla="*/ 244545 w 4545947"/>
              <a:gd name="connsiteY899" fmla="*/ 2698068 h 4525940"/>
              <a:gd name="connsiteX900" fmla="*/ 257313 w 4545947"/>
              <a:gd name="connsiteY900" fmla="*/ 2706368 h 4525940"/>
              <a:gd name="connsiteX901" fmla="*/ 242983 w 4545947"/>
              <a:gd name="connsiteY901" fmla="*/ 2721645 h 4525940"/>
              <a:gd name="connsiteX902" fmla="*/ 214289 w 4545947"/>
              <a:gd name="connsiteY902" fmla="*/ 2740638 h 4525940"/>
              <a:gd name="connsiteX903" fmla="*/ 187346 w 4545947"/>
              <a:gd name="connsiteY903" fmla="*/ 2731669 h 4525940"/>
              <a:gd name="connsiteX904" fmla="*/ 182313 w 4545947"/>
              <a:gd name="connsiteY904" fmla="*/ 2701279 h 4525940"/>
              <a:gd name="connsiteX905" fmla="*/ 175205 w 4545947"/>
              <a:gd name="connsiteY905" fmla="*/ 2662649 h 4525940"/>
              <a:gd name="connsiteX906" fmla="*/ 169307 w 4545947"/>
              <a:gd name="connsiteY906" fmla="*/ 2623027 h 4525940"/>
              <a:gd name="connsiteX907" fmla="*/ 165482 w 4545947"/>
              <a:gd name="connsiteY907" fmla="*/ 2600985 h 4525940"/>
              <a:gd name="connsiteX908" fmla="*/ 176156 w 4545947"/>
              <a:gd name="connsiteY908" fmla="*/ 2582366 h 4525940"/>
              <a:gd name="connsiteX909" fmla="*/ 193816 w 4545947"/>
              <a:gd name="connsiteY909" fmla="*/ 2531949 h 4525940"/>
              <a:gd name="connsiteX910" fmla="*/ 202062 w 4545947"/>
              <a:gd name="connsiteY910" fmla="*/ 2494799 h 4525940"/>
              <a:gd name="connsiteX911" fmla="*/ 154003 w 4545947"/>
              <a:gd name="connsiteY911" fmla="*/ 2487403 h 4525940"/>
              <a:gd name="connsiteX912" fmla="*/ 165482 w 4545947"/>
              <a:gd name="connsiteY912" fmla="*/ 2545173 h 4525940"/>
              <a:gd name="connsiteX913" fmla="*/ 140337 w 4545947"/>
              <a:gd name="connsiteY913" fmla="*/ 2556845 h 4525940"/>
              <a:gd name="connsiteX914" fmla="*/ 139428 w 4545947"/>
              <a:gd name="connsiteY914" fmla="*/ 2529713 h 4525940"/>
              <a:gd name="connsiteX915" fmla="*/ 147656 w 4545947"/>
              <a:gd name="connsiteY915" fmla="*/ 2515110 h 4525940"/>
              <a:gd name="connsiteX916" fmla="*/ 154003 w 4545947"/>
              <a:gd name="connsiteY916" fmla="*/ 2487403 h 4525940"/>
              <a:gd name="connsiteX917" fmla="*/ 4489212 w 4545947"/>
              <a:gd name="connsiteY917" fmla="*/ 2459669 h 4525940"/>
              <a:gd name="connsiteX918" fmla="*/ 4507796 w 4545947"/>
              <a:gd name="connsiteY918" fmla="*/ 2490415 h 4525940"/>
              <a:gd name="connsiteX919" fmla="*/ 4512956 w 4545947"/>
              <a:gd name="connsiteY919" fmla="*/ 2514162 h 4525940"/>
              <a:gd name="connsiteX920" fmla="*/ 4514448 w 4545947"/>
              <a:gd name="connsiteY920" fmla="*/ 2528934 h 4525940"/>
              <a:gd name="connsiteX921" fmla="*/ 4511569 w 4545947"/>
              <a:gd name="connsiteY921" fmla="*/ 2546369 h 4525940"/>
              <a:gd name="connsiteX922" fmla="*/ 4507545 w 4545947"/>
              <a:gd name="connsiteY922" fmla="*/ 2577386 h 4525940"/>
              <a:gd name="connsiteX923" fmla="*/ 4513150 w 4545947"/>
              <a:gd name="connsiteY923" fmla="*/ 2616549 h 4525940"/>
              <a:gd name="connsiteX924" fmla="*/ 4531819 w 4545947"/>
              <a:gd name="connsiteY924" fmla="*/ 2636631 h 4525940"/>
              <a:gd name="connsiteX925" fmla="*/ 4544130 w 4545947"/>
              <a:gd name="connsiteY925" fmla="*/ 2661031 h 4525940"/>
              <a:gd name="connsiteX926" fmla="*/ 4539364 w 4545947"/>
              <a:gd name="connsiteY926" fmla="*/ 2691419 h 4525940"/>
              <a:gd name="connsiteX927" fmla="*/ 4520915 w 4545947"/>
              <a:gd name="connsiteY927" fmla="*/ 2683088 h 4525940"/>
              <a:gd name="connsiteX928" fmla="*/ 4514355 w 4545947"/>
              <a:gd name="connsiteY928" fmla="*/ 2666957 h 4525940"/>
              <a:gd name="connsiteX929" fmla="*/ 4507796 w 4545947"/>
              <a:gd name="connsiteY929" fmla="*/ 2648681 h 4525940"/>
              <a:gd name="connsiteX930" fmla="*/ 4476606 w 4545947"/>
              <a:gd name="connsiteY930" fmla="*/ 2627651 h 4525940"/>
              <a:gd name="connsiteX931" fmla="*/ 4472248 w 4545947"/>
              <a:gd name="connsiteY931" fmla="*/ 2654666 h 4525940"/>
              <a:gd name="connsiteX932" fmla="*/ 4478572 w 4545947"/>
              <a:gd name="connsiteY932" fmla="*/ 2676289 h 4525940"/>
              <a:gd name="connsiteX933" fmla="*/ 4516779 w 4545947"/>
              <a:gd name="connsiteY933" fmla="*/ 2707060 h 4525940"/>
              <a:gd name="connsiteX934" fmla="*/ 4523632 w 4545947"/>
              <a:gd name="connsiteY934" fmla="*/ 2733459 h 4525940"/>
              <a:gd name="connsiteX935" fmla="*/ 4516542 w 4545947"/>
              <a:gd name="connsiteY935" fmla="*/ 2777165 h 4525940"/>
              <a:gd name="connsiteX936" fmla="*/ 4500806 w 4545947"/>
              <a:gd name="connsiteY936" fmla="*/ 2805311 h 4525940"/>
              <a:gd name="connsiteX937" fmla="*/ 4500806 w 4545947"/>
              <a:gd name="connsiteY937" fmla="*/ 2805310 h 4525940"/>
              <a:gd name="connsiteX938" fmla="*/ 4487024 w 4545947"/>
              <a:gd name="connsiteY938" fmla="*/ 2793817 h 4525940"/>
              <a:gd name="connsiteX939" fmla="*/ 4475000 w 4545947"/>
              <a:gd name="connsiteY939" fmla="*/ 2792234 h 4525940"/>
              <a:gd name="connsiteX940" fmla="*/ 4468440 w 4545947"/>
              <a:gd name="connsiteY940" fmla="*/ 2775457 h 4525940"/>
              <a:gd name="connsiteX941" fmla="*/ 4464067 w 4545947"/>
              <a:gd name="connsiteY941" fmla="*/ 2759630 h 4525940"/>
              <a:gd name="connsiteX942" fmla="*/ 4459694 w 4545947"/>
              <a:gd name="connsiteY942" fmla="*/ 2747342 h 4525940"/>
              <a:gd name="connsiteX943" fmla="*/ 4464067 w 4545947"/>
              <a:gd name="connsiteY943" fmla="*/ 2731141 h 4525940"/>
              <a:gd name="connsiteX944" fmla="*/ 4463558 w 4545947"/>
              <a:gd name="connsiteY944" fmla="*/ 2689991 h 4525940"/>
              <a:gd name="connsiteX945" fmla="*/ 4460961 w 4545947"/>
              <a:gd name="connsiteY945" fmla="*/ 2677329 h 4525940"/>
              <a:gd name="connsiteX946" fmla="*/ 4459285 w 4545947"/>
              <a:gd name="connsiteY946" fmla="*/ 2664667 h 4525940"/>
              <a:gd name="connsiteX947" fmla="*/ 4455321 w 4545947"/>
              <a:gd name="connsiteY947" fmla="*/ 2629110 h 4525940"/>
              <a:gd name="connsiteX948" fmla="*/ 4464775 w 4545947"/>
              <a:gd name="connsiteY948" fmla="*/ 2597130 h 4525940"/>
              <a:gd name="connsiteX949" fmla="*/ 4484058 w 4545947"/>
              <a:gd name="connsiteY949" fmla="*/ 2553425 h 4525940"/>
              <a:gd name="connsiteX950" fmla="*/ 4463930 w 4545947"/>
              <a:gd name="connsiteY950" fmla="*/ 2554058 h 4525940"/>
              <a:gd name="connsiteX951" fmla="*/ 4417058 w 4545947"/>
              <a:gd name="connsiteY951" fmla="*/ 2525589 h 4525940"/>
              <a:gd name="connsiteX952" fmla="*/ 4398473 w 4545947"/>
              <a:gd name="connsiteY952" fmla="*/ 2483464 h 4525940"/>
              <a:gd name="connsiteX953" fmla="*/ 4413779 w 4545947"/>
              <a:gd name="connsiteY953" fmla="*/ 2471995 h 4525940"/>
              <a:gd name="connsiteX954" fmla="*/ 4429084 w 4545947"/>
              <a:gd name="connsiteY954" fmla="*/ 2469116 h 4525940"/>
              <a:gd name="connsiteX955" fmla="*/ 4451173 w 4545947"/>
              <a:gd name="connsiteY955" fmla="*/ 2475117 h 4525940"/>
              <a:gd name="connsiteX956" fmla="*/ 4468085 w 4545947"/>
              <a:gd name="connsiteY956" fmla="*/ 2479925 h 4525940"/>
              <a:gd name="connsiteX957" fmla="*/ 4477186 w 4545947"/>
              <a:gd name="connsiteY957" fmla="*/ 2463602 h 4525940"/>
              <a:gd name="connsiteX958" fmla="*/ 4489212 w 4545947"/>
              <a:gd name="connsiteY958" fmla="*/ 2459669 h 4525940"/>
              <a:gd name="connsiteX959" fmla="*/ 7746 w 4545947"/>
              <a:gd name="connsiteY959" fmla="*/ 2436756 h 4525940"/>
              <a:gd name="connsiteX960" fmla="*/ 15909 w 4545947"/>
              <a:gd name="connsiteY960" fmla="*/ 2478985 h 4525940"/>
              <a:gd name="connsiteX961" fmla="*/ 9149 w 4545947"/>
              <a:gd name="connsiteY961" fmla="*/ 2523829 h 4525940"/>
              <a:gd name="connsiteX962" fmla="*/ 3624 w 4545947"/>
              <a:gd name="connsiteY962" fmla="*/ 2495844 h 4525940"/>
              <a:gd name="connsiteX963" fmla="*/ 927 w 4545947"/>
              <a:gd name="connsiteY963" fmla="*/ 2451001 h 4525940"/>
              <a:gd name="connsiteX964" fmla="*/ 7746 w 4545947"/>
              <a:gd name="connsiteY964" fmla="*/ 2436756 h 4525940"/>
              <a:gd name="connsiteX965" fmla="*/ 4451449 w 4545947"/>
              <a:gd name="connsiteY965" fmla="*/ 2180169 h 4525940"/>
              <a:gd name="connsiteX966" fmla="*/ 4461168 w 4545947"/>
              <a:gd name="connsiteY966" fmla="*/ 2183599 h 4525940"/>
              <a:gd name="connsiteX967" fmla="*/ 4460788 w 4545947"/>
              <a:gd name="connsiteY967" fmla="*/ 2194337 h 4525940"/>
              <a:gd name="connsiteX968" fmla="*/ 4455322 w 4545947"/>
              <a:gd name="connsiteY968" fmla="*/ 2218869 h 4525940"/>
              <a:gd name="connsiteX969" fmla="*/ 4450949 w 4545947"/>
              <a:gd name="connsiteY969" fmla="*/ 2240500 h 4525940"/>
              <a:gd name="connsiteX970" fmla="*/ 4453135 w 4545947"/>
              <a:gd name="connsiteY970" fmla="*/ 2272154 h 4525940"/>
              <a:gd name="connsiteX971" fmla="*/ 4452776 w 4545947"/>
              <a:gd name="connsiteY971" fmla="*/ 2299966 h 4525940"/>
              <a:gd name="connsiteX972" fmla="*/ 4445124 w 4545947"/>
              <a:gd name="connsiteY972" fmla="*/ 2303309 h 4525940"/>
              <a:gd name="connsiteX973" fmla="*/ 4438922 w 4545947"/>
              <a:gd name="connsiteY973" fmla="*/ 2299616 h 4525940"/>
              <a:gd name="connsiteX974" fmla="*/ 4438923 w 4545947"/>
              <a:gd name="connsiteY974" fmla="*/ 2299616 h 4525940"/>
              <a:gd name="connsiteX975" fmla="*/ 4438704 w 4545947"/>
              <a:gd name="connsiteY975" fmla="*/ 2248097 h 4525940"/>
              <a:gd name="connsiteX976" fmla="*/ 4438704 w 4545947"/>
              <a:gd name="connsiteY976" fmla="*/ 2240500 h 4525940"/>
              <a:gd name="connsiteX977" fmla="*/ 4433457 w 4545947"/>
              <a:gd name="connsiteY977" fmla="*/ 2227838 h 4525940"/>
              <a:gd name="connsiteX978" fmla="*/ 4437830 w 4545947"/>
              <a:gd name="connsiteY978" fmla="*/ 2215176 h 4525940"/>
              <a:gd name="connsiteX979" fmla="*/ 4442203 w 4545947"/>
              <a:gd name="connsiteY979" fmla="*/ 2205680 h 4525940"/>
              <a:gd name="connsiteX980" fmla="*/ 4446833 w 4545947"/>
              <a:gd name="connsiteY980" fmla="*/ 2196184 h 4525940"/>
              <a:gd name="connsiteX981" fmla="*/ 4448948 w 4545947"/>
              <a:gd name="connsiteY981" fmla="*/ 2190290 h 4525940"/>
              <a:gd name="connsiteX982" fmla="*/ 4451449 w 4545947"/>
              <a:gd name="connsiteY982" fmla="*/ 2180169 h 4525940"/>
              <a:gd name="connsiteX983" fmla="*/ 34606 w 4545947"/>
              <a:gd name="connsiteY983" fmla="*/ 2069567 h 4525940"/>
              <a:gd name="connsiteX984" fmla="*/ 53749 w 4545947"/>
              <a:gd name="connsiteY984" fmla="*/ 2077480 h 4525940"/>
              <a:gd name="connsiteX985" fmla="*/ 68742 w 4545947"/>
              <a:gd name="connsiteY985" fmla="*/ 2094705 h 4525940"/>
              <a:gd name="connsiteX986" fmla="*/ 78162 w 4545947"/>
              <a:gd name="connsiteY986" fmla="*/ 2113698 h 4525940"/>
              <a:gd name="connsiteX987" fmla="*/ 84722 w 4545947"/>
              <a:gd name="connsiteY987" fmla="*/ 2135668 h 4525940"/>
              <a:gd name="connsiteX988" fmla="*/ 91142 w 4545947"/>
              <a:gd name="connsiteY988" fmla="*/ 2159094 h 4525940"/>
              <a:gd name="connsiteX989" fmla="*/ 98649 w 4545947"/>
              <a:gd name="connsiteY989" fmla="*/ 2176313 h 4525940"/>
              <a:gd name="connsiteX990" fmla="*/ 100678 w 4545947"/>
              <a:gd name="connsiteY990" fmla="*/ 2197213 h 4525940"/>
              <a:gd name="connsiteX991" fmla="*/ 94264 w 4545947"/>
              <a:gd name="connsiteY991" fmla="*/ 2240455 h 4525940"/>
              <a:gd name="connsiteX992" fmla="*/ 103228 w 4545947"/>
              <a:gd name="connsiteY992" fmla="*/ 2275221 h 4525940"/>
              <a:gd name="connsiteX993" fmla="*/ 111157 w 4545947"/>
              <a:gd name="connsiteY993" fmla="*/ 2288996 h 4525940"/>
              <a:gd name="connsiteX994" fmla="*/ 115154 w 4545947"/>
              <a:gd name="connsiteY994" fmla="*/ 2299745 h 4525940"/>
              <a:gd name="connsiteX995" fmla="*/ 119839 w 4545947"/>
              <a:gd name="connsiteY995" fmla="*/ 2335089 h 4525940"/>
              <a:gd name="connsiteX996" fmla="*/ 121247 w 4545947"/>
              <a:gd name="connsiteY996" fmla="*/ 2367166 h 4525940"/>
              <a:gd name="connsiteX997" fmla="*/ 134871 w 4545947"/>
              <a:gd name="connsiteY997" fmla="*/ 2434853 h 4525940"/>
              <a:gd name="connsiteX998" fmla="*/ 105354 w 4545947"/>
              <a:gd name="connsiteY998" fmla="*/ 2463831 h 4525940"/>
              <a:gd name="connsiteX999" fmla="*/ 91142 w 4545947"/>
              <a:gd name="connsiteY999" fmla="*/ 2442687 h 4525940"/>
              <a:gd name="connsiteX1000" fmla="*/ 86424 w 4545947"/>
              <a:gd name="connsiteY1000" fmla="*/ 2424095 h 4525940"/>
              <a:gd name="connsiteX1001" fmla="*/ 83144 w 4545947"/>
              <a:gd name="connsiteY1001" fmla="*/ 2376598 h 4525940"/>
              <a:gd name="connsiteX1002" fmla="*/ 81303 w 4545947"/>
              <a:gd name="connsiteY1002" fmla="*/ 2329117 h 4525940"/>
              <a:gd name="connsiteX1003" fmla="*/ 78023 w 4545947"/>
              <a:gd name="connsiteY1003" fmla="*/ 2282860 h 4525940"/>
              <a:gd name="connsiteX1004" fmla="*/ 56084 w 4545947"/>
              <a:gd name="connsiteY1004" fmla="*/ 2206845 h 4525940"/>
              <a:gd name="connsiteX1005" fmla="*/ 43040 w 4545947"/>
              <a:gd name="connsiteY1005" fmla="*/ 2151714 h 4525940"/>
              <a:gd name="connsiteX1006" fmla="*/ 31014 w 4545947"/>
              <a:gd name="connsiteY1006" fmla="*/ 2102364 h 4525940"/>
              <a:gd name="connsiteX1007" fmla="*/ 21175 w 4545947"/>
              <a:gd name="connsiteY1007" fmla="*/ 2084954 h 4525940"/>
              <a:gd name="connsiteX1008" fmla="*/ 34606 w 4545947"/>
              <a:gd name="connsiteY1008" fmla="*/ 2069567 h 4525940"/>
              <a:gd name="connsiteX1009" fmla="*/ 4460614 w 4545947"/>
              <a:gd name="connsiteY1009" fmla="*/ 2037913 h 4525940"/>
              <a:gd name="connsiteX1010" fmla="*/ 4466134 w 4545947"/>
              <a:gd name="connsiteY1010" fmla="*/ 2064819 h 4525940"/>
              <a:gd name="connsiteX1011" fmla="*/ 4453412 w 4545947"/>
              <a:gd name="connsiteY1011" fmla="*/ 2101221 h 4525940"/>
              <a:gd name="connsiteX1012" fmla="*/ 4442203 w 4545947"/>
              <a:gd name="connsiteY1012" fmla="*/ 2110717 h 4525940"/>
              <a:gd name="connsiteX1013" fmla="*/ 4432921 w 4545947"/>
              <a:gd name="connsiteY1013" fmla="*/ 2120214 h 4525940"/>
              <a:gd name="connsiteX1014" fmla="*/ 4429084 w 4545947"/>
              <a:gd name="connsiteY1014" fmla="*/ 2110717 h 4525940"/>
              <a:gd name="connsiteX1015" fmla="*/ 4424711 w 4545947"/>
              <a:gd name="connsiteY1015" fmla="*/ 2101221 h 4525940"/>
              <a:gd name="connsiteX1016" fmla="*/ 4420338 w 4545947"/>
              <a:gd name="connsiteY1016" fmla="*/ 2092252 h 4525940"/>
              <a:gd name="connsiteX1017" fmla="*/ 4415178 w 4545947"/>
              <a:gd name="connsiteY1017" fmla="*/ 2080794 h 4525940"/>
              <a:gd name="connsiteX1018" fmla="*/ 4428412 w 4545947"/>
              <a:gd name="connsiteY1018" fmla="*/ 2056905 h 4525940"/>
              <a:gd name="connsiteX1019" fmla="*/ 4446576 w 4545947"/>
              <a:gd name="connsiteY1019" fmla="*/ 2047409 h 4525940"/>
              <a:gd name="connsiteX1020" fmla="*/ 4460614 w 4545947"/>
              <a:gd name="connsiteY1020" fmla="*/ 2037913 h 4525940"/>
              <a:gd name="connsiteX1021" fmla="*/ 103803 w 4545947"/>
              <a:gd name="connsiteY1021" fmla="*/ 1997172 h 4525940"/>
              <a:gd name="connsiteX1022" fmla="*/ 109790 w 4545947"/>
              <a:gd name="connsiteY1022" fmla="*/ 2015136 h 4525940"/>
              <a:gd name="connsiteX1023" fmla="*/ 99888 w 4545947"/>
              <a:gd name="connsiteY1023" fmla="*/ 2009798 h 4525940"/>
              <a:gd name="connsiteX1024" fmla="*/ 103803 w 4545947"/>
              <a:gd name="connsiteY1024" fmla="*/ 1997172 h 4525940"/>
              <a:gd name="connsiteX1025" fmla="*/ 4417411 w 4545947"/>
              <a:gd name="connsiteY1025" fmla="*/ 1842865 h 4525940"/>
              <a:gd name="connsiteX1026" fmla="*/ 4440321 w 4545947"/>
              <a:gd name="connsiteY1026" fmla="*/ 1848354 h 4525940"/>
              <a:gd name="connsiteX1027" fmla="*/ 4446576 w 4545947"/>
              <a:gd name="connsiteY1027" fmla="*/ 1896026 h 4525940"/>
              <a:gd name="connsiteX1028" fmla="*/ 4433604 w 4545947"/>
              <a:gd name="connsiteY1028" fmla="*/ 1955393 h 4525940"/>
              <a:gd name="connsiteX1029" fmla="*/ 4410134 w 4545947"/>
              <a:gd name="connsiteY1029" fmla="*/ 1970383 h 4525940"/>
              <a:gd name="connsiteX1030" fmla="*/ 4407219 w 4545947"/>
              <a:gd name="connsiteY1030" fmla="*/ 1948678 h 4525940"/>
              <a:gd name="connsiteX1031" fmla="*/ 4400659 w 4545947"/>
              <a:gd name="connsiteY1031" fmla="*/ 1921696 h 4525940"/>
              <a:gd name="connsiteX1032" fmla="*/ 4398473 w 4545947"/>
              <a:gd name="connsiteY1032" fmla="*/ 1860649 h 4525940"/>
              <a:gd name="connsiteX1033" fmla="*/ 4401754 w 4545947"/>
              <a:gd name="connsiteY1033" fmla="*/ 1852735 h 4525940"/>
              <a:gd name="connsiteX1034" fmla="*/ 4417411 w 4545947"/>
              <a:gd name="connsiteY1034" fmla="*/ 1842865 h 4525940"/>
              <a:gd name="connsiteX1035" fmla="*/ 4344905 w 4545947"/>
              <a:gd name="connsiteY1035" fmla="*/ 1614950 h 4525940"/>
              <a:gd name="connsiteX1036" fmla="*/ 4352557 w 4545947"/>
              <a:gd name="connsiteY1036" fmla="*/ 1626407 h 4525940"/>
              <a:gd name="connsiteX1037" fmla="*/ 4344905 w 4545947"/>
              <a:gd name="connsiteY1037" fmla="*/ 1637863 h 4525940"/>
              <a:gd name="connsiteX1038" fmla="*/ 4337253 w 4545947"/>
              <a:gd name="connsiteY1038" fmla="*/ 1626407 h 4525940"/>
              <a:gd name="connsiteX1039" fmla="*/ 4344905 w 4545947"/>
              <a:gd name="connsiteY1039" fmla="*/ 1614950 h 4525940"/>
              <a:gd name="connsiteX1040" fmla="*/ 4204363 w 4545947"/>
              <a:gd name="connsiteY1040" fmla="*/ 1582188 h 4525940"/>
              <a:gd name="connsiteX1041" fmla="*/ 4198605 w 4545947"/>
              <a:gd name="connsiteY1041" fmla="*/ 1612163 h 4525940"/>
              <a:gd name="connsiteX1042" fmla="*/ 4221888 w 4545947"/>
              <a:gd name="connsiteY1042" fmla="*/ 1704182 h 4525940"/>
              <a:gd name="connsiteX1043" fmla="*/ 4243234 w 4545947"/>
              <a:gd name="connsiteY1043" fmla="*/ 1696654 h 4525940"/>
              <a:gd name="connsiteX1044" fmla="*/ 4257843 w 4545947"/>
              <a:gd name="connsiteY1044" fmla="*/ 1674394 h 4525940"/>
              <a:gd name="connsiteX1045" fmla="*/ 4235464 w 4545947"/>
              <a:gd name="connsiteY1045" fmla="*/ 1634601 h 4525940"/>
              <a:gd name="connsiteX1046" fmla="*/ 4226892 w 4545947"/>
              <a:gd name="connsiteY1046" fmla="*/ 1613755 h 4525940"/>
              <a:gd name="connsiteX1047" fmla="*/ 4204363 w 4545947"/>
              <a:gd name="connsiteY1047" fmla="*/ 1582188 h 4525940"/>
              <a:gd name="connsiteX1048" fmla="*/ 4407219 w 4545947"/>
              <a:gd name="connsiteY1048" fmla="*/ 1487128 h 4525940"/>
              <a:gd name="connsiteX1049" fmla="*/ 4411592 w 4545947"/>
              <a:gd name="connsiteY1049" fmla="*/ 1496625 h 4525940"/>
              <a:gd name="connsiteX1050" fmla="*/ 4407219 w 4545947"/>
              <a:gd name="connsiteY1050" fmla="*/ 1506120 h 4525940"/>
              <a:gd name="connsiteX1051" fmla="*/ 4402846 w 4545947"/>
              <a:gd name="connsiteY1051" fmla="*/ 1496625 h 4525940"/>
              <a:gd name="connsiteX1052" fmla="*/ 4407219 w 4545947"/>
              <a:gd name="connsiteY1052" fmla="*/ 1487128 h 4525940"/>
              <a:gd name="connsiteX1053" fmla="*/ 4317718 w 4545947"/>
              <a:gd name="connsiteY1053" fmla="*/ 1474466 h 4525940"/>
              <a:gd name="connsiteX1054" fmla="*/ 4345998 w 4545947"/>
              <a:gd name="connsiteY1054" fmla="*/ 1518157 h 4525940"/>
              <a:gd name="connsiteX1055" fmla="*/ 4327663 w 4545947"/>
              <a:gd name="connsiteY1055" fmla="*/ 1517200 h 4525940"/>
              <a:gd name="connsiteX1056" fmla="*/ 4317718 w 4545947"/>
              <a:gd name="connsiteY1056" fmla="*/ 1474466 h 4525940"/>
              <a:gd name="connsiteX1057" fmla="*/ 4293987 w 4545947"/>
              <a:gd name="connsiteY1057" fmla="*/ 1306730 h 4525940"/>
              <a:gd name="connsiteX1058" fmla="*/ 4303395 w 4545947"/>
              <a:gd name="connsiteY1058" fmla="*/ 1311043 h 4525940"/>
              <a:gd name="connsiteX1059" fmla="*/ 4318980 w 4545947"/>
              <a:gd name="connsiteY1059" fmla="*/ 1376275 h 4525940"/>
              <a:gd name="connsiteX1060" fmla="*/ 4300491 w 4545947"/>
              <a:gd name="connsiteY1060" fmla="*/ 1383107 h 4525940"/>
              <a:gd name="connsiteX1061" fmla="*/ 4285001 w 4545947"/>
              <a:gd name="connsiteY1061" fmla="*/ 1360511 h 4525940"/>
              <a:gd name="connsiteX1062" fmla="*/ 4282590 w 4545947"/>
              <a:gd name="connsiteY1062" fmla="*/ 1335187 h 4525940"/>
              <a:gd name="connsiteX1063" fmla="*/ 4289150 w 4545947"/>
              <a:gd name="connsiteY1063" fmla="*/ 1318959 h 4525940"/>
              <a:gd name="connsiteX1064" fmla="*/ 4293987 w 4545947"/>
              <a:gd name="connsiteY1064" fmla="*/ 1306730 h 4525940"/>
              <a:gd name="connsiteX1065" fmla="*/ 4289150 w 4545947"/>
              <a:gd name="connsiteY1065" fmla="*/ 1180082 h 4525940"/>
              <a:gd name="connsiteX1066" fmla="*/ 4293523 w 4545947"/>
              <a:gd name="connsiteY1066" fmla="*/ 1186038 h 4525940"/>
              <a:gd name="connsiteX1067" fmla="*/ 4289150 w 4545947"/>
              <a:gd name="connsiteY1067" fmla="*/ 1195908 h 4525940"/>
              <a:gd name="connsiteX1068" fmla="*/ 4284778 w 4545947"/>
              <a:gd name="connsiteY1068" fmla="*/ 1189951 h 4525940"/>
              <a:gd name="connsiteX1069" fmla="*/ 4289150 w 4545947"/>
              <a:gd name="connsiteY1069" fmla="*/ 1180082 h 4525940"/>
              <a:gd name="connsiteX1070" fmla="*/ 4345236 w 4545947"/>
              <a:gd name="connsiteY1070" fmla="*/ 1176916 h 4525940"/>
              <a:gd name="connsiteX1071" fmla="*/ 4370740 w 4545947"/>
              <a:gd name="connsiteY1071" fmla="*/ 1217745 h 4525940"/>
              <a:gd name="connsiteX1072" fmla="*/ 4345998 w 4545947"/>
              <a:gd name="connsiteY1072" fmla="*/ 1218067 h 4525940"/>
              <a:gd name="connsiteX1073" fmla="*/ 4341625 w 4545947"/>
              <a:gd name="connsiteY1073" fmla="*/ 1208570 h 4525940"/>
              <a:gd name="connsiteX1074" fmla="*/ 4337253 w 4545947"/>
              <a:gd name="connsiteY1074" fmla="*/ 1192743 h 4525940"/>
              <a:gd name="connsiteX1075" fmla="*/ 4345236 w 4545947"/>
              <a:gd name="connsiteY1075" fmla="*/ 1176916 h 4525940"/>
              <a:gd name="connsiteX1076" fmla="*/ 4039894 w 4545947"/>
              <a:gd name="connsiteY1076" fmla="*/ 1107277 h 4525940"/>
              <a:gd name="connsiteX1077" fmla="*/ 4039019 w 4545947"/>
              <a:gd name="connsiteY1077" fmla="*/ 1162988 h 4525940"/>
              <a:gd name="connsiteX1078" fmla="*/ 4019800 w 4545947"/>
              <a:gd name="connsiteY1078" fmla="*/ 1156998 h 4525940"/>
              <a:gd name="connsiteX1079" fmla="*/ 4016936 w 4545947"/>
              <a:gd name="connsiteY1079" fmla="*/ 1140644 h 4525940"/>
              <a:gd name="connsiteX1080" fmla="*/ 4022402 w 4545947"/>
              <a:gd name="connsiteY1080" fmla="*/ 1128907 h 4525940"/>
              <a:gd name="connsiteX1081" fmla="*/ 4028961 w 4545947"/>
              <a:gd name="connsiteY1081" fmla="*/ 1119938 h 4525940"/>
              <a:gd name="connsiteX1082" fmla="*/ 4035521 w 4545947"/>
              <a:gd name="connsiteY1082" fmla="*/ 1113607 h 4525940"/>
              <a:gd name="connsiteX1083" fmla="*/ 4039894 w 4545947"/>
              <a:gd name="connsiteY1083" fmla="*/ 1107277 h 4525940"/>
              <a:gd name="connsiteX1084" fmla="*/ 4144916 w 4545947"/>
              <a:gd name="connsiteY1084" fmla="*/ 1053528 h 4525940"/>
              <a:gd name="connsiteX1085" fmla="*/ 4140471 w 4545947"/>
              <a:gd name="connsiteY1085" fmla="*/ 1069291 h 4525940"/>
              <a:gd name="connsiteX1086" fmla="*/ 4134098 w 4545947"/>
              <a:gd name="connsiteY1086" fmla="*/ 1063398 h 4525940"/>
              <a:gd name="connsiteX1087" fmla="*/ 4144916 w 4545947"/>
              <a:gd name="connsiteY1087" fmla="*/ 1053528 h 4525940"/>
              <a:gd name="connsiteX1088" fmla="*/ 3987419 w 4545947"/>
              <a:gd name="connsiteY1088" fmla="*/ 990156 h 4525940"/>
              <a:gd name="connsiteX1089" fmla="*/ 3983046 w 4545947"/>
              <a:gd name="connsiteY1089" fmla="*/ 992947 h 4525940"/>
              <a:gd name="connsiteX1090" fmla="*/ 3987419 w 4545947"/>
              <a:gd name="connsiteY1090" fmla="*/ 999652 h 4525940"/>
              <a:gd name="connsiteX1091" fmla="*/ 3991792 w 4545947"/>
              <a:gd name="connsiteY1091" fmla="*/ 996860 h 4525940"/>
              <a:gd name="connsiteX1092" fmla="*/ 3987419 w 4545947"/>
              <a:gd name="connsiteY1092" fmla="*/ 990156 h 4525940"/>
              <a:gd name="connsiteX1093" fmla="*/ 4173388 w 4545947"/>
              <a:gd name="connsiteY1093" fmla="*/ 892398 h 4525940"/>
              <a:gd name="connsiteX1094" fmla="*/ 4182372 w 4545947"/>
              <a:gd name="connsiteY1094" fmla="*/ 907667 h 4525940"/>
              <a:gd name="connsiteX1095" fmla="*/ 4178395 w 4545947"/>
              <a:gd name="connsiteY1095" fmla="*/ 932991 h 4525940"/>
              <a:gd name="connsiteX1096" fmla="*/ 4163952 w 4545947"/>
              <a:gd name="connsiteY1096" fmla="*/ 928430 h 4525940"/>
              <a:gd name="connsiteX1097" fmla="*/ 4166648 w 4545947"/>
              <a:gd name="connsiteY1097" fmla="*/ 903107 h 4525940"/>
              <a:gd name="connsiteX1098" fmla="*/ 4173388 w 4545947"/>
              <a:gd name="connsiteY1098" fmla="*/ 892398 h 4525940"/>
              <a:gd name="connsiteX1099" fmla="*/ 4006132 w 4545947"/>
              <a:gd name="connsiteY1099" fmla="*/ 869101 h 4525940"/>
              <a:gd name="connsiteX1100" fmla="*/ 4005256 w 4545947"/>
              <a:gd name="connsiteY1100" fmla="*/ 875673 h 4525940"/>
              <a:gd name="connsiteX1101" fmla="*/ 4007552 w 4545947"/>
              <a:gd name="connsiteY1101" fmla="*/ 883982 h 4525940"/>
              <a:gd name="connsiteX1102" fmla="*/ 4007897 w 4545947"/>
              <a:gd name="connsiteY1102" fmla="*/ 871848 h 4525940"/>
              <a:gd name="connsiteX1103" fmla="*/ 4007897 w 4545947"/>
              <a:gd name="connsiteY1103" fmla="*/ 871848 h 4525940"/>
              <a:gd name="connsiteX1104" fmla="*/ 4006132 w 4545947"/>
              <a:gd name="connsiteY1104" fmla="*/ 869101 h 4525940"/>
              <a:gd name="connsiteX1105" fmla="*/ 4268481 w 4545947"/>
              <a:gd name="connsiteY1105" fmla="*/ 836466 h 4525940"/>
              <a:gd name="connsiteX1106" fmla="*/ 4272461 w 4545947"/>
              <a:gd name="connsiteY1106" fmla="*/ 852405 h 4525940"/>
              <a:gd name="connsiteX1107" fmla="*/ 4298063 w 4545947"/>
              <a:gd name="connsiteY1107" fmla="*/ 860052 h 4525940"/>
              <a:gd name="connsiteX1108" fmla="*/ 4319761 w 4545947"/>
              <a:gd name="connsiteY1108" fmla="*/ 891455 h 4525940"/>
              <a:gd name="connsiteX1109" fmla="*/ 4315033 w 4545947"/>
              <a:gd name="connsiteY1109" fmla="*/ 933496 h 4525940"/>
              <a:gd name="connsiteX1110" fmla="*/ 4296867 w 4545947"/>
              <a:gd name="connsiteY1110" fmla="*/ 919625 h 4525940"/>
              <a:gd name="connsiteX1111" fmla="*/ 4286139 w 4545947"/>
              <a:gd name="connsiteY1111" fmla="*/ 912555 h 4525940"/>
              <a:gd name="connsiteX1112" fmla="*/ 4283218 w 4545947"/>
              <a:gd name="connsiteY1112" fmla="*/ 931206 h 4525940"/>
              <a:gd name="connsiteX1113" fmla="*/ 4284339 w 4545947"/>
              <a:gd name="connsiteY1113" fmla="*/ 950245 h 4525940"/>
              <a:gd name="connsiteX1114" fmla="*/ 4309434 w 4545947"/>
              <a:gd name="connsiteY1114" fmla="*/ 952171 h 4525940"/>
              <a:gd name="connsiteX1115" fmla="*/ 4324134 w 4545947"/>
              <a:gd name="connsiteY1115" fmla="*/ 948089 h 4525940"/>
              <a:gd name="connsiteX1116" fmla="*/ 4338345 w 4545947"/>
              <a:gd name="connsiteY1116" fmla="*/ 959380 h 4525940"/>
              <a:gd name="connsiteX1117" fmla="*/ 4353914 w 4545947"/>
              <a:gd name="connsiteY1117" fmla="*/ 978828 h 4525940"/>
              <a:gd name="connsiteX1118" fmla="*/ 4361566 w 4545947"/>
              <a:gd name="connsiteY1118" fmla="*/ 999968 h 4525940"/>
              <a:gd name="connsiteX1119" fmla="*/ 4367863 w 4545947"/>
              <a:gd name="connsiteY1119" fmla="*/ 1018968 h 4525940"/>
              <a:gd name="connsiteX1120" fmla="*/ 4374106 w 4545947"/>
              <a:gd name="connsiteY1120" fmla="*/ 1039440 h 4525940"/>
              <a:gd name="connsiteX1121" fmla="*/ 4381726 w 4545947"/>
              <a:gd name="connsiteY1121" fmla="*/ 1094615 h 4525940"/>
              <a:gd name="connsiteX1122" fmla="*/ 4374326 w 4545947"/>
              <a:gd name="connsiteY1122" fmla="*/ 1088058 h 4525940"/>
              <a:gd name="connsiteX1123" fmla="*/ 4355483 w 4545947"/>
              <a:gd name="connsiteY1123" fmla="*/ 1082503 h 4525940"/>
              <a:gd name="connsiteX1124" fmla="*/ 4304542 w 4545947"/>
              <a:gd name="connsiteY1124" fmla="*/ 1078559 h 4525940"/>
              <a:gd name="connsiteX1125" fmla="*/ 4277212 w 4545947"/>
              <a:gd name="connsiteY1125" fmla="*/ 1084565 h 4525940"/>
              <a:gd name="connsiteX1126" fmla="*/ 4284778 w 4545947"/>
              <a:gd name="connsiteY1126" fmla="*/ 1102482 h 4525940"/>
              <a:gd name="connsiteX1127" fmla="*/ 4292039 w 4545947"/>
              <a:gd name="connsiteY1127" fmla="*/ 1121061 h 4525940"/>
              <a:gd name="connsiteX1128" fmla="*/ 4280650 w 4545947"/>
              <a:gd name="connsiteY1128" fmla="*/ 1132702 h 4525940"/>
              <a:gd name="connsiteX1129" fmla="*/ 4258269 w 4545947"/>
              <a:gd name="connsiteY1129" fmla="*/ 1132810 h 4525940"/>
              <a:gd name="connsiteX1130" fmla="*/ 4239604 w 4545947"/>
              <a:gd name="connsiteY1130" fmla="*/ 1108859 h 4525940"/>
              <a:gd name="connsiteX1131" fmla="*/ 4238427 w 4545947"/>
              <a:gd name="connsiteY1131" fmla="*/ 1056630 h 4525940"/>
              <a:gd name="connsiteX1132" fmla="*/ 4236655 w 4545947"/>
              <a:gd name="connsiteY1132" fmla="*/ 986990 h 4525940"/>
              <a:gd name="connsiteX1133" fmla="*/ 4237269 w 4545947"/>
              <a:gd name="connsiteY1133" fmla="*/ 933495 h 4525940"/>
              <a:gd name="connsiteX1134" fmla="*/ 4241048 w 4545947"/>
              <a:gd name="connsiteY1134" fmla="*/ 916085 h 4525940"/>
              <a:gd name="connsiteX1135" fmla="*/ 4245421 w 4545947"/>
              <a:gd name="connsiteY1135" fmla="*/ 904689 h 4525940"/>
              <a:gd name="connsiteX1136" fmla="*/ 4249794 w 4545947"/>
              <a:gd name="connsiteY1136" fmla="*/ 873712 h 4525940"/>
              <a:gd name="connsiteX1137" fmla="*/ 4256711 w 4545947"/>
              <a:gd name="connsiteY1137" fmla="*/ 838893 h 4525940"/>
              <a:gd name="connsiteX1138" fmla="*/ 4268481 w 4545947"/>
              <a:gd name="connsiteY1138" fmla="*/ 836466 h 4525940"/>
              <a:gd name="connsiteX1139" fmla="*/ 1503102 w 4545947"/>
              <a:gd name="connsiteY1139" fmla="*/ 801258 h 4525940"/>
              <a:gd name="connsiteX1140" fmla="*/ 1489315 w 4545947"/>
              <a:gd name="connsiteY1140" fmla="*/ 822388 h 4525940"/>
              <a:gd name="connsiteX1141" fmla="*/ 1490647 w 4545947"/>
              <a:gd name="connsiteY1141" fmla="*/ 856262 h 4525940"/>
              <a:gd name="connsiteX1142" fmla="*/ 1530226 w 4545947"/>
              <a:gd name="connsiteY1142" fmla="*/ 866125 h 4525940"/>
              <a:gd name="connsiteX1143" fmla="*/ 1532021 w 4545947"/>
              <a:gd name="connsiteY1143" fmla="*/ 819901 h 4525940"/>
              <a:gd name="connsiteX1144" fmla="*/ 1520594 w 4545947"/>
              <a:gd name="connsiteY1144" fmla="*/ 807589 h 4525940"/>
              <a:gd name="connsiteX1145" fmla="*/ 1503102 w 4545947"/>
              <a:gd name="connsiteY1145" fmla="*/ 801258 h 4525940"/>
              <a:gd name="connsiteX1146" fmla="*/ 3729804 w 4545947"/>
              <a:gd name="connsiteY1146" fmla="*/ 798436 h 4525940"/>
              <a:gd name="connsiteX1147" fmla="*/ 3719615 w 4545947"/>
              <a:gd name="connsiteY1147" fmla="*/ 808547 h 4525940"/>
              <a:gd name="connsiteX1148" fmla="*/ 3717041 w 4545947"/>
              <a:gd name="connsiteY1148" fmla="*/ 813557 h 4525940"/>
              <a:gd name="connsiteX1149" fmla="*/ 3718483 w 4545947"/>
              <a:gd name="connsiteY1149" fmla="*/ 830980 h 4525940"/>
              <a:gd name="connsiteX1150" fmla="*/ 3721246 w 4545947"/>
              <a:gd name="connsiteY1150" fmla="*/ 854042 h 4525940"/>
              <a:gd name="connsiteX1151" fmla="*/ 3718912 w 4545947"/>
              <a:gd name="connsiteY1151" fmla="*/ 922278 h 4525940"/>
              <a:gd name="connsiteX1152" fmla="*/ 3722944 w 4545947"/>
              <a:gd name="connsiteY1152" fmla="*/ 942470 h 4525940"/>
              <a:gd name="connsiteX1153" fmla="*/ 3747598 w 4545947"/>
              <a:gd name="connsiteY1153" fmla="*/ 980659 h 4525940"/>
              <a:gd name="connsiteX1154" fmla="*/ 3757482 w 4545947"/>
              <a:gd name="connsiteY1154" fmla="*/ 976816 h 4525940"/>
              <a:gd name="connsiteX1155" fmla="*/ 3760153 w 4545947"/>
              <a:gd name="connsiteY1155" fmla="*/ 920630 h 4525940"/>
              <a:gd name="connsiteX1156" fmla="*/ 3753030 w 4545947"/>
              <a:gd name="connsiteY1156" fmla="*/ 885437 h 4525940"/>
              <a:gd name="connsiteX1157" fmla="*/ 3746345 w 4545947"/>
              <a:gd name="connsiteY1157" fmla="*/ 854042 h 4525940"/>
              <a:gd name="connsiteX1158" fmla="*/ 3742535 w 4545947"/>
              <a:gd name="connsiteY1158" fmla="*/ 825977 h 4525940"/>
              <a:gd name="connsiteX1159" fmla="*/ 3729804 w 4545947"/>
              <a:gd name="connsiteY1159" fmla="*/ 798436 h 4525940"/>
              <a:gd name="connsiteX1160" fmla="*/ 4044267 w 4545947"/>
              <a:gd name="connsiteY1160" fmla="*/ 755914 h 4525940"/>
              <a:gd name="connsiteX1161" fmla="*/ 4052223 w 4545947"/>
              <a:gd name="connsiteY1161" fmla="*/ 770158 h 4525940"/>
              <a:gd name="connsiteX1162" fmla="*/ 4044267 w 4545947"/>
              <a:gd name="connsiteY1162" fmla="*/ 784403 h 4525940"/>
              <a:gd name="connsiteX1163" fmla="*/ 4036310 w 4545947"/>
              <a:gd name="connsiteY1163" fmla="*/ 770158 h 4525940"/>
              <a:gd name="connsiteX1164" fmla="*/ 4044267 w 4545947"/>
              <a:gd name="connsiteY1164" fmla="*/ 755914 h 4525940"/>
              <a:gd name="connsiteX1165" fmla="*/ 4191963 w 4545947"/>
              <a:gd name="connsiteY1165" fmla="*/ 753633 h 4525940"/>
              <a:gd name="connsiteX1166" fmla="*/ 4213395 w 4545947"/>
              <a:gd name="connsiteY1166" fmla="*/ 793226 h 4525940"/>
              <a:gd name="connsiteX1167" fmla="*/ 4208313 w 4545947"/>
              <a:gd name="connsiteY1167" fmla="*/ 816057 h 4525940"/>
              <a:gd name="connsiteX1168" fmla="*/ 4202744 w 4545947"/>
              <a:gd name="connsiteY1168" fmla="*/ 800369 h 4525940"/>
              <a:gd name="connsiteX1169" fmla="*/ 4196694 w 4545947"/>
              <a:gd name="connsiteY1169" fmla="*/ 780951 h 4525940"/>
              <a:gd name="connsiteX1170" fmla="*/ 4188573 w 4545947"/>
              <a:gd name="connsiteY1170" fmla="*/ 764983 h 4525940"/>
              <a:gd name="connsiteX1171" fmla="*/ 4191963 w 4545947"/>
              <a:gd name="connsiteY1171" fmla="*/ 753633 h 4525940"/>
              <a:gd name="connsiteX1172" fmla="*/ 2207638 w 4545947"/>
              <a:gd name="connsiteY1172" fmla="*/ 740087 h 4525940"/>
              <a:gd name="connsiteX1173" fmla="*/ 2203265 w 4545947"/>
              <a:gd name="connsiteY1173" fmla="*/ 749119 h 4525940"/>
              <a:gd name="connsiteX1174" fmla="*/ 2195613 w 4545947"/>
              <a:gd name="connsiteY1174" fmla="*/ 761046 h 4525940"/>
              <a:gd name="connsiteX1175" fmla="*/ 2194738 w 4545947"/>
              <a:gd name="connsiteY1175" fmla="*/ 764676 h 4525940"/>
              <a:gd name="connsiteX1176" fmla="*/ 2206763 w 4545947"/>
              <a:gd name="connsiteY1176" fmla="*/ 757813 h 4525940"/>
              <a:gd name="connsiteX1177" fmla="*/ 2207638 w 4545947"/>
              <a:gd name="connsiteY1177" fmla="*/ 740087 h 4525940"/>
              <a:gd name="connsiteX1178" fmla="*/ 2492685 w 4545947"/>
              <a:gd name="connsiteY1178" fmla="*/ 661279 h 4525940"/>
              <a:gd name="connsiteX1179" fmla="*/ 2487033 w 4545947"/>
              <a:gd name="connsiteY1179" fmla="*/ 671621 h 4525940"/>
              <a:gd name="connsiteX1180" fmla="*/ 2481109 w 4545947"/>
              <a:gd name="connsiteY1180" fmla="*/ 700808 h 4525940"/>
              <a:gd name="connsiteX1181" fmla="*/ 2491725 w 4545947"/>
              <a:gd name="connsiteY1181" fmla="*/ 713470 h 4525940"/>
              <a:gd name="connsiteX1182" fmla="*/ 2504127 w 4545947"/>
              <a:gd name="connsiteY1182" fmla="*/ 692066 h 4525940"/>
              <a:gd name="connsiteX1183" fmla="*/ 2498966 w 4545947"/>
              <a:gd name="connsiteY1183" fmla="*/ 664751 h 4525940"/>
              <a:gd name="connsiteX1184" fmla="*/ 2492685 w 4545947"/>
              <a:gd name="connsiteY1184" fmla="*/ 661279 h 4525940"/>
              <a:gd name="connsiteX1185" fmla="*/ 1542281 w 4545947"/>
              <a:gd name="connsiteY1185" fmla="*/ 646751 h 4525940"/>
              <a:gd name="connsiteX1186" fmla="*/ 1547326 w 4545947"/>
              <a:gd name="connsiteY1186" fmla="*/ 654093 h 4525940"/>
              <a:gd name="connsiteX1187" fmla="*/ 1540402 w 4545947"/>
              <a:gd name="connsiteY1187" fmla="*/ 664117 h 4525940"/>
              <a:gd name="connsiteX1188" fmla="*/ 1535210 w 4545947"/>
              <a:gd name="connsiteY1188" fmla="*/ 656599 h 4525940"/>
              <a:gd name="connsiteX1189" fmla="*/ 1542281 w 4545947"/>
              <a:gd name="connsiteY1189" fmla="*/ 646751 h 4525940"/>
              <a:gd name="connsiteX1190" fmla="*/ 4233596 w 4545947"/>
              <a:gd name="connsiteY1190" fmla="*/ 626131 h 4525940"/>
              <a:gd name="connsiteX1191" fmla="*/ 4297896 w 4545947"/>
              <a:gd name="connsiteY1191" fmla="*/ 718993 h 4525940"/>
              <a:gd name="connsiteX1192" fmla="*/ 4291336 w 4545947"/>
              <a:gd name="connsiteY1192" fmla="*/ 729715 h 4525940"/>
              <a:gd name="connsiteX1193" fmla="*/ 4284778 w 4545947"/>
              <a:gd name="connsiteY1193" fmla="*/ 755341 h 4525940"/>
              <a:gd name="connsiteX1194" fmla="*/ 4266012 w 4545947"/>
              <a:gd name="connsiteY1194" fmla="*/ 772883 h 4525940"/>
              <a:gd name="connsiteX1195" fmla="*/ 4256152 w 4545947"/>
              <a:gd name="connsiteY1195" fmla="*/ 754391 h 4525940"/>
              <a:gd name="connsiteX1196" fmla="*/ 4254030 w 4545947"/>
              <a:gd name="connsiteY1196" fmla="*/ 746418 h 4525940"/>
              <a:gd name="connsiteX1197" fmla="*/ 4249794 w 4545947"/>
              <a:gd name="connsiteY1197" fmla="*/ 730392 h 4525940"/>
              <a:gd name="connsiteX1198" fmla="*/ 4242141 w 4545947"/>
              <a:gd name="connsiteY1198" fmla="*/ 710456 h 4525940"/>
              <a:gd name="connsiteX1199" fmla="*/ 4214811 w 4545947"/>
              <a:gd name="connsiteY1199" fmla="*/ 669344 h 4525940"/>
              <a:gd name="connsiteX1200" fmla="*/ 4218709 w 4545947"/>
              <a:gd name="connsiteY1200" fmla="*/ 657786 h 4525940"/>
              <a:gd name="connsiteX1201" fmla="*/ 4225352 w 4545947"/>
              <a:gd name="connsiteY1201" fmla="*/ 641959 h 4525940"/>
              <a:gd name="connsiteX1202" fmla="*/ 4233596 w 4545947"/>
              <a:gd name="connsiteY1202" fmla="*/ 626131 h 4525940"/>
              <a:gd name="connsiteX1203" fmla="*/ 2100311 w 4545947"/>
              <a:gd name="connsiteY1203" fmla="*/ 609600 h 4525940"/>
              <a:gd name="connsiteX1204" fmla="*/ 2108154 w 4545947"/>
              <a:gd name="connsiteY1204" fmla="*/ 610589 h 4525940"/>
              <a:gd name="connsiteX1205" fmla="*/ 2122602 w 4545947"/>
              <a:gd name="connsiteY1205" fmla="*/ 631911 h 4525940"/>
              <a:gd name="connsiteX1206" fmla="*/ 2101230 w 4545947"/>
              <a:gd name="connsiteY1206" fmla="*/ 634573 h 4525940"/>
              <a:gd name="connsiteX1207" fmla="*/ 2098315 w 4545947"/>
              <a:gd name="connsiteY1207" fmla="*/ 618319 h 4525940"/>
              <a:gd name="connsiteX1208" fmla="*/ 2100311 w 4545947"/>
              <a:gd name="connsiteY1208" fmla="*/ 609600 h 4525940"/>
              <a:gd name="connsiteX1209" fmla="*/ 4009611 w 4545947"/>
              <a:gd name="connsiteY1209" fmla="*/ 608352 h 4525940"/>
              <a:gd name="connsiteX1210" fmla="*/ 4014312 w 4545947"/>
              <a:gd name="connsiteY1210" fmla="*/ 616635 h 4525940"/>
              <a:gd name="connsiteX1211" fmla="*/ 4009611 w 4545947"/>
              <a:gd name="connsiteY1211" fmla="*/ 624918 h 4525940"/>
              <a:gd name="connsiteX1212" fmla="*/ 4004911 w 4545947"/>
              <a:gd name="connsiteY1212" fmla="*/ 616635 h 4525940"/>
              <a:gd name="connsiteX1213" fmla="*/ 4009611 w 4545947"/>
              <a:gd name="connsiteY1213" fmla="*/ 608352 h 4525940"/>
              <a:gd name="connsiteX1214" fmla="*/ 4096448 w 4545947"/>
              <a:gd name="connsiteY1214" fmla="*/ 583964 h 4525940"/>
              <a:gd name="connsiteX1215" fmla="*/ 4107195 w 4545947"/>
              <a:gd name="connsiteY1215" fmla="*/ 593827 h 4525940"/>
              <a:gd name="connsiteX1216" fmla="*/ 4128369 w 4545947"/>
              <a:gd name="connsiteY1216" fmla="*/ 607139 h 4525940"/>
              <a:gd name="connsiteX1217" fmla="*/ 4153590 w 4545947"/>
              <a:gd name="connsiteY1217" fmla="*/ 630348 h 4525940"/>
              <a:gd name="connsiteX1218" fmla="*/ 4149141 w 4545947"/>
              <a:gd name="connsiteY1218" fmla="*/ 641890 h 4525940"/>
              <a:gd name="connsiteX1219" fmla="*/ 4120525 w 4545947"/>
              <a:gd name="connsiteY1219" fmla="*/ 642281 h 4525940"/>
              <a:gd name="connsiteX1220" fmla="*/ 4067481 w 4545947"/>
              <a:gd name="connsiteY1220" fmla="*/ 703404 h 4525940"/>
              <a:gd name="connsiteX1221" fmla="*/ 4035521 w 4545947"/>
              <a:gd name="connsiteY1221" fmla="*/ 724260 h 4525940"/>
              <a:gd name="connsiteX1222" fmla="*/ 4039894 w 4545947"/>
              <a:gd name="connsiteY1222" fmla="*/ 714763 h 4525940"/>
              <a:gd name="connsiteX1223" fmla="*/ 4039254 w 4545947"/>
              <a:gd name="connsiteY1223" fmla="*/ 671317 h 4525940"/>
              <a:gd name="connsiteX1224" fmla="*/ 4044061 w 4545947"/>
              <a:gd name="connsiteY1224" fmla="*/ 629112 h 4525940"/>
              <a:gd name="connsiteX1225" fmla="*/ 4057125 w 4545947"/>
              <a:gd name="connsiteY1225" fmla="*/ 614000 h 4525940"/>
              <a:gd name="connsiteX1226" fmla="*/ 4081844 w 4545947"/>
              <a:gd name="connsiteY1226" fmla="*/ 587951 h 4525940"/>
              <a:gd name="connsiteX1227" fmla="*/ 4096448 w 4545947"/>
              <a:gd name="connsiteY1227" fmla="*/ 583964 h 4525940"/>
              <a:gd name="connsiteX1228" fmla="*/ 3399607 w 4545947"/>
              <a:gd name="connsiteY1228" fmla="*/ 565410 h 4525940"/>
              <a:gd name="connsiteX1229" fmla="*/ 3390710 w 4545947"/>
              <a:gd name="connsiteY1229" fmla="*/ 595369 h 4525940"/>
              <a:gd name="connsiteX1230" fmla="*/ 3412518 w 4545947"/>
              <a:gd name="connsiteY1230" fmla="*/ 593840 h 4525940"/>
              <a:gd name="connsiteX1231" fmla="*/ 3399607 w 4545947"/>
              <a:gd name="connsiteY1231" fmla="*/ 565410 h 4525940"/>
              <a:gd name="connsiteX1232" fmla="*/ 3753272 w 4545947"/>
              <a:gd name="connsiteY1232" fmla="*/ 543830 h 4525940"/>
              <a:gd name="connsiteX1233" fmla="*/ 3790519 w 4545947"/>
              <a:gd name="connsiteY1233" fmla="*/ 599225 h 4525940"/>
              <a:gd name="connsiteX1234" fmla="*/ 3794812 w 4545947"/>
              <a:gd name="connsiteY1234" fmla="*/ 607139 h 4525940"/>
              <a:gd name="connsiteX1235" fmla="*/ 3804642 w 4545947"/>
              <a:gd name="connsiteY1235" fmla="*/ 659368 h 4525940"/>
              <a:gd name="connsiteX1236" fmla="*/ 3808129 w 4545947"/>
              <a:gd name="connsiteY1236" fmla="*/ 664117 h 4525940"/>
              <a:gd name="connsiteX1237" fmla="*/ 3812502 w 4545947"/>
              <a:gd name="connsiteY1237" fmla="*/ 679944 h 4525940"/>
              <a:gd name="connsiteX1238" fmla="*/ 3805943 w 4545947"/>
              <a:gd name="connsiteY1238" fmla="*/ 695771 h 4525940"/>
              <a:gd name="connsiteX1239" fmla="*/ 3799383 w 4545947"/>
              <a:gd name="connsiteY1239" fmla="*/ 686189 h 4525940"/>
              <a:gd name="connsiteX1240" fmla="*/ 3795328 w 4545947"/>
              <a:gd name="connsiteY1240" fmla="*/ 665613 h 4525940"/>
              <a:gd name="connsiteX1241" fmla="*/ 3788882 w 4545947"/>
              <a:gd name="connsiteY1241" fmla="*/ 643446 h 4525940"/>
              <a:gd name="connsiteX1242" fmla="*/ 3776114 w 4545947"/>
              <a:gd name="connsiteY1242" fmla="*/ 626562 h 4525940"/>
              <a:gd name="connsiteX1243" fmla="*/ 3757864 w 4545947"/>
              <a:gd name="connsiteY1243" fmla="*/ 596585 h 4525940"/>
              <a:gd name="connsiteX1244" fmla="*/ 3745624 w 4545947"/>
              <a:gd name="connsiteY1244" fmla="*/ 568210 h 4525940"/>
              <a:gd name="connsiteX1245" fmla="*/ 3753272 w 4545947"/>
              <a:gd name="connsiteY1245" fmla="*/ 543830 h 4525940"/>
              <a:gd name="connsiteX1246" fmla="*/ 2508411 w 4545947"/>
              <a:gd name="connsiteY1246" fmla="*/ 515434 h 4525940"/>
              <a:gd name="connsiteX1247" fmla="*/ 2493352 w 4545947"/>
              <a:gd name="connsiteY1247" fmla="*/ 518847 h 4525940"/>
              <a:gd name="connsiteX1248" fmla="*/ 2472948 w 4545947"/>
              <a:gd name="connsiteY1248" fmla="*/ 519406 h 4525940"/>
              <a:gd name="connsiteX1249" fmla="*/ 2426655 w 4545947"/>
              <a:gd name="connsiteY1249" fmla="*/ 542091 h 4525940"/>
              <a:gd name="connsiteX1250" fmla="*/ 2421860 w 4545947"/>
              <a:gd name="connsiteY1250" fmla="*/ 628589 h 4525940"/>
              <a:gd name="connsiteX1251" fmla="*/ 2426284 w 4545947"/>
              <a:gd name="connsiteY1251" fmla="*/ 648832 h 4525940"/>
              <a:gd name="connsiteX1252" fmla="*/ 2440777 w 4545947"/>
              <a:gd name="connsiteY1252" fmla="*/ 700519 h 4525940"/>
              <a:gd name="connsiteX1253" fmla="*/ 2459393 w 4545947"/>
              <a:gd name="connsiteY1253" fmla="*/ 699389 h 4525940"/>
              <a:gd name="connsiteX1254" fmla="*/ 2459081 w 4545947"/>
              <a:gd name="connsiteY1254" fmla="*/ 657786 h 4525940"/>
              <a:gd name="connsiteX1255" fmla="*/ 2459470 w 4545947"/>
              <a:gd name="connsiteY1255" fmla="*/ 641298 h 4525940"/>
              <a:gd name="connsiteX1256" fmla="*/ 2477551 w 4545947"/>
              <a:gd name="connsiteY1256" fmla="*/ 632480 h 4525940"/>
              <a:gd name="connsiteX1257" fmla="*/ 2483722 w 4545947"/>
              <a:gd name="connsiteY1257" fmla="*/ 619800 h 4525940"/>
              <a:gd name="connsiteX1258" fmla="*/ 2478759 w 4545947"/>
              <a:gd name="connsiteY1258" fmla="*/ 588146 h 4525940"/>
              <a:gd name="connsiteX1259" fmla="*/ 2485319 w 4545947"/>
              <a:gd name="connsiteY1259" fmla="*/ 556492 h 4525940"/>
              <a:gd name="connsiteX1260" fmla="*/ 2491878 w 4545947"/>
              <a:gd name="connsiteY1260" fmla="*/ 564659 h 4525940"/>
              <a:gd name="connsiteX1261" fmla="*/ 2508588 w 4545947"/>
              <a:gd name="connsiteY1261" fmla="*/ 599558 h 4525940"/>
              <a:gd name="connsiteX1262" fmla="*/ 2525299 w 4545947"/>
              <a:gd name="connsiteY1262" fmla="*/ 626289 h 4525940"/>
              <a:gd name="connsiteX1263" fmla="*/ 2539199 w 4545947"/>
              <a:gd name="connsiteY1263" fmla="*/ 616250 h 4525940"/>
              <a:gd name="connsiteX1264" fmla="*/ 2548428 w 4545947"/>
              <a:gd name="connsiteY1264" fmla="*/ 572052 h 4525940"/>
              <a:gd name="connsiteX1265" fmla="*/ 2546291 w 4545947"/>
              <a:gd name="connsiteY1265" fmla="*/ 558312 h 4525940"/>
              <a:gd name="connsiteX1266" fmla="*/ 2542439 w 4545947"/>
              <a:gd name="connsiteY1266" fmla="*/ 552299 h 4525940"/>
              <a:gd name="connsiteX1267" fmla="*/ 2537847 w 4545947"/>
              <a:gd name="connsiteY1267" fmla="*/ 548256 h 4525940"/>
              <a:gd name="connsiteX1268" fmla="*/ 2523962 w 4545947"/>
              <a:gd name="connsiteY1268" fmla="*/ 526189 h 4525940"/>
              <a:gd name="connsiteX1269" fmla="*/ 2508411 w 4545947"/>
              <a:gd name="connsiteY1269" fmla="*/ 515434 h 4525940"/>
              <a:gd name="connsiteX1270" fmla="*/ 3394917 w 4545947"/>
              <a:gd name="connsiteY1270" fmla="*/ 499514 h 4525940"/>
              <a:gd name="connsiteX1271" fmla="*/ 3385075 w 4545947"/>
              <a:gd name="connsiteY1271" fmla="*/ 540733 h 4525940"/>
              <a:gd name="connsiteX1272" fmla="*/ 3404022 w 4545947"/>
              <a:gd name="connsiteY1272" fmla="*/ 534348 h 4525940"/>
              <a:gd name="connsiteX1273" fmla="*/ 3394917 w 4545947"/>
              <a:gd name="connsiteY1273" fmla="*/ 499514 h 4525940"/>
              <a:gd name="connsiteX1274" fmla="*/ 2473972 w 4545947"/>
              <a:gd name="connsiteY1274" fmla="*/ 490389 h 4525940"/>
              <a:gd name="connsiteX1275" fmla="*/ 2475523 w 4545947"/>
              <a:gd name="connsiteY1275" fmla="*/ 502376 h 4525940"/>
              <a:gd name="connsiteX1276" fmla="*/ 2480591 w 4545947"/>
              <a:gd name="connsiteY1276" fmla="*/ 497291 h 4525940"/>
              <a:gd name="connsiteX1277" fmla="*/ 2473972 w 4545947"/>
              <a:gd name="connsiteY1277" fmla="*/ 490389 h 4525940"/>
              <a:gd name="connsiteX1278" fmla="*/ 2576610 w 4545947"/>
              <a:gd name="connsiteY1278" fmla="*/ 482359 h 4525940"/>
              <a:gd name="connsiteX1279" fmla="*/ 2586852 w 4545947"/>
              <a:gd name="connsiteY1279" fmla="*/ 505111 h 4525940"/>
              <a:gd name="connsiteX1280" fmla="*/ 2586989 w 4545947"/>
              <a:gd name="connsiteY1280" fmla="*/ 501481 h 4525940"/>
              <a:gd name="connsiteX1281" fmla="*/ 2579336 w 4545947"/>
              <a:gd name="connsiteY1281" fmla="*/ 488499 h 4525940"/>
              <a:gd name="connsiteX1282" fmla="*/ 2576610 w 4545947"/>
              <a:gd name="connsiteY1282" fmla="*/ 482359 h 4525940"/>
              <a:gd name="connsiteX1283" fmla="*/ 2585636 w 4545947"/>
              <a:gd name="connsiteY1283" fmla="*/ 469292 h 4525940"/>
              <a:gd name="connsiteX1284" fmla="*/ 2590998 w 4545947"/>
              <a:gd name="connsiteY1284" fmla="*/ 485006 h 4525940"/>
              <a:gd name="connsiteX1285" fmla="*/ 2600616 w 4545947"/>
              <a:gd name="connsiteY1285" fmla="*/ 491243 h 4525940"/>
              <a:gd name="connsiteX1286" fmla="*/ 2595253 w 4545947"/>
              <a:gd name="connsiteY1286" fmla="*/ 475529 h 4525940"/>
              <a:gd name="connsiteX1287" fmla="*/ 2585636 w 4545947"/>
              <a:gd name="connsiteY1287" fmla="*/ 469292 h 4525940"/>
              <a:gd name="connsiteX1288" fmla="*/ 3422903 w 4545947"/>
              <a:gd name="connsiteY1288" fmla="*/ 465059 h 4525940"/>
              <a:gd name="connsiteX1289" fmla="*/ 3418939 w 4545947"/>
              <a:gd name="connsiteY1289" fmla="*/ 477730 h 4525940"/>
              <a:gd name="connsiteX1290" fmla="*/ 3424580 w 4545947"/>
              <a:gd name="connsiteY1290" fmla="*/ 474182 h 4525940"/>
              <a:gd name="connsiteX1291" fmla="*/ 3422903 w 4545947"/>
              <a:gd name="connsiteY1291" fmla="*/ 465059 h 4525940"/>
              <a:gd name="connsiteX1292" fmla="*/ 3788764 w 4545947"/>
              <a:gd name="connsiteY1292" fmla="*/ 436206 h 4525940"/>
              <a:gd name="connsiteX1293" fmla="*/ 3799916 w 4545947"/>
              <a:gd name="connsiteY1293" fmla="*/ 450450 h 4525940"/>
              <a:gd name="connsiteX1294" fmla="*/ 3813589 w 4545947"/>
              <a:gd name="connsiteY1294" fmla="*/ 475438 h 4525940"/>
              <a:gd name="connsiteX1295" fmla="*/ 3819205 w 4545947"/>
              <a:gd name="connsiteY1295" fmla="*/ 492847 h 4525940"/>
              <a:gd name="connsiteX1296" fmla="*/ 3796103 w 4545947"/>
              <a:gd name="connsiteY1296" fmla="*/ 490044 h 4525940"/>
              <a:gd name="connsiteX1297" fmla="*/ 3790637 w 4545947"/>
              <a:gd name="connsiteY1297" fmla="*/ 475233 h 4525940"/>
              <a:gd name="connsiteX1298" fmla="*/ 3784337 w 4545947"/>
              <a:gd name="connsiteY1298" fmla="*/ 461842 h 4525940"/>
              <a:gd name="connsiteX1299" fmla="*/ 3788764 w 4545947"/>
              <a:gd name="connsiteY1299" fmla="*/ 436206 h 4525940"/>
              <a:gd name="connsiteX1300" fmla="*/ 2416536 w 4545947"/>
              <a:gd name="connsiteY1300" fmla="*/ 393600 h 4525940"/>
              <a:gd name="connsiteX1301" fmla="*/ 2421911 w 4545947"/>
              <a:gd name="connsiteY1301" fmla="*/ 404024 h 4525940"/>
              <a:gd name="connsiteX1302" fmla="*/ 2415031 w 4545947"/>
              <a:gd name="connsiteY1302" fmla="*/ 417213 h 4525940"/>
              <a:gd name="connsiteX1303" fmla="*/ 2409565 w 4545947"/>
              <a:gd name="connsiteY1303" fmla="*/ 406659 h 4525940"/>
              <a:gd name="connsiteX1304" fmla="*/ 2416536 w 4545947"/>
              <a:gd name="connsiteY1304" fmla="*/ 393600 h 4525940"/>
              <a:gd name="connsiteX1305" fmla="*/ 3384911 w 4545947"/>
              <a:gd name="connsiteY1305" fmla="*/ 341340 h 4525940"/>
              <a:gd name="connsiteX1306" fmla="*/ 3372417 w 4545947"/>
              <a:gd name="connsiteY1306" fmla="*/ 369731 h 4525940"/>
              <a:gd name="connsiteX1307" fmla="*/ 3380538 w 4545947"/>
              <a:gd name="connsiteY1307" fmla="*/ 378728 h 4525940"/>
              <a:gd name="connsiteX1308" fmla="*/ 3380675 w 4545947"/>
              <a:gd name="connsiteY1308" fmla="*/ 375035 h 4525940"/>
              <a:gd name="connsiteX1309" fmla="*/ 3380675 w 4545947"/>
              <a:gd name="connsiteY1309" fmla="*/ 375035 h 4525940"/>
              <a:gd name="connsiteX1310" fmla="*/ 3375209 w 4545947"/>
              <a:gd name="connsiteY1310" fmla="*/ 359334 h 4525940"/>
              <a:gd name="connsiteX1311" fmla="*/ 3378698 w 4545947"/>
              <a:gd name="connsiteY1311" fmla="*/ 349948 h 4525940"/>
              <a:gd name="connsiteX1312" fmla="*/ 3388537 w 4545947"/>
              <a:gd name="connsiteY1312" fmla="*/ 347252 h 4525940"/>
              <a:gd name="connsiteX1313" fmla="*/ 3384911 w 4545947"/>
              <a:gd name="connsiteY1313" fmla="*/ 341340 h 4525940"/>
              <a:gd name="connsiteX1314" fmla="*/ 3481752 w 4545947"/>
              <a:gd name="connsiteY1314" fmla="*/ 328581 h 4525940"/>
              <a:gd name="connsiteX1315" fmla="*/ 3473209 w 4545947"/>
              <a:gd name="connsiteY1315" fmla="*/ 344408 h 4525940"/>
              <a:gd name="connsiteX1316" fmla="*/ 3451077 w 4545947"/>
              <a:gd name="connsiteY1316" fmla="*/ 360235 h 4525940"/>
              <a:gd name="connsiteX1317" fmla="*/ 3425989 w 4545947"/>
              <a:gd name="connsiteY1317" fmla="*/ 367943 h 4525940"/>
              <a:gd name="connsiteX1318" fmla="*/ 3435239 w 4545947"/>
              <a:gd name="connsiteY1318" fmla="*/ 429875 h 4525940"/>
              <a:gd name="connsiteX1319" fmla="*/ 3440516 w 4545947"/>
              <a:gd name="connsiteY1319" fmla="*/ 463112 h 4525940"/>
              <a:gd name="connsiteX1320" fmla="*/ 3443678 w 4545947"/>
              <a:gd name="connsiteY1320" fmla="*/ 486853 h 4525940"/>
              <a:gd name="connsiteX1321" fmla="*/ 3449549 w 4545947"/>
              <a:gd name="connsiteY1321" fmla="*/ 501624 h 4525940"/>
              <a:gd name="connsiteX1322" fmla="*/ 3464675 w 4545947"/>
              <a:gd name="connsiteY1322" fmla="*/ 523522 h 4525940"/>
              <a:gd name="connsiteX1323" fmla="*/ 3474924 w 4545947"/>
              <a:gd name="connsiteY1323" fmla="*/ 480522 h 4525940"/>
              <a:gd name="connsiteX1324" fmla="*/ 3480390 w 4545947"/>
              <a:gd name="connsiteY1324" fmla="*/ 433357 h 4525940"/>
              <a:gd name="connsiteX1325" fmla="*/ 3484532 w 4545947"/>
              <a:gd name="connsiteY1325" fmla="*/ 412781 h 4525940"/>
              <a:gd name="connsiteX1326" fmla="*/ 3490938 w 4545947"/>
              <a:gd name="connsiteY1326" fmla="*/ 398220 h 4525940"/>
              <a:gd name="connsiteX1327" fmla="*/ 3504808 w 4545947"/>
              <a:gd name="connsiteY1327" fmla="*/ 364853 h 4525940"/>
              <a:gd name="connsiteX1328" fmla="*/ 3481752 w 4545947"/>
              <a:gd name="connsiteY1328" fmla="*/ 328581 h 4525940"/>
              <a:gd name="connsiteX1329" fmla="*/ 3250209 w 4545947"/>
              <a:gd name="connsiteY1329" fmla="*/ 322250 h 4525940"/>
              <a:gd name="connsiteX1330" fmla="*/ 3218734 w 4545947"/>
              <a:gd name="connsiteY1330" fmla="*/ 345991 h 4525940"/>
              <a:gd name="connsiteX1331" fmla="*/ 3207511 w 4545947"/>
              <a:gd name="connsiteY1331" fmla="*/ 353905 h 4525940"/>
              <a:gd name="connsiteX1332" fmla="*/ 3185026 w 4545947"/>
              <a:gd name="connsiteY1332" fmla="*/ 391710 h 4525940"/>
              <a:gd name="connsiteX1333" fmla="*/ 3190049 w 4545947"/>
              <a:gd name="connsiteY1333" fmla="*/ 417333 h 4525940"/>
              <a:gd name="connsiteX1334" fmla="*/ 3209038 w 4545947"/>
              <a:gd name="connsiteY1334" fmla="*/ 423965 h 4525940"/>
              <a:gd name="connsiteX1335" fmla="*/ 3221064 w 4545947"/>
              <a:gd name="connsiteY1335" fmla="*/ 416051 h 4525940"/>
              <a:gd name="connsiteX1336" fmla="*/ 3234472 w 4545947"/>
              <a:gd name="connsiteY1336" fmla="*/ 396638 h 4525940"/>
              <a:gd name="connsiteX1337" fmla="*/ 3252767 w 4545947"/>
              <a:gd name="connsiteY1337" fmla="*/ 392871 h 4525940"/>
              <a:gd name="connsiteX1338" fmla="*/ 3261513 w 4545947"/>
              <a:gd name="connsiteY1338" fmla="*/ 395055 h 4525940"/>
              <a:gd name="connsiteX1339" fmla="*/ 3250209 w 4545947"/>
              <a:gd name="connsiteY1339" fmla="*/ 322250 h 4525940"/>
              <a:gd name="connsiteX1340" fmla="*/ 3735611 w 4545947"/>
              <a:gd name="connsiteY1340" fmla="*/ 303258 h 4525940"/>
              <a:gd name="connsiteX1341" fmla="*/ 3742535 w 4545947"/>
              <a:gd name="connsiteY1341" fmla="*/ 312227 h 4525940"/>
              <a:gd name="connsiteX1342" fmla="*/ 3747682 w 4545947"/>
              <a:gd name="connsiteY1342" fmla="*/ 323679 h 4525940"/>
              <a:gd name="connsiteX1343" fmla="*/ 3749611 w 4545947"/>
              <a:gd name="connsiteY1343" fmla="*/ 333703 h 4525940"/>
              <a:gd name="connsiteX1344" fmla="*/ 3736483 w 4545947"/>
              <a:gd name="connsiteY1344" fmla="*/ 330164 h 4525940"/>
              <a:gd name="connsiteX1345" fmla="*/ 3731235 w 4545947"/>
              <a:gd name="connsiteY1345" fmla="*/ 311171 h 4525940"/>
              <a:gd name="connsiteX1346" fmla="*/ 3735611 w 4545947"/>
              <a:gd name="connsiteY1346" fmla="*/ 303258 h 4525940"/>
              <a:gd name="connsiteX1347" fmla="*/ 2667524 w 4545947"/>
              <a:gd name="connsiteY1347" fmla="*/ 278974 h 4525940"/>
              <a:gd name="connsiteX1348" fmla="*/ 2658117 w 4545947"/>
              <a:gd name="connsiteY1348" fmla="*/ 316447 h 4525940"/>
              <a:gd name="connsiteX1349" fmla="*/ 2673175 w 4545947"/>
              <a:gd name="connsiteY1349" fmla="*/ 346258 h 4525940"/>
              <a:gd name="connsiteX1350" fmla="*/ 2682100 w 4545947"/>
              <a:gd name="connsiteY1350" fmla="*/ 316609 h 4525940"/>
              <a:gd name="connsiteX1351" fmla="*/ 2674323 w 4545947"/>
              <a:gd name="connsiteY1351" fmla="*/ 281790 h 4525940"/>
              <a:gd name="connsiteX1352" fmla="*/ 2667524 w 4545947"/>
              <a:gd name="connsiteY1352" fmla="*/ 278974 h 4525940"/>
              <a:gd name="connsiteX1353" fmla="*/ 2403748 w 4545947"/>
              <a:gd name="connsiteY1353" fmla="*/ 222584 h 4525940"/>
              <a:gd name="connsiteX1354" fmla="*/ 2408792 w 4545947"/>
              <a:gd name="connsiteY1354" fmla="*/ 229925 h 4525940"/>
              <a:gd name="connsiteX1355" fmla="*/ 2401869 w 4545947"/>
              <a:gd name="connsiteY1355" fmla="*/ 239949 h 4525940"/>
              <a:gd name="connsiteX1356" fmla="*/ 2396676 w 4545947"/>
              <a:gd name="connsiteY1356" fmla="*/ 232431 h 4525940"/>
              <a:gd name="connsiteX1357" fmla="*/ 2403748 w 4545947"/>
              <a:gd name="connsiteY1357" fmla="*/ 222584 h 4525940"/>
              <a:gd name="connsiteX1358" fmla="*/ 3661635 w 4545947"/>
              <a:gd name="connsiteY1358" fmla="*/ 214625 h 4525940"/>
              <a:gd name="connsiteX1359" fmla="*/ 3668195 w 4545947"/>
              <a:gd name="connsiteY1359" fmla="*/ 227287 h 4525940"/>
              <a:gd name="connsiteX1360" fmla="*/ 3661635 w 4545947"/>
              <a:gd name="connsiteY1360" fmla="*/ 239949 h 4525940"/>
              <a:gd name="connsiteX1361" fmla="*/ 3655077 w 4545947"/>
              <a:gd name="connsiteY1361" fmla="*/ 227287 h 4525940"/>
              <a:gd name="connsiteX1362" fmla="*/ 3661635 w 4545947"/>
              <a:gd name="connsiteY1362" fmla="*/ 214625 h 4525940"/>
              <a:gd name="connsiteX1363" fmla="*/ 2458546 w 4545947"/>
              <a:gd name="connsiteY1363" fmla="*/ 189624 h 4525940"/>
              <a:gd name="connsiteX1364" fmla="*/ 2468139 w 4545947"/>
              <a:gd name="connsiteY1364" fmla="*/ 196363 h 4525940"/>
              <a:gd name="connsiteX1365" fmla="*/ 2489869 w 4545947"/>
              <a:gd name="connsiteY1365" fmla="*/ 200371 h 4525940"/>
              <a:gd name="connsiteX1366" fmla="*/ 2518076 w 4545947"/>
              <a:gd name="connsiteY1366" fmla="*/ 215902 h 4525940"/>
              <a:gd name="connsiteX1367" fmla="*/ 2525165 w 4545947"/>
              <a:gd name="connsiteY1367" fmla="*/ 243549 h 4525940"/>
              <a:gd name="connsiteX1368" fmla="*/ 2511500 w 4545947"/>
              <a:gd name="connsiteY1368" fmla="*/ 238403 h 4525940"/>
              <a:gd name="connsiteX1369" fmla="*/ 2489102 w 4545947"/>
              <a:gd name="connsiteY1369" fmla="*/ 239473 h 4525940"/>
              <a:gd name="connsiteX1370" fmla="*/ 2470013 w 4545947"/>
              <a:gd name="connsiteY1370" fmla="*/ 246218 h 4525940"/>
              <a:gd name="connsiteX1371" fmla="*/ 2461268 w 4545947"/>
              <a:gd name="connsiteY1371" fmla="*/ 222653 h 4525940"/>
              <a:gd name="connsiteX1372" fmla="*/ 2452522 w 4545947"/>
              <a:gd name="connsiteY1372" fmla="*/ 200557 h 4525940"/>
              <a:gd name="connsiteX1373" fmla="*/ 2458546 w 4545947"/>
              <a:gd name="connsiteY1373" fmla="*/ 189624 h 4525940"/>
              <a:gd name="connsiteX1374" fmla="*/ 2511298 w 4545947"/>
              <a:gd name="connsiteY1374" fmla="*/ 176640 h 4525940"/>
              <a:gd name="connsiteX1375" fmla="*/ 2518116 w 4545947"/>
              <a:gd name="connsiteY1375" fmla="*/ 182971 h 4525940"/>
              <a:gd name="connsiteX1376" fmla="*/ 2514001 w 4545947"/>
              <a:gd name="connsiteY1376" fmla="*/ 189302 h 4525940"/>
              <a:gd name="connsiteX1377" fmla="*/ 2507183 w 4545947"/>
              <a:gd name="connsiteY1377" fmla="*/ 182971 h 4525940"/>
              <a:gd name="connsiteX1378" fmla="*/ 2511298 w 4545947"/>
              <a:gd name="connsiteY1378" fmla="*/ 176640 h 4525940"/>
              <a:gd name="connsiteX1379" fmla="*/ 2555929 w 4545947"/>
              <a:gd name="connsiteY1379" fmla="*/ 171777 h 4525940"/>
              <a:gd name="connsiteX1380" fmla="*/ 2582482 w 4545947"/>
              <a:gd name="connsiteY1380" fmla="*/ 177792 h 4525940"/>
              <a:gd name="connsiteX1381" fmla="*/ 2574699 w 4545947"/>
              <a:gd name="connsiteY1381" fmla="*/ 193528 h 4525940"/>
              <a:gd name="connsiteX1382" fmla="*/ 2555286 w 4545947"/>
              <a:gd name="connsiteY1382" fmla="*/ 195633 h 4525940"/>
              <a:gd name="connsiteX1383" fmla="*/ 2544095 w 4545947"/>
              <a:gd name="connsiteY1383" fmla="*/ 189302 h 4525940"/>
              <a:gd name="connsiteX1384" fmla="*/ 2535607 w 4545947"/>
              <a:gd name="connsiteY1384" fmla="*/ 181183 h 4525940"/>
              <a:gd name="connsiteX1385" fmla="*/ 2555929 w 4545947"/>
              <a:gd name="connsiteY1385" fmla="*/ 171777 h 4525940"/>
              <a:gd name="connsiteX1386" fmla="*/ 2651238 w 4545947"/>
              <a:gd name="connsiteY1386" fmla="*/ 166688 h 4525940"/>
              <a:gd name="connsiteX1387" fmla="*/ 2662423 w 4545947"/>
              <a:gd name="connsiteY1387" fmla="*/ 186823 h 4525940"/>
              <a:gd name="connsiteX1388" fmla="*/ 2658132 w 4545947"/>
              <a:gd name="connsiteY1388" fmla="*/ 201964 h 4525940"/>
              <a:gd name="connsiteX1389" fmla="*/ 2651099 w 4545947"/>
              <a:gd name="connsiteY1389" fmla="*/ 217791 h 4525940"/>
              <a:gd name="connsiteX1390" fmla="*/ 2631294 w 4545947"/>
              <a:gd name="connsiteY1390" fmla="*/ 228870 h 4525940"/>
              <a:gd name="connsiteX1391" fmla="*/ 2631294 w 4545947"/>
              <a:gd name="connsiteY1391" fmla="*/ 219374 h 4525940"/>
              <a:gd name="connsiteX1392" fmla="*/ 2627439 w 4545947"/>
              <a:gd name="connsiteY1392" fmla="*/ 214625 h 4525940"/>
              <a:gd name="connsiteX1393" fmla="*/ 2631687 w 4545947"/>
              <a:gd name="connsiteY1393" fmla="*/ 178004 h 4525940"/>
              <a:gd name="connsiteX1394" fmla="*/ 2651238 w 4545947"/>
              <a:gd name="connsiteY1394" fmla="*/ 166688 h 4525940"/>
              <a:gd name="connsiteX1395" fmla="*/ 3294675 w 4545947"/>
              <a:gd name="connsiteY1395" fmla="*/ 163979 h 4525940"/>
              <a:gd name="connsiteX1396" fmla="*/ 3292944 w 4545947"/>
              <a:gd name="connsiteY1396" fmla="*/ 181520 h 4525940"/>
              <a:gd name="connsiteX1397" fmla="*/ 3287751 w 4545947"/>
              <a:gd name="connsiteY1397" fmla="*/ 174003 h 4525940"/>
              <a:gd name="connsiteX1398" fmla="*/ 3294675 w 4545947"/>
              <a:gd name="connsiteY1398" fmla="*/ 163979 h 4525940"/>
              <a:gd name="connsiteX1399" fmla="*/ 3593184 w 4545947"/>
              <a:gd name="connsiteY1399" fmla="*/ 152944 h 4525940"/>
              <a:gd name="connsiteX1400" fmla="*/ 3598229 w 4545947"/>
              <a:gd name="connsiteY1400" fmla="*/ 160286 h 4525940"/>
              <a:gd name="connsiteX1401" fmla="*/ 3591305 w 4545947"/>
              <a:gd name="connsiteY1401" fmla="*/ 170310 h 4525940"/>
              <a:gd name="connsiteX1402" fmla="*/ 3586112 w 4545947"/>
              <a:gd name="connsiteY1402" fmla="*/ 162792 h 4525940"/>
              <a:gd name="connsiteX1403" fmla="*/ 3593184 w 4545947"/>
              <a:gd name="connsiteY1403" fmla="*/ 152944 h 4525940"/>
              <a:gd name="connsiteX1404" fmla="*/ 2447768 w 4545947"/>
              <a:gd name="connsiteY1404" fmla="*/ 122488 h 4525940"/>
              <a:gd name="connsiteX1405" fmla="*/ 2445825 w 4545947"/>
              <a:gd name="connsiteY1405" fmla="*/ 151317 h 4525940"/>
              <a:gd name="connsiteX1406" fmla="*/ 2436499 w 4545947"/>
              <a:gd name="connsiteY1406" fmla="*/ 141395 h 4525940"/>
              <a:gd name="connsiteX1407" fmla="*/ 2447768 w 4545947"/>
              <a:gd name="connsiteY1407" fmla="*/ 122488 h 4525940"/>
              <a:gd name="connsiteX1408" fmla="*/ 2758453 w 4545947"/>
              <a:gd name="connsiteY1408" fmla="*/ 113837 h 4525940"/>
              <a:gd name="connsiteX1409" fmla="*/ 2752343 w 4545947"/>
              <a:gd name="connsiteY1409" fmla="*/ 114355 h 4525940"/>
              <a:gd name="connsiteX1410" fmla="*/ 2739995 w 4545947"/>
              <a:gd name="connsiteY1410" fmla="*/ 163342 h 4525940"/>
              <a:gd name="connsiteX1411" fmla="*/ 2756797 w 4545947"/>
              <a:gd name="connsiteY1411" fmla="*/ 236783 h 4525940"/>
              <a:gd name="connsiteX1412" fmla="*/ 2776577 w 4545947"/>
              <a:gd name="connsiteY1412" fmla="*/ 277579 h 4525940"/>
              <a:gd name="connsiteX1413" fmla="*/ 2784864 w 4545947"/>
              <a:gd name="connsiteY1413" fmla="*/ 243265 h 4525940"/>
              <a:gd name="connsiteX1414" fmla="*/ 2789237 w 4545947"/>
              <a:gd name="connsiteY1414" fmla="*/ 211460 h 4525940"/>
              <a:gd name="connsiteX1415" fmla="*/ 2787050 w 4545947"/>
              <a:gd name="connsiteY1415" fmla="*/ 172599 h 4525940"/>
              <a:gd name="connsiteX1416" fmla="*/ 2780492 w 4545947"/>
              <a:gd name="connsiteY1416" fmla="*/ 159871 h 4525940"/>
              <a:gd name="connsiteX1417" fmla="*/ 2754010 w 4545947"/>
              <a:gd name="connsiteY1417" fmla="*/ 129045 h 4525940"/>
              <a:gd name="connsiteX1418" fmla="*/ 2752067 w 4545947"/>
              <a:gd name="connsiteY1418" fmla="*/ 122018 h 4525940"/>
              <a:gd name="connsiteX1419" fmla="*/ 2758453 w 4545947"/>
              <a:gd name="connsiteY1419" fmla="*/ 113837 h 4525940"/>
              <a:gd name="connsiteX1420" fmla="*/ 3208103 w 4545947"/>
              <a:gd name="connsiteY1420" fmla="*/ 91897 h 4525940"/>
              <a:gd name="connsiteX1421" fmla="*/ 3217784 w 4545947"/>
              <a:gd name="connsiteY1421" fmla="*/ 116250 h 4525940"/>
              <a:gd name="connsiteX1422" fmla="*/ 3224343 w 4545947"/>
              <a:gd name="connsiteY1422" fmla="*/ 144986 h 4525940"/>
              <a:gd name="connsiteX1423" fmla="*/ 3230903 w 4545947"/>
              <a:gd name="connsiteY1423" fmla="*/ 168372 h 4525940"/>
              <a:gd name="connsiteX1424" fmla="*/ 3237462 w 4545947"/>
              <a:gd name="connsiteY1424" fmla="*/ 193372 h 4525940"/>
              <a:gd name="connsiteX1425" fmla="*/ 3240742 w 4545947"/>
              <a:gd name="connsiteY1425" fmla="*/ 219944 h 4525940"/>
              <a:gd name="connsiteX1426" fmla="*/ 3223595 w 4545947"/>
              <a:gd name="connsiteY1426" fmla="*/ 216414 h 4525940"/>
              <a:gd name="connsiteX1427" fmla="*/ 3189004 w 4545947"/>
              <a:gd name="connsiteY1427" fmla="*/ 162600 h 4525940"/>
              <a:gd name="connsiteX1428" fmla="*/ 3194368 w 4545947"/>
              <a:gd name="connsiteY1428" fmla="*/ 124622 h 4525940"/>
              <a:gd name="connsiteX1429" fmla="*/ 3208103 w 4545947"/>
              <a:gd name="connsiteY1429" fmla="*/ 91897 h 4525940"/>
              <a:gd name="connsiteX1430" fmla="*/ 3421125 w 4545947"/>
              <a:gd name="connsiteY1430" fmla="*/ 62685 h 4525940"/>
              <a:gd name="connsiteX1431" fmla="*/ 3427684 w 4545947"/>
              <a:gd name="connsiteY1431" fmla="*/ 72181 h 4525940"/>
              <a:gd name="connsiteX1432" fmla="*/ 3431098 w 4545947"/>
              <a:gd name="connsiteY1432" fmla="*/ 81678 h 4525940"/>
              <a:gd name="connsiteX1433" fmla="*/ 3441509 w 4545947"/>
              <a:gd name="connsiteY1433" fmla="*/ 121946 h 4525940"/>
              <a:gd name="connsiteX1434" fmla="*/ 3433123 w 4545947"/>
              <a:gd name="connsiteY1434" fmla="*/ 121434 h 4525940"/>
              <a:gd name="connsiteX1435" fmla="*/ 3430102 w 4545947"/>
              <a:gd name="connsiteY1435" fmla="*/ 112791 h 4525940"/>
              <a:gd name="connsiteX1436" fmla="*/ 3427942 w 4545947"/>
              <a:gd name="connsiteY1436" fmla="*/ 107001 h 4525940"/>
              <a:gd name="connsiteX1437" fmla="*/ 3423312 w 4545947"/>
              <a:gd name="connsiteY1437" fmla="*/ 94339 h 4525940"/>
              <a:gd name="connsiteX1438" fmla="*/ 3418939 w 4545947"/>
              <a:gd name="connsiteY1438" fmla="*/ 81678 h 4525940"/>
              <a:gd name="connsiteX1439" fmla="*/ 3414566 w 4545947"/>
              <a:gd name="connsiteY1439" fmla="*/ 72181 h 4525940"/>
              <a:gd name="connsiteX1440" fmla="*/ 3421125 w 4545947"/>
              <a:gd name="connsiteY1440" fmla="*/ 62685 h 4525940"/>
              <a:gd name="connsiteX1441" fmla="*/ 3123228 w 4545947"/>
              <a:gd name="connsiteY1441" fmla="*/ 39762 h 4525940"/>
              <a:gd name="connsiteX1442" fmla="*/ 3129915 w 4545947"/>
              <a:gd name="connsiteY1442" fmla="*/ 46141 h 4525940"/>
              <a:gd name="connsiteX1443" fmla="*/ 3130996 w 4545947"/>
              <a:gd name="connsiteY1443" fmla="*/ 58920 h 4525940"/>
              <a:gd name="connsiteX1444" fmla="*/ 3124122 w 4545947"/>
              <a:gd name="connsiteY1444" fmla="*/ 52246 h 4525940"/>
              <a:gd name="connsiteX1445" fmla="*/ 3123228 w 4545947"/>
              <a:gd name="connsiteY1445" fmla="*/ 39762 h 4525940"/>
              <a:gd name="connsiteX1446" fmla="*/ 3491456 w 4545947"/>
              <a:gd name="connsiteY1446" fmla="*/ 6650 h 4525940"/>
              <a:gd name="connsiteX1447" fmla="*/ 3502024 w 4545947"/>
              <a:gd name="connsiteY1447" fmla="*/ 18369 h 4525940"/>
              <a:gd name="connsiteX1448" fmla="*/ 3517999 w 4545947"/>
              <a:gd name="connsiteY1448" fmla="*/ 31031 h 4525940"/>
              <a:gd name="connsiteX1449" fmla="*/ 3523889 w 4545947"/>
              <a:gd name="connsiteY1449" fmla="*/ 37362 h 4525940"/>
              <a:gd name="connsiteX1450" fmla="*/ 3530448 w 4545947"/>
              <a:gd name="connsiteY1450" fmla="*/ 43693 h 4525940"/>
              <a:gd name="connsiteX1451" fmla="*/ 3537008 w 4545947"/>
              <a:gd name="connsiteY1451" fmla="*/ 56677 h 4525940"/>
              <a:gd name="connsiteX1452" fmla="*/ 3573084 w 4545947"/>
              <a:gd name="connsiteY1452" fmla="*/ 113301 h 4525940"/>
              <a:gd name="connsiteX1453" fmla="*/ 3576364 w 4545947"/>
              <a:gd name="connsiteY1453" fmla="*/ 123514 h 4525940"/>
              <a:gd name="connsiteX1454" fmla="*/ 3565906 w 4545947"/>
              <a:gd name="connsiteY1454" fmla="*/ 129897 h 4525940"/>
              <a:gd name="connsiteX1455" fmla="*/ 3553610 w 4545947"/>
              <a:gd name="connsiteY1455" fmla="*/ 148893 h 4525940"/>
              <a:gd name="connsiteX1456" fmla="*/ 3559695 w 4545947"/>
              <a:gd name="connsiteY1456" fmla="*/ 178853 h 4525940"/>
              <a:gd name="connsiteX1457" fmla="*/ 3562664 w 4545947"/>
              <a:gd name="connsiteY1457" fmla="*/ 212934 h 4525940"/>
              <a:gd name="connsiteX1458" fmla="*/ 3570416 w 4545947"/>
              <a:gd name="connsiteY1458" fmla="*/ 239949 h 4525940"/>
              <a:gd name="connsiteX1459" fmla="*/ 3586126 w 4545947"/>
              <a:gd name="connsiteY1459" fmla="*/ 229122 h 4525940"/>
              <a:gd name="connsiteX1460" fmla="*/ 3598207 w 4545947"/>
              <a:gd name="connsiteY1460" fmla="*/ 227237 h 4525940"/>
              <a:gd name="connsiteX1461" fmla="*/ 3599566 w 4545947"/>
              <a:gd name="connsiteY1461" fmla="*/ 241937 h 4525940"/>
              <a:gd name="connsiteX1462" fmla="*/ 3618632 w 4545947"/>
              <a:gd name="connsiteY1462" fmla="*/ 258845 h 4525940"/>
              <a:gd name="connsiteX1463" fmla="*/ 3665357 w 4545947"/>
              <a:gd name="connsiteY1463" fmla="*/ 319085 h 4525940"/>
              <a:gd name="connsiteX1464" fmla="*/ 3664147 w 4545947"/>
              <a:gd name="connsiteY1464" fmla="*/ 355487 h 4525940"/>
              <a:gd name="connsiteX1465" fmla="*/ 3664283 w 4545947"/>
              <a:gd name="connsiteY1465" fmla="*/ 379228 h 4525940"/>
              <a:gd name="connsiteX1466" fmla="*/ 3668196 w 4545947"/>
              <a:gd name="connsiteY1466" fmla="*/ 388724 h 4525940"/>
              <a:gd name="connsiteX1467" fmla="*/ 3672568 w 4545947"/>
              <a:gd name="connsiteY1467" fmla="*/ 398220 h 4525940"/>
              <a:gd name="connsiteX1468" fmla="*/ 3676941 w 4545947"/>
              <a:gd name="connsiteY1468" fmla="*/ 421463 h 4525940"/>
              <a:gd name="connsiteX1469" fmla="*/ 3683014 w 4545947"/>
              <a:gd name="connsiteY1469" fmla="*/ 454700 h 4525940"/>
              <a:gd name="connsiteX1470" fmla="*/ 3692108 w 4545947"/>
              <a:gd name="connsiteY1470" fmla="*/ 485270 h 4525940"/>
              <a:gd name="connsiteX1471" fmla="*/ 3688220 w 4545947"/>
              <a:gd name="connsiteY1471" fmla="*/ 505845 h 4525940"/>
              <a:gd name="connsiteX1472" fmla="*/ 3682407 w 4545947"/>
              <a:gd name="connsiteY1472" fmla="*/ 498925 h 4525940"/>
              <a:gd name="connsiteX1473" fmla="*/ 3660542 w 4545947"/>
              <a:gd name="connsiteY1473" fmla="*/ 484398 h 4525940"/>
              <a:gd name="connsiteX1474" fmla="*/ 3656943 w 4545947"/>
              <a:gd name="connsiteY1474" fmla="*/ 532140 h 4525940"/>
              <a:gd name="connsiteX1475" fmla="*/ 3663823 w 4545947"/>
              <a:gd name="connsiteY1475" fmla="*/ 567545 h 4525940"/>
              <a:gd name="connsiteX1476" fmla="*/ 3672568 w 4545947"/>
              <a:gd name="connsiteY1476" fmla="*/ 599081 h 4525940"/>
              <a:gd name="connsiteX1477" fmla="*/ 3681314 w 4545947"/>
              <a:gd name="connsiteY1477" fmla="*/ 626611 h 4525940"/>
              <a:gd name="connsiteX1478" fmla="*/ 3685687 w 4545947"/>
              <a:gd name="connsiteY1478" fmla="*/ 641959 h 4525940"/>
              <a:gd name="connsiteX1479" fmla="*/ 3690060 w 4545947"/>
              <a:gd name="connsiteY1479" fmla="*/ 660343 h 4525940"/>
              <a:gd name="connsiteX1480" fmla="*/ 3714879 w 4545947"/>
              <a:gd name="connsiteY1480" fmla="*/ 694706 h 4525940"/>
              <a:gd name="connsiteX1481" fmla="*/ 3727174 w 4545947"/>
              <a:gd name="connsiteY1481" fmla="*/ 678324 h 4525940"/>
              <a:gd name="connsiteX1482" fmla="*/ 3741385 w 4545947"/>
              <a:gd name="connsiteY1482" fmla="*/ 664117 h 4525940"/>
              <a:gd name="connsiteX1483" fmla="*/ 3736264 w 4545947"/>
              <a:gd name="connsiteY1483" fmla="*/ 703575 h 4525940"/>
              <a:gd name="connsiteX1484" fmla="*/ 3721445 w 4545947"/>
              <a:gd name="connsiteY1484" fmla="*/ 766238 h 4525940"/>
              <a:gd name="connsiteX1485" fmla="*/ 3753209 w 4545947"/>
              <a:gd name="connsiteY1485" fmla="*/ 762044 h 4525940"/>
              <a:gd name="connsiteX1486" fmla="*/ 3792622 w 4545947"/>
              <a:gd name="connsiteY1486" fmla="*/ 783484 h 4525940"/>
              <a:gd name="connsiteX1487" fmla="*/ 3816087 w 4545947"/>
              <a:gd name="connsiteY1487" fmla="*/ 779639 h 4525940"/>
              <a:gd name="connsiteX1488" fmla="*/ 3832485 w 4545947"/>
              <a:gd name="connsiteY1488" fmla="*/ 748816 h 4525940"/>
              <a:gd name="connsiteX1489" fmla="*/ 3847425 w 4545947"/>
              <a:gd name="connsiteY1489" fmla="*/ 709264 h 4525940"/>
              <a:gd name="connsiteX1490" fmla="*/ 3839142 w 4545947"/>
              <a:gd name="connsiteY1490" fmla="*/ 660590 h 4525940"/>
              <a:gd name="connsiteX1491" fmla="*/ 3842989 w 4545947"/>
              <a:gd name="connsiteY1491" fmla="*/ 566799 h 4525940"/>
              <a:gd name="connsiteX1492" fmla="*/ 3847485 w 4545947"/>
              <a:gd name="connsiteY1492" fmla="*/ 549670 h 4525940"/>
              <a:gd name="connsiteX1493" fmla="*/ 3853517 w 4545947"/>
              <a:gd name="connsiteY1493" fmla="*/ 531802 h 4525940"/>
              <a:gd name="connsiteX1494" fmla="*/ 3861473 w 4545947"/>
              <a:gd name="connsiteY1494" fmla="*/ 472401 h 4525940"/>
              <a:gd name="connsiteX1495" fmla="*/ 3842299 w 4545947"/>
              <a:gd name="connsiteY1495" fmla="*/ 430355 h 4525940"/>
              <a:gd name="connsiteX1496" fmla="*/ 3823090 w 4545947"/>
              <a:gd name="connsiteY1496" fmla="*/ 390244 h 4525940"/>
              <a:gd name="connsiteX1497" fmla="*/ 3811876 w 4545947"/>
              <a:gd name="connsiteY1497" fmla="*/ 365824 h 4525940"/>
              <a:gd name="connsiteX1498" fmla="*/ 3803756 w 4545947"/>
              <a:gd name="connsiteY1498" fmla="*/ 345701 h 4525940"/>
              <a:gd name="connsiteX1499" fmla="*/ 3798290 w 4545947"/>
              <a:gd name="connsiteY1499" fmla="*/ 327206 h 4525940"/>
              <a:gd name="connsiteX1500" fmla="*/ 3783985 w 4545947"/>
              <a:gd name="connsiteY1500" fmla="*/ 271395 h 4525940"/>
              <a:gd name="connsiteX1501" fmla="*/ 3795958 w 4545947"/>
              <a:gd name="connsiteY1501" fmla="*/ 251450 h 4525940"/>
              <a:gd name="connsiteX1502" fmla="*/ 3811582 w 4545947"/>
              <a:gd name="connsiteY1502" fmla="*/ 258942 h 4525940"/>
              <a:gd name="connsiteX1503" fmla="*/ 3838594 w 4545947"/>
              <a:gd name="connsiteY1503" fmla="*/ 298509 h 4525940"/>
              <a:gd name="connsiteX1504" fmla="*/ 3843112 w 4545947"/>
              <a:gd name="connsiteY1504" fmla="*/ 309588 h 4525940"/>
              <a:gd name="connsiteX1505" fmla="*/ 3847485 w 4545947"/>
              <a:gd name="connsiteY1505" fmla="*/ 319315 h 4525940"/>
              <a:gd name="connsiteX1506" fmla="*/ 3880487 w 4545947"/>
              <a:gd name="connsiteY1506" fmla="*/ 375747 h 4525940"/>
              <a:gd name="connsiteX1507" fmla="*/ 3913488 w 4545947"/>
              <a:gd name="connsiteY1507" fmla="*/ 422452 h 4525940"/>
              <a:gd name="connsiteX1508" fmla="*/ 3912190 w 4545947"/>
              <a:gd name="connsiteY1508" fmla="*/ 462566 h 4525940"/>
              <a:gd name="connsiteX1509" fmla="*/ 3910892 w 4545947"/>
              <a:gd name="connsiteY1509" fmla="*/ 502680 h 4525940"/>
              <a:gd name="connsiteX1510" fmla="*/ 3924010 w 4545947"/>
              <a:gd name="connsiteY1510" fmla="*/ 504823 h 4525940"/>
              <a:gd name="connsiteX1511" fmla="*/ 3948063 w 4545947"/>
              <a:gd name="connsiteY1511" fmla="*/ 546577 h 4525940"/>
              <a:gd name="connsiteX1512" fmla="*/ 3957252 w 4545947"/>
              <a:gd name="connsiteY1512" fmla="*/ 587378 h 4525940"/>
              <a:gd name="connsiteX1513" fmla="*/ 3964689 w 4545947"/>
              <a:gd name="connsiteY1513" fmla="*/ 623392 h 4525940"/>
              <a:gd name="connsiteX1514" fmla="*/ 3966432 w 4545947"/>
              <a:gd name="connsiteY1514" fmla="*/ 645124 h 4525940"/>
              <a:gd name="connsiteX1515" fmla="*/ 3969927 w 4545947"/>
              <a:gd name="connsiteY1515" fmla="*/ 664117 h 4525940"/>
              <a:gd name="connsiteX1516" fmla="*/ 3961040 w 4545947"/>
              <a:gd name="connsiteY1516" fmla="*/ 683109 h 4525940"/>
              <a:gd name="connsiteX1517" fmla="*/ 3951373 w 4545947"/>
              <a:gd name="connsiteY1517" fmla="*/ 730591 h 4525940"/>
              <a:gd name="connsiteX1518" fmla="*/ 3961150 w 4545947"/>
              <a:gd name="connsiteY1518" fmla="*/ 759079 h 4525940"/>
              <a:gd name="connsiteX1519" fmla="*/ 3975786 w 4545947"/>
              <a:gd name="connsiteY1519" fmla="*/ 770572 h 4525940"/>
              <a:gd name="connsiteX1520" fmla="*/ 3993580 w 4545947"/>
              <a:gd name="connsiteY1520" fmla="*/ 785503 h 4525940"/>
              <a:gd name="connsiteX1521" fmla="*/ 4004560 w 4545947"/>
              <a:gd name="connsiteY1521" fmla="*/ 794212 h 4525940"/>
              <a:gd name="connsiteX1522" fmla="*/ 4011235 w 4545947"/>
              <a:gd name="connsiteY1522" fmla="*/ 814926 h 4525940"/>
              <a:gd name="connsiteX1523" fmla="*/ 4008872 w 4545947"/>
              <a:gd name="connsiteY1523" fmla="*/ 849310 h 4525940"/>
              <a:gd name="connsiteX1524" fmla="*/ 4041280 w 4545947"/>
              <a:gd name="connsiteY1524" fmla="*/ 845658 h 4525940"/>
              <a:gd name="connsiteX1525" fmla="*/ 4062851 w 4545947"/>
              <a:gd name="connsiteY1525" fmla="*/ 820534 h 4525940"/>
              <a:gd name="connsiteX1526" fmla="*/ 4070504 w 4545947"/>
              <a:gd name="connsiteY1526" fmla="*/ 803968 h 4525940"/>
              <a:gd name="connsiteX1527" fmla="*/ 4075068 w 4545947"/>
              <a:gd name="connsiteY1527" fmla="*/ 787397 h 4525940"/>
              <a:gd name="connsiteX1528" fmla="*/ 4092369 w 4545947"/>
              <a:gd name="connsiteY1528" fmla="*/ 816832 h 4525940"/>
              <a:gd name="connsiteX1529" fmla="*/ 4096742 w 4545947"/>
              <a:gd name="connsiteY1529" fmla="*/ 835050 h 4525940"/>
              <a:gd name="connsiteX1530" fmla="*/ 4101115 w 4545947"/>
              <a:gd name="connsiteY1530" fmla="*/ 843771 h 4525940"/>
              <a:gd name="connsiteX1531" fmla="*/ 4107393 w 4545947"/>
              <a:gd name="connsiteY1531" fmla="*/ 860036 h 4525940"/>
              <a:gd name="connsiteX1532" fmla="*/ 4116486 w 4545947"/>
              <a:gd name="connsiteY1532" fmla="*/ 886134 h 4525940"/>
              <a:gd name="connsiteX1533" fmla="*/ 4122859 w 4545947"/>
              <a:gd name="connsiteY1533" fmla="*/ 904689 h 4525940"/>
              <a:gd name="connsiteX1534" fmla="*/ 4126496 w 4545947"/>
              <a:gd name="connsiteY1534" fmla="*/ 933011 h 4525940"/>
              <a:gd name="connsiteX1535" fmla="*/ 4119395 w 4545947"/>
              <a:gd name="connsiteY1535" fmla="*/ 964833 h 4525940"/>
              <a:gd name="connsiteX1536" fmla="*/ 4109556 w 4545947"/>
              <a:gd name="connsiteY1536" fmla="*/ 1003225 h 4525940"/>
              <a:gd name="connsiteX1537" fmla="*/ 4101632 w 4545947"/>
              <a:gd name="connsiteY1537" fmla="*/ 1057038 h 4525940"/>
              <a:gd name="connsiteX1538" fmla="*/ 4119684 w 4545947"/>
              <a:gd name="connsiteY1538" fmla="*/ 1139507 h 4525940"/>
              <a:gd name="connsiteX1539" fmla="*/ 4139990 w 4545947"/>
              <a:gd name="connsiteY1539" fmla="*/ 1128881 h 4525940"/>
              <a:gd name="connsiteX1540" fmla="*/ 4165434 w 4545947"/>
              <a:gd name="connsiteY1540" fmla="*/ 1124687 h 4525940"/>
              <a:gd name="connsiteX1541" fmla="*/ 4171225 w 4545947"/>
              <a:gd name="connsiteY1541" fmla="*/ 1138931 h 4525940"/>
              <a:gd name="connsiteX1542" fmla="*/ 4177151 w 4545947"/>
              <a:gd name="connsiteY1542" fmla="*/ 1165392 h 4525940"/>
              <a:gd name="connsiteX1543" fmla="*/ 4167975 w 4545947"/>
              <a:gd name="connsiteY1543" fmla="*/ 1204976 h 4525940"/>
              <a:gd name="connsiteX1544" fmla="*/ 4151601 w 4545947"/>
              <a:gd name="connsiteY1544" fmla="*/ 1185009 h 4525940"/>
              <a:gd name="connsiteX1545" fmla="*/ 4115472 w 4545947"/>
              <a:gd name="connsiteY1545" fmla="*/ 1175190 h 4525940"/>
              <a:gd name="connsiteX1546" fmla="*/ 4097522 w 4545947"/>
              <a:gd name="connsiteY1546" fmla="*/ 1202239 h 4525940"/>
              <a:gd name="connsiteX1547" fmla="*/ 4090938 w 4545947"/>
              <a:gd name="connsiteY1547" fmla="*/ 1161908 h 4525940"/>
              <a:gd name="connsiteX1548" fmla="*/ 4084144 w 4545947"/>
              <a:gd name="connsiteY1548" fmla="*/ 1120998 h 4525940"/>
              <a:gd name="connsiteX1549" fmla="*/ 4074877 w 4545947"/>
              <a:gd name="connsiteY1549" fmla="*/ 1095063 h 4525940"/>
              <a:gd name="connsiteX1550" fmla="*/ 4063469 w 4545947"/>
              <a:gd name="connsiteY1550" fmla="*/ 1081691 h 4525940"/>
              <a:gd name="connsiteX1551" fmla="*/ 4056887 w 4545947"/>
              <a:gd name="connsiteY1551" fmla="*/ 1066994 h 4525940"/>
              <a:gd name="connsiteX1552" fmla="*/ 4057531 w 4545947"/>
              <a:gd name="connsiteY1552" fmla="*/ 1010814 h 4525940"/>
              <a:gd name="connsiteX1553" fmla="*/ 4057210 w 4545947"/>
              <a:gd name="connsiteY1553" fmla="*/ 943558 h 4525940"/>
              <a:gd name="connsiteX1554" fmla="*/ 4057842 w 4545947"/>
              <a:gd name="connsiteY1554" fmla="*/ 906579 h 4525940"/>
              <a:gd name="connsiteX1555" fmla="*/ 4035718 w 4545947"/>
              <a:gd name="connsiteY1555" fmla="*/ 883685 h 4525940"/>
              <a:gd name="connsiteX1556" fmla="*/ 4009350 w 4545947"/>
              <a:gd name="connsiteY1556" fmla="*/ 906575 h 4525940"/>
              <a:gd name="connsiteX1557" fmla="*/ 3997719 w 4545947"/>
              <a:gd name="connsiteY1557" fmla="*/ 932360 h 4525940"/>
              <a:gd name="connsiteX1558" fmla="*/ 3989704 w 4545947"/>
              <a:gd name="connsiteY1558" fmla="*/ 971623 h 4525940"/>
              <a:gd name="connsiteX1559" fmla="*/ 3992236 w 4545947"/>
              <a:gd name="connsiteY1559" fmla="*/ 1004994 h 4525940"/>
              <a:gd name="connsiteX1560" fmla="*/ 4004625 w 4545947"/>
              <a:gd name="connsiteY1560" fmla="*/ 1009239 h 4525940"/>
              <a:gd name="connsiteX1561" fmla="*/ 4018029 w 4545947"/>
              <a:gd name="connsiteY1561" fmla="*/ 1014201 h 4525940"/>
              <a:gd name="connsiteX1562" fmla="*/ 4024588 w 4545947"/>
              <a:gd name="connsiteY1562" fmla="*/ 1031306 h 4525940"/>
              <a:gd name="connsiteX1563" fmla="*/ 4031148 w 4545947"/>
              <a:gd name="connsiteY1563" fmla="*/ 1054239 h 4525940"/>
              <a:gd name="connsiteX1564" fmla="*/ 4035521 w 4545947"/>
              <a:gd name="connsiteY1564" fmla="*/ 1069291 h 4525940"/>
              <a:gd name="connsiteX1565" fmla="*/ 4039960 w 4545947"/>
              <a:gd name="connsiteY1565" fmla="*/ 1080371 h 4525940"/>
              <a:gd name="connsiteX1566" fmla="*/ 4044266 w 4545947"/>
              <a:gd name="connsiteY1566" fmla="*/ 1081953 h 4525940"/>
              <a:gd name="connsiteX1567" fmla="*/ 4048506 w 4545947"/>
              <a:gd name="connsiteY1567" fmla="*/ 1078788 h 4525940"/>
              <a:gd name="connsiteX1568" fmla="*/ 4044572 w 4545947"/>
              <a:gd name="connsiteY1568" fmla="*/ 1094114 h 4525940"/>
              <a:gd name="connsiteX1569" fmla="*/ 4029488 w 4545947"/>
              <a:gd name="connsiteY1569" fmla="*/ 1092532 h 4525940"/>
              <a:gd name="connsiteX1570" fmla="*/ 4000537 w 4545947"/>
              <a:gd name="connsiteY1570" fmla="*/ 1091450 h 4525940"/>
              <a:gd name="connsiteX1571" fmla="*/ 4001086 w 4545947"/>
              <a:gd name="connsiteY1571" fmla="*/ 1111401 h 4525940"/>
              <a:gd name="connsiteX1572" fmla="*/ 4005684 w 4545947"/>
              <a:gd name="connsiteY1572" fmla="*/ 1179458 h 4525940"/>
              <a:gd name="connsiteX1573" fmla="*/ 4011018 w 4545947"/>
              <a:gd name="connsiteY1573" fmla="*/ 1249721 h 4525940"/>
              <a:gd name="connsiteX1574" fmla="*/ 4017890 w 4545947"/>
              <a:gd name="connsiteY1574" fmla="*/ 1279365 h 4525940"/>
              <a:gd name="connsiteX1575" fmla="*/ 4041682 w 4545947"/>
              <a:gd name="connsiteY1575" fmla="*/ 1293755 h 4525940"/>
              <a:gd name="connsiteX1576" fmla="*/ 4039371 w 4545947"/>
              <a:gd name="connsiteY1576" fmla="*/ 1249254 h 4525940"/>
              <a:gd name="connsiteX1577" fmla="*/ 4035521 w 4545947"/>
              <a:gd name="connsiteY1577" fmla="*/ 1224024 h 4525940"/>
              <a:gd name="connsiteX1578" fmla="*/ 4045401 w 4545947"/>
              <a:gd name="connsiteY1578" fmla="*/ 1202239 h 4525940"/>
              <a:gd name="connsiteX1579" fmla="*/ 4068670 w 4545947"/>
              <a:gd name="connsiteY1579" fmla="*/ 1250220 h 4525940"/>
              <a:gd name="connsiteX1580" fmla="*/ 4076391 w 4545947"/>
              <a:gd name="connsiteY1580" fmla="*/ 1281537 h 4525940"/>
              <a:gd name="connsiteX1581" fmla="*/ 4098627 w 4545947"/>
              <a:gd name="connsiteY1581" fmla="*/ 1277505 h 4525940"/>
              <a:gd name="connsiteX1582" fmla="*/ 4108517 w 4545947"/>
              <a:gd name="connsiteY1582" fmla="*/ 1278416 h 4525940"/>
              <a:gd name="connsiteX1583" fmla="*/ 4126752 w 4545947"/>
              <a:gd name="connsiteY1583" fmla="*/ 1287969 h 4525940"/>
              <a:gd name="connsiteX1584" fmla="*/ 4127806 w 4545947"/>
              <a:gd name="connsiteY1584" fmla="*/ 1299575 h 4525940"/>
              <a:gd name="connsiteX1585" fmla="*/ 4133874 w 4545947"/>
              <a:gd name="connsiteY1585" fmla="*/ 1305093 h 4525940"/>
              <a:gd name="connsiteX1586" fmla="*/ 4144844 w 4545947"/>
              <a:gd name="connsiteY1586" fmla="*/ 1283803 h 4525940"/>
              <a:gd name="connsiteX1587" fmla="*/ 4153286 w 4545947"/>
              <a:gd name="connsiteY1587" fmla="*/ 1265548 h 4525940"/>
              <a:gd name="connsiteX1588" fmla="*/ 4163125 w 4545947"/>
              <a:gd name="connsiteY1588" fmla="*/ 1279728 h 4525940"/>
              <a:gd name="connsiteX1589" fmla="*/ 4172531 w 4545947"/>
              <a:gd name="connsiteY1589" fmla="*/ 1296118 h 4525940"/>
              <a:gd name="connsiteX1590" fmla="*/ 4193740 w 4545947"/>
              <a:gd name="connsiteY1590" fmla="*/ 1257851 h 4525940"/>
              <a:gd name="connsiteX1591" fmla="*/ 4196823 w 4545947"/>
              <a:gd name="connsiteY1591" fmla="*/ 1240225 h 4525940"/>
              <a:gd name="connsiteX1592" fmla="*/ 4201692 w 4545947"/>
              <a:gd name="connsiteY1592" fmla="*/ 1230729 h 4525940"/>
              <a:gd name="connsiteX1593" fmla="*/ 4212078 w 4545947"/>
              <a:gd name="connsiteY1593" fmla="*/ 1221232 h 4525940"/>
              <a:gd name="connsiteX1594" fmla="*/ 4225197 w 4545947"/>
              <a:gd name="connsiteY1594" fmla="*/ 1241016 h 4525940"/>
              <a:gd name="connsiteX1595" fmla="*/ 4227930 w 4545947"/>
              <a:gd name="connsiteY1595" fmla="*/ 1273238 h 4525940"/>
              <a:gd name="connsiteX1596" fmla="*/ 4236457 w 4545947"/>
              <a:gd name="connsiteY1596" fmla="*/ 1296187 h 4525940"/>
              <a:gd name="connsiteX1597" fmla="*/ 4258151 w 4545947"/>
              <a:gd name="connsiteY1597" fmla="*/ 1418012 h 4525940"/>
              <a:gd name="connsiteX1598" fmla="*/ 4264204 w 4545947"/>
              <a:gd name="connsiteY1598" fmla="*/ 1466038 h 4525940"/>
              <a:gd name="connsiteX1599" fmla="*/ 4291061 w 4545947"/>
              <a:gd name="connsiteY1599" fmla="*/ 1458229 h 4525940"/>
              <a:gd name="connsiteX1600" fmla="*/ 4302556 w 4545947"/>
              <a:gd name="connsiteY1600" fmla="*/ 1453466 h 4525940"/>
              <a:gd name="connsiteX1601" fmla="*/ 4288263 w 4545947"/>
              <a:gd name="connsiteY1601" fmla="*/ 1485776 h 4525940"/>
              <a:gd name="connsiteX1602" fmla="*/ 4273845 w 4545947"/>
              <a:gd name="connsiteY1602" fmla="*/ 1491271 h 4525940"/>
              <a:gd name="connsiteX1603" fmla="*/ 4274670 w 4545947"/>
              <a:gd name="connsiteY1603" fmla="*/ 1576119 h 4525940"/>
              <a:gd name="connsiteX1604" fmla="*/ 4280135 w 4545947"/>
              <a:gd name="connsiteY1604" fmla="*/ 1663208 h 4525940"/>
              <a:gd name="connsiteX1605" fmla="*/ 4284796 w 4545947"/>
              <a:gd name="connsiteY1605" fmla="*/ 1691826 h 4525940"/>
              <a:gd name="connsiteX1606" fmla="*/ 4295844 w 4545947"/>
              <a:gd name="connsiteY1606" fmla="*/ 1749682 h 4525940"/>
              <a:gd name="connsiteX1607" fmla="*/ 4309600 w 4545947"/>
              <a:gd name="connsiteY1607" fmla="*/ 1836731 h 4525940"/>
              <a:gd name="connsiteX1608" fmla="*/ 4316241 w 4545947"/>
              <a:gd name="connsiteY1608" fmla="*/ 1892303 h 4525940"/>
              <a:gd name="connsiteX1609" fmla="*/ 4310107 w 4545947"/>
              <a:gd name="connsiteY1609" fmla="*/ 1957356 h 4525940"/>
              <a:gd name="connsiteX1610" fmla="*/ 4312284 w 4545947"/>
              <a:gd name="connsiteY1610" fmla="*/ 1985845 h 4525940"/>
              <a:gd name="connsiteX1611" fmla="*/ 4322081 w 4545947"/>
              <a:gd name="connsiteY1611" fmla="*/ 2014172 h 4525940"/>
              <a:gd name="connsiteX1612" fmla="*/ 4328981 w 4545947"/>
              <a:gd name="connsiteY1612" fmla="*/ 2031582 h 4525940"/>
              <a:gd name="connsiteX1613" fmla="*/ 4332880 w 4545947"/>
              <a:gd name="connsiteY1613" fmla="*/ 2043469 h 4525940"/>
              <a:gd name="connsiteX1614" fmla="*/ 4353651 w 4545947"/>
              <a:gd name="connsiteY1614" fmla="*/ 2056924 h 4525940"/>
              <a:gd name="connsiteX1615" fmla="*/ 4363490 w 4545947"/>
              <a:gd name="connsiteY1615" fmla="*/ 2035116 h 4525940"/>
              <a:gd name="connsiteX1616" fmla="*/ 4378404 w 4545947"/>
              <a:gd name="connsiteY1616" fmla="*/ 2019721 h 4525940"/>
              <a:gd name="connsiteX1617" fmla="*/ 4381043 w 4545947"/>
              <a:gd name="connsiteY1617" fmla="*/ 2075898 h 4525940"/>
              <a:gd name="connsiteX1618" fmla="*/ 4368169 w 4545947"/>
              <a:gd name="connsiteY1618" fmla="*/ 2077583 h 4525940"/>
              <a:gd name="connsiteX1619" fmla="*/ 4352226 w 4545947"/>
              <a:gd name="connsiteY1619" fmla="*/ 2073792 h 4525940"/>
              <a:gd name="connsiteX1620" fmla="*/ 4348141 w 4545947"/>
              <a:gd name="connsiteY1620" fmla="*/ 2106926 h 4525940"/>
              <a:gd name="connsiteX1621" fmla="*/ 4351103 w 4545947"/>
              <a:gd name="connsiteY1621" fmla="*/ 2147120 h 4525940"/>
              <a:gd name="connsiteX1622" fmla="*/ 4355016 w 4545947"/>
              <a:gd name="connsiteY1622" fmla="*/ 2158199 h 4525940"/>
              <a:gd name="connsiteX1623" fmla="*/ 4359117 w 4545947"/>
              <a:gd name="connsiteY1623" fmla="*/ 2167695 h 4525940"/>
              <a:gd name="connsiteX1624" fmla="*/ 4363490 w 4545947"/>
              <a:gd name="connsiteY1624" fmla="*/ 2177191 h 4525940"/>
              <a:gd name="connsiteX1625" fmla="*/ 4362923 w 4545947"/>
              <a:gd name="connsiteY1625" fmla="*/ 2213465 h 4525940"/>
              <a:gd name="connsiteX1626" fmla="*/ 4355271 w 4545947"/>
              <a:gd name="connsiteY1626" fmla="*/ 2293337 h 4525940"/>
              <a:gd name="connsiteX1627" fmla="*/ 4360370 w 4545947"/>
              <a:gd name="connsiteY1627" fmla="*/ 2373116 h 4525940"/>
              <a:gd name="connsiteX1628" fmla="*/ 4371450 w 4545947"/>
              <a:gd name="connsiteY1628" fmla="*/ 2434355 h 4525940"/>
              <a:gd name="connsiteX1629" fmla="*/ 4362612 w 4545947"/>
              <a:gd name="connsiteY1629" fmla="*/ 2455749 h 4525940"/>
              <a:gd name="connsiteX1630" fmla="*/ 4363396 w 4545947"/>
              <a:gd name="connsiteY1630" fmla="*/ 2497396 h 4525940"/>
              <a:gd name="connsiteX1631" fmla="*/ 4369984 w 4545947"/>
              <a:gd name="connsiteY1631" fmla="*/ 2601191 h 4525940"/>
              <a:gd name="connsiteX1632" fmla="*/ 4376297 w 4545947"/>
              <a:gd name="connsiteY1632" fmla="*/ 2702374 h 4525940"/>
              <a:gd name="connsiteX1633" fmla="*/ 4383427 w 4545947"/>
              <a:gd name="connsiteY1633" fmla="*/ 2767613 h 4525940"/>
              <a:gd name="connsiteX1634" fmla="*/ 4390327 w 4545947"/>
              <a:gd name="connsiteY1634" fmla="*/ 2829270 h 4525940"/>
              <a:gd name="connsiteX1635" fmla="*/ 4394101 w 4545947"/>
              <a:gd name="connsiteY1635" fmla="*/ 2854279 h 4525940"/>
              <a:gd name="connsiteX1636" fmla="*/ 4401330 w 4545947"/>
              <a:gd name="connsiteY1636" fmla="*/ 2885145 h 4525940"/>
              <a:gd name="connsiteX1637" fmla="*/ 4403735 w 4545947"/>
              <a:gd name="connsiteY1637" fmla="*/ 2918518 h 4525940"/>
              <a:gd name="connsiteX1638" fmla="*/ 4402014 w 4545947"/>
              <a:gd name="connsiteY1638" fmla="*/ 2949378 h 4525940"/>
              <a:gd name="connsiteX1639" fmla="*/ 4413722 w 4545947"/>
              <a:gd name="connsiteY1639" fmla="*/ 2976462 h 4525940"/>
              <a:gd name="connsiteX1640" fmla="*/ 4436955 w 4545947"/>
              <a:gd name="connsiteY1640" fmla="*/ 2992606 h 4525940"/>
              <a:gd name="connsiteX1641" fmla="*/ 4438402 w 4545947"/>
              <a:gd name="connsiteY1641" fmla="*/ 2962218 h 4525940"/>
              <a:gd name="connsiteX1642" fmla="*/ 4432140 w 4545947"/>
              <a:gd name="connsiteY1642" fmla="*/ 2940257 h 4525940"/>
              <a:gd name="connsiteX1643" fmla="*/ 4420579 w 4545947"/>
              <a:gd name="connsiteY1643" fmla="*/ 2904157 h 4525940"/>
              <a:gd name="connsiteX1644" fmla="*/ 4411480 w 4545947"/>
              <a:gd name="connsiteY1644" fmla="*/ 2890017 h 4525940"/>
              <a:gd name="connsiteX1645" fmla="*/ 4423561 w 4545947"/>
              <a:gd name="connsiteY1645" fmla="*/ 2875699 h 4525940"/>
              <a:gd name="connsiteX1646" fmla="*/ 4459419 w 4545947"/>
              <a:gd name="connsiteY1646" fmla="*/ 2869941 h 4525940"/>
              <a:gd name="connsiteX1647" fmla="*/ 4452464 w 4545947"/>
              <a:gd name="connsiteY1647" fmla="*/ 2935605 h 4525940"/>
              <a:gd name="connsiteX1648" fmla="*/ 4450005 w 4545947"/>
              <a:gd name="connsiteY1648" fmla="*/ 2962218 h 4525940"/>
              <a:gd name="connsiteX1649" fmla="*/ 4461356 w 4545947"/>
              <a:gd name="connsiteY1649" fmla="*/ 2981627 h 4525940"/>
              <a:gd name="connsiteX1650" fmla="*/ 4462298 w 4545947"/>
              <a:gd name="connsiteY1650" fmla="*/ 3012197 h 4525940"/>
              <a:gd name="connsiteX1651" fmla="*/ 4458544 w 4545947"/>
              <a:gd name="connsiteY1651" fmla="*/ 3047075 h 4525940"/>
              <a:gd name="connsiteX1652" fmla="*/ 4466982 w 4545947"/>
              <a:gd name="connsiteY1652" fmla="*/ 3096545 h 4525940"/>
              <a:gd name="connsiteX1653" fmla="*/ 4476717 w 4545947"/>
              <a:gd name="connsiteY1653" fmla="*/ 3145393 h 4525940"/>
              <a:gd name="connsiteX1654" fmla="*/ 4482109 w 4545947"/>
              <a:gd name="connsiteY1654" fmla="*/ 3209351 h 4525940"/>
              <a:gd name="connsiteX1655" fmla="*/ 4491442 w 4545947"/>
              <a:gd name="connsiteY1655" fmla="*/ 3282990 h 4525940"/>
              <a:gd name="connsiteX1656" fmla="*/ 4496943 w 4545947"/>
              <a:gd name="connsiteY1656" fmla="*/ 3316228 h 4525940"/>
              <a:gd name="connsiteX1657" fmla="*/ 4479522 w 4545947"/>
              <a:gd name="connsiteY1657" fmla="*/ 3318328 h 4525940"/>
              <a:gd name="connsiteX1658" fmla="*/ 4452840 w 4545947"/>
              <a:gd name="connsiteY1658" fmla="*/ 3272430 h 4525940"/>
              <a:gd name="connsiteX1659" fmla="*/ 4442203 w 4545947"/>
              <a:gd name="connsiteY1659" fmla="*/ 3311385 h 4525940"/>
              <a:gd name="connsiteX1660" fmla="*/ 4435495 w 4545947"/>
              <a:gd name="connsiteY1660" fmla="*/ 3340023 h 4525940"/>
              <a:gd name="connsiteX1661" fmla="*/ 4431405 w 4545947"/>
              <a:gd name="connsiteY1661" fmla="*/ 3361676 h 4525940"/>
              <a:gd name="connsiteX1662" fmla="*/ 4423901 w 4545947"/>
              <a:gd name="connsiteY1662" fmla="*/ 3368237 h 4525940"/>
              <a:gd name="connsiteX1663" fmla="*/ 4411592 w 4545947"/>
              <a:gd name="connsiteY1663" fmla="*/ 3332307 h 4525940"/>
              <a:gd name="connsiteX1664" fmla="*/ 4397896 w 4545947"/>
              <a:gd name="connsiteY1664" fmla="*/ 3297338 h 4525940"/>
              <a:gd name="connsiteX1665" fmla="*/ 4381244 w 4545947"/>
              <a:gd name="connsiteY1665" fmla="*/ 3297518 h 4525940"/>
              <a:gd name="connsiteX1666" fmla="*/ 4387970 w 4545947"/>
              <a:gd name="connsiteY1666" fmla="*/ 3342585 h 4525940"/>
              <a:gd name="connsiteX1667" fmla="*/ 4389728 w 4545947"/>
              <a:gd name="connsiteY1667" fmla="*/ 3411709 h 4525940"/>
              <a:gd name="connsiteX1668" fmla="*/ 4385355 w 4545947"/>
              <a:gd name="connsiteY1668" fmla="*/ 3437032 h 4525940"/>
              <a:gd name="connsiteX1669" fmla="*/ 4389728 w 4545947"/>
              <a:gd name="connsiteY1669" fmla="*/ 3462355 h 4525940"/>
              <a:gd name="connsiteX1670" fmla="*/ 4394101 w 4545947"/>
              <a:gd name="connsiteY1670" fmla="*/ 3477824 h 4525940"/>
              <a:gd name="connsiteX1671" fmla="*/ 4403134 w 4545947"/>
              <a:gd name="connsiteY1671" fmla="*/ 3502453 h 4525940"/>
              <a:gd name="connsiteX1672" fmla="*/ 4409301 w 4545947"/>
              <a:gd name="connsiteY1672" fmla="*/ 3533741 h 4525940"/>
              <a:gd name="connsiteX1673" fmla="*/ 4411334 w 4545947"/>
              <a:gd name="connsiteY1673" fmla="*/ 3560252 h 4525940"/>
              <a:gd name="connsiteX1674" fmla="*/ 4413426 w 4545947"/>
              <a:gd name="connsiteY1674" fmla="*/ 3586301 h 4525940"/>
              <a:gd name="connsiteX1675" fmla="*/ 4417255 w 4545947"/>
              <a:gd name="connsiteY1675" fmla="*/ 3607965 h 4525940"/>
              <a:gd name="connsiteX1676" fmla="*/ 4421605 w 4545947"/>
              <a:gd name="connsiteY1676" fmla="*/ 3620627 h 4525940"/>
              <a:gd name="connsiteX1677" fmla="*/ 4413131 w 4545947"/>
              <a:gd name="connsiteY1677" fmla="*/ 3633289 h 4525940"/>
              <a:gd name="connsiteX1678" fmla="*/ 4404428 w 4545947"/>
              <a:gd name="connsiteY1678" fmla="*/ 3642785 h 4525940"/>
              <a:gd name="connsiteX1679" fmla="*/ 4393632 w 4545947"/>
              <a:gd name="connsiteY1679" fmla="*/ 3652281 h 4525940"/>
              <a:gd name="connsiteX1680" fmla="*/ 4385355 w 4545947"/>
              <a:gd name="connsiteY1680" fmla="*/ 3629925 h 4525940"/>
              <a:gd name="connsiteX1681" fmla="*/ 4391914 w 4545947"/>
              <a:gd name="connsiteY1681" fmla="*/ 3603924 h 4525940"/>
              <a:gd name="connsiteX1682" fmla="*/ 4398473 w 4545947"/>
              <a:gd name="connsiteY1682" fmla="*/ 3585352 h 4525940"/>
              <a:gd name="connsiteX1683" fmla="*/ 4373070 w 4545947"/>
              <a:gd name="connsiteY1683" fmla="*/ 3557318 h 4525940"/>
              <a:gd name="connsiteX1684" fmla="*/ 4362940 w 4545947"/>
              <a:gd name="connsiteY1684" fmla="*/ 3508318 h 4525940"/>
              <a:gd name="connsiteX1685" fmla="*/ 4359759 w 4545947"/>
              <a:gd name="connsiteY1685" fmla="*/ 3486782 h 4525940"/>
              <a:gd name="connsiteX1686" fmla="*/ 4332004 w 4545947"/>
              <a:gd name="connsiteY1686" fmla="*/ 3485660 h 4525940"/>
              <a:gd name="connsiteX1687" fmla="*/ 4317200 w 4545947"/>
              <a:gd name="connsiteY1687" fmla="*/ 3482495 h 4525940"/>
              <a:gd name="connsiteX1688" fmla="*/ 4293795 w 4545947"/>
              <a:gd name="connsiteY1688" fmla="*/ 3480613 h 4525940"/>
              <a:gd name="connsiteX1689" fmla="*/ 4300183 w 4545947"/>
              <a:gd name="connsiteY1689" fmla="*/ 3523346 h 4525940"/>
              <a:gd name="connsiteX1690" fmla="*/ 4310997 w 4545947"/>
              <a:gd name="connsiteY1690" fmla="*/ 3568024 h 4525940"/>
              <a:gd name="connsiteX1691" fmla="*/ 4315459 w 4545947"/>
              <a:gd name="connsiteY1691" fmla="*/ 3585871 h 4525940"/>
              <a:gd name="connsiteX1692" fmla="*/ 4302514 w 4545947"/>
              <a:gd name="connsiteY1692" fmla="*/ 3601634 h 4525940"/>
              <a:gd name="connsiteX1693" fmla="*/ 4271659 w 4545947"/>
              <a:gd name="connsiteY1693" fmla="*/ 3548478 h 4525940"/>
              <a:gd name="connsiteX1694" fmla="*/ 4251054 w 4545947"/>
              <a:gd name="connsiteY1694" fmla="*/ 3524081 h 4525940"/>
              <a:gd name="connsiteX1695" fmla="*/ 4236675 w 4545947"/>
              <a:gd name="connsiteY1695" fmla="*/ 3514175 h 4525940"/>
              <a:gd name="connsiteX1696" fmla="*/ 4221370 w 4545947"/>
              <a:gd name="connsiteY1696" fmla="*/ 3485789 h 4525940"/>
              <a:gd name="connsiteX1697" fmla="*/ 4206065 w 4545947"/>
              <a:gd name="connsiteY1697" fmla="*/ 3466216 h 4525940"/>
              <a:gd name="connsiteX1698" fmla="*/ 4197295 w 4545947"/>
              <a:gd name="connsiteY1698" fmla="*/ 3460530 h 4525940"/>
              <a:gd name="connsiteX1699" fmla="*/ 4181991 w 4545947"/>
              <a:gd name="connsiteY1699" fmla="*/ 3455997 h 4525940"/>
              <a:gd name="connsiteX1700" fmla="*/ 4175454 w 4545947"/>
              <a:gd name="connsiteY1700" fmla="*/ 3466856 h 4525940"/>
              <a:gd name="connsiteX1701" fmla="*/ 4159615 w 4545947"/>
              <a:gd name="connsiteY1701" fmla="*/ 3483426 h 4525940"/>
              <a:gd name="connsiteX1702" fmla="*/ 4131533 w 4545947"/>
              <a:gd name="connsiteY1702" fmla="*/ 3479975 h 4525940"/>
              <a:gd name="connsiteX1703" fmla="*/ 4116891 w 4545947"/>
              <a:gd name="connsiteY1703" fmla="*/ 3472870 h 4525940"/>
              <a:gd name="connsiteX1704" fmla="*/ 4112678 w 4545947"/>
              <a:gd name="connsiteY1704" fmla="*/ 3467929 h 4525940"/>
              <a:gd name="connsiteX1705" fmla="*/ 4109861 w 4545947"/>
              <a:gd name="connsiteY1705" fmla="*/ 3494010 h 4525940"/>
              <a:gd name="connsiteX1706" fmla="*/ 4107881 w 4545947"/>
              <a:gd name="connsiteY1706" fmla="*/ 3533957 h 4525940"/>
              <a:gd name="connsiteX1707" fmla="*/ 4111751 w 4545947"/>
              <a:gd name="connsiteY1707" fmla="*/ 3655281 h 4525940"/>
              <a:gd name="connsiteX1708" fmla="*/ 4115825 w 4545947"/>
              <a:gd name="connsiteY1708" fmla="*/ 3697990 h 4525940"/>
              <a:gd name="connsiteX1709" fmla="*/ 4100821 w 4545947"/>
              <a:gd name="connsiteY1709" fmla="*/ 3693212 h 4525940"/>
              <a:gd name="connsiteX1710" fmla="*/ 4089044 w 4545947"/>
              <a:gd name="connsiteY1710" fmla="*/ 3691653 h 4525940"/>
              <a:gd name="connsiteX1711" fmla="*/ 4082530 w 4545947"/>
              <a:gd name="connsiteY1711" fmla="*/ 3698884 h 4525940"/>
              <a:gd name="connsiteX1712" fmla="*/ 4080291 w 4545947"/>
              <a:gd name="connsiteY1712" fmla="*/ 3710817 h 4525940"/>
              <a:gd name="connsiteX1713" fmla="*/ 4080385 w 4545947"/>
              <a:gd name="connsiteY1713" fmla="*/ 3730337 h 4525940"/>
              <a:gd name="connsiteX1714" fmla="*/ 4066131 w 4545947"/>
              <a:gd name="connsiteY1714" fmla="*/ 3728475 h 4525940"/>
              <a:gd name="connsiteX1715" fmla="*/ 4057262 w 4545947"/>
              <a:gd name="connsiteY1715" fmla="*/ 3702834 h 4525940"/>
              <a:gd name="connsiteX1716" fmla="*/ 4050961 w 4545947"/>
              <a:gd name="connsiteY1716" fmla="*/ 3689949 h 4525940"/>
              <a:gd name="connsiteX1717" fmla="*/ 4049965 w 4545947"/>
              <a:gd name="connsiteY1717" fmla="*/ 3683935 h 4525940"/>
              <a:gd name="connsiteX1718" fmla="*/ 4040220 w 4545947"/>
              <a:gd name="connsiteY1718" fmla="*/ 3663718 h 4525940"/>
              <a:gd name="connsiteX1719" fmla="*/ 4039152 w 4545947"/>
              <a:gd name="connsiteY1719" fmla="*/ 3641032 h 4525940"/>
              <a:gd name="connsiteX1720" fmla="*/ 4032349 w 4545947"/>
              <a:gd name="connsiteY1720" fmla="*/ 3604142 h 4525940"/>
              <a:gd name="connsiteX1721" fmla="*/ 4021554 w 4545947"/>
              <a:gd name="connsiteY1721" fmla="*/ 3580466 h 4525940"/>
              <a:gd name="connsiteX1722" fmla="*/ 4017114 w 4545947"/>
              <a:gd name="connsiteY1722" fmla="*/ 3577808 h 4525940"/>
              <a:gd name="connsiteX1723" fmla="*/ 4006744 w 4545947"/>
              <a:gd name="connsiteY1723" fmla="*/ 3605307 h 4525940"/>
              <a:gd name="connsiteX1724" fmla="*/ 3996422 w 4545947"/>
              <a:gd name="connsiteY1724" fmla="*/ 3630123 h 4525940"/>
              <a:gd name="connsiteX1725" fmla="*/ 3976929 w 4545947"/>
              <a:gd name="connsiteY1725" fmla="*/ 3557734 h 4525940"/>
              <a:gd name="connsiteX1726" fmla="*/ 3967010 w 4545947"/>
              <a:gd name="connsiteY1726" fmla="*/ 3524497 h 4525940"/>
              <a:gd name="connsiteX1727" fmla="*/ 3936518 w 4545947"/>
              <a:gd name="connsiteY1727" fmla="*/ 3522521 h 4525940"/>
              <a:gd name="connsiteX1728" fmla="*/ 3956830 w 4545947"/>
              <a:gd name="connsiteY1728" fmla="*/ 3588973 h 4525940"/>
              <a:gd name="connsiteX1729" fmla="*/ 3961181 w 4545947"/>
              <a:gd name="connsiteY1729" fmla="*/ 3603827 h 4525940"/>
              <a:gd name="connsiteX1730" fmla="*/ 3977941 w 4545947"/>
              <a:gd name="connsiteY1730" fmla="*/ 3658612 h 4525940"/>
              <a:gd name="connsiteX1731" fmla="*/ 3989531 w 4545947"/>
              <a:gd name="connsiteY1731" fmla="*/ 3709893 h 4525940"/>
              <a:gd name="connsiteX1732" fmla="*/ 3978673 w 4545947"/>
              <a:gd name="connsiteY1732" fmla="*/ 3722438 h 4525940"/>
              <a:gd name="connsiteX1733" fmla="*/ 3962900 w 4545947"/>
              <a:gd name="connsiteY1733" fmla="*/ 3690266 h 4525940"/>
              <a:gd name="connsiteX1734" fmla="*/ 3952435 w 4545947"/>
              <a:gd name="connsiteY1734" fmla="*/ 3684056 h 4525940"/>
              <a:gd name="connsiteX1735" fmla="*/ 3942083 w 4545947"/>
              <a:gd name="connsiteY1735" fmla="*/ 3674084 h 4525940"/>
              <a:gd name="connsiteX1736" fmla="*/ 3920131 w 4545947"/>
              <a:gd name="connsiteY1736" fmla="*/ 3685884 h 4525940"/>
              <a:gd name="connsiteX1737" fmla="*/ 3913664 w 4545947"/>
              <a:gd name="connsiteY1737" fmla="*/ 3719597 h 4525940"/>
              <a:gd name="connsiteX1738" fmla="*/ 3920091 w 4545947"/>
              <a:gd name="connsiteY1738" fmla="*/ 3744079 h 4525940"/>
              <a:gd name="connsiteX1739" fmla="*/ 3924301 w 4545947"/>
              <a:gd name="connsiteY1739" fmla="*/ 3764654 h 4525940"/>
              <a:gd name="connsiteX1740" fmla="*/ 3918458 w 4545947"/>
              <a:gd name="connsiteY1740" fmla="*/ 3778898 h 4525940"/>
              <a:gd name="connsiteX1741" fmla="*/ 3906709 w 4545947"/>
              <a:gd name="connsiteY1741" fmla="*/ 3750028 h 4525940"/>
              <a:gd name="connsiteX1742" fmla="*/ 3894186 w 4545947"/>
              <a:gd name="connsiteY1742" fmla="*/ 3723122 h 4525940"/>
              <a:gd name="connsiteX1743" fmla="*/ 3883222 w 4545947"/>
              <a:gd name="connsiteY1743" fmla="*/ 3739717 h 4525940"/>
              <a:gd name="connsiteX1744" fmla="*/ 3875601 w 4545947"/>
              <a:gd name="connsiteY1744" fmla="*/ 3757787 h 4525940"/>
              <a:gd name="connsiteX1745" fmla="*/ 3872041 w 4545947"/>
              <a:gd name="connsiteY1745" fmla="*/ 3776393 h 4525940"/>
              <a:gd name="connsiteX1746" fmla="*/ 3863739 w 4545947"/>
              <a:gd name="connsiteY1746" fmla="*/ 3783647 h 4525940"/>
              <a:gd name="connsiteX1747" fmla="*/ 3862885 w 4545947"/>
              <a:gd name="connsiteY1747" fmla="*/ 3785229 h 4525940"/>
              <a:gd name="connsiteX1748" fmla="*/ 3874122 w 4545947"/>
              <a:gd name="connsiteY1748" fmla="*/ 3823214 h 4525940"/>
              <a:gd name="connsiteX1749" fmla="*/ 3883234 w 4545947"/>
              <a:gd name="connsiteY1749" fmla="*/ 3899185 h 4525940"/>
              <a:gd name="connsiteX1750" fmla="*/ 3862599 w 4545947"/>
              <a:gd name="connsiteY1750" fmla="*/ 3845738 h 4525940"/>
              <a:gd name="connsiteX1751" fmla="*/ 3854301 w 4545947"/>
              <a:gd name="connsiteY1751" fmla="*/ 3812039 h 4525940"/>
              <a:gd name="connsiteX1752" fmla="*/ 3846160 w 4545947"/>
              <a:gd name="connsiteY1752" fmla="*/ 3796165 h 4525940"/>
              <a:gd name="connsiteX1753" fmla="*/ 3819335 w 4545947"/>
              <a:gd name="connsiteY1753" fmla="*/ 3805472 h 4525940"/>
              <a:gd name="connsiteX1754" fmla="*/ 3810462 w 4545947"/>
              <a:gd name="connsiteY1754" fmla="*/ 3833067 h 4525940"/>
              <a:gd name="connsiteX1755" fmla="*/ 3788709 w 4545947"/>
              <a:gd name="connsiteY1755" fmla="*/ 3831946 h 4525940"/>
              <a:gd name="connsiteX1756" fmla="*/ 3767992 w 4545947"/>
              <a:gd name="connsiteY1756" fmla="*/ 3797873 h 4525940"/>
              <a:gd name="connsiteX1757" fmla="*/ 3746015 w 4545947"/>
              <a:gd name="connsiteY1757" fmla="*/ 3752380 h 4525940"/>
              <a:gd name="connsiteX1758" fmla="*/ 3711733 w 4545947"/>
              <a:gd name="connsiteY1758" fmla="*/ 3702928 h 4525940"/>
              <a:gd name="connsiteX1759" fmla="*/ 3701350 w 4545947"/>
              <a:gd name="connsiteY1759" fmla="*/ 3706771 h 4525940"/>
              <a:gd name="connsiteX1760" fmla="*/ 3698806 w 4545947"/>
              <a:gd name="connsiteY1760" fmla="*/ 3728251 h 4525940"/>
              <a:gd name="connsiteX1761" fmla="*/ 3703179 w 4545947"/>
              <a:gd name="connsiteY1761" fmla="*/ 3747244 h 4525940"/>
              <a:gd name="connsiteX1762" fmla="*/ 3707552 w 4545947"/>
              <a:gd name="connsiteY1762" fmla="*/ 3766237 h 4525940"/>
              <a:gd name="connsiteX1763" fmla="*/ 3711925 w 4545947"/>
              <a:gd name="connsiteY1763" fmla="*/ 3776107 h 4525940"/>
              <a:gd name="connsiteX1764" fmla="*/ 3716310 w 4545947"/>
              <a:gd name="connsiteY1764" fmla="*/ 3782052 h 4525940"/>
              <a:gd name="connsiteX1765" fmla="*/ 3718822 w 4545947"/>
              <a:gd name="connsiteY1765" fmla="*/ 3792758 h 4525940"/>
              <a:gd name="connsiteX1766" fmla="*/ 3716622 w 4545947"/>
              <a:gd name="connsiteY1766" fmla="*/ 3815301 h 4525940"/>
              <a:gd name="connsiteX1767" fmla="*/ 3709009 w 4545947"/>
              <a:gd name="connsiteY1767" fmla="*/ 3823214 h 4525940"/>
              <a:gd name="connsiteX1768" fmla="*/ 3704652 w 4545947"/>
              <a:gd name="connsiteY1768" fmla="*/ 3827457 h 4525940"/>
              <a:gd name="connsiteX1769" fmla="*/ 3700954 w 4545947"/>
              <a:gd name="connsiteY1769" fmla="*/ 3846344 h 4525940"/>
              <a:gd name="connsiteX1770" fmla="*/ 3690971 w 4545947"/>
              <a:gd name="connsiteY1770" fmla="*/ 3884370 h 4525940"/>
              <a:gd name="connsiteX1771" fmla="*/ 3672702 w 4545947"/>
              <a:gd name="connsiteY1771" fmla="*/ 3896534 h 4525940"/>
              <a:gd name="connsiteX1772" fmla="*/ 3664440 w 4545947"/>
              <a:gd name="connsiteY1772" fmla="*/ 3880192 h 4525940"/>
              <a:gd name="connsiteX1773" fmla="*/ 3657424 w 4545947"/>
              <a:gd name="connsiteY1773" fmla="*/ 3839042 h 4525940"/>
              <a:gd name="connsiteX1774" fmla="*/ 3650356 w 4545947"/>
              <a:gd name="connsiteY1774" fmla="*/ 3797891 h 4525940"/>
              <a:gd name="connsiteX1775" fmla="*/ 3646331 w 4545947"/>
              <a:gd name="connsiteY1775" fmla="*/ 3780002 h 4525940"/>
              <a:gd name="connsiteX1776" fmla="*/ 3636210 w 4545947"/>
              <a:gd name="connsiteY1776" fmla="*/ 3748347 h 4525940"/>
              <a:gd name="connsiteX1777" fmla="*/ 3622279 w 4545947"/>
              <a:gd name="connsiteY1777" fmla="*/ 3740913 h 4525940"/>
              <a:gd name="connsiteX1778" fmla="*/ 3620351 w 4545947"/>
              <a:gd name="connsiteY1778" fmla="*/ 3747244 h 4525940"/>
              <a:gd name="connsiteX1779" fmla="*/ 3615720 w 4545947"/>
              <a:gd name="connsiteY1779" fmla="*/ 3739557 h 4525940"/>
              <a:gd name="connsiteX1780" fmla="*/ 3609235 w 4545947"/>
              <a:gd name="connsiteY1780" fmla="*/ 3741257 h 4525940"/>
              <a:gd name="connsiteX1781" fmla="*/ 3607022 w 4545947"/>
              <a:gd name="connsiteY1781" fmla="*/ 3883441 h 4525940"/>
              <a:gd name="connsiteX1782" fmla="*/ 3620970 w 4545947"/>
              <a:gd name="connsiteY1782" fmla="*/ 3926650 h 4525940"/>
              <a:gd name="connsiteX1783" fmla="*/ 3635418 w 4545947"/>
              <a:gd name="connsiteY1783" fmla="*/ 3966357 h 4525940"/>
              <a:gd name="connsiteX1784" fmla="*/ 3641958 w 4545947"/>
              <a:gd name="connsiteY1784" fmla="*/ 3982842 h 4525940"/>
              <a:gd name="connsiteX1785" fmla="*/ 3653242 w 4545947"/>
              <a:gd name="connsiteY1785" fmla="*/ 4009926 h 4525940"/>
              <a:gd name="connsiteX1786" fmla="*/ 3661604 w 4545947"/>
              <a:gd name="connsiteY1786" fmla="*/ 4040922 h 4525940"/>
              <a:gd name="connsiteX1787" fmla="*/ 3669309 w 4545947"/>
              <a:gd name="connsiteY1787" fmla="*/ 4087671 h 4525940"/>
              <a:gd name="connsiteX1788" fmla="*/ 3678511 w 4545947"/>
              <a:gd name="connsiteY1788" fmla="*/ 4112573 h 4525940"/>
              <a:gd name="connsiteX1789" fmla="*/ 3681769 w 4545947"/>
              <a:gd name="connsiteY1789" fmla="*/ 4123786 h 4525940"/>
              <a:gd name="connsiteX1790" fmla="*/ 3680561 w 4545947"/>
              <a:gd name="connsiteY1790" fmla="*/ 4130756 h 4525940"/>
              <a:gd name="connsiteX1791" fmla="*/ 3678018 w 4545947"/>
              <a:gd name="connsiteY1791" fmla="*/ 4172994 h 4525940"/>
              <a:gd name="connsiteX1792" fmla="*/ 3686423 w 4545947"/>
              <a:gd name="connsiteY1792" fmla="*/ 4203066 h 4525940"/>
              <a:gd name="connsiteX1793" fmla="*/ 3687445 w 4545947"/>
              <a:gd name="connsiteY1793" fmla="*/ 4242725 h 4525940"/>
              <a:gd name="connsiteX1794" fmla="*/ 3674851 w 4545947"/>
              <a:gd name="connsiteY1794" fmla="*/ 4234494 h 4525940"/>
              <a:gd name="connsiteX1795" fmla="*/ 3672639 w 4545947"/>
              <a:gd name="connsiteY1795" fmla="*/ 4225288 h 4525940"/>
              <a:gd name="connsiteX1796" fmla="*/ 3668195 w 4545947"/>
              <a:gd name="connsiteY1796" fmla="*/ 4209798 h 4525940"/>
              <a:gd name="connsiteX1797" fmla="*/ 3661635 w 4545947"/>
              <a:gd name="connsiteY1797" fmla="*/ 4190404 h 4525940"/>
              <a:gd name="connsiteX1798" fmla="*/ 3655077 w 4545947"/>
              <a:gd name="connsiteY1798" fmla="*/ 4164306 h 4525940"/>
              <a:gd name="connsiteX1799" fmla="*/ 3650704 w 4545947"/>
              <a:gd name="connsiteY1799" fmla="*/ 4146088 h 4525940"/>
              <a:gd name="connsiteX1800" fmla="*/ 3646331 w 4545947"/>
              <a:gd name="connsiteY1800" fmla="*/ 4127870 h 4525940"/>
              <a:gd name="connsiteX1801" fmla="*/ 3640215 w 4545947"/>
              <a:gd name="connsiteY1801" fmla="*/ 4102305 h 4525940"/>
              <a:gd name="connsiteX1802" fmla="*/ 3628573 w 4545947"/>
              <a:gd name="connsiteY1802" fmla="*/ 4030629 h 4525940"/>
              <a:gd name="connsiteX1803" fmla="*/ 3619343 w 4545947"/>
              <a:gd name="connsiteY1803" fmla="*/ 4010560 h 4525940"/>
              <a:gd name="connsiteX1804" fmla="*/ 3613087 w 4545947"/>
              <a:gd name="connsiteY1804" fmla="*/ 3995194 h 4525940"/>
              <a:gd name="connsiteX1805" fmla="*/ 3611643 w 4545947"/>
              <a:gd name="connsiteY1805" fmla="*/ 3986775 h 4525940"/>
              <a:gd name="connsiteX1806" fmla="*/ 3606039 w 4545947"/>
              <a:gd name="connsiteY1806" fmla="*/ 3968824 h 4525940"/>
              <a:gd name="connsiteX1807" fmla="*/ 3589225 w 4545947"/>
              <a:gd name="connsiteY1807" fmla="*/ 3937170 h 4525940"/>
              <a:gd name="connsiteX1808" fmla="*/ 3580737 w 4545947"/>
              <a:gd name="connsiteY1808" fmla="*/ 3924882 h 4525940"/>
              <a:gd name="connsiteX1809" fmla="*/ 3576929 w 4545947"/>
              <a:gd name="connsiteY1809" fmla="*/ 3909186 h 4525940"/>
              <a:gd name="connsiteX1810" fmla="*/ 3570603 w 4545947"/>
              <a:gd name="connsiteY1810" fmla="*/ 3888238 h 4525940"/>
              <a:gd name="connsiteX1811" fmla="*/ 3554944 w 4545947"/>
              <a:gd name="connsiteY1811" fmla="*/ 3858187 h 4525940"/>
              <a:gd name="connsiteX1812" fmla="*/ 3538478 w 4545947"/>
              <a:gd name="connsiteY1812" fmla="*/ 3805368 h 4525940"/>
              <a:gd name="connsiteX1813" fmla="*/ 3533727 w 4545947"/>
              <a:gd name="connsiteY1813" fmla="*/ 3767505 h 4525940"/>
              <a:gd name="connsiteX1814" fmla="*/ 3522632 w 4545947"/>
              <a:gd name="connsiteY1814" fmla="*/ 3721158 h 4525940"/>
              <a:gd name="connsiteX1815" fmla="*/ 3513197 w 4545947"/>
              <a:gd name="connsiteY1815" fmla="*/ 3684068 h 4525940"/>
              <a:gd name="connsiteX1816" fmla="*/ 3499894 w 4545947"/>
              <a:gd name="connsiteY1816" fmla="*/ 3658986 h 4525940"/>
              <a:gd name="connsiteX1817" fmla="*/ 3469237 w 4545947"/>
              <a:gd name="connsiteY1817" fmla="*/ 3635573 h 4525940"/>
              <a:gd name="connsiteX1818" fmla="*/ 3467041 w 4545947"/>
              <a:gd name="connsiteY1818" fmla="*/ 3687101 h 4525940"/>
              <a:gd name="connsiteX1819" fmla="*/ 3471414 w 4545947"/>
              <a:gd name="connsiteY1819" fmla="*/ 3706153 h 4525940"/>
              <a:gd name="connsiteX1820" fmla="*/ 3476971 w 4545947"/>
              <a:gd name="connsiteY1820" fmla="*/ 3726354 h 4525940"/>
              <a:gd name="connsiteX1821" fmla="*/ 3490888 w 4545947"/>
              <a:gd name="connsiteY1821" fmla="*/ 3773042 h 4525940"/>
              <a:gd name="connsiteX1822" fmla="*/ 3493020 w 4545947"/>
              <a:gd name="connsiteY1822" fmla="*/ 3778898 h 4525940"/>
              <a:gd name="connsiteX1823" fmla="*/ 3497651 w 4545947"/>
              <a:gd name="connsiteY1823" fmla="*/ 3793950 h 4525940"/>
              <a:gd name="connsiteX1824" fmla="*/ 3504545 w 4545947"/>
              <a:gd name="connsiteY1824" fmla="*/ 3817285 h 4525940"/>
              <a:gd name="connsiteX1825" fmla="*/ 3508755 w 4545947"/>
              <a:gd name="connsiteY1825" fmla="*/ 3848132 h 4525940"/>
              <a:gd name="connsiteX1826" fmla="*/ 3510540 w 4545947"/>
              <a:gd name="connsiteY1826" fmla="*/ 3861199 h 4525940"/>
              <a:gd name="connsiteX1827" fmla="*/ 3515661 w 4545947"/>
              <a:gd name="connsiteY1827" fmla="*/ 3869113 h 4525940"/>
              <a:gd name="connsiteX1828" fmla="*/ 3519516 w 4545947"/>
              <a:gd name="connsiteY1828" fmla="*/ 3873861 h 4525940"/>
              <a:gd name="connsiteX1829" fmla="*/ 3523889 w 4545947"/>
              <a:gd name="connsiteY1829" fmla="*/ 3883622 h 4525940"/>
              <a:gd name="connsiteX1830" fmla="*/ 3532417 w 4545947"/>
              <a:gd name="connsiteY1830" fmla="*/ 3906635 h 4525940"/>
              <a:gd name="connsiteX1831" fmla="*/ 3543578 w 4545947"/>
              <a:gd name="connsiteY1831" fmla="*/ 3939608 h 4525940"/>
              <a:gd name="connsiteX1832" fmla="*/ 3572787 w 4545947"/>
              <a:gd name="connsiteY1832" fmla="*/ 4051368 h 4525940"/>
              <a:gd name="connsiteX1833" fmla="*/ 3585110 w 4545947"/>
              <a:gd name="connsiteY1833" fmla="*/ 4083170 h 4525940"/>
              <a:gd name="connsiteX1834" fmla="*/ 3588390 w 4545947"/>
              <a:gd name="connsiteY1834" fmla="*/ 4095491 h 4525940"/>
              <a:gd name="connsiteX1835" fmla="*/ 3600027 w 4545947"/>
              <a:gd name="connsiteY1835" fmla="*/ 4134333 h 4525940"/>
              <a:gd name="connsiteX1836" fmla="*/ 3580737 w 4545947"/>
              <a:gd name="connsiteY1836" fmla="*/ 4111046 h 4525940"/>
              <a:gd name="connsiteX1837" fmla="*/ 3576851 w 4545947"/>
              <a:gd name="connsiteY1837" fmla="*/ 4095441 h 4525940"/>
              <a:gd name="connsiteX1838" fmla="*/ 3570176 w 4545947"/>
              <a:gd name="connsiteY1838" fmla="*/ 4073920 h 4525940"/>
              <a:gd name="connsiteX1839" fmla="*/ 3543030 w 4545947"/>
              <a:gd name="connsiteY1839" fmla="*/ 4041258 h 4525940"/>
              <a:gd name="connsiteX1840" fmla="*/ 3534118 w 4545947"/>
              <a:gd name="connsiteY1840" fmla="*/ 4026138 h 4525940"/>
              <a:gd name="connsiteX1841" fmla="*/ 3530338 w 4545947"/>
              <a:gd name="connsiteY1841" fmla="*/ 4006809 h 4525940"/>
              <a:gd name="connsiteX1842" fmla="*/ 3529155 w 4545947"/>
              <a:gd name="connsiteY1842" fmla="*/ 3978011 h 4525940"/>
              <a:gd name="connsiteX1843" fmla="*/ 3526968 w 4545947"/>
              <a:gd name="connsiteY1843" fmla="*/ 3955240 h 4525940"/>
              <a:gd name="connsiteX1844" fmla="*/ 3519516 w 4545947"/>
              <a:gd name="connsiteY1844" fmla="*/ 3936183 h 4525940"/>
              <a:gd name="connsiteX1845" fmla="*/ 3508583 w 4545947"/>
              <a:gd name="connsiteY1845" fmla="*/ 3910715 h 4525940"/>
              <a:gd name="connsiteX1846" fmla="*/ 3497651 w 4545947"/>
              <a:gd name="connsiteY1846" fmla="*/ 3890210 h 4525940"/>
              <a:gd name="connsiteX1847" fmla="*/ 3472162 w 4545947"/>
              <a:gd name="connsiteY1847" fmla="*/ 3861199 h 4525940"/>
              <a:gd name="connsiteX1848" fmla="*/ 3462668 w 4545947"/>
              <a:gd name="connsiteY1848" fmla="*/ 3848911 h 4525940"/>
              <a:gd name="connsiteX1849" fmla="*/ 3458295 w 4545947"/>
              <a:gd name="connsiteY1849" fmla="*/ 3832711 h 4525940"/>
              <a:gd name="connsiteX1850" fmla="*/ 3453922 w 4545947"/>
              <a:gd name="connsiteY1850" fmla="*/ 3814611 h 4525940"/>
              <a:gd name="connsiteX1851" fmla="*/ 3450078 w 4545947"/>
              <a:gd name="connsiteY1851" fmla="*/ 3794409 h 4525940"/>
              <a:gd name="connsiteX1852" fmla="*/ 3440992 w 4545947"/>
              <a:gd name="connsiteY1852" fmla="*/ 3764654 h 4525940"/>
              <a:gd name="connsiteX1853" fmla="*/ 3431719 w 4545947"/>
              <a:gd name="connsiteY1853" fmla="*/ 3740913 h 4525940"/>
              <a:gd name="connsiteX1854" fmla="*/ 3427684 w 4545947"/>
              <a:gd name="connsiteY1854" fmla="*/ 3725861 h 4525940"/>
              <a:gd name="connsiteX1855" fmla="*/ 3420306 w 4545947"/>
              <a:gd name="connsiteY1855" fmla="*/ 3702120 h 4525940"/>
              <a:gd name="connsiteX1856" fmla="*/ 3416164 w 4545947"/>
              <a:gd name="connsiteY1856" fmla="*/ 3705901 h 4525940"/>
              <a:gd name="connsiteX1857" fmla="*/ 3416533 w 4545947"/>
              <a:gd name="connsiteY1857" fmla="*/ 3714219 h 4525940"/>
              <a:gd name="connsiteX1858" fmla="*/ 3402685 w 4545947"/>
              <a:gd name="connsiteY1858" fmla="*/ 3716112 h 4525940"/>
              <a:gd name="connsiteX1859" fmla="*/ 3393935 w 4545947"/>
              <a:gd name="connsiteY1859" fmla="*/ 3713735 h 4525940"/>
              <a:gd name="connsiteX1860" fmla="*/ 3387971 w 4545947"/>
              <a:gd name="connsiteY1860" fmla="*/ 3689876 h 4525940"/>
              <a:gd name="connsiteX1861" fmla="*/ 3379613 w 4545947"/>
              <a:gd name="connsiteY1861" fmla="*/ 3645950 h 4525940"/>
              <a:gd name="connsiteX1862" fmla="*/ 3363957 w 4545947"/>
              <a:gd name="connsiteY1862" fmla="*/ 3602624 h 4525940"/>
              <a:gd name="connsiteX1863" fmla="*/ 3350698 w 4545947"/>
              <a:gd name="connsiteY1863" fmla="*/ 3633318 h 4525940"/>
              <a:gd name="connsiteX1864" fmla="*/ 3345028 w 4545947"/>
              <a:gd name="connsiteY1864" fmla="*/ 3650699 h 4525940"/>
              <a:gd name="connsiteX1865" fmla="*/ 3329305 w 4545947"/>
              <a:gd name="connsiteY1865" fmla="*/ 3652225 h 4525940"/>
              <a:gd name="connsiteX1866" fmla="*/ 3340893 w 4545947"/>
              <a:gd name="connsiteY1866" fmla="*/ 3677605 h 4525940"/>
              <a:gd name="connsiteX1867" fmla="*/ 3352077 w 4545947"/>
              <a:gd name="connsiteY1867" fmla="*/ 3690266 h 4525940"/>
              <a:gd name="connsiteX1868" fmla="*/ 3357681 w 4545947"/>
              <a:gd name="connsiteY1868" fmla="*/ 3702928 h 4525940"/>
              <a:gd name="connsiteX1869" fmla="*/ 3363620 w 4545947"/>
              <a:gd name="connsiteY1869" fmla="*/ 3721921 h 4525940"/>
              <a:gd name="connsiteX1870" fmla="*/ 3372913 w 4545947"/>
              <a:gd name="connsiteY1870" fmla="*/ 3740913 h 4525940"/>
              <a:gd name="connsiteX1871" fmla="*/ 3375688 w 4545947"/>
              <a:gd name="connsiteY1871" fmla="*/ 3768853 h 4525940"/>
              <a:gd name="connsiteX1872" fmla="*/ 3327107 w 4545947"/>
              <a:gd name="connsiteY1872" fmla="*/ 3771846 h 4525940"/>
              <a:gd name="connsiteX1873" fmla="*/ 3315329 w 4545947"/>
              <a:gd name="connsiteY1873" fmla="*/ 3744607 h 4525940"/>
              <a:gd name="connsiteX1874" fmla="*/ 3311207 w 4545947"/>
              <a:gd name="connsiteY1874" fmla="*/ 3724541 h 4525940"/>
              <a:gd name="connsiteX1875" fmla="*/ 3316649 w 4545947"/>
              <a:gd name="connsiteY1875" fmla="*/ 3711929 h 4525940"/>
              <a:gd name="connsiteX1876" fmla="*/ 3320770 w 4545947"/>
              <a:gd name="connsiteY1876" fmla="*/ 3707093 h 4525940"/>
              <a:gd name="connsiteX1877" fmla="*/ 3327107 w 4545947"/>
              <a:gd name="connsiteY1877" fmla="*/ 3700282 h 4525940"/>
              <a:gd name="connsiteX1878" fmla="*/ 3313988 w 4545947"/>
              <a:gd name="connsiteY1878" fmla="*/ 3686151 h 4525940"/>
              <a:gd name="connsiteX1879" fmla="*/ 3300870 w 4545947"/>
              <a:gd name="connsiteY1879" fmla="*/ 3674511 h 4525940"/>
              <a:gd name="connsiteX1880" fmla="*/ 3289059 w 4545947"/>
              <a:gd name="connsiteY1880" fmla="*/ 3649571 h 4525940"/>
              <a:gd name="connsiteX1881" fmla="*/ 3279392 w 4545947"/>
              <a:gd name="connsiteY1881" fmla="*/ 3614296 h 4525940"/>
              <a:gd name="connsiteX1882" fmla="*/ 3283232 w 4545947"/>
              <a:gd name="connsiteY1882" fmla="*/ 3606383 h 4525940"/>
              <a:gd name="connsiteX1883" fmla="*/ 3274377 w 4545947"/>
              <a:gd name="connsiteY1883" fmla="*/ 3613610 h 4525940"/>
              <a:gd name="connsiteX1884" fmla="*/ 3260548 w 4545947"/>
              <a:gd name="connsiteY1884" fmla="*/ 3606968 h 4525940"/>
              <a:gd name="connsiteX1885" fmla="*/ 3252822 w 4545947"/>
              <a:gd name="connsiteY1885" fmla="*/ 3578594 h 4525940"/>
              <a:gd name="connsiteX1886" fmla="*/ 3252417 w 4545947"/>
              <a:gd name="connsiteY1886" fmla="*/ 3574234 h 4525940"/>
              <a:gd name="connsiteX1887" fmla="*/ 3264232 w 4545947"/>
              <a:gd name="connsiteY1887" fmla="*/ 3578304 h 4525940"/>
              <a:gd name="connsiteX1888" fmla="*/ 3270698 w 4545947"/>
              <a:gd name="connsiteY1888" fmla="*/ 3586713 h 4525940"/>
              <a:gd name="connsiteX1889" fmla="*/ 3275175 w 4545947"/>
              <a:gd name="connsiteY1889" fmla="*/ 3573523 h 4525940"/>
              <a:gd name="connsiteX1890" fmla="*/ 3272678 w 4545947"/>
              <a:gd name="connsiteY1890" fmla="*/ 3539117 h 4525940"/>
              <a:gd name="connsiteX1891" fmla="*/ 3255231 w 4545947"/>
              <a:gd name="connsiteY1891" fmla="*/ 3538110 h 4525940"/>
              <a:gd name="connsiteX1892" fmla="*/ 3237667 w 4545947"/>
              <a:gd name="connsiteY1892" fmla="*/ 3538572 h 4525940"/>
              <a:gd name="connsiteX1893" fmla="*/ 3215276 w 4545947"/>
              <a:gd name="connsiteY1893" fmla="*/ 3575977 h 4525940"/>
              <a:gd name="connsiteX1894" fmla="*/ 3204100 w 4545947"/>
              <a:gd name="connsiteY1894" fmla="*/ 3614296 h 4525940"/>
              <a:gd name="connsiteX1895" fmla="*/ 3195919 w 4545947"/>
              <a:gd name="connsiteY1895" fmla="*/ 3602335 h 4525940"/>
              <a:gd name="connsiteX1896" fmla="*/ 3187447 w 4545947"/>
              <a:gd name="connsiteY1896" fmla="*/ 3575429 h 4525940"/>
              <a:gd name="connsiteX1897" fmla="*/ 3171048 w 4545947"/>
              <a:gd name="connsiteY1897" fmla="*/ 3567461 h 4525940"/>
              <a:gd name="connsiteX1898" fmla="*/ 3164938 w 4545947"/>
              <a:gd name="connsiteY1898" fmla="*/ 3609962 h 4525940"/>
              <a:gd name="connsiteX1899" fmla="*/ 3163122 w 4545947"/>
              <a:gd name="connsiteY1899" fmla="*/ 3633289 h 4525940"/>
              <a:gd name="connsiteX1900" fmla="*/ 3156563 w 4545947"/>
              <a:gd name="connsiteY1900" fmla="*/ 3626962 h 4525940"/>
              <a:gd name="connsiteX1901" fmla="*/ 3120606 w 4545947"/>
              <a:gd name="connsiteY1901" fmla="*/ 3630123 h 4525940"/>
              <a:gd name="connsiteX1902" fmla="*/ 3126056 w 4545947"/>
              <a:gd name="connsiteY1902" fmla="*/ 3709259 h 4525940"/>
              <a:gd name="connsiteX1903" fmla="*/ 3143221 w 4545947"/>
              <a:gd name="connsiteY1903" fmla="*/ 3820049 h 4525940"/>
              <a:gd name="connsiteX1904" fmla="*/ 3143117 w 4545947"/>
              <a:gd name="connsiteY1904" fmla="*/ 3881775 h 4525940"/>
              <a:gd name="connsiteX1905" fmla="*/ 3132608 w 4545947"/>
              <a:gd name="connsiteY1905" fmla="*/ 3930839 h 4525940"/>
              <a:gd name="connsiteX1906" fmla="*/ 3121580 w 4545947"/>
              <a:gd name="connsiteY1906" fmla="*/ 3908681 h 4525940"/>
              <a:gd name="connsiteX1907" fmla="*/ 3117693 w 4545947"/>
              <a:gd name="connsiteY1907" fmla="*/ 3886523 h 4525940"/>
              <a:gd name="connsiteX1908" fmla="*/ 3110936 w 4545947"/>
              <a:gd name="connsiteY1908" fmla="*/ 3864365 h 4525940"/>
              <a:gd name="connsiteX1909" fmla="*/ 3104446 w 4545947"/>
              <a:gd name="connsiteY1909" fmla="*/ 3842207 h 4525940"/>
              <a:gd name="connsiteX1910" fmla="*/ 3098639 w 4545947"/>
              <a:gd name="connsiteY1910" fmla="*/ 3809238 h 4525940"/>
              <a:gd name="connsiteX1911" fmla="*/ 3091524 w 4545947"/>
              <a:gd name="connsiteY1911" fmla="*/ 3773890 h 4525940"/>
              <a:gd name="connsiteX1912" fmla="*/ 3086596 w 4545947"/>
              <a:gd name="connsiteY1912" fmla="*/ 3737594 h 4525940"/>
              <a:gd name="connsiteX1913" fmla="*/ 3082151 w 4545947"/>
              <a:gd name="connsiteY1913" fmla="*/ 3699699 h 4525940"/>
              <a:gd name="connsiteX1914" fmla="*/ 3080224 w 4545947"/>
              <a:gd name="connsiteY1914" fmla="*/ 3689829 h 4525940"/>
              <a:gd name="connsiteX1915" fmla="*/ 3078108 w 4545947"/>
              <a:gd name="connsiteY1915" fmla="*/ 3683935 h 4525940"/>
              <a:gd name="connsiteX1916" fmla="*/ 3073478 w 4545947"/>
              <a:gd name="connsiteY1916" fmla="*/ 3652809 h 4525940"/>
              <a:gd name="connsiteX1917" fmla="*/ 3068189 w 4545947"/>
              <a:gd name="connsiteY1917" fmla="*/ 3619131 h 4525940"/>
              <a:gd name="connsiteX1918" fmla="*/ 3062193 w 4545947"/>
              <a:gd name="connsiteY1918" fmla="*/ 3601193 h 4525940"/>
              <a:gd name="connsiteX1919" fmla="*/ 3058266 w 4545947"/>
              <a:gd name="connsiteY1919" fmla="*/ 3574728 h 4525940"/>
              <a:gd name="connsiteX1920" fmla="*/ 3057514 w 4545947"/>
              <a:gd name="connsiteY1920" fmla="*/ 3554356 h 4525940"/>
              <a:gd name="connsiteX1921" fmla="*/ 3056138 w 4545947"/>
              <a:gd name="connsiteY1921" fmla="*/ 3541627 h 4525940"/>
              <a:gd name="connsiteX1922" fmla="*/ 3049247 w 4545947"/>
              <a:gd name="connsiteY1922" fmla="*/ 3496938 h 4525940"/>
              <a:gd name="connsiteX1923" fmla="*/ 3017705 w 4545947"/>
              <a:gd name="connsiteY1923" fmla="*/ 3437032 h 4525940"/>
              <a:gd name="connsiteX1924" fmla="*/ 3009991 w 4545947"/>
              <a:gd name="connsiteY1924" fmla="*/ 3476935 h 4525940"/>
              <a:gd name="connsiteX1925" fmla="*/ 3007942 w 4545947"/>
              <a:gd name="connsiteY1925" fmla="*/ 3500341 h 4525940"/>
              <a:gd name="connsiteX1926" fmla="*/ 2999138 w 4545947"/>
              <a:gd name="connsiteY1926" fmla="*/ 3511736 h 4525940"/>
              <a:gd name="connsiteX1927" fmla="*/ 2994221 w 4545947"/>
              <a:gd name="connsiteY1927" fmla="*/ 3530249 h 4525940"/>
              <a:gd name="connsiteX1928" fmla="*/ 2994221 w 4545947"/>
              <a:gd name="connsiteY1928" fmla="*/ 3557784 h 4525940"/>
              <a:gd name="connsiteX1929" fmla="*/ 2981646 w 4545947"/>
              <a:gd name="connsiteY1929" fmla="*/ 3592138 h 4525940"/>
              <a:gd name="connsiteX1930" fmla="*/ 2972514 w 4545947"/>
              <a:gd name="connsiteY1930" fmla="*/ 3569980 h 4525940"/>
              <a:gd name="connsiteX1931" fmla="*/ 2966340 w 4545947"/>
              <a:gd name="connsiteY1931" fmla="*/ 3531984 h 4525940"/>
              <a:gd name="connsiteX1932" fmla="*/ 2959351 w 4545947"/>
              <a:gd name="connsiteY1932" fmla="*/ 3490460 h 4525940"/>
              <a:gd name="connsiteX1933" fmla="*/ 2955409 w 4545947"/>
              <a:gd name="connsiteY1933" fmla="*/ 3447123 h 4525940"/>
              <a:gd name="connsiteX1934" fmla="*/ 2946728 w 4545947"/>
              <a:gd name="connsiteY1934" fmla="*/ 3392826 h 4525940"/>
              <a:gd name="connsiteX1935" fmla="*/ 2940541 w 4545947"/>
              <a:gd name="connsiteY1935" fmla="*/ 3363958 h 4525940"/>
              <a:gd name="connsiteX1936" fmla="*/ 2928518 w 4545947"/>
              <a:gd name="connsiteY1936" fmla="*/ 3330135 h 4525940"/>
              <a:gd name="connsiteX1937" fmla="*/ 2925305 w 4545947"/>
              <a:gd name="connsiteY1937" fmla="*/ 3329407 h 4525940"/>
              <a:gd name="connsiteX1938" fmla="*/ 2922663 w 4545947"/>
              <a:gd name="connsiteY1938" fmla="*/ 3308194 h 4525940"/>
              <a:gd name="connsiteX1939" fmla="*/ 2924908 w 4545947"/>
              <a:gd name="connsiteY1939" fmla="*/ 3291324 h 4525940"/>
              <a:gd name="connsiteX1940" fmla="*/ 2907500 w 4545947"/>
              <a:gd name="connsiteY1940" fmla="*/ 3253437 h 4525940"/>
              <a:gd name="connsiteX1941" fmla="*/ 2902377 w 4545947"/>
              <a:gd name="connsiteY1941" fmla="*/ 3292044 h 4525940"/>
              <a:gd name="connsiteX1942" fmla="*/ 2888666 w 4545947"/>
              <a:gd name="connsiteY1942" fmla="*/ 3307676 h 4525940"/>
              <a:gd name="connsiteX1943" fmla="*/ 2869372 w 4545947"/>
              <a:gd name="connsiteY1943" fmla="*/ 3353858 h 4525940"/>
              <a:gd name="connsiteX1944" fmla="*/ 2866824 w 4545947"/>
              <a:gd name="connsiteY1944" fmla="*/ 3380956 h 4525940"/>
              <a:gd name="connsiteX1945" fmla="*/ 2845843 w 4545947"/>
              <a:gd name="connsiteY1945" fmla="*/ 3411053 h 4525940"/>
              <a:gd name="connsiteX1946" fmla="*/ 2841712 w 4545947"/>
              <a:gd name="connsiteY1946" fmla="*/ 3443363 h 4525940"/>
              <a:gd name="connsiteX1947" fmla="*/ 2832967 w 4545947"/>
              <a:gd name="connsiteY1947" fmla="*/ 3434642 h 4525940"/>
              <a:gd name="connsiteX1948" fmla="*/ 2826073 w 4545947"/>
              <a:gd name="connsiteY1948" fmla="*/ 3417638 h 4525940"/>
              <a:gd name="connsiteX1949" fmla="*/ 2821980 w 4545947"/>
              <a:gd name="connsiteY1949" fmla="*/ 3387738 h 4525940"/>
              <a:gd name="connsiteX1950" fmla="*/ 2817264 w 4545947"/>
              <a:gd name="connsiteY1950" fmla="*/ 3354095 h 4525940"/>
              <a:gd name="connsiteX1951" fmla="*/ 2813279 w 4545947"/>
              <a:gd name="connsiteY1951" fmla="*/ 3342069 h 4525940"/>
              <a:gd name="connsiteX1952" fmla="*/ 2808098 w 4545947"/>
              <a:gd name="connsiteY1952" fmla="*/ 3330990 h 4525940"/>
              <a:gd name="connsiteX1953" fmla="*/ 2796413 w 4545947"/>
              <a:gd name="connsiteY1953" fmla="*/ 3302501 h 4525940"/>
              <a:gd name="connsiteX1954" fmla="*/ 2785874 w 4545947"/>
              <a:gd name="connsiteY1954" fmla="*/ 3285284 h 4525940"/>
              <a:gd name="connsiteX1955" fmla="*/ 2785958 w 4545947"/>
              <a:gd name="connsiteY1955" fmla="*/ 3291929 h 4525940"/>
              <a:gd name="connsiteX1956" fmla="*/ 2790331 w 4545947"/>
              <a:gd name="connsiteY1956" fmla="*/ 3322979 h 4525940"/>
              <a:gd name="connsiteX1957" fmla="*/ 2775681 w 4545947"/>
              <a:gd name="connsiteY1957" fmla="*/ 3305853 h 4525940"/>
              <a:gd name="connsiteX1958" fmla="*/ 2763282 w 4545947"/>
              <a:gd name="connsiteY1958" fmla="*/ 3305853 h 4525940"/>
              <a:gd name="connsiteX1959" fmla="*/ 2753779 w 4545947"/>
              <a:gd name="connsiteY1959" fmla="*/ 3354086 h 4525940"/>
              <a:gd name="connsiteX1960" fmla="*/ 2760892 w 4545947"/>
              <a:gd name="connsiteY1960" fmla="*/ 3403232 h 4525940"/>
              <a:gd name="connsiteX1961" fmla="*/ 2766023 w 4545947"/>
              <a:gd name="connsiteY1961" fmla="*/ 3450840 h 4525940"/>
              <a:gd name="connsiteX1962" fmla="*/ 2750015 w 4545947"/>
              <a:gd name="connsiteY1962" fmla="*/ 3478697 h 4525940"/>
              <a:gd name="connsiteX1963" fmla="*/ 2739057 w 4545947"/>
              <a:gd name="connsiteY1963" fmla="*/ 3462355 h 4525940"/>
              <a:gd name="connsiteX1964" fmla="*/ 2732389 w 4545947"/>
              <a:gd name="connsiteY1964" fmla="*/ 3453537 h 4525940"/>
              <a:gd name="connsiteX1965" fmla="*/ 2712353 w 4545947"/>
              <a:gd name="connsiteY1965" fmla="*/ 3437032 h 4525940"/>
              <a:gd name="connsiteX1966" fmla="*/ 2706152 w 4545947"/>
              <a:gd name="connsiteY1966" fmla="*/ 3457689 h 4525940"/>
              <a:gd name="connsiteX1967" fmla="*/ 2696312 w 4545947"/>
              <a:gd name="connsiteY1967" fmla="*/ 3484595 h 4525940"/>
              <a:gd name="connsiteX1968" fmla="*/ 2687868 w 4545947"/>
              <a:gd name="connsiteY1968" fmla="*/ 3509837 h 4525940"/>
              <a:gd name="connsiteX1969" fmla="*/ 2690056 w 4545947"/>
              <a:gd name="connsiteY1969" fmla="*/ 3557318 h 4525940"/>
              <a:gd name="connsiteX1970" fmla="*/ 2694620 w 4545947"/>
              <a:gd name="connsiteY1970" fmla="*/ 3594273 h 4525940"/>
              <a:gd name="connsiteX1971" fmla="*/ 2682100 w 4545947"/>
              <a:gd name="connsiteY1971" fmla="*/ 3615329 h 4525940"/>
              <a:gd name="connsiteX1972" fmla="*/ 2675171 w 4545947"/>
              <a:gd name="connsiteY1972" fmla="*/ 3654278 h 4525940"/>
              <a:gd name="connsiteX1973" fmla="*/ 2680432 w 4545947"/>
              <a:gd name="connsiteY1973" fmla="*/ 3686784 h 4525940"/>
              <a:gd name="connsiteX1974" fmla="*/ 2683731 w 4545947"/>
              <a:gd name="connsiteY1974" fmla="*/ 3693432 h 4525940"/>
              <a:gd name="connsiteX1975" fmla="*/ 2699137 w 4545947"/>
              <a:gd name="connsiteY1975" fmla="*/ 3672350 h 4525940"/>
              <a:gd name="connsiteX1976" fmla="*/ 2709257 w 4545947"/>
              <a:gd name="connsiteY1976" fmla="*/ 3688362 h 4525940"/>
              <a:gd name="connsiteX1977" fmla="*/ 2719638 w 4545947"/>
              <a:gd name="connsiteY1977" fmla="*/ 3721312 h 4525940"/>
              <a:gd name="connsiteX1978" fmla="*/ 2731766 w 4545947"/>
              <a:gd name="connsiteY1978" fmla="*/ 3743285 h 4525940"/>
              <a:gd name="connsiteX1979" fmla="*/ 2734466 w 4545947"/>
              <a:gd name="connsiteY1979" fmla="*/ 3761914 h 4525940"/>
              <a:gd name="connsiteX1980" fmla="*/ 2733513 w 4545947"/>
              <a:gd name="connsiteY1980" fmla="*/ 3779804 h 4525940"/>
              <a:gd name="connsiteX1981" fmla="*/ 2724300 w 4545947"/>
              <a:gd name="connsiteY1981" fmla="*/ 3766243 h 4525940"/>
              <a:gd name="connsiteX1982" fmla="*/ 2709200 w 4545947"/>
              <a:gd name="connsiteY1982" fmla="*/ 3728581 h 4525940"/>
              <a:gd name="connsiteX1983" fmla="*/ 2698904 w 4545947"/>
              <a:gd name="connsiteY1983" fmla="*/ 3710865 h 4525940"/>
              <a:gd name="connsiteX1984" fmla="*/ 2694804 w 4545947"/>
              <a:gd name="connsiteY1984" fmla="*/ 3727472 h 4525940"/>
              <a:gd name="connsiteX1985" fmla="*/ 2703659 w 4545947"/>
              <a:gd name="connsiteY1985" fmla="*/ 3818561 h 4525940"/>
              <a:gd name="connsiteX1986" fmla="*/ 2704869 w 4545947"/>
              <a:gd name="connsiteY1986" fmla="*/ 3842295 h 4525940"/>
              <a:gd name="connsiteX1987" fmla="*/ 2706562 w 4545947"/>
              <a:gd name="connsiteY1987" fmla="*/ 3858401 h 4525940"/>
              <a:gd name="connsiteX1988" fmla="*/ 2703965 w 4545947"/>
              <a:gd name="connsiteY1988" fmla="*/ 3892854 h 4525940"/>
              <a:gd name="connsiteX1989" fmla="*/ 2697406 w 4545947"/>
              <a:gd name="connsiteY1989" fmla="*/ 3884624 h 4525940"/>
              <a:gd name="connsiteX1990" fmla="*/ 2692559 w 4545947"/>
              <a:gd name="connsiteY1990" fmla="*/ 3869377 h 4525940"/>
              <a:gd name="connsiteX1991" fmla="*/ 2685914 w 4545947"/>
              <a:gd name="connsiteY1991" fmla="*/ 3829043 h 4525940"/>
              <a:gd name="connsiteX1992" fmla="*/ 2680432 w 4545947"/>
              <a:gd name="connsiteY1992" fmla="*/ 3788895 h 4525940"/>
              <a:gd name="connsiteX1993" fmla="*/ 2673617 w 4545947"/>
              <a:gd name="connsiteY1993" fmla="*/ 3763071 h 4525940"/>
              <a:gd name="connsiteX1994" fmla="*/ 2664856 w 4545947"/>
              <a:gd name="connsiteY1994" fmla="*/ 3734582 h 4525940"/>
              <a:gd name="connsiteX1995" fmla="*/ 2656320 w 4545947"/>
              <a:gd name="connsiteY1995" fmla="*/ 3707405 h 4525940"/>
              <a:gd name="connsiteX1996" fmla="*/ 2633990 w 4545947"/>
              <a:gd name="connsiteY1996" fmla="*/ 3694220 h 4525940"/>
              <a:gd name="connsiteX1997" fmla="*/ 2634199 w 4545947"/>
              <a:gd name="connsiteY1997" fmla="*/ 3713122 h 4525940"/>
              <a:gd name="connsiteX1998" fmla="*/ 2640557 w 4545947"/>
              <a:gd name="connsiteY1998" fmla="*/ 3737638 h 4525940"/>
              <a:gd name="connsiteX1999" fmla="*/ 2633998 w 4545947"/>
              <a:gd name="connsiteY1999" fmla="*/ 3747244 h 4525940"/>
              <a:gd name="connsiteX2000" fmla="*/ 2627438 w 4545947"/>
              <a:gd name="connsiteY2000" fmla="*/ 3730840 h 4525940"/>
              <a:gd name="connsiteX2001" fmla="*/ 2621342 w 4545947"/>
              <a:gd name="connsiteY2001" fmla="*/ 3725705 h 4525940"/>
              <a:gd name="connsiteX2002" fmla="*/ 2612167 w 4545947"/>
              <a:gd name="connsiteY2002" fmla="*/ 3690686 h 4525940"/>
              <a:gd name="connsiteX2003" fmla="*/ 2605145 w 4545947"/>
              <a:gd name="connsiteY2003" fmla="*/ 3652281 h 4525940"/>
              <a:gd name="connsiteX2004" fmla="*/ 2601104 w 4545947"/>
              <a:gd name="connsiteY2004" fmla="*/ 3634871 h 4525940"/>
              <a:gd name="connsiteX2005" fmla="*/ 2577610 w 4545947"/>
              <a:gd name="connsiteY2005" fmla="*/ 3591006 h 4525940"/>
              <a:gd name="connsiteX2006" fmla="*/ 2572247 w 4545947"/>
              <a:gd name="connsiteY2006" fmla="*/ 3626110 h 4525940"/>
              <a:gd name="connsiteX2007" fmla="*/ 2573455 w 4545947"/>
              <a:gd name="connsiteY2007" fmla="*/ 3664943 h 4525940"/>
              <a:gd name="connsiteX2008" fmla="*/ 2553099 w 4545947"/>
              <a:gd name="connsiteY2008" fmla="*/ 3631003 h 4525940"/>
              <a:gd name="connsiteX2009" fmla="*/ 2543260 w 4545947"/>
              <a:gd name="connsiteY2009" fmla="*/ 3614862 h 4525940"/>
              <a:gd name="connsiteX2010" fmla="*/ 2530623 w 4545947"/>
              <a:gd name="connsiteY2010" fmla="*/ 3640554 h 4525940"/>
              <a:gd name="connsiteX2011" fmla="*/ 2526305 w 4545947"/>
              <a:gd name="connsiteY2011" fmla="*/ 3708293 h 4525940"/>
              <a:gd name="connsiteX2012" fmla="*/ 2519771 w 4545947"/>
              <a:gd name="connsiteY2012" fmla="*/ 3750816 h 4525940"/>
              <a:gd name="connsiteX2013" fmla="*/ 2522540 w 4545947"/>
              <a:gd name="connsiteY2013" fmla="*/ 3784928 h 4525940"/>
              <a:gd name="connsiteX2014" fmla="*/ 2509726 w 4545947"/>
              <a:gd name="connsiteY2014" fmla="*/ 3781217 h 4525940"/>
              <a:gd name="connsiteX2015" fmla="*/ 2486852 w 4545947"/>
              <a:gd name="connsiteY2015" fmla="*/ 3820858 h 4525940"/>
              <a:gd name="connsiteX2016" fmla="*/ 2481921 w 4545947"/>
              <a:gd name="connsiteY2016" fmla="*/ 3848538 h 4525940"/>
              <a:gd name="connsiteX2017" fmla="*/ 2462933 w 4545947"/>
              <a:gd name="connsiteY2017" fmla="*/ 3811532 h 4525940"/>
              <a:gd name="connsiteX2018" fmla="*/ 2456776 w 4545947"/>
              <a:gd name="connsiteY2018" fmla="*/ 3791560 h 4525940"/>
              <a:gd name="connsiteX2019" fmla="*/ 2448685 w 4545947"/>
              <a:gd name="connsiteY2019" fmla="*/ 3772074 h 4525940"/>
              <a:gd name="connsiteX2020" fmla="*/ 2427873 w 4545947"/>
              <a:gd name="connsiteY2020" fmla="*/ 3768017 h 4525940"/>
              <a:gd name="connsiteX2021" fmla="*/ 2429236 w 4545947"/>
              <a:gd name="connsiteY2021" fmla="*/ 3769526 h 4525940"/>
              <a:gd name="connsiteX2022" fmla="*/ 2443776 w 4545947"/>
              <a:gd name="connsiteY2022" fmla="*/ 3766237 h 4525940"/>
              <a:gd name="connsiteX2023" fmla="*/ 2440496 w 4545947"/>
              <a:gd name="connsiteY2023" fmla="*/ 3772608 h 4525940"/>
              <a:gd name="connsiteX2024" fmla="*/ 2429564 w 4545947"/>
              <a:gd name="connsiteY2024" fmla="*/ 3792113 h 4525940"/>
              <a:gd name="connsiteX2025" fmla="*/ 2430302 w 4545947"/>
              <a:gd name="connsiteY2025" fmla="*/ 3873416 h 4525940"/>
              <a:gd name="connsiteX2026" fmla="*/ 2444369 w 4545947"/>
              <a:gd name="connsiteY2026" fmla="*/ 3924805 h 4525940"/>
              <a:gd name="connsiteX2027" fmla="*/ 2453931 w 4545947"/>
              <a:gd name="connsiteY2027" fmla="*/ 3969610 h 4525940"/>
              <a:gd name="connsiteX2028" fmla="*/ 2450930 w 4545947"/>
              <a:gd name="connsiteY2028" fmla="*/ 3988781 h 4525940"/>
              <a:gd name="connsiteX2029" fmla="*/ 2449419 w 4545947"/>
              <a:gd name="connsiteY2029" fmla="*/ 4093060 h 4525940"/>
              <a:gd name="connsiteX2030" fmla="*/ 2447957 w 4545947"/>
              <a:gd name="connsiteY2030" fmla="*/ 4143094 h 4525940"/>
              <a:gd name="connsiteX2031" fmla="*/ 2430657 w 4545947"/>
              <a:gd name="connsiteY2031" fmla="*/ 4117769 h 4525940"/>
              <a:gd name="connsiteX2032" fmla="*/ 2414924 w 4545947"/>
              <a:gd name="connsiteY2032" fmla="*/ 4063787 h 4525940"/>
              <a:gd name="connsiteX2033" fmla="*/ 2408246 w 4545947"/>
              <a:gd name="connsiteY2033" fmla="*/ 4057456 h 4525940"/>
              <a:gd name="connsiteX2034" fmla="*/ 2406606 w 4545947"/>
              <a:gd name="connsiteY2034" fmla="*/ 4044794 h 4525940"/>
              <a:gd name="connsiteX2035" fmla="*/ 2404966 w 4545947"/>
              <a:gd name="connsiteY2035" fmla="*/ 3991434 h 4525940"/>
              <a:gd name="connsiteX2036" fmla="*/ 2396933 w 4545947"/>
              <a:gd name="connsiteY2036" fmla="*/ 3933567 h 4525940"/>
              <a:gd name="connsiteX2037" fmla="*/ 2388791 w 4545947"/>
              <a:gd name="connsiteY2037" fmla="*/ 3915705 h 4525940"/>
              <a:gd name="connsiteX2038" fmla="*/ 2384965 w 4545947"/>
              <a:gd name="connsiteY2038" fmla="*/ 3854869 h 4525940"/>
              <a:gd name="connsiteX2039" fmla="*/ 2358125 w 4545947"/>
              <a:gd name="connsiteY2039" fmla="*/ 3777893 h 4525940"/>
              <a:gd name="connsiteX2040" fmla="*/ 2348290 w 4545947"/>
              <a:gd name="connsiteY2040" fmla="*/ 3762998 h 4525940"/>
              <a:gd name="connsiteX2041" fmla="*/ 2331066 w 4545947"/>
              <a:gd name="connsiteY2041" fmla="*/ 3743626 h 4525940"/>
              <a:gd name="connsiteX2042" fmla="*/ 2322362 w 4545947"/>
              <a:gd name="connsiteY2042" fmla="*/ 3790153 h 4525940"/>
              <a:gd name="connsiteX2043" fmla="*/ 2325585 w 4545947"/>
              <a:gd name="connsiteY2043" fmla="*/ 3839042 h 4525940"/>
              <a:gd name="connsiteX2044" fmla="*/ 2331015 w 4545947"/>
              <a:gd name="connsiteY2044" fmla="*/ 3907844 h 4525940"/>
              <a:gd name="connsiteX2045" fmla="*/ 2310583 w 4545947"/>
              <a:gd name="connsiteY2045" fmla="*/ 3877027 h 4525940"/>
              <a:gd name="connsiteX2046" fmla="*/ 2308008 w 4545947"/>
              <a:gd name="connsiteY2046" fmla="*/ 3820722 h 4525940"/>
              <a:gd name="connsiteX2047" fmla="*/ 2289689 w 4545947"/>
              <a:gd name="connsiteY2047" fmla="*/ 3772664 h 4525940"/>
              <a:gd name="connsiteX2048" fmla="*/ 2271750 w 4545947"/>
              <a:gd name="connsiteY2048" fmla="*/ 3824865 h 4525940"/>
              <a:gd name="connsiteX2049" fmla="*/ 2269535 w 4545947"/>
              <a:gd name="connsiteY2049" fmla="*/ 3826984 h 4525940"/>
              <a:gd name="connsiteX2050" fmla="*/ 2264486 w 4545947"/>
              <a:gd name="connsiteY2050" fmla="*/ 3832337 h 4525940"/>
              <a:gd name="connsiteX2051" fmla="*/ 2259765 w 4545947"/>
              <a:gd name="connsiteY2051" fmla="*/ 3842207 h 4525940"/>
              <a:gd name="connsiteX2052" fmla="*/ 2257927 w 4545947"/>
              <a:gd name="connsiteY2052" fmla="*/ 3823214 h 4525940"/>
              <a:gd name="connsiteX2053" fmla="*/ 2255775 w 4545947"/>
              <a:gd name="connsiteY2053" fmla="*/ 3804222 h 4525940"/>
              <a:gd name="connsiteX2054" fmla="*/ 2243620 w 4545947"/>
              <a:gd name="connsiteY2054" fmla="*/ 3793911 h 4525940"/>
              <a:gd name="connsiteX2055" fmla="*/ 2246518 w 4545947"/>
              <a:gd name="connsiteY2055" fmla="*/ 3771854 h 4525940"/>
              <a:gd name="connsiteX2056" fmla="*/ 2253959 w 4545947"/>
              <a:gd name="connsiteY2056" fmla="*/ 3733428 h 4525940"/>
              <a:gd name="connsiteX2057" fmla="*/ 2247002 w 4545947"/>
              <a:gd name="connsiteY2057" fmla="*/ 3700406 h 4525940"/>
              <a:gd name="connsiteX2058" fmla="*/ 2242621 w 4545947"/>
              <a:gd name="connsiteY2058" fmla="*/ 3683863 h 4525940"/>
              <a:gd name="connsiteX2059" fmla="*/ 2233875 w 4545947"/>
              <a:gd name="connsiteY2059" fmla="*/ 3660071 h 4525940"/>
              <a:gd name="connsiteX2060" fmla="*/ 2225130 w 4545947"/>
              <a:gd name="connsiteY2060" fmla="*/ 3633553 h 4525940"/>
              <a:gd name="connsiteX2061" fmla="*/ 2221850 w 4545947"/>
              <a:gd name="connsiteY2061" fmla="*/ 3620071 h 4525940"/>
              <a:gd name="connsiteX2062" fmla="*/ 2203265 w 4545947"/>
              <a:gd name="connsiteY2062" fmla="*/ 3618488 h 4525940"/>
              <a:gd name="connsiteX2063" fmla="*/ 2189200 w 4545947"/>
              <a:gd name="connsiteY2063" fmla="*/ 3640708 h 4525940"/>
              <a:gd name="connsiteX2064" fmla="*/ 2181231 w 4545947"/>
              <a:gd name="connsiteY2064" fmla="*/ 3668186 h 4525940"/>
              <a:gd name="connsiteX2065" fmla="*/ 2174574 w 4545947"/>
              <a:gd name="connsiteY2065" fmla="*/ 3682047 h 4525940"/>
              <a:gd name="connsiteX2066" fmla="*/ 2169669 w 4545947"/>
              <a:gd name="connsiteY2066" fmla="*/ 3687533 h 4525940"/>
              <a:gd name="connsiteX2067" fmla="*/ 2170689 w 4545947"/>
              <a:gd name="connsiteY2067" fmla="*/ 3696951 h 4525940"/>
              <a:gd name="connsiteX2068" fmla="*/ 2195588 w 4545947"/>
              <a:gd name="connsiteY2068" fmla="*/ 3707322 h 4525940"/>
              <a:gd name="connsiteX2069" fmla="*/ 2212011 w 4545947"/>
              <a:gd name="connsiteY2069" fmla="*/ 3724422 h 4525940"/>
              <a:gd name="connsiteX2070" fmla="*/ 2216999 w 4545947"/>
              <a:gd name="connsiteY2070" fmla="*/ 3751934 h 4525940"/>
              <a:gd name="connsiteX2071" fmla="*/ 2218775 w 4545947"/>
              <a:gd name="connsiteY2071" fmla="*/ 3835779 h 4525940"/>
              <a:gd name="connsiteX2072" fmla="*/ 2201276 w 4545947"/>
              <a:gd name="connsiteY2072" fmla="*/ 3794726 h 4525940"/>
              <a:gd name="connsiteX2073" fmla="*/ 2176875 w 4545947"/>
              <a:gd name="connsiteY2073" fmla="*/ 3755596 h 4525940"/>
              <a:gd name="connsiteX2074" fmla="*/ 2138525 w 4545947"/>
              <a:gd name="connsiteY2074" fmla="*/ 3709464 h 4525940"/>
              <a:gd name="connsiteX2075" fmla="*/ 2105352 w 4545947"/>
              <a:gd name="connsiteY2075" fmla="*/ 3672844 h 4525940"/>
              <a:gd name="connsiteX2076" fmla="*/ 2107864 w 4545947"/>
              <a:gd name="connsiteY2076" fmla="*/ 3702928 h 4525940"/>
              <a:gd name="connsiteX2077" fmla="*/ 2110750 w 4545947"/>
              <a:gd name="connsiteY2077" fmla="*/ 3725675 h 4525940"/>
              <a:gd name="connsiteX2078" fmla="*/ 2116974 w 4545947"/>
              <a:gd name="connsiteY2078" fmla="*/ 3756445 h 4525940"/>
              <a:gd name="connsiteX2079" fmla="*/ 2124552 w 4545947"/>
              <a:gd name="connsiteY2079" fmla="*/ 3778014 h 4525940"/>
              <a:gd name="connsiteX2080" fmla="*/ 2111517 w 4545947"/>
              <a:gd name="connsiteY2080" fmla="*/ 3791560 h 4525940"/>
              <a:gd name="connsiteX2081" fmla="*/ 2095798 w 4545947"/>
              <a:gd name="connsiteY2081" fmla="*/ 3807039 h 4525940"/>
              <a:gd name="connsiteX2082" fmla="*/ 2085876 w 4545947"/>
              <a:gd name="connsiteY2082" fmla="*/ 3825297 h 4525940"/>
              <a:gd name="connsiteX2083" fmla="*/ 2088181 w 4545947"/>
              <a:gd name="connsiteY2083" fmla="*/ 3828811 h 4525940"/>
              <a:gd name="connsiteX2084" fmla="*/ 2100377 w 4545947"/>
              <a:gd name="connsiteY2084" fmla="*/ 3841641 h 4525940"/>
              <a:gd name="connsiteX2085" fmla="*/ 2114029 w 4545947"/>
              <a:gd name="connsiteY2085" fmla="*/ 3864171 h 4525940"/>
              <a:gd name="connsiteX2086" fmla="*/ 2123698 w 4545947"/>
              <a:gd name="connsiteY2086" fmla="*/ 3901140 h 4525940"/>
              <a:gd name="connsiteX2087" fmla="*/ 2107910 w 4545947"/>
              <a:gd name="connsiteY2087" fmla="*/ 3911846 h 4525940"/>
              <a:gd name="connsiteX2088" fmla="*/ 2080582 w 4545947"/>
              <a:gd name="connsiteY2088" fmla="*/ 3849939 h 4525940"/>
              <a:gd name="connsiteX2089" fmla="*/ 2054585 w 4545947"/>
              <a:gd name="connsiteY2089" fmla="*/ 3858695 h 4525940"/>
              <a:gd name="connsiteX2090" fmla="*/ 2039326 w 4545947"/>
              <a:gd name="connsiteY2090" fmla="*/ 3863960 h 4525940"/>
              <a:gd name="connsiteX2091" fmla="*/ 2021367 w 4545947"/>
              <a:gd name="connsiteY2091" fmla="*/ 3870003 h 4525940"/>
              <a:gd name="connsiteX2092" fmla="*/ 2006483 w 4545947"/>
              <a:gd name="connsiteY2092" fmla="*/ 3867904 h 4525940"/>
              <a:gd name="connsiteX2093" fmla="*/ 2002040 w 4545947"/>
              <a:gd name="connsiteY2093" fmla="*/ 3851640 h 4525940"/>
              <a:gd name="connsiteX2094" fmla="*/ 2000327 w 4545947"/>
              <a:gd name="connsiteY2094" fmla="*/ 3841264 h 4525940"/>
              <a:gd name="connsiteX2095" fmla="*/ 1993839 w 4545947"/>
              <a:gd name="connsiteY2095" fmla="*/ 3825515 h 4525940"/>
              <a:gd name="connsiteX2096" fmla="*/ 1984619 w 4545947"/>
              <a:gd name="connsiteY2096" fmla="*/ 3795142 h 4525940"/>
              <a:gd name="connsiteX2097" fmla="*/ 1964941 w 4545947"/>
              <a:gd name="connsiteY2097" fmla="*/ 3766237 h 4525940"/>
              <a:gd name="connsiteX2098" fmla="*/ 1958381 w 4545947"/>
              <a:gd name="connsiteY2098" fmla="*/ 3782839 h 4525940"/>
              <a:gd name="connsiteX2099" fmla="*/ 1951822 w 4545947"/>
              <a:gd name="connsiteY2099" fmla="*/ 3791560 h 4525940"/>
              <a:gd name="connsiteX2100" fmla="*/ 1945262 w 4545947"/>
              <a:gd name="connsiteY2100" fmla="*/ 3785229 h 4525940"/>
              <a:gd name="connsiteX2101" fmla="*/ 1932144 w 4545947"/>
              <a:gd name="connsiteY2101" fmla="*/ 3778898 h 4525940"/>
              <a:gd name="connsiteX2102" fmla="*/ 1919025 w 4545947"/>
              <a:gd name="connsiteY2102" fmla="*/ 3763599 h 4525940"/>
              <a:gd name="connsiteX2103" fmla="*/ 1923488 w 4545947"/>
              <a:gd name="connsiteY2103" fmla="*/ 3746145 h 4525940"/>
              <a:gd name="connsiteX2104" fmla="*/ 1908872 w 4545947"/>
              <a:gd name="connsiteY2104" fmla="*/ 3705513 h 4525940"/>
              <a:gd name="connsiteX2105" fmla="*/ 1884041 w 4545947"/>
              <a:gd name="connsiteY2105" fmla="*/ 3735980 h 4525940"/>
              <a:gd name="connsiteX2106" fmla="*/ 1888568 w 4545947"/>
              <a:gd name="connsiteY2106" fmla="*/ 3760322 h 4525940"/>
              <a:gd name="connsiteX2107" fmla="*/ 1875988 w 4545947"/>
              <a:gd name="connsiteY2107" fmla="*/ 3764707 h 4525940"/>
              <a:gd name="connsiteX2108" fmla="*/ 1866434 w 4545947"/>
              <a:gd name="connsiteY2108" fmla="*/ 3766290 h 4525940"/>
              <a:gd name="connsiteX2109" fmla="*/ 1866075 w 4545947"/>
              <a:gd name="connsiteY2109" fmla="*/ 3797891 h 4525940"/>
              <a:gd name="connsiteX2110" fmla="*/ 1872718 w 4545947"/>
              <a:gd name="connsiteY2110" fmla="*/ 3813718 h 4525940"/>
              <a:gd name="connsiteX2111" fmla="*/ 1879752 w 4545947"/>
              <a:gd name="connsiteY2111" fmla="*/ 3829545 h 4525940"/>
              <a:gd name="connsiteX2112" fmla="*/ 1884041 w 4545947"/>
              <a:gd name="connsiteY2112" fmla="*/ 3844998 h 4525940"/>
              <a:gd name="connsiteX2113" fmla="*/ 1888645 w 4545947"/>
              <a:gd name="connsiteY2113" fmla="*/ 3864572 h 4525940"/>
              <a:gd name="connsiteX2114" fmla="*/ 1891630 w 4545947"/>
              <a:gd name="connsiteY2114" fmla="*/ 3875720 h 4525940"/>
              <a:gd name="connsiteX2115" fmla="*/ 1913437 w 4545947"/>
              <a:gd name="connsiteY2115" fmla="*/ 3905515 h 4525940"/>
              <a:gd name="connsiteX2116" fmla="*/ 1923398 w 4545947"/>
              <a:gd name="connsiteY2116" fmla="*/ 3915012 h 4525940"/>
              <a:gd name="connsiteX2117" fmla="*/ 1927771 w 4545947"/>
              <a:gd name="connsiteY2117" fmla="*/ 3924508 h 4525940"/>
              <a:gd name="connsiteX2118" fmla="*/ 1932144 w 4545947"/>
              <a:gd name="connsiteY2118" fmla="*/ 3936947 h 4525940"/>
              <a:gd name="connsiteX2119" fmla="*/ 1940889 w 4545947"/>
              <a:gd name="connsiteY2119" fmla="*/ 3956162 h 4525940"/>
              <a:gd name="connsiteX2120" fmla="*/ 1935640 w 4545947"/>
              <a:gd name="connsiteY2120" fmla="*/ 3972686 h 4525940"/>
              <a:gd name="connsiteX2121" fmla="*/ 1919242 w 4545947"/>
              <a:gd name="connsiteY2121" fmla="*/ 3963834 h 4525940"/>
              <a:gd name="connsiteX2122" fmla="*/ 1904617 w 4545947"/>
              <a:gd name="connsiteY2122" fmla="*/ 3947772 h 4525940"/>
              <a:gd name="connsiteX2123" fmla="*/ 1888202 w 4545947"/>
              <a:gd name="connsiteY2123" fmla="*/ 3920535 h 4525940"/>
              <a:gd name="connsiteX2124" fmla="*/ 1866862 w 4545947"/>
              <a:gd name="connsiteY2124" fmla="*/ 3886523 h 4525940"/>
              <a:gd name="connsiteX2125" fmla="*/ 1862177 w 4545947"/>
              <a:gd name="connsiteY2125" fmla="*/ 3874314 h 4525940"/>
              <a:gd name="connsiteX2126" fmla="*/ 1856466 w 4545947"/>
              <a:gd name="connsiteY2126" fmla="*/ 3853739 h 4525940"/>
              <a:gd name="connsiteX2127" fmla="*/ 1847857 w 4545947"/>
              <a:gd name="connsiteY2127" fmla="*/ 3834293 h 4525940"/>
              <a:gd name="connsiteX2128" fmla="*/ 1824179 w 4545947"/>
              <a:gd name="connsiteY2128" fmla="*/ 3833550 h 4525940"/>
              <a:gd name="connsiteX2129" fmla="*/ 1826806 w 4545947"/>
              <a:gd name="connsiteY2129" fmla="*/ 3856324 h 4525940"/>
              <a:gd name="connsiteX2130" fmla="*/ 1829445 w 4545947"/>
              <a:gd name="connsiteY2130" fmla="*/ 3872712 h 4525940"/>
              <a:gd name="connsiteX2131" fmla="*/ 1823072 w 4545947"/>
              <a:gd name="connsiteY2131" fmla="*/ 3868119 h 4525940"/>
              <a:gd name="connsiteX2132" fmla="*/ 1809702 w 4545947"/>
              <a:gd name="connsiteY2132" fmla="*/ 3881158 h 4525940"/>
              <a:gd name="connsiteX2133" fmla="*/ 1818447 w 4545947"/>
              <a:gd name="connsiteY2133" fmla="*/ 3897350 h 4525940"/>
              <a:gd name="connsiteX2134" fmla="*/ 1827193 w 4545947"/>
              <a:gd name="connsiteY2134" fmla="*/ 3916052 h 4525940"/>
              <a:gd name="connsiteX2135" fmla="*/ 1856256 w 4545947"/>
              <a:gd name="connsiteY2135" fmla="*/ 3962493 h 4525940"/>
              <a:gd name="connsiteX2136" fmla="*/ 1862177 w 4545947"/>
              <a:gd name="connsiteY2136" fmla="*/ 3975155 h 4525940"/>
              <a:gd name="connsiteX2137" fmla="*/ 1851780 w 4545947"/>
              <a:gd name="connsiteY2137" fmla="*/ 3987817 h 4525940"/>
              <a:gd name="connsiteX2138" fmla="*/ 1835939 w 4545947"/>
              <a:gd name="connsiteY2138" fmla="*/ 3997313 h 4525940"/>
              <a:gd name="connsiteX2139" fmla="*/ 1826658 w 4545947"/>
              <a:gd name="connsiteY2139" fmla="*/ 4006809 h 4525940"/>
              <a:gd name="connsiteX2140" fmla="*/ 1822820 w 4545947"/>
              <a:gd name="connsiteY2140" fmla="*/ 3997313 h 4525940"/>
              <a:gd name="connsiteX2141" fmla="*/ 1818447 w 4545947"/>
              <a:gd name="connsiteY2141" fmla="*/ 3987817 h 4525940"/>
              <a:gd name="connsiteX2142" fmla="*/ 1814075 w 4545947"/>
              <a:gd name="connsiteY2142" fmla="*/ 3977485 h 4525940"/>
              <a:gd name="connsiteX2143" fmla="*/ 1786969 w 4545947"/>
              <a:gd name="connsiteY2143" fmla="*/ 3911104 h 4525940"/>
              <a:gd name="connsiteX2144" fmla="*/ 1779091 w 4545947"/>
              <a:gd name="connsiteY2144" fmla="*/ 3887418 h 4525940"/>
              <a:gd name="connsiteX2145" fmla="*/ 1741945 w 4545947"/>
              <a:gd name="connsiteY2145" fmla="*/ 3805804 h 4525940"/>
              <a:gd name="connsiteX2146" fmla="*/ 1725644 w 4545947"/>
              <a:gd name="connsiteY2146" fmla="*/ 3791560 h 4525940"/>
              <a:gd name="connsiteX2147" fmla="*/ 1717870 w 4545947"/>
              <a:gd name="connsiteY2147" fmla="*/ 3781609 h 4525940"/>
              <a:gd name="connsiteX2148" fmla="*/ 1690111 w 4545947"/>
              <a:gd name="connsiteY2148" fmla="*/ 3710809 h 4525940"/>
              <a:gd name="connsiteX2149" fmla="*/ 1680232 w 4545947"/>
              <a:gd name="connsiteY2149" fmla="*/ 3693432 h 4525940"/>
              <a:gd name="connsiteX2150" fmla="*/ 1667809 w 4545947"/>
              <a:gd name="connsiteY2150" fmla="*/ 3678612 h 4525940"/>
              <a:gd name="connsiteX2151" fmla="*/ 1643530 w 4545947"/>
              <a:gd name="connsiteY2151" fmla="*/ 3646410 h 4525940"/>
              <a:gd name="connsiteX2152" fmla="*/ 1632598 w 4545947"/>
              <a:gd name="connsiteY2152" fmla="*/ 3628089 h 4525940"/>
              <a:gd name="connsiteX2153" fmla="*/ 1621666 w 4545947"/>
              <a:gd name="connsiteY2153" fmla="*/ 3599604 h 4525940"/>
              <a:gd name="connsiteX2154" fmla="*/ 1607892 w 4545947"/>
              <a:gd name="connsiteY2154" fmla="*/ 3573621 h 4525940"/>
              <a:gd name="connsiteX2155" fmla="*/ 1582310 w 4545947"/>
              <a:gd name="connsiteY2155" fmla="*/ 3590188 h 4525940"/>
              <a:gd name="connsiteX2156" fmla="*/ 1556968 w 4545947"/>
              <a:gd name="connsiteY2156" fmla="*/ 3581059 h 4525940"/>
              <a:gd name="connsiteX2157" fmla="*/ 1548180 w 4545947"/>
              <a:gd name="connsiteY2157" fmla="*/ 3562841 h 4525940"/>
              <a:gd name="connsiteX2158" fmla="*/ 1525461 w 4545947"/>
              <a:gd name="connsiteY2158" fmla="*/ 3564887 h 4525940"/>
              <a:gd name="connsiteX2159" fmla="*/ 1521880 w 4545947"/>
              <a:gd name="connsiteY2159" fmla="*/ 3567523 h 4525940"/>
              <a:gd name="connsiteX2160" fmla="*/ 1528124 w 4545947"/>
              <a:gd name="connsiteY2160" fmla="*/ 3608537 h 4525940"/>
              <a:gd name="connsiteX2161" fmla="*/ 1534207 w 4545947"/>
              <a:gd name="connsiteY2161" fmla="*/ 3628104 h 4525940"/>
              <a:gd name="connsiteX2162" fmla="*/ 1548057 w 4545947"/>
              <a:gd name="connsiteY2162" fmla="*/ 3665312 h 4525940"/>
              <a:gd name="connsiteX2163" fmla="*/ 1562692 w 4545947"/>
              <a:gd name="connsiteY2163" fmla="*/ 3701343 h 4525940"/>
              <a:gd name="connsiteX2164" fmla="*/ 1578407 w 4545947"/>
              <a:gd name="connsiteY2164" fmla="*/ 3761403 h 4525940"/>
              <a:gd name="connsiteX2165" fmla="*/ 1582310 w 4545947"/>
              <a:gd name="connsiteY2165" fmla="*/ 3785236 h 4525940"/>
              <a:gd name="connsiteX2166" fmla="*/ 1595866 w 4545947"/>
              <a:gd name="connsiteY2166" fmla="*/ 3810012 h 4525940"/>
              <a:gd name="connsiteX2167" fmla="*/ 1609422 w 4545947"/>
              <a:gd name="connsiteY2167" fmla="*/ 3821947 h 4525940"/>
              <a:gd name="connsiteX2168" fmla="*/ 1599783 w 4545947"/>
              <a:gd name="connsiteY2168" fmla="*/ 3835903 h 4525940"/>
              <a:gd name="connsiteX2169" fmla="*/ 1592769 w 4545947"/>
              <a:gd name="connsiteY2169" fmla="*/ 3868858 h 4525940"/>
              <a:gd name="connsiteX2170" fmla="*/ 1589357 w 4545947"/>
              <a:gd name="connsiteY2170" fmla="*/ 3884504 h 4525940"/>
              <a:gd name="connsiteX2171" fmla="*/ 1588146 w 4545947"/>
              <a:gd name="connsiteY2171" fmla="*/ 3899664 h 4525940"/>
              <a:gd name="connsiteX2172" fmla="*/ 1602110 w 4545947"/>
              <a:gd name="connsiteY2172" fmla="*/ 3918177 h 4525940"/>
              <a:gd name="connsiteX2173" fmla="*/ 1628191 w 4545947"/>
              <a:gd name="connsiteY2173" fmla="*/ 3950044 h 4525940"/>
              <a:gd name="connsiteX2174" fmla="*/ 1632855 w 4545947"/>
              <a:gd name="connsiteY2174" fmla="*/ 3989399 h 4525940"/>
              <a:gd name="connsiteX2175" fmla="*/ 1631957 w 4545947"/>
              <a:gd name="connsiteY2175" fmla="*/ 4013140 h 4525940"/>
              <a:gd name="connsiteX2176" fmla="*/ 1608547 w 4545947"/>
              <a:gd name="connsiteY2176" fmla="*/ 3977962 h 4525940"/>
              <a:gd name="connsiteX2177" fmla="*/ 1603916 w 4545947"/>
              <a:gd name="connsiteY2177" fmla="*/ 3962493 h 4525940"/>
              <a:gd name="connsiteX2178" fmla="*/ 1602413 w 4545947"/>
              <a:gd name="connsiteY2178" fmla="*/ 3955165 h 4525940"/>
              <a:gd name="connsiteX2179" fmla="*/ 1596313 w 4545947"/>
              <a:gd name="connsiteY2179" fmla="*/ 3951331 h 4525940"/>
              <a:gd name="connsiteX2180" fmla="*/ 1579635 w 4545947"/>
              <a:gd name="connsiteY2180" fmla="*/ 3938084 h 4525940"/>
              <a:gd name="connsiteX2181" fmla="*/ 1566316 w 4545947"/>
              <a:gd name="connsiteY2181" fmla="*/ 3916280 h 4525940"/>
              <a:gd name="connsiteX2182" fmla="*/ 1560307 w 4545947"/>
              <a:gd name="connsiteY2182" fmla="*/ 3894122 h 4525940"/>
              <a:gd name="connsiteX2183" fmla="*/ 1530293 w 4545947"/>
              <a:gd name="connsiteY2183" fmla="*/ 3846530 h 4525940"/>
              <a:gd name="connsiteX2184" fmla="*/ 1532819 w 4545947"/>
              <a:gd name="connsiteY2184" fmla="*/ 3820661 h 4525940"/>
              <a:gd name="connsiteX2185" fmla="*/ 1536987 w 4545947"/>
              <a:gd name="connsiteY2185" fmla="*/ 3782979 h 4525940"/>
              <a:gd name="connsiteX2186" fmla="*/ 1516242 w 4545947"/>
              <a:gd name="connsiteY2186" fmla="*/ 3759906 h 4525940"/>
              <a:gd name="connsiteX2187" fmla="*/ 1505885 w 4545947"/>
              <a:gd name="connsiteY2187" fmla="*/ 3732637 h 4525940"/>
              <a:gd name="connsiteX2188" fmla="*/ 1486312 w 4545947"/>
              <a:gd name="connsiteY2188" fmla="*/ 3693337 h 4525940"/>
              <a:gd name="connsiteX2189" fmla="*/ 1447478 w 4545947"/>
              <a:gd name="connsiteY2189" fmla="*/ 3663589 h 4525940"/>
              <a:gd name="connsiteX2190" fmla="*/ 1439825 w 4545947"/>
              <a:gd name="connsiteY2190" fmla="*/ 3658612 h 4525940"/>
              <a:gd name="connsiteX2191" fmla="*/ 1444562 w 4545947"/>
              <a:gd name="connsiteY2191" fmla="*/ 3639619 h 4525940"/>
              <a:gd name="connsiteX2192" fmla="*/ 1455495 w 4545947"/>
              <a:gd name="connsiteY2192" fmla="*/ 3623575 h 4525940"/>
              <a:gd name="connsiteX2193" fmla="*/ 1460961 w 4545947"/>
              <a:gd name="connsiteY2193" fmla="*/ 3617522 h 4525940"/>
              <a:gd name="connsiteX2194" fmla="*/ 1452837 w 4545947"/>
              <a:gd name="connsiteY2194" fmla="*/ 3603651 h 4525940"/>
              <a:gd name="connsiteX2195" fmla="*/ 1436789 w 4545947"/>
              <a:gd name="connsiteY2195" fmla="*/ 3558195 h 4525940"/>
              <a:gd name="connsiteX2196" fmla="*/ 1396928 w 4545947"/>
              <a:gd name="connsiteY2196" fmla="*/ 3504024 h 4525940"/>
              <a:gd name="connsiteX2197" fmla="*/ 1403198 w 4545947"/>
              <a:gd name="connsiteY2197" fmla="*/ 3544914 h 4525940"/>
              <a:gd name="connsiteX2198" fmla="*/ 1413240 w 4545947"/>
              <a:gd name="connsiteY2198" fmla="*/ 3599452 h 4525940"/>
              <a:gd name="connsiteX2199" fmla="*/ 1421808 w 4545947"/>
              <a:gd name="connsiteY2199" fmla="*/ 3648957 h 4525940"/>
              <a:gd name="connsiteX2200" fmla="*/ 1425263 w 4545947"/>
              <a:gd name="connsiteY2200" fmla="*/ 3671274 h 4525940"/>
              <a:gd name="connsiteX2201" fmla="*/ 1424464 w 4545947"/>
              <a:gd name="connsiteY2201" fmla="*/ 3688684 h 4525940"/>
              <a:gd name="connsiteX2202" fmla="*/ 1437204 w 4545947"/>
              <a:gd name="connsiteY2202" fmla="*/ 3708117 h 4525940"/>
              <a:gd name="connsiteX2203" fmla="*/ 1446749 w 4545947"/>
              <a:gd name="connsiteY2203" fmla="*/ 3731484 h 4525940"/>
              <a:gd name="connsiteX2204" fmla="*/ 1451637 w 4545947"/>
              <a:gd name="connsiteY2204" fmla="*/ 3757202 h 4525940"/>
              <a:gd name="connsiteX2205" fmla="*/ 1453905 w 4545947"/>
              <a:gd name="connsiteY2205" fmla="*/ 3789250 h 4525940"/>
              <a:gd name="connsiteX2206" fmla="*/ 1459949 w 4545947"/>
              <a:gd name="connsiteY2206" fmla="*/ 3824758 h 4525940"/>
              <a:gd name="connsiteX2207" fmla="*/ 1468613 w 4545947"/>
              <a:gd name="connsiteY2207" fmla="*/ 3839789 h 4525940"/>
              <a:gd name="connsiteX2208" fmla="*/ 1475477 w 4545947"/>
              <a:gd name="connsiteY2208" fmla="*/ 3855234 h 4525940"/>
              <a:gd name="connsiteX2209" fmla="*/ 1480511 w 4545947"/>
              <a:gd name="connsiteY2209" fmla="*/ 3873606 h 4525940"/>
              <a:gd name="connsiteX2210" fmla="*/ 1494666 w 4545947"/>
              <a:gd name="connsiteY2210" fmla="*/ 3899185 h 4525940"/>
              <a:gd name="connsiteX2211" fmla="*/ 1499224 w 4545947"/>
              <a:gd name="connsiteY2211" fmla="*/ 3921197 h 4525940"/>
              <a:gd name="connsiteX2212" fmla="*/ 1509610 w 4545947"/>
              <a:gd name="connsiteY2212" fmla="*/ 3953061 h 4525940"/>
              <a:gd name="connsiteX2213" fmla="*/ 1516169 w 4545947"/>
              <a:gd name="connsiteY2213" fmla="*/ 3997802 h 4525940"/>
              <a:gd name="connsiteX2214" fmla="*/ 1512343 w 4545947"/>
              <a:gd name="connsiteY2214" fmla="*/ 3994521 h 4525940"/>
              <a:gd name="connsiteX2215" fmla="*/ 1506257 w 4545947"/>
              <a:gd name="connsiteY2215" fmla="*/ 3987817 h 4525940"/>
              <a:gd name="connsiteX2216" fmla="*/ 1497656 w 4545947"/>
              <a:gd name="connsiteY2216" fmla="*/ 3973300 h 4525940"/>
              <a:gd name="connsiteX2217" fmla="*/ 1478220 w 4545947"/>
              <a:gd name="connsiteY2217" fmla="*/ 3947976 h 4525940"/>
              <a:gd name="connsiteX2218" fmla="*/ 1448741 w 4545947"/>
              <a:gd name="connsiteY2218" fmla="*/ 3950719 h 4525940"/>
              <a:gd name="connsiteX2219" fmla="*/ 1461808 w 4545947"/>
              <a:gd name="connsiteY2219" fmla="*/ 3985538 h 4525940"/>
              <a:gd name="connsiteX2220" fmla="*/ 1481440 w 4545947"/>
              <a:gd name="connsiteY2220" fmla="*/ 4006809 h 4525940"/>
              <a:gd name="connsiteX2221" fmla="*/ 1496501 w 4545947"/>
              <a:gd name="connsiteY2221" fmla="*/ 4041629 h 4525940"/>
              <a:gd name="connsiteX2222" fmla="*/ 1493287 w 4545947"/>
              <a:gd name="connsiteY2222" fmla="*/ 4049433 h 4525940"/>
              <a:gd name="connsiteX2223" fmla="*/ 1472986 w 4545947"/>
              <a:gd name="connsiteY2223" fmla="*/ 4080292 h 4525940"/>
              <a:gd name="connsiteX2224" fmla="*/ 1442104 w 4545947"/>
              <a:gd name="connsiteY2224" fmla="*/ 4115143 h 4525940"/>
              <a:gd name="connsiteX2225" fmla="*/ 1418702 w 4545947"/>
              <a:gd name="connsiteY2225" fmla="*/ 4130309 h 4525940"/>
              <a:gd name="connsiteX2226" fmla="*/ 1406504 w 4545947"/>
              <a:gd name="connsiteY2226" fmla="*/ 4146676 h 4525940"/>
              <a:gd name="connsiteX2227" fmla="*/ 1417881 w 4545947"/>
              <a:gd name="connsiteY2227" fmla="*/ 4160828 h 4525940"/>
              <a:gd name="connsiteX2228" fmla="*/ 1429257 w 4545947"/>
              <a:gd name="connsiteY2228" fmla="*/ 4181169 h 4525940"/>
              <a:gd name="connsiteX2229" fmla="*/ 1438003 w 4545947"/>
              <a:gd name="connsiteY2229" fmla="*/ 4195266 h 4525940"/>
              <a:gd name="connsiteX2230" fmla="*/ 1441283 w 4545947"/>
              <a:gd name="connsiteY2230" fmla="*/ 4221961 h 4525940"/>
              <a:gd name="connsiteX2231" fmla="*/ 1422992 w 4545947"/>
              <a:gd name="connsiteY2231" fmla="*/ 4198318 h 4525940"/>
              <a:gd name="connsiteX2232" fmla="*/ 1411471 w 4545947"/>
              <a:gd name="connsiteY2232" fmla="*/ 4184073 h 4525940"/>
              <a:gd name="connsiteX2233" fmla="*/ 1403020 w 4545947"/>
              <a:gd name="connsiteY2233" fmla="*/ 4172819 h 4525940"/>
              <a:gd name="connsiteX2234" fmla="*/ 1380062 w 4545947"/>
              <a:gd name="connsiteY2234" fmla="*/ 4138288 h 4525940"/>
              <a:gd name="connsiteX2235" fmla="*/ 1376782 w 4545947"/>
              <a:gd name="connsiteY2235" fmla="*/ 4130261 h 4525940"/>
              <a:gd name="connsiteX2236" fmla="*/ 1368775 w 4545947"/>
              <a:gd name="connsiteY2236" fmla="*/ 4120765 h 4525940"/>
              <a:gd name="connsiteX2237" fmla="*/ 1354046 w 4545947"/>
              <a:gd name="connsiteY2237" fmla="*/ 4071017 h 4525940"/>
              <a:gd name="connsiteX2238" fmla="*/ 1352620 w 4545947"/>
              <a:gd name="connsiteY2238" fmla="*/ 4044661 h 4525940"/>
              <a:gd name="connsiteX2239" fmla="*/ 1329483 w 4545947"/>
              <a:gd name="connsiteY2239" fmla="*/ 4059093 h 4525940"/>
              <a:gd name="connsiteX2240" fmla="*/ 1315264 w 4545947"/>
              <a:gd name="connsiteY2240" fmla="*/ 4077582 h 4525940"/>
              <a:gd name="connsiteX2241" fmla="*/ 1322597 w 4545947"/>
              <a:gd name="connsiteY2241" fmla="*/ 4121336 h 4525940"/>
              <a:gd name="connsiteX2242" fmla="*/ 1328680 w 4545947"/>
              <a:gd name="connsiteY2242" fmla="*/ 4139757 h 4525940"/>
              <a:gd name="connsiteX2243" fmla="*/ 1335239 w 4545947"/>
              <a:gd name="connsiteY2243" fmla="*/ 4158750 h 4525940"/>
              <a:gd name="connsiteX2244" fmla="*/ 1341799 w 4545947"/>
              <a:gd name="connsiteY2244" fmla="*/ 4181683 h 4525940"/>
              <a:gd name="connsiteX2245" fmla="*/ 1346172 w 4545947"/>
              <a:gd name="connsiteY2245" fmla="*/ 4196735 h 4525940"/>
              <a:gd name="connsiteX2246" fmla="*/ 1350544 w 4545947"/>
              <a:gd name="connsiteY2246" fmla="*/ 4206232 h 4525940"/>
              <a:gd name="connsiteX2247" fmla="*/ 1354316 w 4545947"/>
              <a:gd name="connsiteY2247" fmla="*/ 4215728 h 4525940"/>
              <a:gd name="connsiteX2248" fmla="*/ 1359560 w 4545947"/>
              <a:gd name="connsiteY2248" fmla="*/ 4293840 h 4525940"/>
              <a:gd name="connsiteX2249" fmla="*/ 1352111 w 4545947"/>
              <a:gd name="connsiteY2249" fmla="*/ 4288008 h 4525940"/>
              <a:gd name="connsiteX2250" fmla="*/ 1343221 w 4545947"/>
              <a:gd name="connsiteY2250" fmla="*/ 4270808 h 4525940"/>
              <a:gd name="connsiteX2251" fmla="*/ 1337426 w 4545947"/>
              <a:gd name="connsiteY2251" fmla="*/ 4253772 h 4525940"/>
              <a:gd name="connsiteX2252" fmla="*/ 1333053 w 4545947"/>
              <a:gd name="connsiteY2252" fmla="*/ 4237886 h 4525940"/>
              <a:gd name="connsiteX2253" fmla="*/ 1328680 w 4545947"/>
              <a:gd name="connsiteY2253" fmla="*/ 4222568 h 4525940"/>
              <a:gd name="connsiteX2254" fmla="*/ 1317496 w 4545947"/>
              <a:gd name="connsiteY2254" fmla="*/ 4187305 h 4525940"/>
              <a:gd name="connsiteX2255" fmla="*/ 1308613 w 4545947"/>
              <a:gd name="connsiteY2255" fmla="*/ 4154767 h 4525940"/>
              <a:gd name="connsiteX2256" fmla="*/ 1306994 w 4545947"/>
              <a:gd name="connsiteY2256" fmla="*/ 4146088 h 4525940"/>
              <a:gd name="connsiteX2257" fmla="*/ 1295358 w 4545947"/>
              <a:gd name="connsiteY2257" fmla="*/ 4120765 h 4525940"/>
              <a:gd name="connsiteX2258" fmla="*/ 1284109 w 4545947"/>
              <a:gd name="connsiteY2258" fmla="*/ 4095441 h 4525940"/>
              <a:gd name="connsiteX2259" fmla="*/ 1280578 w 4545947"/>
              <a:gd name="connsiteY2259" fmla="*/ 4086720 h 4525940"/>
              <a:gd name="connsiteX2260" fmla="*/ 1274018 w 4545947"/>
              <a:gd name="connsiteY2260" fmla="*/ 4070118 h 4525940"/>
              <a:gd name="connsiteX2261" fmla="*/ 1267383 w 4545947"/>
              <a:gd name="connsiteY2261" fmla="*/ 4045602 h 4525940"/>
              <a:gd name="connsiteX2262" fmla="*/ 1240129 w 4545947"/>
              <a:gd name="connsiteY2262" fmla="*/ 3998638 h 4525940"/>
              <a:gd name="connsiteX2263" fmla="*/ 1232476 w 4545947"/>
              <a:gd name="connsiteY2263" fmla="*/ 3982137 h 4525940"/>
              <a:gd name="connsiteX2264" fmla="*/ 1201553 w 4545947"/>
              <a:gd name="connsiteY2264" fmla="*/ 3949831 h 4525940"/>
              <a:gd name="connsiteX2265" fmla="*/ 1191004 w 4545947"/>
              <a:gd name="connsiteY2265" fmla="*/ 3924394 h 4525940"/>
              <a:gd name="connsiteX2266" fmla="*/ 1194112 w 4545947"/>
              <a:gd name="connsiteY2266" fmla="*/ 3889076 h 4525940"/>
              <a:gd name="connsiteX2267" fmla="*/ 1178736 w 4545947"/>
              <a:gd name="connsiteY2267" fmla="*/ 3862362 h 4525940"/>
              <a:gd name="connsiteX2268" fmla="*/ 1166882 w 4545947"/>
              <a:gd name="connsiteY2268" fmla="*/ 3882485 h 4525940"/>
              <a:gd name="connsiteX2269" fmla="*/ 1173441 w 4545947"/>
              <a:gd name="connsiteY2269" fmla="*/ 3914107 h 4525940"/>
              <a:gd name="connsiteX2270" fmla="*/ 1170962 w 4545947"/>
              <a:gd name="connsiteY2270" fmla="*/ 3943924 h 4525940"/>
              <a:gd name="connsiteX2271" fmla="*/ 1167124 w 4545947"/>
              <a:gd name="connsiteY2271" fmla="*/ 3966082 h 4525940"/>
              <a:gd name="connsiteX2272" fmla="*/ 1180319 w 4545947"/>
              <a:gd name="connsiteY2272" fmla="*/ 3975155 h 4525940"/>
              <a:gd name="connsiteX2273" fmla="*/ 1191809 w 4545947"/>
              <a:gd name="connsiteY2273" fmla="*/ 3983079 h 4525940"/>
              <a:gd name="connsiteX2274" fmla="*/ 1206636 w 4545947"/>
              <a:gd name="connsiteY2274" fmla="*/ 3999437 h 4525940"/>
              <a:gd name="connsiteX2275" fmla="*/ 1218569 w 4545947"/>
              <a:gd name="connsiteY2275" fmla="*/ 4031037 h 4525940"/>
              <a:gd name="connsiteX2276" fmla="*/ 1223715 w 4545947"/>
              <a:gd name="connsiteY2276" fmla="*/ 4056394 h 4525940"/>
              <a:gd name="connsiteX2277" fmla="*/ 1234740 w 4545947"/>
              <a:gd name="connsiteY2277" fmla="*/ 4067970 h 4525940"/>
              <a:gd name="connsiteX2278" fmla="*/ 1243044 w 4545947"/>
              <a:gd name="connsiteY2278" fmla="*/ 4125505 h 4525940"/>
              <a:gd name="connsiteX2279" fmla="*/ 1235153 w 4545947"/>
              <a:gd name="connsiteY2279" fmla="*/ 4136583 h 4525940"/>
              <a:gd name="connsiteX2280" fmla="*/ 1223274 w 4545947"/>
              <a:gd name="connsiteY2280" fmla="*/ 4164622 h 4525940"/>
              <a:gd name="connsiteX2281" fmla="*/ 1214344 w 4545947"/>
              <a:gd name="connsiteY2281" fmla="*/ 4186944 h 4525940"/>
              <a:gd name="connsiteX2282" fmla="*/ 1207713 w 4545947"/>
              <a:gd name="connsiteY2282" fmla="*/ 4193168 h 4525940"/>
              <a:gd name="connsiteX2283" fmla="*/ 1206188 w 4545947"/>
              <a:gd name="connsiteY2283" fmla="*/ 4199856 h 4525940"/>
              <a:gd name="connsiteX2284" fmla="*/ 1201865 w 4545947"/>
              <a:gd name="connsiteY2284" fmla="*/ 4206484 h 4525940"/>
              <a:gd name="connsiteX2285" fmla="*/ 1235316 w 4545947"/>
              <a:gd name="connsiteY2285" fmla="*/ 4253713 h 4525940"/>
              <a:gd name="connsiteX2286" fmla="*/ 1240895 w 4545947"/>
              <a:gd name="connsiteY2286" fmla="*/ 4261626 h 4525940"/>
              <a:gd name="connsiteX2287" fmla="*/ 1252153 w 4545947"/>
              <a:gd name="connsiteY2287" fmla="*/ 4285367 h 4525940"/>
              <a:gd name="connsiteX2288" fmla="*/ 1263086 w 4545947"/>
              <a:gd name="connsiteY2288" fmla="*/ 4295120 h 4525940"/>
              <a:gd name="connsiteX2289" fmla="*/ 1244501 w 4545947"/>
              <a:gd name="connsiteY2289" fmla="*/ 4303451 h 4525940"/>
              <a:gd name="connsiteX2290" fmla="*/ 1210611 w 4545947"/>
              <a:gd name="connsiteY2290" fmla="*/ 4280227 h 4525940"/>
              <a:gd name="connsiteX2291" fmla="*/ 1204011 w 4545947"/>
              <a:gd name="connsiteY2291" fmla="*/ 4262246 h 4525940"/>
              <a:gd name="connsiteX2292" fmla="*/ 1199513 w 4545947"/>
              <a:gd name="connsiteY2292" fmla="*/ 4247770 h 4525940"/>
              <a:gd name="connsiteX2293" fmla="*/ 1182452 w 4545947"/>
              <a:gd name="connsiteY2293" fmla="*/ 4212632 h 4525940"/>
              <a:gd name="connsiteX2294" fmla="*/ 1150918 w 4545947"/>
              <a:gd name="connsiteY2294" fmla="*/ 4186912 h 4525940"/>
              <a:gd name="connsiteX2295" fmla="*/ 1135289 w 4545947"/>
              <a:gd name="connsiteY2295" fmla="*/ 4198820 h 4525940"/>
              <a:gd name="connsiteX2296" fmla="*/ 1140378 w 4545947"/>
              <a:gd name="connsiteY2296" fmla="*/ 4248933 h 4525940"/>
              <a:gd name="connsiteX2297" fmla="*/ 1150457 w 4545947"/>
              <a:gd name="connsiteY2297" fmla="*/ 4274815 h 4525940"/>
              <a:gd name="connsiteX2298" fmla="*/ 1159469 w 4545947"/>
              <a:gd name="connsiteY2298" fmla="*/ 4304632 h 4525940"/>
              <a:gd name="connsiteX2299" fmla="*/ 1166882 w 4545947"/>
              <a:gd name="connsiteY2299" fmla="*/ 4326027 h 4525940"/>
              <a:gd name="connsiteX2300" fmla="*/ 1180000 w 4545947"/>
              <a:gd name="connsiteY2300" fmla="*/ 4350870 h 4525940"/>
              <a:gd name="connsiteX2301" fmla="*/ 1193119 w 4545947"/>
              <a:gd name="connsiteY2301" fmla="*/ 4371661 h 4525940"/>
              <a:gd name="connsiteX2302" fmla="*/ 1204529 w 4545947"/>
              <a:gd name="connsiteY2302" fmla="*/ 4393713 h 4525940"/>
              <a:gd name="connsiteX2303" fmla="*/ 1203609 w 4545947"/>
              <a:gd name="connsiteY2303" fmla="*/ 4422111 h 4525940"/>
              <a:gd name="connsiteX2304" fmla="*/ 1197492 w 4545947"/>
              <a:gd name="connsiteY2304" fmla="*/ 4424845 h 4525940"/>
              <a:gd name="connsiteX2305" fmla="*/ 1178586 w 4545947"/>
              <a:gd name="connsiteY2305" fmla="*/ 4426228 h 4525940"/>
              <a:gd name="connsiteX2306" fmla="*/ 1173608 w 4545947"/>
              <a:gd name="connsiteY2306" fmla="*/ 4400905 h 4525940"/>
              <a:gd name="connsiteX2307" fmla="*/ 1167529 w 4545947"/>
              <a:gd name="connsiteY2307" fmla="*/ 4380330 h 4525940"/>
              <a:gd name="connsiteX2308" fmla="*/ 1156323 w 4545947"/>
              <a:gd name="connsiteY2308" fmla="*/ 4358354 h 4525940"/>
              <a:gd name="connsiteX2309" fmla="*/ 1144396 w 4545947"/>
              <a:gd name="connsiteY2309" fmla="*/ 4339735 h 4525940"/>
              <a:gd name="connsiteX2310" fmla="*/ 1140644 w 4545947"/>
              <a:gd name="connsiteY2310" fmla="*/ 4336772 h 4525940"/>
              <a:gd name="connsiteX2311" fmla="*/ 1122060 w 4545947"/>
              <a:gd name="connsiteY2311" fmla="*/ 4331650 h 4525940"/>
              <a:gd name="connsiteX2312" fmla="*/ 1103474 w 4545947"/>
              <a:gd name="connsiteY2312" fmla="*/ 4323352 h 4525940"/>
              <a:gd name="connsiteX2313" fmla="*/ 1115054 w 4545947"/>
              <a:gd name="connsiteY2313" fmla="*/ 4311915 h 4525940"/>
              <a:gd name="connsiteX2314" fmla="*/ 1124887 w 4545947"/>
              <a:gd name="connsiteY2314" fmla="*/ 4278494 h 4525940"/>
              <a:gd name="connsiteX2315" fmla="*/ 1118779 w 4545947"/>
              <a:gd name="connsiteY2315" fmla="*/ 4262434 h 4525940"/>
              <a:gd name="connsiteX2316" fmla="*/ 1114407 w 4545947"/>
              <a:gd name="connsiteY2316" fmla="*/ 4253713 h 4525940"/>
              <a:gd name="connsiteX2317" fmla="*/ 1110034 w 4545947"/>
              <a:gd name="connsiteY2317" fmla="*/ 4244894 h 4525940"/>
              <a:gd name="connsiteX2318" fmla="*/ 1103247 w 4545947"/>
              <a:gd name="connsiteY2318" fmla="*/ 4232305 h 4525940"/>
              <a:gd name="connsiteX2319" fmla="*/ 1099558 w 4545947"/>
              <a:gd name="connsiteY2319" fmla="*/ 4235790 h 4525940"/>
              <a:gd name="connsiteX2320" fmla="*/ 1092793 w 4545947"/>
              <a:gd name="connsiteY2320" fmla="*/ 4239312 h 4525940"/>
              <a:gd name="connsiteX2321" fmla="*/ 1085867 w 4545947"/>
              <a:gd name="connsiteY2321" fmla="*/ 4249394 h 4525940"/>
              <a:gd name="connsiteX2322" fmla="*/ 1085559 w 4545947"/>
              <a:gd name="connsiteY2322" fmla="*/ 4296446 h 4525940"/>
              <a:gd name="connsiteX2323" fmla="*/ 1079427 w 4545947"/>
              <a:gd name="connsiteY2323" fmla="*/ 4317021 h 4525940"/>
              <a:gd name="connsiteX2324" fmla="*/ 1026948 w 4545947"/>
              <a:gd name="connsiteY2324" fmla="*/ 4257083 h 4525940"/>
              <a:gd name="connsiteX2325" fmla="*/ 1019295 w 4545947"/>
              <a:gd name="connsiteY2325" fmla="*/ 4242429 h 4525940"/>
              <a:gd name="connsiteX2326" fmla="*/ 1011029 w 4545947"/>
              <a:gd name="connsiteY2326" fmla="*/ 4231555 h 4525940"/>
              <a:gd name="connsiteX2327" fmla="*/ 1007402 w 4545947"/>
              <a:gd name="connsiteY2327" fmla="*/ 4204648 h 4525940"/>
              <a:gd name="connsiteX2328" fmla="*/ 1008641 w 4545947"/>
              <a:gd name="connsiteY2328" fmla="*/ 4184073 h 4525940"/>
              <a:gd name="connsiteX2329" fmla="*/ 1008391 w 4545947"/>
              <a:gd name="connsiteY2329" fmla="*/ 4147050 h 4525940"/>
              <a:gd name="connsiteX2330" fmla="*/ 987053 w 4545947"/>
              <a:gd name="connsiteY2330" fmla="*/ 4132187 h 4525940"/>
              <a:gd name="connsiteX2331" fmla="*/ 976052 w 4545947"/>
              <a:gd name="connsiteY2331" fmla="*/ 4108153 h 4525940"/>
              <a:gd name="connsiteX2332" fmla="*/ 971471 w 4545947"/>
              <a:gd name="connsiteY2332" fmla="*/ 4077676 h 4525940"/>
              <a:gd name="connsiteX2333" fmla="*/ 963413 w 4545947"/>
              <a:gd name="connsiteY2333" fmla="*/ 4055810 h 4525940"/>
              <a:gd name="connsiteX2334" fmla="*/ 957575 w 4545947"/>
              <a:gd name="connsiteY2334" fmla="*/ 4038463 h 4525940"/>
              <a:gd name="connsiteX2335" fmla="*/ 948803 w 4545947"/>
              <a:gd name="connsiteY2335" fmla="*/ 4019035 h 4525940"/>
              <a:gd name="connsiteX2336" fmla="*/ 932430 w 4545947"/>
              <a:gd name="connsiteY2336" fmla="*/ 3984503 h 4525940"/>
              <a:gd name="connsiteX2337" fmla="*/ 922065 w 4545947"/>
              <a:gd name="connsiteY2337" fmla="*/ 3961198 h 4525940"/>
              <a:gd name="connsiteX2338" fmla="*/ 926371 w 4545947"/>
              <a:gd name="connsiteY2338" fmla="*/ 3962493 h 4525940"/>
              <a:gd name="connsiteX2339" fmla="*/ 930677 w 4545947"/>
              <a:gd name="connsiteY2339" fmla="*/ 3964851 h 4525940"/>
              <a:gd name="connsiteX2340" fmla="*/ 924185 w 4545947"/>
              <a:gd name="connsiteY2340" fmla="*/ 3949831 h 4525940"/>
              <a:gd name="connsiteX2341" fmla="*/ 917625 w 4545947"/>
              <a:gd name="connsiteY2341" fmla="*/ 3931045 h 4525940"/>
              <a:gd name="connsiteX2342" fmla="*/ 908879 w 4545947"/>
              <a:gd name="connsiteY2342" fmla="*/ 3908681 h 4525940"/>
              <a:gd name="connsiteX2343" fmla="*/ 900133 w 4545947"/>
              <a:gd name="connsiteY2343" fmla="*/ 3875582 h 4525940"/>
              <a:gd name="connsiteX2344" fmla="*/ 882642 w 4545947"/>
              <a:gd name="connsiteY2344" fmla="*/ 3831209 h 4525940"/>
              <a:gd name="connsiteX2345" fmla="*/ 865150 w 4545947"/>
              <a:gd name="connsiteY2345" fmla="*/ 3784868 h 4525940"/>
              <a:gd name="connsiteX2346" fmla="*/ 858591 w 4545947"/>
              <a:gd name="connsiteY2346" fmla="*/ 3757617 h 4525940"/>
              <a:gd name="connsiteX2347" fmla="*/ 852031 w 4545947"/>
              <a:gd name="connsiteY2347" fmla="*/ 3717196 h 4525940"/>
              <a:gd name="connsiteX2348" fmla="*/ 843285 w 4545947"/>
              <a:gd name="connsiteY2348" fmla="*/ 3669577 h 4525940"/>
              <a:gd name="connsiteX2349" fmla="*/ 834539 w 4545947"/>
              <a:gd name="connsiteY2349" fmla="*/ 3648804 h 4525940"/>
              <a:gd name="connsiteX2350" fmla="*/ 830798 w 4545947"/>
              <a:gd name="connsiteY2350" fmla="*/ 3642220 h 4525940"/>
              <a:gd name="connsiteX2351" fmla="*/ 829106 w 4545947"/>
              <a:gd name="connsiteY2351" fmla="*/ 3630048 h 4525940"/>
              <a:gd name="connsiteX2352" fmla="*/ 803657 w 4545947"/>
              <a:gd name="connsiteY2352" fmla="*/ 3596041 h 4525940"/>
              <a:gd name="connsiteX2353" fmla="*/ 777265 w 4545947"/>
              <a:gd name="connsiteY2353" fmla="*/ 3578868 h 4525940"/>
              <a:gd name="connsiteX2354" fmla="*/ 755827 w 4545947"/>
              <a:gd name="connsiteY2354" fmla="*/ 3540146 h 4525940"/>
              <a:gd name="connsiteX2355" fmla="*/ 751454 w 4545947"/>
              <a:gd name="connsiteY2355" fmla="*/ 3531995 h 4525940"/>
              <a:gd name="connsiteX2356" fmla="*/ 747081 w 4545947"/>
              <a:gd name="connsiteY2356" fmla="*/ 3516168 h 4525940"/>
              <a:gd name="connsiteX2357" fmla="*/ 762326 w 4545947"/>
              <a:gd name="connsiteY2357" fmla="*/ 3510362 h 4525940"/>
              <a:gd name="connsiteX2358" fmla="*/ 789966 w 4545947"/>
              <a:gd name="connsiteY2358" fmla="*/ 3491886 h 4525940"/>
              <a:gd name="connsiteX2359" fmla="*/ 774412 w 4545947"/>
              <a:gd name="connsiteY2359" fmla="*/ 3465794 h 4525940"/>
              <a:gd name="connsiteX2360" fmla="*/ 760200 w 4545947"/>
              <a:gd name="connsiteY2360" fmla="*/ 3445219 h 4525940"/>
              <a:gd name="connsiteX2361" fmla="*/ 766020 w 4545947"/>
              <a:gd name="connsiteY2361" fmla="*/ 3430701 h 4525940"/>
              <a:gd name="connsiteX2362" fmla="*/ 777808 w 4545947"/>
              <a:gd name="connsiteY2362" fmla="*/ 3414557 h 4525940"/>
              <a:gd name="connsiteX2363" fmla="*/ 771392 w 4545947"/>
              <a:gd name="connsiteY2363" fmla="*/ 3383009 h 4525940"/>
              <a:gd name="connsiteX2364" fmla="*/ 764313 w 4545947"/>
              <a:gd name="connsiteY2364" fmla="*/ 3358350 h 4525940"/>
              <a:gd name="connsiteX2365" fmla="*/ 768188 w 4545947"/>
              <a:gd name="connsiteY2365" fmla="*/ 3334504 h 4525940"/>
              <a:gd name="connsiteX2366" fmla="*/ 743360 w 4545947"/>
              <a:gd name="connsiteY2366" fmla="*/ 3335738 h 4525940"/>
              <a:gd name="connsiteX2367" fmla="*/ 719750 w 4545947"/>
              <a:gd name="connsiteY2367" fmla="*/ 3360965 h 4525940"/>
              <a:gd name="connsiteX2368" fmla="*/ 707725 w 4545947"/>
              <a:gd name="connsiteY2368" fmla="*/ 3376437 h 4525940"/>
              <a:gd name="connsiteX2369" fmla="*/ 728262 w 4545947"/>
              <a:gd name="connsiteY2369" fmla="*/ 3411709 h 4525940"/>
              <a:gd name="connsiteX2370" fmla="*/ 732322 w 4545947"/>
              <a:gd name="connsiteY2370" fmla="*/ 3431493 h 4525940"/>
              <a:gd name="connsiteX2371" fmla="*/ 729589 w 4545947"/>
              <a:gd name="connsiteY2371" fmla="*/ 3456816 h 4525940"/>
              <a:gd name="connsiteX2372" fmla="*/ 721191 w 4545947"/>
              <a:gd name="connsiteY2372" fmla="*/ 3462355 h 4525940"/>
              <a:gd name="connsiteX2373" fmla="*/ 709911 w 4545947"/>
              <a:gd name="connsiteY2373" fmla="*/ 3443363 h 4525940"/>
              <a:gd name="connsiteX2374" fmla="*/ 703479 w 4545947"/>
              <a:gd name="connsiteY2374" fmla="*/ 3424370 h 4525940"/>
              <a:gd name="connsiteX2375" fmla="*/ 697371 w 4545947"/>
              <a:gd name="connsiteY2375" fmla="*/ 3409629 h 4525940"/>
              <a:gd name="connsiteX2376" fmla="*/ 671316 w 4545947"/>
              <a:gd name="connsiteY2376" fmla="*/ 3385041 h 4525940"/>
              <a:gd name="connsiteX2377" fmla="*/ 667444 w 4545947"/>
              <a:gd name="connsiteY2377" fmla="*/ 3424370 h 4525940"/>
              <a:gd name="connsiteX2378" fmla="*/ 678776 w 4545947"/>
              <a:gd name="connsiteY2378" fmla="*/ 3449694 h 4525940"/>
              <a:gd name="connsiteX2379" fmla="*/ 690046 w 4545947"/>
              <a:gd name="connsiteY2379" fmla="*/ 3475017 h 4525940"/>
              <a:gd name="connsiteX2380" fmla="*/ 696565 w 4545947"/>
              <a:gd name="connsiteY2380" fmla="*/ 3509394 h 4525940"/>
              <a:gd name="connsiteX2381" fmla="*/ 705815 w 4545947"/>
              <a:gd name="connsiteY2381" fmla="*/ 3551320 h 4525940"/>
              <a:gd name="connsiteX2382" fmla="*/ 699374 w 4545947"/>
              <a:gd name="connsiteY2382" fmla="*/ 3567879 h 4525940"/>
              <a:gd name="connsiteX2383" fmla="*/ 684206 w 4545947"/>
              <a:gd name="connsiteY2383" fmla="*/ 3573418 h 4525940"/>
              <a:gd name="connsiteX2384" fmla="*/ 670986 w 4545947"/>
              <a:gd name="connsiteY2384" fmla="*/ 3582642 h 4525940"/>
              <a:gd name="connsiteX2385" fmla="*/ 664136 w 4545947"/>
              <a:gd name="connsiteY2385" fmla="*/ 3541275 h 4525940"/>
              <a:gd name="connsiteX2386" fmla="*/ 671478 w 4545947"/>
              <a:gd name="connsiteY2386" fmla="*/ 3517368 h 4525940"/>
              <a:gd name="connsiteX2387" fmla="*/ 650877 w 4545947"/>
              <a:gd name="connsiteY2387" fmla="*/ 3507379 h 4525940"/>
              <a:gd name="connsiteX2388" fmla="*/ 632292 w 4545947"/>
              <a:gd name="connsiteY2388" fmla="*/ 3511535 h 4525940"/>
              <a:gd name="connsiteX2389" fmla="*/ 612262 w 4545947"/>
              <a:gd name="connsiteY2389" fmla="*/ 3524603 h 4525940"/>
              <a:gd name="connsiteX2390" fmla="*/ 616883 w 4545947"/>
              <a:gd name="connsiteY2390" fmla="*/ 3549927 h 4525940"/>
              <a:gd name="connsiteX2391" fmla="*/ 604596 w 4545947"/>
              <a:gd name="connsiteY2391" fmla="*/ 3582818 h 4525940"/>
              <a:gd name="connsiteX2392" fmla="*/ 578723 w 4545947"/>
              <a:gd name="connsiteY2392" fmla="*/ 3563624 h 4525940"/>
              <a:gd name="connsiteX2393" fmla="*/ 550299 w 4545947"/>
              <a:gd name="connsiteY2393" fmla="*/ 3514565 h 4525940"/>
              <a:gd name="connsiteX2394" fmla="*/ 543740 w 4545947"/>
              <a:gd name="connsiteY2394" fmla="*/ 3479059 h 4525940"/>
              <a:gd name="connsiteX2395" fmla="*/ 537180 w 4545947"/>
              <a:gd name="connsiteY2395" fmla="*/ 3459388 h 4525940"/>
              <a:gd name="connsiteX2396" fmla="*/ 532807 w 4545947"/>
              <a:gd name="connsiteY2396" fmla="*/ 3443363 h 4525940"/>
              <a:gd name="connsiteX2397" fmla="*/ 528435 w 4545947"/>
              <a:gd name="connsiteY2397" fmla="*/ 3432141 h 4525940"/>
              <a:gd name="connsiteX2398" fmla="*/ 510943 w 4545947"/>
              <a:gd name="connsiteY2398" fmla="*/ 3399047 h 4525940"/>
              <a:gd name="connsiteX2399" fmla="*/ 493451 w 4545947"/>
              <a:gd name="connsiteY2399" fmla="*/ 3366729 h 4525940"/>
              <a:gd name="connsiteX2400" fmla="*/ 486983 w 4545947"/>
              <a:gd name="connsiteY2400" fmla="*/ 3348509 h 4525940"/>
              <a:gd name="connsiteX2401" fmla="*/ 467214 w 4545947"/>
              <a:gd name="connsiteY2401" fmla="*/ 3290823 h 4525940"/>
              <a:gd name="connsiteX2402" fmla="*/ 462770 w 4545947"/>
              <a:gd name="connsiteY2402" fmla="*/ 3275532 h 4525940"/>
              <a:gd name="connsiteX2403" fmla="*/ 460480 w 4545947"/>
              <a:gd name="connsiteY2403" fmla="*/ 3266508 h 4525940"/>
              <a:gd name="connsiteX2404" fmla="*/ 453925 w 4545947"/>
              <a:gd name="connsiteY2404" fmla="*/ 3250050 h 4525940"/>
              <a:gd name="connsiteX2405" fmla="*/ 442490 w 4545947"/>
              <a:gd name="connsiteY2405" fmla="*/ 3213955 h 4525940"/>
              <a:gd name="connsiteX2406" fmla="*/ 429437 w 4545947"/>
              <a:gd name="connsiteY2406" fmla="*/ 3179475 h 4525940"/>
              <a:gd name="connsiteX2407" fmla="*/ 419111 w 4545947"/>
              <a:gd name="connsiteY2407" fmla="*/ 3129631 h 4525940"/>
              <a:gd name="connsiteX2408" fmla="*/ 414739 w 4545947"/>
              <a:gd name="connsiteY2408" fmla="*/ 3085670 h 4525940"/>
              <a:gd name="connsiteX2409" fmla="*/ 415429 w 4545947"/>
              <a:gd name="connsiteY2409" fmla="*/ 3055792 h 4525940"/>
              <a:gd name="connsiteX2410" fmla="*/ 393008 w 4545947"/>
              <a:gd name="connsiteY2410" fmla="*/ 3000795 h 4525940"/>
              <a:gd name="connsiteX2411" fmla="*/ 371009 w 4545947"/>
              <a:gd name="connsiteY2411" fmla="*/ 2946175 h 4525940"/>
              <a:gd name="connsiteX2412" fmla="*/ 364450 w 4545947"/>
              <a:gd name="connsiteY2412" fmla="*/ 2905240 h 4525940"/>
              <a:gd name="connsiteX2413" fmla="*/ 357891 w 4545947"/>
              <a:gd name="connsiteY2413" fmla="*/ 2879142 h 4525940"/>
              <a:gd name="connsiteX2414" fmla="*/ 353227 w 4545947"/>
              <a:gd name="connsiteY2414" fmla="*/ 2860924 h 4525940"/>
              <a:gd name="connsiteX2415" fmla="*/ 349948 w 4545947"/>
              <a:gd name="connsiteY2415" fmla="*/ 2843514 h 4525940"/>
              <a:gd name="connsiteX2416" fmla="*/ 340471 w 4545947"/>
              <a:gd name="connsiteY2416" fmla="*/ 2811971 h 4525940"/>
              <a:gd name="connsiteX2417" fmla="*/ 330125 w 4545947"/>
              <a:gd name="connsiteY2417" fmla="*/ 2770820 h 4525940"/>
              <a:gd name="connsiteX2418" fmla="*/ 327866 w 4545947"/>
              <a:gd name="connsiteY2418" fmla="*/ 2740638 h 4525940"/>
              <a:gd name="connsiteX2419" fmla="*/ 305415 w 4545947"/>
              <a:gd name="connsiteY2419" fmla="*/ 2661333 h 4525940"/>
              <a:gd name="connsiteX2420" fmla="*/ 301042 w 4545947"/>
              <a:gd name="connsiteY2420" fmla="*/ 2645675 h 4525940"/>
              <a:gd name="connsiteX2421" fmla="*/ 296670 w 4545947"/>
              <a:gd name="connsiteY2421" fmla="*/ 2612049 h 4525940"/>
              <a:gd name="connsiteX2422" fmla="*/ 286831 w 4545947"/>
              <a:gd name="connsiteY2422" fmla="*/ 2563152 h 4525940"/>
              <a:gd name="connsiteX2423" fmla="*/ 276187 w 4545947"/>
              <a:gd name="connsiteY2423" fmla="*/ 2538217 h 4525940"/>
              <a:gd name="connsiteX2424" fmla="*/ 263140 w 4545947"/>
              <a:gd name="connsiteY2424" fmla="*/ 2450618 h 4525940"/>
              <a:gd name="connsiteX2425" fmla="*/ 257313 w 4545947"/>
              <a:gd name="connsiteY2425" fmla="*/ 2433139 h 4525940"/>
              <a:gd name="connsiteX2426" fmla="*/ 252940 w 4545947"/>
              <a:gd name="connsiteY2426" fmla="*/ 2424095 h 4525940"/>
              <a:gd name="connsiteX2427" fmla="*/ 248567 w 4545947"/>
              <a:gd name="connsiteY2427" fmla="*/ 2395606 h 4525940"/>
              <a:gd name="connsiteX2428" fmla="*/ 243727 w 4545947"/>
              <a:gd name="connsiteY2428" fmla="*/ 2367117 h 4525940"/>
              <a:gd name="connsiteX2429" fmla="*/ 241245 w 4545947"/>
              <a:gd name="connsiteY2429" fmla="*/ 2358215 h 4525940"/>
              <a:gd name="connsiteX2430" fmla="*/ 235154 w 4545947"/>
              <a:gd name="connsiteY2430" fmla="*/ 2338242 h 4525940"/>
              <a:gd name="connsiteX2431" fmla="*/ 226703 w 4545947"/>
              <a:gd name="connsiteY2431" fmla="*/ 2307402 h 4525940"/>
              <a:gd name="connsiteX2432" fmla="*/ 220505 w 4545947"/>
              <a:gd name="connsiteY2432" fmla="*/ 2274822 h 4525940"/>
              <a:gd name="connsiteX2433" fmla="*/ 211334 w 4545947"/>
              <a:gd name="connsiteY2433" fmla="*/ 2237011 h 4525940"/>
              <a:gd name="connsiteX2434" fmla="*/ 194546 w 4545947"/>
              <a:gd name="connsiteY2434" fmla="*/ 2177191 h 4525940"/>
              <a:gd name="connsiteX2435" fmla="*/ 192550 w 4545947"/>
              <a:gd name="connsiteY2435" fmla="*/ 2155033 h 4525940"/>
              <a:gd name="connsiteX2436" fmla="*/ 190841 w 4545947"/>
              <a:gd name="connsiteY2436" fmla="*/ 2132875 h 4525940"/>
              <a:gd name="connsiteX2437" fmla="*/ 187346 w 4545947"/>
              <a:gd name="connsiteY2437" fmla="*/ 2120214 h 4525940"/>
              <a:gd name="connsiteX2438" fmla="*/ 183172 w 4545947"/>
              <a:gd name="connsiteY2438" fmla="*/ 2107552 h 4525940"/>
              <a:gd name="connsiteX2439" fmla="*/ 176125 w 4545947"/>
              <a:gd name="connsiteY2439" fmla="*/ 2085394 h 4525940"/>
              <a:gd name="connsiteX2440" fmla="*/ 169368 w 4545947"/>
              <a:gd name="connsiteY2440" fmla="*/ 2063236 h 4525940"/>
              <a:gd name="connsiteX2441" fmla="*/ 165482 w 4545947"/>
              <a:gd name="connsiteY2441" fmla="*/ 2050375 h 4525940"/>
              <a:gd name="connsiteX2442" fmla="*/ 158923 w 4545947"/>
              <a:gd name="connsiteY2442" fmla="*/ 2033872 h 4525940"/>
              <a:gd name="connsiteX2443" fmla="*/ 152363 w 4545947"/>
              <a:gd name="connsiteY2443" fmla="*/ 2012836 h 4525940"/>
              <a:gd name="connsiteX2444" fmla="*/ 121961 w 4545947"/>
              <a:gd name="connsiteY2444" fmla="*/ 1961942 h 4525940"/>
              <a:gd name="connsiteX2445" fmla="*/ 113007 w 4545947"/>
              <a:gd name="connsiteY2445" fmla="*/ 1952973 h 4525940"/>
              <a:gd name="connsiteX2446" fmla="*/ 107847 w 4545947"/>
              <a:gd name="connsiteY2446" fmla="*/ 1941515 h 4525940"/>
              <a:gd name="connsiteX2447" fmla="*/ 105462 w 4545947"/>
              <a:gd name="connsiteY2447" fmla="*/ 1928555 h 4525940"/>
              <a:gd name="connsiteX2448" fmla="*/ 121932 w 4545947"/>
              <a:gd name="connsiteY2448" fmla="*/ 1924997 h 4525940"/>
              <a:gd name="connsiteX2449" fmla="*/ 142816 w 4545947"/>
              <a:gd name="connsiteY2449" fmla="*/ 1921499 h 4525940"/>
              <a:gd name="connsiteX2450" fmla="*/ 144625 w 4545947"/>
              <a:gd name="connsiteY2450" fmla="*/ 1898617 h 4525940"/>
              <a:gd name="connsiteX2451" fmla="*/ 139244 w 4545947"/>
              <a:gd name="connsiteY2451" fmla="*/ 1871497 h 4525940"/>
              <a:gd name="connsiteX2452" fmla="*/ 135208 w 4545947"/>
              <a:gd name="connsiteY2452" fmla="*/ 1850836 h 4525940"/>
              <a:gd name="connsiteX2453" fmla="*/ 126665 w 4545947"/>
              <a:gd name="connsiteY2453" fmla="*/ 1784678 h 4525940"/>
              <a:gd name="connsiteX2454" fmla="*/ 108293 w 4545947"/>
              <a:gd name="connsiteY2454" fmla="*/ 1664392 h 4525940"/>
              <a:gd name="connsiteX2455" fmla="*/ 102962 w 4545947"/>
              <a:gd name="connsiteY2455" fmla="*/ 1636921 h 4525940"/>
              <a:gd name="connsiteX2456" fmla="*/ 94702 w 4545947"/>
              <a:gd name="connsiteY2456" fmla="*/ 1602831 h 4525940"/>
              <a:gd name="connsiteX2457" fmla="*/ 98128 w 4545947"/>
              <a:gd name="connsiteY2457" fmla="*/ 1453577 h 4525940"/>
              <a:gd name="connsiteX2458" fmla="*/ 104261 w 4545947"/>
              <a:gd name="connsiteY2458" fmla="*/ 1427347 h 4525940"/>
              <a:gd name="connsiteX2459" fmla="*/ 110821 w 4545947"/>
              <a:gd name="connsiteY2459" fmla="*/ 1402538 h 4525940"/>
              <a:gd name="connsiteX2460" fmla="*/ 117380 w 4545947"/>
              <a:gd name="connsiteY2460" fmla="*/ 1386808 h 4525940"/>
              <a:gd name="connsiteX2461" fmla="*/ 123939 w 4545947"/>
              <a:gd name="connsiteY2461" fmla="*/ 1366842 h 4525940"/>
              <a:gd name="connsiteX2462" fmla="*/ 130498 w 4545947"/>
              <a:gd name="connsiteY2462" fmla="*/ 1341518 h 4525940"/>
              <a:gd name="connsiteX2463" fmla="*/ 163457 w 4545947"/>
              <a:gd name="connsiteY2463" fmla="*/ 1308631 h 4525940"/>
              <a:gd name="connsiteX2464" fmla="*/ 198730 w 4545947"/>
              <a:gd name="connsiteY2464" fmla="*/ 1253312 h 4525940"/>
              <a:gd name="connsiteX2465" fmla="*/ 204698 w 4545947"/>
              <a:gd name="connsiteY2465" fmla="*/ 1210441 h 4525940"/>
              <a:gd name="connsiteX2466" fmla="*/ 213584 w 4545947"/>
              <a:gd name="connsiteY2466" fmla="*/ 1192440 h 4525940"/>
              <a:gd name="connsiteX2467" fmla="*/ 224517 w 4545947"/>
              <a:gd name="connsiteY2467" fmla="*/ 1170585 h 4525940"/>
              <a:gd name="connsiteX2468" fmla="*/ 235449 w 4545947"/>
              <a:gd name="connsiteY2468" fmla="*/ 1144933 h 4525940"/>
              <a:gd name="connsiteX2469" fmla="*/ 242008 w 4545947"/>
              <a:gd name="connsiteY2469" fmla="*/ 1126269 h 4525940"/>
              <a:gd name="connsiteX2470" fmla="*/ 248567 w 4545947"/>
              <a:gd name="connsiteY2470" fmla="*/ 1109667 h 4525940"/>
              <a:gd name="connsiteX2471" fmla="*/ 252548 w 4545947"/>
              <a:gd name="connsiteY2471" fmla="*/ 1100946 h 4525940"/>
              <a:gd name="connsiteX2472" fmla="*/ 259624 w 4545947"/>
              <a:gd name="connsiteY2472" fmla="*/ 1047134 h 4525940"/>
              <a:gd name="connsiteX2473" fmla="*/ 266576 w 4545947"/>
              <a:gd name="connsiteY2473" fmla="*/ 993321 h 4525940"/>
              <a:gd name="connsiteX2474" fmla="*/ 270432 w 4545947"/>
              <a:gd name="connsiteY2474" fmla="*/ 985235 h 4525940"/>
              <a:gd name="connsiteX2475" fmla="*/ 301492 w 4545947"/>
              <a:gd name="connsiteY2475" fmla="*/ 942674 h 4525940"/>
              <a:gd name="connsiteX2476" fmla="*/ 305415 w 4545947"/>
              <a:gd name="connsiteY2476" fmla="*/ 936072 h 4525940"/>
              <a:gd name="connsiteX2477" fmla="*/ 325094 w 4545947"/>
              <a:gd name="connsiteY2477" fmla="*/ 899013 h 4525940"/>
              <a:gd name="connsiteX2478" fmla="*/ 344772 w 4545947"/>
              <a:gd name="connsiteY2478" fmla="*/ 864151 h 4525940"/>
              <a:gd name="connsiteX2479" fmla="*/ 376468 w 4545947"/>
              <a:gd name="connsiteY2479" fmla="*/ 816057 h 4525940"/>
              <a:gd name="connsiteX2480" fmla="*/ 405993 w 4545947"/>
              <a:gd name="connsiteY2480" fmla="*/ 777703 h 4525940"/>
              <a:gd name="connsiteX2481" fmla="*/ 466866 w 4545947"/>
              <a:gd name="connsiteY2481" fmla="*/ 695771 h 4525940"/>
              <a:gd name="connsiteX2482" fmla="*/ 475959 w 4545947"/>
              <a:gd name="connsiteY2482" fmla="*/ 689867 h 4525940"/>
              <a:gd name="connsiteX2483" fmla="*/ 485595 w 4545947"/>
              <a:gd name="connsiteY2483" fmla="*/ 679535 h 4525940"/>
              <a:gd name="connsiteX2484" fmla="*/ 501212 w 4545947"/>
              <a:gd name="connsiteY2484" fmla="*/ 666447 h 4525940"/>
              <a:gd name="connsiteX2485" fmla="*/ 522188 w 4545947"/>
              <a:gd name="connsiteY2485" fmla="*/ 657786 h 4525940"/>
              <a:gd name="connsiteX2486" fmla="*/ 537180 w 4545947"/>
              <a:gd name="connsiteY2486" fmla="*/ 651455 h 4525940"/>
              <a:gd name="connsiteX2487" fmla="*/ 547500 w 4545947"/>
              <a:gd name="connsiteY2487" fmla="*/ 645124 h 4525940"/>
              <a:gd name="connsiteX2488" fmla="*/ 566030 w 4545947"/>
              <a:gd name="connsiteY2488" fmla="*/ 629297 h 4525940"/>
              <a:gd name="connsiteX2489" fmla="*/ 581636 w 4545947"/>
              <a:gd name="connsiteY2489" fmla="*/ 613470 h 4525940"/>
              <a:gd name="connsiteX2490" fmla="*/ 595590 w 4545947"/>
              <a:gd name="connsiteY2490" fmla="*/ 603974 h 4525940"/>
              <a:gd name="connsiteX2491" fmla="*/ 605081 w 4545947"/>
              <a:gd name="connsiteY2491" fmla="*/ 594477 h 4525940"/>
              <a:gd name="connsiteX2492" fmla="*/ 621792 w 4545947"/>
              <a:gd name="connsiteY2492" fmla="*/ 585112 h 4525940"/>
              <a:gd name="connsiteX2493" fmla="*/ 758458 w 4545947"/>
              <a:gd name="connsiteY2493" fmla="*/ 557307 h 4525940"/>
              <a:gd name="connsiteX2494" fmla="*/ 827104 w 4545947"/>
              <a:gd name="connsiteY2494" fmla="*/ 526420 h 4525940"/>
              <a:gd name="connsiteX2495" fmla="*/ 836125 w 4545947"/>
              <a:gd name="connsiteY2495" fmla="*/ 518507 h 4525940"/>
              <a:gd name="connsiteX2496" fmla="*/ 854218 w 4545947"/>
              <a:gd name="connsiteY2496" fmla="*/ 499514 h 4525940"/>
              <a:gd name="connsiteX2497" fmla="*/ 874456 w 4545947"/>
              <a:gd name="connsiteY2497" fmla="*/ 480522 h 4525940"/>
              <a:gd name="connsiteX2498" fmla="*/ 884828 w 4545947"/>
              <a:gd name="connsiteY2498" fmla="*/ 474191 h 4525940"/>
              <a:gd name="connsiteX2499" fmla="*/ 895654 w 4545947"/>
              <a:gd name="connsiteY2499" fmla="*/ 467860 h 4525940"/>
              <a:gd name="connsiteX2500" fmla="*/ 912594 w 4545947"/>
              <a:gd name="connsiteY2500" fmla="*/ 450450 h 4525940"/>
              <a:gd name="connsiteX2501" fmla="*/ 926952 w 4545947"/>
              <a:gd name="connsiteY2501" fmla="*/ 440954 h 4525940"/>
              <a:gd name="connsiteX2502" fmla="*/ 939829 w 4545947"/>
              <a:gd name="connsiteY2502" fmla="*/ 448867 h 4525940"/>
              <a:gd name="connsiteX2503" fmla="*/ 952502 w 4545947"/>
              <a:gd name="connsiteY2503" fmla="*/ 458179 h 4525940"/>
              <a:gd name="connsiteX2504" fmla="*/ 998543 w 4545947"/>
              <a:gd name="connsiteY2504" fmla="*/ 466092 h 4525940"/>
              <a:gd name="connsiteX2505" fmla="*/ 1037211 w 4545947"/>
              <a:gd name="connsiteY2505" fmla="*/ 469443 h 4525940"/>
              <a:gd name="connsiteX2506" fmla="*/ 1042254 w 4545947"/>
              <a:gd name="connsiteY2506" fmla="*/ 474191 h 4525940"/>
              <a:gd name="connsiteX2507" fmla="*/ 1046626 w 4545947"/>
              <a:gd name="connsiteY2507" fmla="*/ 467860 h 4525940"/>
              <a:gd name="connsiteX2508" fmla="*/ 1061114 w 4545947"/>
              <a:gd name="connsiteY2508" fmla="*/ 477356 h 4525940"/>
              <a:gd name="connsiteX2509" fmla="*/ 1086902 w 4545947"/>
              <a:gd name="connsiteY2509" fmla="*/ 480522 h 4525940"/>
              <a:gd name="connsiteX2510" fmla="*/ 1109378 w 4545947"/>
              <a:gd name="connsiteY2510" fmla="*/ 486853 h 4525940"/>
              <a:gd name="connsiteX2511" fmla="*/ 1118552 w 4545947"/>
              <a:gd name="connsiteY2511" fmla="*/ 505845 h 4525940"/>
              <a:gd name="connsiteX2512" fmla="*/ 1123152 w 4545947"/>
              <a:gd name="connsiteY2512" fmla="*/ 515629 h 4525940"/>
              <a:gd name="connsiteX2513" fmla="*/ 1134085 w 4545947"/>
              <a:gd name="connsiteY2513" fmla="*/ 541240 h 4525940"/>
              <a:gd name="connsiteX2514" fmla="*/ 1145017 w 4545947"/>
              <a:gd name="connsiteY2514" fmla="*/ 566276 h 4525940"/>
              <a:gd name="connsiteX2515" fmla="*/ 1149390 w 4545947"/>
              <a:gd name="connsiteY2515" fmla="*/ 575485 h 4525940"/>
              <a:gd name="connsiteX2516" fmla="*/ 1153763 w 4545947"/>
              <a:gd name="connsiteY2516" fmla="*/ 584382 h 4525940"/>
              <a:gd name="connsiteX2517" fmla="*/ 1187659 w 4545947"/>
              <a:gd name="connsiteY2517" fmla="*/ 652617 h 4525940"/>
              <a:gd name="connsiteX2518" fmla="*/ 1254340 w 4545947"/>
              <a:gd name="connsiteY2518" fmla="*/ 749518 h 4525940"/>
              <a:gd name="connsiteX2519" fmla="*/ 1290288 w 4545947"/>
              <a:gd name="connsiteY2519" fmla="*/ 794342 h 4525940"/>
              <a:gd name="connsiteX2520" fmla="*/ 1306344 w 4545947"/>
              <a:gd name="connsiteY2520" fmla="*/ 785189 h 4525940"/>
              <a:gd name="connsiteX2521" fmla="*/ 1331406 w 4545947"/>
              <a:gd name="connsiteY2521" fmla="*/ 768222 h 4525940"/>
              <a:gd name="connsiteX2522" fmla="*/ 1357220 w 4545947"/>
              <a:gd name="connsiteY2522" fmla="*/ 780642 h 4525940"/>
              <a:gd name="connsiteX2523" fmla="*/ 1371260 w 4545947"/>
              <a:gd name="connsiteY2523" fmla="*/ 797065 h 4525940"/>
              <a:gd name="connsiteX2524" fmla="*/ 1376782 w 4545947"/>
              <a:gd name="connsiteY2524" fmla="*/ 808745 h 4525940"/>
              <a:gd name="connsiteX2525" fmla="*/ 1397898 w 4545947"/>
              <a:gd name="connsiteY2525" fmla="*/ 841380 h 4525940"/>
              <a:gd name="connsiteX2526" fmla="*/ 1403566 w 4545947"/>
              <a:gd name="connsiteY2526" fmla="*/ 854042 h 4525940"/>
              <a:gd name="connsiteX2527" fmla="*/ 1413767 w 4545947"/>
              <a:gd name="connsiteY2527" fmla="*/ 888172 h 4525940"/>
              <a:gd name="connsiteX2528" fmla="*/ 1434326 w 4545947"/>
              <a:gd name="connsiteY2528" fmla="*/ 924237 h 4525940"/>
              <a:gd name="connsiteX2529" fmla="*/ 1455432 w 4545947"/>
              <a:gd name="connsiteY2529" fmla="*/ 930013 h 4525940"/>
              <a:gd name="connsiteX2530" fmla="*/ 1463906 w 4545947"/>
              <a:gd name="connsiteY2530" fmla="*/ 905557 h 4525940"/>
              <a:gd name="connsiteX2531" fmla="*/ 1458027 w 4545947"/>
              <a:gd name="connsiteY2531" fmla="*/ 873556 h 4525940"/>
              <a:gd name="connsiteX2532" fmla="*/ 1446749 w 4545947"/>
              <a:gd name="connsiteY2532" fmla="*/ 845782 h 4525940"/>
              <a:gd name="connsiteX2533" fmla="*/ 1442667 w 4545947"/>
              <a:gd name="connsiteY2533" fmla="*/ 835050 h 4525940"/>
              <a:gd name="connsiteX2534" fmla="*/ 1437200 w 4545947"/>
              <a:gd name="connsiteY2534" fmla="*/ 817640 h 4525940"/>
              <a:gd name="connsiteX2535" fmla="*/ 1425722 w 4545947"/>
              <a:gd name="connsiteY2535" fmla="*/ 798159 h 4525940"/>
              <a:gd name="connsiteX2536" fmla="*/ 1431370 w 4545947"/>
              <a:gd name="connsiteY2536" fmla="*/ 765466 h 4525940"/>
              <a:gd name="connsiteX2537" fmla="*/ 1448402 w 4545947"/>
              <a:gd name="connsiteY2537" fmla="*/ 734883 h 4525940"/>
              <a:gd name="connsiteX2538" fmla="*/ 1461812 w 4545947"/>
              <a:gd name="connsiteY2538" fmla="*/ 714763 h 4525940"/>
              <a:gd name="connsiteX2539" fmla="*/ 1475392 w 4545947"/>
              <a:gd name="connsiteY2539" fmla="*/ 708925 h 4525940"/>
              <a:gd name="connsiteX2540" fmla="*/ 1494907 w 4545947"/>
              <a:gd name="connsiteY2540" fmla="*/ 699006 h 4525940"/>
              <a:gd name="connsiteX2541" fmla="*/ 1520814 w 4545947"/>
              <a:gd name="connsiteY2541" fmla="*/ 711175 h 4525940"/>
              <a:gd name="connsiteX2542" fmla="*/ 1542953 w 4545947"/>
              <a:gd name="connsiteY2542" fmla="*/ 721094 h 4525940"/>
              <a:gd name="connsiteX2543" fmla="*/ 1548180 w 4545947"/>
              <a:gd name="connsiteY2543" fmla="*/ 714763 h 4525940"/>
              <a:gd name="connsiteX2544" fmla="*/ 1565543 w 4545947"/>
              <a:gd name="connsiteY2544" fmla="*/ 697931 h 4525940"/>
              <a:gd name="connsiteX2545" fmla="*/ 1580569 w 4545947"/>
              <a:gd name="connsiteY2545" fmla="*/ 692004 h 4525940"/>
              <a:gd name="connsiteX2546" fmla="*/ 1579083 w 4545947"/>
              <a:gd name="connsiteY2546" fmla="*/ 716815 h 4525940"/>
              <a:gd name="connsiteX2547" fmla="*/ 1593565 w 4545947"/>
              <a:gd name="connsiteY2547" fmla="*/ 743948 h 4525940"/>
              <a:gd name="connsiteX2548" fmla="*/ 1600588 w 4545947"/>
              <a:gd name="connsiteY2548" fmla="*/ 716198 h 4525940"/>
              <a:gd name="connsiteX2549" fmla="*/ 1604075 w 4545947"/>
              <a:gd name="connsiteY2549" fmla="*/ 676922 h 4525940"/>
              <a:gd name="connsiteX2550" fmla="*/ 1610336 w 4545947"/>
              <a:gd name="connsiteY2550" fmla="*/ 655404 h 4525940"/>
              <a:gd name="connsiteX2551" fmla="*/ 1627075 w 4545947"/>
              <a:gd name="connsiteY2551" fmla="*/ 651503 h 4525940"/>
              <a:gd name="connsiteX2552" fmla="*/ 1657724 w 4545947"/>
              <a:gd name="connsiteY2552" fmla="*/ 660732 h 4525940"/>
              <a:gd name="connsiteX2553" fmla="*/ 1680927 w 4545947"/>
              <a:gd name="connsiteY2553" fmla="*/ 665854 h 4525940"/>
              <a:gd name="connsiteX2554" fmla="*/ 1711891 w 4545947"/>
              <a:gd name="connsiteY2554" fmla="*/ 679332 h 4525940"/>
              <a:gd name="connsiteX2555" fmla="*/ 1757474 w 4545947"/>
              <a:gd name="connsiteY2555" fmla="*/ 699162 h 4525940"/>
              <a:gd name="connsiteX2556" fmla="*/ 1781191 w 4545947"/>
              <a:gd name="connsiteY2556" fmla="*/ 714763 h 4525940"/>
              <a:gd name="connsiteX2557" fmla="*/ 1787837 w 4545947"/>
              <a:gd name="connsiteY2557" fmla="*/ 720473 h 4525940"/>
              <a:gd name="connsiteX2558" fmla="*/ 1804133 w 4545947"/>
              <a:gd name="connsiteY2558" fmla="*/ 738427 h 4525940"/>
              <a:gd name="connsiteX2559" fmla="*/ 1823246 w 4545947"/>
              <a:gd name="connsiteY2559" fmla="*/ 770607 h 4525940"/>
              <a:gd name="connsiteX2560" fmla="*/ 1854936 w 4545947"/>
              <a:gd name="connsiteY2560" fmla="*/ 808560 h 4525940"/>
              <a:gd name="connsiteX2561" fmla="*/ 1874886 w 4545947"/>
              <a:gd name="connsiteY2561" fmla="*/ 818655 h 4525940"/>
              <a:gd name="connsiteX2562" fmla="*/ 1890018 w 4545947"/>
              <a:gd name="connsiteY2562" fmla="*/ 835050 h 4525940"/>
              <a:gd name="connsiteX2563" fmla="*/ 1924029 w 4545947"/>
              <a:gd name="connsiteY2563" fmla="*/ 879848 h 4525940"/>
              <a:gd name="connsiteX2564" fmla="*/ 1970767 w 4545947"/>
              <a:gd name="connsiteY2564" fmla="*/ 928208 h 4525940"/>
              <a:gd name="connsiteX2565" fmla="*/ 1992216 w 4545947"/>
              <a:gd name="connsiteY2565" fmla="*/ 937930 h 4525940"/>
              <a:gd name="connsiteX2566" fmla="*/ 2004549 w 4545947"/>
              <a:gd name="connsiteY2566" fmla="*/ 940246 h 4525940"/>
              <a:gd name="connsiteX2567" fmla="*/ 2000233 w 4545947"/>
              <a:gd name="connsiteY2567" fmla="*/ 905653 h 4525940"/>
              <a:gd name="connsiteX2568" fmla="*/ 1980246 w 4545947"/>
              <a:gd name="connsiteY2568" fmla="*/ 879818 h 4525940"/>
              <a:gd name="connsiteX2569" fmla="*/ 2000661 w 4545947"/>
              <a:gd name="connsiteY2569" fmla="*/ 880614 h 4525940"/>
              <a:gd name="connsiteX2570" fmla="*/ 2028302 w 4545947"/>
              <a:gd name="connsiteY2570" fmla="*/ 869933 h 4525940"/>
              <a:gd name="connsiteX2571" fmla="*/ 2041467 w 4545947"/>
              <a:gd name="connsiteY2571" fmla="*/ 837031 h 4525940"/>
              <a:gd name="connsiteX2572" fmla="*/ 2048027 w 4545947"/>
              <a:gd name="connsiteY2572" fmla="*/ 822388 h 4525940"/>
              <a:gd name="connsiteX2573" fmla="*/ 2054585 w 4545947"/>
              <a:gd name="connsiteY2573" fmla="*/ 828761 h 4525940"/>
              <a:gd name="connsiteX2574" fmla="*/ 2065253 w 4545947"/>
              <a:gd name="connsiteY2574" fmla="*/ 848562 h 4525940"/>
              <a:gd name="connsiteX2575" fmla="*/ 2069492 w 4545947"/>
              <a:gd name="connsiteY2575" fmla="*/ 876195 h 4525940"/>
              <a:gd name="connsiteX2576" fmla="*/ 2078502 w 4545947"/>
              <a:gd name="connsiteY2576" fmla="*/ 901007 h 4525940"/>
              <a:gd name="connsiteX2577" fmla="*/ 2093942 w 4545947"/>
              <a:gd name="connsiteY2577" fmla="*/ 917648 h 4525940"/>
              <a:gd name="connsiteX2578" fmla="*/ 2100502 w 4545947"/>
              <a:gd name="connsiteY2578" fmla="*/ 923682 h 4525940"/>
              <a:gd name="connsiteX2579" fmla="*/ 2103714 w 4545947"/>
              <a:gd name="connsiteY2579" fmla="*/ 946427 h 4525940"/>
              <a:gd name="connsiteX2580" fmla="*/ 2086036 w 4545947"/>
              <a:gd name="connsiteY2580" fmla="*/ 957421 h 4525940"/>
              <a:gd name="connsiteX2581" fmla="*/ 2063661 w 4545947"/>
              <a:gd name="connsiteY2581" fmla="*/ 987546 h 4525940"/>
              <a:gd name="connsiteX2582" fmla="*/ 2067637 w 4545947"/>
              <a:gd name="connsiteY2582" fmla="*/ 1028317 h 4525940"/>
              <a:gd name="connsiteX2583" fmla="*/ 2093992 w 4545947"/>
              <a:gd name="connsiteY2583" fmla="*/ 1081953 h 4525940"/>
              <a:gd name="connsiteX2584" fmla="*/ 2102688 w 4545947"/>
              <a:gd name="connsiteY2584" fmla="*/ 1100171 h 4525940"/>
              <a:gd name="connsiteX2585" fmla="*/ 2123679 w 4545947"/>
              <a:gd name="connsiteY2585" fmla="*/ 1123892 h 4525940"/>
              <a:gd name="connsiteX2586" fmla="*/ 2129992 w 4545947"/>
              <a:gd name="connsiteY2586" fmla="*/ 1070902 h 4525940"/>
              <a:gd name="connsiteX2587" fmla="*/ 2124526 w 4545947"/>
              <a:gd name="connsiteY2587" fmla="*/ 1022405 h 4525940"/>
              <a:gd name="connsiteX2588" fmla="*/ 2126739 w 4545947"/>
              <a:gd name="connsiteY2588" fmla="*/ 980659 h 4525940"/>
              <a:gd name="connsiteX2589" fmla="*/ 2128791 w 4545947"/>
              <a:gd name="connsiteY2589" fmla="*/ 945720 h 4525940"/>
              <a:gd name="connsiteX2590" fmla="*/ 2127020 w 4545947"/>
              <a:gd name="connsiteY2590" fmla="*/ 920573 h 4525940"/>
              <a:gd name="connsiteX2591" fmla="*/ 2126714 w 4545947"/>
              <a:gd name="connsiteY2591" fmla="*/ 885583 h 4525940"/>
              <a:gd name="connsiteX2592" fmla="*/ 2111163 w 4545947"/>
              <a:gd name="connsiteY2592" fmla="*/ 875329 h 4525940"/>
              <a:gd name="connsiteX2593" fmla="*/ 2098244 w 4545947"/>
              <a:gd name="connsiteY2593" fmla="*/ 863602 h 4525940"/>
              <a:gd name="connsiteX2594" fmla="*/ 2098315 w 4545947"/>
              <a:gd name="connsiteY2594" fmla="*/ 822388 h 4525940"/>
              <a:gd name="connsiteX2595" fmla="*/ 2093942 w 4545947"/>
              <a:gd name="connsiteY2595" fmla="*/ 803395 h 4525940"/>
              <a:gd name="connsiteX2596" fmla="*/ 2098662 w 4545947"/>
              <a:gd name="connsiteY2596" fmla="*/ 784403 h 4525940"/>
              <a:gd name="connsiteX2597" fmla="*/ 2100683 w 4545947"/>
              <a:gd name="connsiteY2597" fmla="*/ 766608 h 4525940"/>
              <a:gd name="connsiteX2598" fmla="*/ 2107989 w 4545947"/>
              <a:gd name="connsiteY2598" fmla="*/ 741548 h 4525940"/>
              <a:gd name="connsiteX2599" fmla="*/ 2128925 w 4545947"/>
              <a:gd name="connsiteY2599" fmla="*/ 732437 h 4525940"/>
              <a:gd name="connsiteX2600" fmla="*/ 2141241 w 4545947"/>
              <a:gd name="connsiteY2600" fmla="*/ 713181 h 4525940"/>
              <a:gd name="connsiteX2601" fmla="*/ 2153554 w 4545947"/>
              <a:gd name="connsiteY2601" fmla="*/ 695771 h 4525940"/>
              <a:gd name="connsiteX2602" fmla="*/ 2172084 w 4545947"/>
              <a:gd name="connsiteY2602" fmla="*/ 689882 h 4525940"/>
              <a:gd name="connsiteX2603" fmla="*/ 2185988 w 4545947"/>
              <a:gd name="connsiteY2603" fmla="*/ 689631 h 4525940"/>
              <a:gd name="connsiteX2604" fmla="*/ 2183565 w 4545947"/>
              <a:gd name="connsiteY2604" fmla="*/ 704816 h 4525940"/>
              <a:gd name="connsiteX2605" fmla="*/ 2181442 w 4545947"/>
              <a:gd name="connsiteY2605" fmla="*/ 714562 h 4525940"/>
              <a:gd name="connsiteX2606" fmla="*/ 2193271 w 4545947"/>
              <a:gd name="connsiteY2606" fmla="*/ 702641 h 4525940"/>
              <a:gd name="connsiteX2607" fmla="*/ 2179214 w 4545947"/>
              <a:gd name="connsiteY2607" fmla="*/ 675840 h 4525940"/>
              <a:gd name="connsiteX2608" fmla="*/ 2166151 w 4545947"/>
              <a:gd name="connsiteY2608" fmla="*/ 659332 h 4525940"/>
              <a:gd name="connsiteX2609" fmla="*/ 2158499 w 4545947"/>
              <a:gd name="connsiteY2609" fmla="*/ 645124 h 4525940"/>
              <a:gd name="connsiteX2610" fmla="*/ 2155163 w 4545947"/>
              <a:gd name="connsiteY2610" fmla="*/ 635628 h 4525940"/>
              <a:gd name="connsiteX2611" fmla="*/ 2184048 w 4545947"/>
              <a:gd name="connsiteY2611" fmla="*/ 643278 h 4525940"/>
              <a:gd name="connsiteX2612" fmla="*/ 2202425 w 4545947"/>
              <a:gd name="connsiteY2612" fmla="*/ 653711 h 4525940"/>
              <a:gd name="connsiteX2613" fmla="*/ 2203453 w 4545947"/>
              <a:gd name="connsiteY2613" fmla="*/ 607453 h 4525940"/>
              <a:gd name="connsiteX2614" fmla="*/ 2200610 w 4545947"/>
              <a:gd name="connsiteY2614" fmla="*/ 581815 h 4525940"/>
              <a:gd name="connsiteX2615" fmla="*/ 2209356 w 4545947"/>
              <a:gd name="connsiteY2615" fmla="*/ 571802 h 4525940"/>
              <a:gd name="connsiteX2616" fmla="*/ 2207638 w 4545947"/>
              <a:gd name="connsiteY2616" fmla="*/ 537499 h 4525940"/>
              <a:gd name="connsiteX2617" fmla="*/ 2211777 w 4545947"/>
              <a:gd name="connsiteY2617" fmla="*/ 512421 h 4525940"/>
              <a:gd name="connsiteX2618" fmla="*/ 2218439 w 4545947"/>
              <a:gd name="connsiteY2618" fmla="*/ 499207 h 4525940"/>
              <a:gd name="connsiteX2619" fmla="*/ 2245369 w 4545947"/>
              <a:gd name="connsiteY2619" fmla="*/ 471396 h 4525940"/>
              <a:gd name="connsiteX2620" fmla="*/ 2261834 w 4545947"/>
              <a:gd name="connsiteY2620" fmla="*/ 483257 h 4525940"/>
              <a:gd name="connsiteX2621" fmla="*/ 2292979 w 4545947"/>
              <a:gd name="connsiteY2621" fmla="*/ 497282 h 4525940"/>
              <a:gd name="connsiteX2622" fmla="*/ 2323798 w 4545947"/>
              <a:gd name="connsiteY2622" fmla="*/ 505194 h 4525940"/>
              <a:gd name="connsiteX2623" fmla="*/ 2333912 w 4545947"/>
              <a:gd name="connsiteY2623" fmla="*/ 537499 h 4525940"/>
              <a:gd name="connsiteX2624" fmla="*/ 2350016 w 4545947"/>
              <a:gd name="connsiteY2624" fmla="*/ 528204 h 4525940"/>
              <a:gd name="connsiteX2625" fmla="*/ 2368343 w 4545947"/>
              <a:gd name="connsiteY2625" fmla="*/ 518708 h 4525940"/>
              <a:gd name="connsiteX2626" fmla="*/ 2378182 w 4545947"/>
              <a:gd name="connsiteY2626" fmla="*/ 512176 h 4525940"/>
              <a:gd name="connsiteX2627" fmla="*/ 2384742 w 4545947"/>
              <a:gd name="connsiteY2627" fmla="*/ 505845 h 4525940"/>
              <a:gd name="connsiteX2628" fmla="*/ 2391301 w 4545947"/>
              <a:gd name="connsiteY2628" fmla="*/ 499514 h 4525940"/>
              <a:gd name="connsiteX2629" fmla="*/ 2397860 w 4545947"/>
              <a:gd name="connsiteY2629" fmla="*/ 493183 h 4525940"/>
              <a:gd name="connsiteX2630" fmla="*/ 2404419 w 4545947"/>
              <a:gd name="connsiteY2630" fmla="*/ 505472 h 4525940"/>
              <a:gd name="connsiteX2631" fmla="*/ 2421950 w 4545947"/>
              <a:gd name="connsiteY2631" fmla="*/ 521654 h 4525940"/>
              <a:gd name="connsiteX2632" fmla="*/ 2430657 w 4545947"/>
              <a:gd name="connsiteY2632" fmla="*/ 502253 h 4525940"/>
              <a:gd name="connsiteX2633" fmla="*/ 2444767 w 4545947"/>
              <a:gd name="connsiteY2633" fmla="*/ 494323 h 4525940"/>
              <a:gd name="connsiteX2634" fmla="*/ 2464298 w 4545947"/>
              <a:gd name="connsiteY2634" fmla="*/ 482248 h 4525940"/>
              <a:gd name="connsiteX2635" fmla="*/ 2475130 w 4545947"/>
              <a:gd name="connsiteY2635" fmla="*/ 455927 h 4525940"/>
              <a:gd name="connsiteX2636" fmla="*/ 2476573 w 4545947"/>
              <a:gd name="connsiteY2636" fmla="*/ 413172 h 4525940"/>
              <a:gd name="connsiteX2637" fmla="*/ 2470013 w 4545947"/>
              <a:gd name="connsiteY2637" fmla="*/ 387848 h 4525940"/>
              <a:gd name="connsiteX2638" fmla="*/ 2463454 w 4545947"/>
              <a:gd name="connsiteY2638" fmla="*/ 362525 h 4525940"/>
              <a:gd name="connsiteX2639" fmla="*/ 2456929 w 4545947"/>
              <a:gd name="connsiteY2639" fmla="*/ 342148 h 4525940"/>
              <a:gd name="connsiteX2640" fmla="*/ 2492750 w 4545947"/>
              <a:gd name="connsiteY2640" fmla="*/ 309588 h 4525940"/>
              <a:gd name="connsiteX2641" fmla="*/ 2504997 w 4545947"/>
              <a:gd name="connsiteY2641" fmla="*/ 303258 h 4525940"/>
              <a:gd name="connsiteX2642" fmla="*/ 2521291 w 4545947"/>
              <a:gd name="connsiteY2642" fmla="*/ 309165 h 4525940"/>
              <a:gd name="connsiteX2643" fmla="*/ 2519063 w 4545947"/>
              <a:gd name="connsiteY2643" fmla="*/ 323689 h 4525940"/>
              <a:gd name="connsiteX2644" fmla="*/ 2534825 w 4545947"/>
              <a:gd name="connsiteY2644" fmla="*/ 326930 h 4525940"/>
              <a:gd name="connsiteX2645" fmla="*/ 2562584 w 4545947"/>
              <a:gd name="connsiteY2645" fmla="*/ 309240 h 4525940"/>
              <a:gd name="connsiteX2646" fmla="*/ 2596446 w 4545947"/>
              <a:gd name="connsiteY2646" fmla="*/ 301675 h 4525940"/>
              <a:gd name="connsiteX2647" fmla="*/ 2609919 w 4545947"/>
              <a:gd name="connsiteY2647" fmla="*/ 326625 h 4525940"/>
              <a:gd name="connsiteX2648" fmla="*/ 2629424 w 4545947"/>
              <a:gd name="connsiteY2648" fmla="*/ 343915 h 4525940"/>
              <a:gd name="connsiteX2649" fmla="*/ 2640558 w 4545947"/>
              <a:gd name="connsiteY2649" fmla="*/ 312290 h 4525940"/>
              <a:gd name="connsiteX2650" fmla="*/ 2649304 w 4545947"/>
              <a:gd name="connsiteY2650" fmla="*/ 277934 h 4525940"/>
              <a:gd name="connsiteX2651" fmla="*/ 2658050 w 4545947"/>
              <a:gd name="connsiteY2651" fmla="*/ 254876 h 4525940"/>
              <a:gd name="connsiteX2652" fmla="*/ 2665163 w 4545947"/>
              <a:gd name="connsiteY2652" fmla="*/ 242546 h 4525940"/>
              <a:gd name="connsiteX2653" fmla="*/ 2678281 w 4545947"/>
              <a:gd name="connsiteY2653" fmla="*/ 239283 h 4525940"/>
              <a:gd name="connsiteX2654" fmla="*/ 2679914 w 4545947"/>
              <a:gd name="connsiteY2654" fmla="*/ 201964 h 4525940"/>
              <a:gd name="connsiteX2655" fmla="*/ 2682494 w 4545947"/>
              <a:gd name="connsiteY2655" fmla="*/ 169679 h 4525940"/>
              <a:gd name="connsiteX2656" fmla="*/ 2670873 w 4545947"/>
              <a:gd name="connsiteY2656" fmla="*/ 132325 h 4525940"/>
              <a:gd name="connsiteX2657" fmla="*/ 2671168 w 4545947"/>
              <a:gd name="connsiteY2657" fmla="*/ 107001 h 4525940"/>
              <a:gd name="connsiteX2658" fmla="*/ 2684287 w 4545947"/>
              <a:gd name="connsiteY2658" fmla="*/ 87927 h 4525940"/>
              <a:gd name="connsiteX2659" fmla="*/ 2695219 w 4545947"/>
              <a:gd name="connsiteY2659" fmla="*/ 72747 h 4525940"/>
              <a:gd name="connsiteX2660" fmla="*/ 2706152 w 4545947"/>
              <a:gd name="connsiteY2660" fmla="*/ 63442 h 4525940"/>
              <a:gd name="connsiteX2661" fmla="*/ 2732792 w 4545947"/>
              <a:gd name="connsiteY2661" fmla="*/ 72882 h 4525940"/>
              <a:gd name="connsiteX2662" fmla="*/ 2747762 w 4545947"/>
              <a:gd name="connsiteY2662" fmla="*/ 81678 h 4525940"/>
              <a:gd name="connsiteX2663" fmla="*/ 2760208 w 4545947"/>
              <a:gd name="connsiteY2663" fmla="*/ 91174 h 4525940"/>
              <a:gd name="connsiteX2664" fmla="*/ 2773795 w 4545947"/>
              <a:gd name="connsiteY2664" fmla="*/ 100670 h 4525940"/>
              <a:gd name="connsiteX2665" fmla="*/ 2784864 w 4545947"/>
              <a:gd name="connsiteY2665" fmla="*/ 113531 h 4525940"/>
              <a:gd name="connsiteX2666" fmla="*/ 2806176 w 4545947"/>
              <a:gd name="connsiteY2666" fmla="*/ 127943 h 4525940"/>
              <a:gd name="connsiteX2667" fmla="*/ 2811807 w 4545947"/>
              <a:gd name="connsiteY2667" fmla="*/ 98446 h 4525940"/>
              <a:gd name="connsiteX2668" fmla="*/ 2815434 w 4545947"/>
              <a:gd name="connsiteY2668" fmla="*/ 75347 h 4525940"/>
              <a:gd name="connsiteX2669" fmla="*/ 2817964 w 4545947"/>
              <a:gd name="connsiteY2669" fmla="*/ 64068 h 4525940"/>
              <a:gd name="connsiteX2670" fmla="*/ 2827881 w 4545947"/>
              <a:gd name="connsiteY2670" fmla="*/ 46020 h 4525940"/>
              <a:gd name="connsiteX2671" fmla="*/ 2867950 w 4545947"/>
              <a:gd name="connsiteY2671" fmla="*/ 53908 h 4525940"/>
              <a:gd name="connsiteX2672" fmla="*/ 2872323 w 4545947"/>
              <a:gd name="connsiteY2672" fmla="*/ 62685 h 4525940"/>
              <a:gd name="connsiteX2673" fmla="*/ 2876696 w 4545947"/>
              <a:gd name="connsiteY2673" fmla="*/ 71983 h 4525940"/>
              <a:gd name="connsiteX2674" fmla="*/ 2883143 w 4545947"/>
              <a:gd name="connsiteY2674" fmla="*/ 77698 h 4525940"/>
              <a:gd name="connsiteX2675" fmla="*/ 2915810 w 4545947"/>
              <a:gd name="connsiteY2675" fmla="*/ 113898 h 4525940"/>
              <a:gd name="connsiteX2676" fmla="*/ 2904913 w 4545947"/>
              <a:gd name="connsiteY2676" fmla="*/ 131308 h 4525940"/>
              <a:gd name="connsiteX2677" fmla="*/ 2889815 w 4545947"/>
              <a:gd name="connsiteY2677" fmla="*/ 130128 h 4525940"/>
              <a:gd name="connsiteX2678" fmla="*/ 2868756 w 4545947"/>
              <a:gd name="connsiteY2678" fmla="*/ 96783 h 4525940"/>
              <a:gd name="connsiteX2679" fmla="*/ 2861989 w 4545947"/>
              <a:gd name="connsiteY2679" fmla="*/ 125162 h 4525940"/>
              <a:gd name="connsiteX2680" fmla="*/ 2852669 w 4545947"/>
              <a:gd name="connsiteY2680" fmla="*/ 153593 h 4525940"/>
              <a:gd name="connsiteX2681" fmla="*/ 2864473 w 4545947"/>
              <a:gd name="connsiteY2681" fmla="*/ 230956 h 4525940"/>
              <a:gd name="connsiteX2682" fmla="*/ 2877958 w 4545947"/>
              <a:gd name="connsiteY2682" fmla="*/ 271677 h 4525940"/>
              <a:gd name="connsiteX2683" fmla="*/ 2896480 w 4545947"/>
              <a:gd name="connsiteY2683" fmla="*/ 310278 h 4525940"/>
              <a:gd name="connsiteX2684" fmla="*/ 2930626 w 4545947"/>
              <a:gd name="connsiteY2684" fmla="*/ 305922 h 4525940"/>
              <a:gd name="connsiteX2685" fmla="*/ 2918213 w 4545947"/>
              <a:gd name="connsiteY2685" fmla="*/ 271603 h 4525940"/>
              <a:gd name="connsiteX2686" fmla="*/ 2905690 w 4545947"/>
              <a:gd name="connsiteY2686" fmla="*/ 257359 h 4525940"/>
              <a:gd name="connsiteX2687" fmla="*/ 2913711 w 4545947"/>
              <a:gd name="connsiteY2687" fmla="*/ 233618 h 4525940"/>
              <a:gd name="connsiteX2688" fmla="*/ 2930337 w 4545947"/>
              <a:gd name="connsiteY2688" fmla="*/ 190885 h 4525940"/>
              <a:gd name="connsiteX2689" fmla="*/ 2934767 w 4545947"/>
              <a:gd name="connsiteY2689" fmla="*/ 170310 h 4525940"/>
              <a:gd name="connsiteX2690" fmla="*/ 2941378 w 4545947"/>
              <a:gd name="connsiteY2690" fmla="*/ 194420 h 4525940"/>
              <a:gd name="connsiteX2691" fmla="*/ 2952827 w 4545947"/>
              <a:gd name="connsiteY2691" fmla="*/ 205440 h 4525940"/>
              <a:gd name="connsiteX2692" fmla="*/ 2977447 w 4545947"/>
              <a:gd name="connsiteY2692" fmla="*/ 198569 h 4525940"/>
              <a:gd name="connsiteX2693" fmla="*/ 2967852 w 4545947"/>
              <a:gd name="connsiteY2693" fmla="*/ 132854 h 4525940"/>
              <a:gd name="connsiteX2694" fmla="*/ 2962222 w 4545947"/>
              <a:gd name="connsiteY2694" fmla="*/ 88008 h 4525940"/>
              <a:gd name="connsiteX2695" fmla="*/ 2985873 w 4545947"/>
              <a:gd name="connsiteY2695" fmla="*/ 51606 h 4525940"/>
              <a:gd name="connsiteX2696" fmla="*/ 3000606 w 4545947"/>
              <a:gd name="connsiteY2696" fmla="*/ 43693 h 4525940"/>
              <a:gd name="connsiteX2697" fmla="*/ 3031196 w 4545947"/>
              <a:gd name="connsiteY2697" fmla="*/ 69498 h 4525940"/>
              <a:gd name="connsiteX2698" fmla="*/ 3053778 w 4545947"/>
              <a:gd name="connsiteY2698" fmla="*/ 85778 h 4525940"/>
              <a:gd name="connsiteX2699" fmla="*/ 3055111 w 4545947"/>
              <a:gd name="connsiteY2699" fmla="*/ 51289 h 4525940"/>
              <a:gd name="connsiteX2700" fmla="*/ 3055383 w 4545947"/>
              <a:gd name="connsiteY2700" fmla="*/ 35779 h 4525940"/>
              <a:gd name="connsiteX2701" fmla="*/ 3064829 w 4545947"/>
              <a:gd name="connsiteY2701" fmla="*/ 37931 h 4525940"/>
              <a:gd name="connsiteX2702" fmla="*/ 3095119 w 4545947"/>
              <a:gd name="connsiteY2702" fmla="*/ 77459 h 4525940"/>
              <a:gd name="connsiteX2703" fmla="*/ 3107184 w 4545947"/>
              <a:gd name="connsiteY2703" fmla="*/ 111877 h 4525940"/>
              <a:gd name="connsiteX2704" fmla="*/ 3104088 w 4545947"/>
              <a:gd name="connsiteY2704" fmla="*/ 144986 h 4525940"/>
              <a:gd name="connsiteX2705" fmla="*/ 3108461 w 4545947"/>
              <a:gd name="connsiteY2705" fmla="*/ 160439 h 4525940"/>
              <a:gd name="connsiteX2706" fmla="*/ 3112834 w 4545947"/>
              <a:gd name="connsiteY2706" fmla="*/ 179806 h 4525940"/>
              <a:gd name="connsiteX2707" fmla="*/ 3117207 w 4545947"/>
              <a:gd name="connsiteY2707" fmla="*/ 205817 h 4525940"/>
              <a:gd name="connsiteX2708" fmla="*/ 3131860 w 4545947"/>
              <a:gd name="connsiteY2708" fmla="*/ 249759 h 4525940"/>
              <a:gd name="connsiteX2709" fmla="*/ 3152055 w 4545947"/>
              <a:gd name="connsiteY2709" fmla="*/ 271603 h 4525940"/>
              <a:gd name="connsiteX2710" fmla="*/ 3172536 w 4545947"/>
              <a:gd name="connsiteY2710" fmla="*/ 290596 h 4525940"/>
              <a:gd name="connsiteX2711" fmla="*/ 3211850 w 4545947"/>
              <a:gd name="connsiteY2711" fmla="*/ 300011 h 4525940"/>
              <a:gd name="connsiteX2712" fmla="*/ 3208838 w 4545947"/>
              <a:gd name="connsiteY2712" fmla="*/ 280750 h 4525940"/>
              <a:gd name="connsiteX2713" fmla="*/ 3218659 w 4545947"/>
              <a:gd name="connsiteY2713" fmla="*/ 264006 h 4525940"/>
              <a:gd name="connsiteX2714" fmla="*/ 3255173 w 4545947"/>
              <a:gd name="connsiteY2714" fmla="*/ 265724 h 4525940"/>
              <a:gd name="connsiteX2715" fmla="*/ 3274632 w 4545947"/>
              <a:gd name="connsiteY2715" fmla="*/ 257810 h 4525940"/>
              <a:gd name="connsiteX2716" fmla="*/ 3291320 w 4545947"/>
              <a:gd name="connsiteY2716" fmla="*/ 238366 h 4525940"/>
              <a:gd name="connsiteX2717" fmla="*/ 3301297 w 4545947"/>
              <a:gd name="connsiteY2717" fmla="*/ 220957 h 4525940"/>
              <a:gd name="connsiteX2718" fmla="*/ 3310575 w 4545947"/>
              <a:gd name="connsiteY2718" fmla="*/ 189177 h 4525940"/>
              <a:gd name="connsiteX2719" fmla="*/ 3319179 w 4545947"/>
              <a:gd name="connsiteY2719" fmla="*/ 174188 h 4525940"/>
              <a:gd name="connsiteX2720" fmla="*/ 3375209 w 4545947"/>
              <a:gd name="connsiteY2720" fmla="*/ 204754 h 4525940"/>
              <a:gd name="connsiteX2721" fmla="*/ 3386141 w 4545947"/>
              <a:gd name="connsiteY2721" fmla="*/ 233618 h 4525940"/>
              <a:gd name="connsiteX2722" fmla="*/ 3397074 w 4545947"/>
              <a:gd name="connsiteY2722" fmla="*/ 258990 h 4525940"/>
              <a:gd name="connsiteX2723" fmla="*/ 3408988 w 4545947"/>
              <a:gd name="connsiteY2723" fmla="*/ 267922 h 4525940"/>
              <a:gd name="connsiteX2724" fmla="*/ 3435701 w 4545947"/>
              <a:gd name="connsiteY2724" fmla="*/ 272440 h 4525940"/>
              <a:gd name="connsiteX2725" fmla="*/ 3447468 w 4545947"/>
              <a:gd name="connsiteY2725" fmla="*/ 277934 h 4525940"/>
              <a:gd name="connsiteX2726" fmla="*/ 3460481 w 4545947"/>
              <a:gd name="connsiteY2726" fmla="*/ 284265 h 4525940"/>
              <a:gd name="connsiteX2727" fmla="*/ 3473871 w 4545947"/>
              <a:gd name="connsiteY2727" fmla="*/ 290596 h 4525940"/>
              <a:gd name="connsiteX2728" fmla="*/ 3492137 w 4545947"/>
              <a:gd name="connsiteY2728" fmla="*/ 265273 h 4525940"/>
              <a:gd name="connsiteX2729" fmla="*/ 3502962 w 4545947"/>
              <a:gd name="connsiteY2729" fmla="*/ 239949 h 4525940"/>
              <a:gd name="connsiteX2730" fmla="*/ 3501086 w 4545947"/>
              <a:gd name="connsiteY2730" fmla="*/ 223668 h 4525940"/>
              <a:gd name="connsiteX2731" fmla="*/ 3500590 w 4545947"/>
              <a:gd name="connsiteY2731" fmla="*/ 203093 h 4525940"/>
              <a:gd name="connsiteX2732" fmla="*/ 3504512 w 4545947"/>
              <a:gd name="connsiteY2732" fmla="*/ 166435 h 4525940"/>
              <a:gd name="connsiteX2733" fmla="*/ 3497651 w 4545947"/>
              <a:gd name="connsiteY2733" fmla="*/ 148250 h 4525940"/>
              <a:gd name="connsiteX2734" fmla="*/ 3491091 w 4545947"/>
              <a:gd name="connsiteY2734" fmla="*/ 125994 h 4525940"/>
              <a:gd name="connsiteX2735" fmla="*/ 3484532 w 4545947"/>
              <a:gd name="connsiteY2735" fmla="*/ 103434 h 4525940"/>
              <a:gd name="connsiteX2736" fmla="*/ 3480160 w 4545947"/>
              <a:gd name="connsiteY2736" fmla="*/ 84843 h 4525940"/>
              <a:gd name="connsiteX2737" fmla="*/ 3475787 w 4545947"/>
              <a:gd name="connsiteY2737" fmla="*/ 47161 h 4525940"/>
              <a:gd name="connsiteX2738" fmla="*/ 3482704 w 4545947"/>
              <a:gd name="connsiteY2738" fmla="*/ 9550 h 4525940"/>
              <a:gd name="connsiteX2739" fmla="*/ 3491456 w 4545947"/>
              <a:gd name="connsiteY2739" fmla="*/ 6650 h 4525940"/>
              <a:gd name="connsiteX2740" fmla="*/ 3226906 w 4545947"/>
              <a:gd name="connsiteY2740" fmla="*/ 1812 h 4525940"/>
              <a:gd name="connsiteX2741" fmla="*/ 3254236 w 4545947"/>
              <a:gd name="connsiteY2741" fmla="*/ 13687 h 4525940"/>
              <a:gd name="connsiteX2742" fmla="*/ 3265886 w 4545947"/>
              <a:gd name="connsiteY2742" fmla="*/ 33553 h 4525940"/>
              <a:gd name="connsiteX2743" fmla="*/ 3253280 w 4545947"/>
              <a:gd name="connsiteY2743" fmla="*/ 55628 h 4525940"/>
              <a:gd name="connsiteX2744" fmla="*/ 3207342 w 4545947"/>
              <a:gd name="connsiteY2744" fmla="*/ 72250 h 4525940"/>
              <a:gd name="connsiteX2745" fmla="*/ 3158240 w 4545947"/>
              <a:gd name="connsiteY2745" fmla="*/ 64477 h 4525940"/>
              <a:gd name="connsiteX2746" fmla="*/ 3154454 w 4545947"/>
              <a:gd name="connsiteY2746" fmla="*/ 89245 h 4525940"/>
              <a:gd name="connsiteX2747" fmla="*/ 3137765 w 4545947"/>
              <a:gd name="connsiteY2747" fmla="*/ 109330 h 4525940"/>
              <a:gd name="connsiteX2748" fmla="*/ 3139154 w 4545947"/>
              <a:gd name="connsiteY2748" fmla="*/ 81678 h 4525940"/>
              <a:gd name="connsiteX2749" fmla="*/ 3140877 w 4545947"/>
              <a:gd name="connsiteY2749" fmla="*/ 65909 h 4525940"/>
              <a:gd name="connsiteX2750" fmla="*/ 3146260 w 4545947"/>
              <a:gd name="connsiteY2750" fmla="*/ 46455 h 4525940"/>
              <a:gd name="connsiteX2751" fmla="*/ 3161969 w 4545947"/>
              <a:gd name="connsiteY2751" fmla="*/ 36900 h 4525940"/>
              <a:gd name="connsiteX2752" fmla="*/ 3176182 w 4545947"/>
              <a:gd name="connsiteY2752" fmla="*/ 31031 h 4525940"/>
              <a:gd name="connsiteX2753" fmla="*/ 3182801 w 4545947"/>
              <a:gd name="connsiteY2753" fmla="*/ 18369 h 4525940"/>
              <a:gd name="connsiteX2754" fmla="*/ 3197012 w 4545947"/>
              <a:gd name="connsiteY2754" fmla="*/ 5637 h 4525940"/>
              <a:gd name="connsiteX2755" fmla="*/ 3226906 w 4545947"/>
              <a:gd name="connsiteY2755" fmla="*/ 1812 h 4525940"/>
              <a:gd name="connsiteX2756" fmla="*/ 3353505 w 4545947"/>
              <a:gd name="connsiteY2756" fmla="*/ 1044 h 4525940"/>
              <a:gd name="connsiteX2757" fmla="*/ 3364731 w 4545947"/>
              <a:gd name="connsiteY2757" fmla="*/ 45612 h 4525940"/>
              <a:gd name="connsiteX2758" fmla="*/ 3360436 w 4545947"/>
              <a:gd name="connsiteY2758" fmla="*/ 99424 h 4525940"/>
              <a:gd name="connsiteX2759" fmla="*/ 3342412 w 4545947"/>
              <a:gd name="connsiteY2759" fmla="*/ 100670 h 4525940"/>
              <a:gd name="connsiteX2760" fmla="*/ 3329571 w 4545947"/>
              <a:gd name="connsiteY2760" fmla="*/ 94339 h 4525940"/>
              <a:gd name="connsiteX2761" fmla="*/ 3313988 w 4545947"/>
              <a:gd name="connsiteY2761" fmla="*/ 84843 h 4525940"/>
              <a:gd name="connsiteX2762" fmla="*/ 3300334 w 4545947"/>
              <a:gd name="connsiteY2762" fmla="*/ 75347 h 4525940"/>
              <a:gd name="connsiteX2763" fmla="*/ 3292124 w 4545947"/>
              <a:gd name="connsiteY2763" fmla="*/ 70517 h 4525940"/>
              <a:gd name="connsiteX2764" fmla="*/ 3282285 w 4545947"/>
              <a:gd name="connsiteY2764" fmla="*/ 59438 h 4525940"/>
              <a:gd name="connsiteX2765" fmla="*/ 3296497 w 4545947"/>
              <a:gd name="connsiteY2765" fmla="*/ 27663 h 4525940"/>
              <a:gd name="connsiteX2766" fmla="*/ 3337481 w 4545947"/>
              <a:gd name="connsiteY2766" fmla="*/ 10254 h 4525940"/>
              <a:gd name="connsiteX2767" fmla="*/ 3353505 w 4545947"/>
              <a:gd name="connsiteY2767" fmla="*/ 1044 h 452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Lst>
            <a:rect l="l" t="t" r="r" b="b"/>
            <a:pathLst>
              <a:path w="4545947" h="4525940">
                <a:moveTo>
                  <a:pt x="1260900" y="4513278"/>
                </a:moveTo>
                <a:cubicBezTo>
                  <a:pt x="1264507" y="4513278"/>
                  <a:pt x="1267459" y="4516127"/>
                  <a:pt x="1267459" y="4519609"/>
                </a:cubicBezTo>
                <a:cubicBezTo>
                  <a:pt x="1267459" y="4523091"/>
                  <a:pt x="1264507" y="4525940"/>
                  <a:pt x="1260900" y="4525940"/>
                </a:cubicBezTo>
                <a:cubicBezTo>
                  <a:pt x="1257292" y="4525940"/>
                  <a:pt x="1254340" y="4523091"/>
                  <a:pt x="1254340" y="4519609"/>
                </a:cubicBezTo>
                <a:cubicBezTo>
                  <a:pt x="1254340" y="4516127"/>
                  <a:pt x="1257292" y="4513278"/>
                  <a:pt x="1260900" y="4513278"/>
                </a:cubicBezTo>
                <a:close/>
                <a:moveTo>
                  <a:pt x="1096915" y="4392992"/>
                </a:moveTo>
                <a:cubicBezTo>
                  <a:pt x="1099320" y="4392992"/>
                  <a:pt x="1101288" y="4397265"/>
                  <a:pt x="1101288" y="4402488"/>
                </a:cubicBezTo>
                <a:cubicBezTo>
                  <a:pt x="1101288" y="4407711"/>
                  <a:pt x="1099320" y="4411984"/>
                  <a:pt x="1096915" y="4411984"/>
                </a:cubicBezTo>
                <a:cubicBezTo>
                  <a:pt x="1094510" y="4411984"/>
                  <a:pt x="1092542" y="4407711"/>
                  <a:pt x="1092542" y="4402488"/>
                </a:cubicBezTo>
                <a:cubicBezTo>
                  <a:pt x="1092542" y="4397265"/>
                  <a:pt x="1094510" y="4392992"/>
                  <a:pt x="1096915" y="4392992"/>
                </a:cubicBezTo>
                <a:close/>
                <a:moveTo>
                  <a:pt x="3812502" y="4386661"/>
                </a:moveTo>
                <a:cubicBezTo>
                  <a:pt x="3814907" y="4386661"/>
                  <a:pt x="3816875" y="4389509"/>
                  <a:pt x="3816875" y="4392992"/>
                </a:cubicBezTo>
                <a:cubicBezTo>
                  <a:pt x="3816875" y="4396474"/>
                  <a:pt x="3814907" y="4399322"/>
                  <a:pt x="3812502" y="4399322"/>
                </a:cubicBezTo>
                <a:cubicBezTo>
                  <a:pt x="3810096" y="4399322"/>
                  <a:pt x="3808129" y="4396474"/>
                  <a:pt x="3808129" y="4392992"/>
                </a:cubicBezTo>
                <a:cubicBezTo>
                  <a:pt x="3808129" y="4389509"/>
                  <a:pt x="3810096" y="4386661"/>
                  <a:pt x="3812502" y="4386661"/>
                </a:cubicBezTo>
                <a:close/>
                <a:moveTo>
                  <a:pt x="972287" y="4355006"/>
                </a:moveTo>
                <a:cubicBezTo>
                  <a:pt x="975894" y="4355006"/>
                  <a:pt x="978846" y="4359280"/>
                  <a:pt x="978846" y="4364503"/>
                </a:cubicBezTo>
                <a:cubicBezTo>
                  <a:pt x="978846" y="4369726"/>
                  <a:pt x="975894" y="4373999"/>
                  <a:pt x="972287" y="4373999"/>
                </a:cubicBezTo>
                <a:cubicBezTo>
                  <a:pt x="968679" y="4373999"/>
                  <a:pt x="965727" y="4369726"/>
                  <a:pt x="965727" y="4364503"/>
                </a:cubicBezTo>
                <a:cubicBezTo>
                  <a:pt x="965727" y="4359280"/>
                  <a:pt x="968679" y="4355006"/>
                  <a:pt x="972287" y="4355006"/>
                </a:cubicBezTo>
                <a:close/>
                <a:moveTo>
                  <a:pt x="3695599" y="4285367"/>
                </a:moveTo>
                <a:cubicBezTo>
                  <a:pt x="3699206" y="4285367"/>
                  <a:pt x="3703345" y="4291777"/>
                  <a:pt x="3704795" y="4299611"/>
                </a:cubicBezTo>
                <a:cubicBezTo>
                  <a:pt x="3708732" y="4320877"/>
                  <a:pt x="3708088" y="4355006"/>
                  <a:pt x="3703751" y="4355006"/>
                </a:cubicBezTo>
                <a:cubicBezTo>
                  <a:pt x="3701660" y="4355006"/>
                  <a:pt x="3698785" y="4345748"/>
                  <a:pt x="3697362" y="4334431"/>
                </a:cubicBezTo>
                <a:cubicBezTo>
                  <a:pt x="3695938" y="4323115"/>
                  <a:pt x="3693483" y="4307446"/>
                  <a:pt x="3691906" y="4299611"/>
                </a:cubicBezTo>
                <a:cubicBezTo>
                  <a:pt x="3689836" y="4289326"/>
                  <a:pt x="3690862" y="4285367"/>
                  <a:pt x="3695599" y="4285367"/>
                </a:cubicBezTo>
                <a:close/>
                <a:moveTo>
                  <a:pt x="3791489" y="4247982"/>
                </a:moveTo>
                <a:cubicBezTo>
                  <a:pt x="3793001" y="4248850"/>
                  <a:pt x="3795075" y="4251094"/>
                  <a:pt x="3797678" y="4254863"/>
                </a:cubicBezTo>
                <a:cubicBezTo>
                  <a:pt x="3801435" y="4260303"/>
                  <a:pt x="3803830" y="4271529"/>
                  <a:pt x="3802997" y="4279809"/>
                </a:cubicBezTo>
                <a:cubicBezTo>
                  <a:pt x="3801571" y="4293997"/>
                  <a:pt x="3801045" y="4293619"/>
                  <a:pt x="3793855" y="4273261"/>
                </a:cubicBezTo>
                <a:cubicBezTo>
                  <a:pt x="3787459" y="4255151"/>
                  <a:pt x="3786951" y="4245377"/>
                  <a:pt x="3791489" y="4247982"/>
                </a:cubicBezTo>
                <a:close/>
                <a:moveTo>
                  <a:pt x="932930" y="4222058"/>
                </a:moveTo>
                <a:cubicBezTo>
                  <a:pt x="936574" y="4222058"/>
                  <a:pt x="939490" y="4227686"/>
                  <a:pt x="939490" y="4234720"/>
                </a:cubicBezTo>
                <a:cubicBezTo>
                  <a:pt x="939490" y="4241755"/>
                  <a:pt x="936574" y="4247382"/>
                  <a:pt x="932930" y="4247382"/>
                </a:cubicBezTo>
                <a:cubicBezTo>
                  <a:pt x="929286" y="4247382"/>
                  <a:pt x="926371" y="4241755"/>
                  <a:pt x="926371" y="4234720"/>
                </a:cubicBezTo>
                <a:cubicBezTo>
                  <a:pt x="926371" y="4227686"/>
                  <a:pt x="929286" y="4222058"/>
                  <a:pt x="932930" y="4222058"/>
                </a:cubicBezTo>
                <a:close/>
                <a:moveTo>
                  <a:pt x="1267119" y="4212536"/>
                </a:moveTo>
                <a:cubicBezTo>
                  <a:pt x="1269822" y="4214417"/>
                  <a:pt x="1271832" y="4218021"/>
                  <a:pt x="1271832" y="4222432"/>
                </a:cubicBezTo>
                <a:cubicBezTo>
                  <a:pt x="1271832" y="4229793"/>
                  <a:pt x="1267145" y="4229913"/>
                  <a:pt x="1259340" y="4222753"/>
                </a:cubicBezTo>
                <a:cubicBezTo>
                  <a:pt x="1255204" y="4218958"/>
                  <a:pt x="1254872" y="4215999"/>
                  <a:pt x="1258247" y="4212980"/>
                </a:cubicBezTo>
                <a:cubicBezTo>
                  <a:pt x="1261020" y="4210498"/>
                  <a:pt x="1264416" y="4210656"/>
                  <a:pt x="1267119" y="4212536"/>
                </a:cubicBezTo>
                <a:close/>
                <a:moveTo>
                  <a:pt x="3606974" y="4158750"/>
                </a:moveTo>
                <a:cubicBezTo>
                  <a:pt x="3609380" y="4158750"/>
                  <a:pt x="3611347" y="4161598"/>
                  <a:pt x="3611347" y="4165081"/>
                </a:cubicBezTo>
                <a:cubicBezTo>
                  <a:pt x="3611347" y="4168563"/>
                  <a:pt x="3609380" y="4171411"/>
                  <a:pt x="3606974" y="4171411"/>
                </a:cubicBezTo>
                <a:cubicBezTo>
                  <a:pt x="3604569" y="4171411"/>
                  <a:pt x="3602601" y="4168563"/>
                  <a:pt x="3602601" y="4165081"/>
                </a:cubicBezTo>
                <a:cubicBezTo>
                  <a:pt x="3602601" y="4161598"/>
                  <a:pt x="3604569" y="4158750"/>
                  <a:pt x="3606974" y="4158750"/>
                </a:cubicBezTo>
                <a:close/>
                <a:moveTo>
                  <a:pt x="1253971" y="4155079"/>
                </a:moveTo>
                <a:cubicBezTo>
                  <a:pt x="1259633" y="4152817"/>
                  <a:pt x="1263086" y="4162087"/>
                  <a:pt x="1263086" y="4181282"/>
                </a:cubicBezTo>
                <a:cubicBezTo>
                  <a:pt x="1263086" y="4198429"/>
                  <a:pt x="1261325" y="4203066"/>
                  <a:pt x="1254814" y="4203066"/>
                </a:cubicBezTo>
                <a:cubicBezTo>
                  <a:pt x="1249602" y="4203066"/>
                  <a:pt x="1245511" y="4197115"/>
                  <a:pt x="1243753" y="4186974"/>
                </a:cubicBezTo>
                <a:cubicBezTo>
                  <a:pt x="1241934" y="4176485"/>
                  <a:pt x="1243280" y="4167526"/>
                  <a:pt x="1247618" y="4161246"/>
                </a:cubicBezTo>
                <a:cubicBezTo>
                  <a:pt x="1249951" y="4157869"/>
                  <a:pt x="1252084" y="4155834"/>
                  <a:pt x="1253971" y="4155079"/>
                </a:cubicBezTo>
                <a:close/>
                <a:moveTo>
                  <a:pt x="2452780" y="4146088"/>
                </a:moveTo>
                <a:cubicBezTo>
                  <a:pt x="2455043" y="4146088"/>
                  <a:pt x="2456895" y="4150361"/>
                  <a:pt x="2456895" y="4155585"/>
                </a:cubicBezTo>
                <a:cubicBezTo>
                  <a:pt x="2456895" y="4165375"/>
                  <a:pt x="2451735" y="4168162"/>
                  <a:pt x="2446810" y="4161032"/>
                </a:cubicBezTo>
                <a:cubicBezTo>
                  <a:pt x="2443317" y="4155974"/>
                  <a:pt x="2447266" y="4146088"/>
                  <a:pt x="2452780" y="4146088"/>
                </a:cubicBezTo>
                <a:close/>
                <a:moveTo>
                  <a:pt x="3700993" y="4127095"/>
                </a:moveTo>
                <a:cubicBezTo>
                  <a:pt x="3704599" y="4127095"/>
                  <a:pt x="3707552" y="4131369"/>
                  <a:pt x="3707552" y="4136592"/>
                </a:cubicBezTo>
                <a:cubicBezTo>
                  <a:pt x="3707552" y="4146478"/>
                  <a:pt x="3702380" y="4149152"/>
                  <a:pt x="3697347" y="4141867"/>
                </a:cubicBezTo>
                <a:cubicBezTo>
                  <a:pt x="3692316" y="4134583"/>
                  <a:pt x="3694164" y="4127095"/>
                  <a:pt x="3700993" y="4127095"/>
                </a:cubicBezTo>
                <a:close/>
                <a:moveTo>
                  <a:pt x="879089" y="4115046"/>
                </a:moveTo>
                <a:cubicBezTo>
                  <a:pt x="881735" y="4116220"/>
                  <a:pt x="884499" y="4120291"/>
                  <a:pt x="887014" y="4127095"/>
                </a:cubicBezTo>
                <a:cubicBezTo>
                  <a:pt x="892157" y="4141008"/>
                  <a:pt x="888963" y="4142857"/>
                  <a:pt x="877084" y="4132845"/>
                </a:cubicBezTo>
                <a:cubicBezTo>
                  <a:pt x="872824" y="4129255"/>
                  <a:pt x="870480" y="4123644"/>
                  <a:pt x="871875" y="4120376"/>
                </a:cubicBezTo>
                <a:cubicBezTo>
                  <a:pt x="873917" y="4115594"/>
                  <a:pt x="876444" y="4113872"/>
                  <a:pt x="879089" y="4115046"/>
                </a:cubicBezTo>
                <a:close/>
                <a:moveTo>
                  <a:pt x="1862177" y="4108103"/>
                </a:moveTo>
                <a:cubicBezTo>
                  <a:pt x="1864582" y="4108103"/>
                  <a:pt x="1866550" y="4110952"/>
                  <a:pt x="1866550" y="4114434"/>
                </a:cubicBezTo>
                <a:cubicBezTo>
                  <a:pt x="1866550" y="4117916"/>
                  <a:pt x="1864582" y="4120765"/>
                  <a:pt x="1862177" y="4120765"/>
                </a:cubicBezTo>
                <a:cubicBezTo>
                  <a:pt x="1859772" y="4120765"/>
                  <a:pt x="1857804" y="4117916"/>
                  <a:pt x="1857804" y="4114434"/>
                </a:cubicBezTo>
                <a:cubicBezTo>
                  <a:pt x="1857804" y="4110952"/>
                  <a:pt x="1859772" y="4108103"/>
                  <a:pt x="1862177" y="4108103"/>
                </a:cubicBezTo>
                <a:close/>
                <a:moveTo>
                  <a:pt x="1183790" y="4089207"/>
                </a:moveTo>
                <a:cubicBezTo>
                  <a:pt x="1175343" y="4089092"/>
                  <a:pt x="1170409" y="4117009"/>
                  <a:pt x="1177152" y="4126770"/>
                </a:cubicBezTo>
                <a:cubicBezTo>
                  <a:pt x="1183404" y="4135821"/>
                  <a:pt x="1183458" y="4135681"/>
                  <a:pt x="1180982" y="4116926"/>
                </a:cubicBezTo>
                <a:cubicBezTo>
                  <a:pt x="1179645" y="4106797"/>
                  <a:pt x="1181145" y="4098278"/>
                  <a:pt x="1184868" y="4094865"/>
                </a:cubicBezTo>
                <a:cubicBezTo>
                  <a:pt x="1189788" y="4090354"/>
                  <a:pt x="1189585" y="4089286"/>
                  <a:pt x="1183790" y="4089207"/>
                </a:cubicBezTo>
                <a:close/>
                <a:moveTo>
                  <a:pt x="1852771" y="4080379"/>
                </a:moveTo>
                <a:cubicBezTo>
                  <a:pt x="1854627" y="4078346"/>
                  <a:pt x="1857361" y="4077918"/>
                  <a:pt x="1859380" y="4080841"/>
                </a:cubicBezTo>
                <a:cubicBezTo>
                  <a:pt x="1863538" y="4086860"/>
                  <a:pt x="1862763" y="4095441"/>
                  <a:pt x="1858062" y="4095441"/>
                </a:cubicBezTo>
                <a:cubicBezTo>
                  <a:pt x="1855799" y="4095441"/>
                  <a:pt x="1852815" y="4092789"/>
                  <a:pt x="1851431" y="4089548"/>
                </a:cubicBezTo>
                <a:cubicBezTo>
                  <a:pt x="1849938" y="4086050"/>
                  <a:pt x="1850915" y="4082412"/>
                  <a:pt x="1852771" y="4080379"/>
                </a:cubicBezTo>
                <a:close/>
                <a:moveTo>
                  <a:pt x="3747913" y="4076860"/>
                </a:moveTo>
                <a:cubicBezTo>
                  <a:pt x="3751091" y="4076093"/>
                  <a:pt x="3755245" y="4078390"/>
                  <a:pt x="3759152" y="4084046"/>
                </a:cubicBezTo>
                <a:cubicBezTo>
                  <a:pt x="3766966" y="4095357"/>
                  <a:pt x="3765498" y="4108103"/>
                  <a:pt x="3756383" y="4108103"/>
                </a:cubicBezTo>
                <a:cubicBezTo>
                  <a:pt x="3751974" y="4108103"/>
                  <a:pt x="3747053" y="4106204"/>
                  <a:pt x="3745450" y="4103882"/>
                </a:cubicBezTo>
                <a:cubicBezTo>
                  <a:pt x="3743846" y="4101561"/>
                  <a:pt x="3742535" y="4094439"/>
                  <a:pt x="3742535" y="4088055"/>
                </a:cubicBezTo>
                <a:cubicBezTo>
                  <a:pt x="3742535" y="4081457"/>
                  <a:pt x="3744736" y="4077627"/>
                  <a:pt x="3747913" y="4076860"/>
                </a:cubicBezTo>
                <a:close/>
                <a:moveTo>
                  <a:pt x="1114457" y="4072746"/>
                </a:moveTo>
                <a:cubicBezTo>
                  <a:pt x="1107329" y="4073494"/>
                  <a:pt x="1103523" y="4090906"/>
                  <a:pt x="1107340" y="4105307"/>
                </a:cubicBezTo>
                <a:cubicBezTo>
                  <a:pt x="1108671" y="4110327"/>
                  <a:pt x="1113265" y="4114103"/>
                  <a:pt x="1117549" y="4113700"/>
                </a:cubicBezTo>
                <a:cubicBezTo>
                  <a:pt x="1124850" y="4113011"/>
                  <a:pt x="1124858" y="4112783"/>
                  <a:pt x="1117687" y="4110070"/>
                </a:cubicBezTo>
                <a:cubicBezTo>
                  <a:pt x="1108839" y="4106722"/>
                  <a:pt x="1107112" y="4078797"/>
                  <a:pt x="1115500" y="4074720"/>
                </a:cubicBezTo>
                <a:cubicBezTo>
                  <a:pt x="1118694" y="4073168"/>
                  <a:pt x="1118261" y="4072348"/>
                  <a:pt x="1114457" y="4072746"/>
                </a:cubicBezTo>
                <a:close/>
                <a:moveTo>
                  <a:pt x="2356317" y="4044794"/>
                </a:moveTo>
                <a:cubicBezTo>
                  <a:pt x="2358723" y="4044794"/>
                  <a:pt x="2360690" y="4047476"/>
                  <a:pt x="2360690" y="4050752"/>
                </a:cubicBezTo>
                <a:cubicBezTo>
                  <a:pt x="2360690" y="4054028"/>
                  <a:pt x="2358723" y="4058470"/>
                  <a:pt x="2356317" y="4060622"/>
                </a:cubicBezTo>
                <a:cubicBezTo>
                  <a:pt x="2353912" y="4062773"/>
                  <a:pt x="2351944" y="4060093"/>
                  <a:pt x="2351944" y="4054664"/>
                </a:cubicBezTo>
                <a:cubicBezTo>
                  <a:pt x="2351944" y="4049236"/>
                  <a:pt x="2353912" y="4044794"/>
                  <a:pt x="2356317" y="4044794"/>
                </a:cubicBezTo>
                <a:close/>
                <a:moveTo>
                  <a:pt x="1890281" y="4038463"/>
                </a:moveTo>
                <a:cubicBezTo>
                  <a:pt x="1893712" y="4038463"/>
                  <a:pt x="1899465" y="4047010"/>
                  <a:pt x="1903064" y="4057456"/>
                </a:cubicBezTo>
                <a:cubicBezTo>
                  <a:pt x="1906663" y="4067902"/>
                  <a:pt x="1909267" y="4076188"/>
                  <a:pt x="1908851" y="4075870"/>
                </a:cubicBezTo>
                <a:cubicBezTo>
                  <a:pt x="1908434" y="4075551"/>
                  <a:pt x="1902684" y="4070566"/>
                  <a:pt x="1896075" y="4064790"/>
                </a:cubicBezTo>
                <a:cubicBezTo>
                  <a:pt x="1883267" y="4053600"/>
                  <a:pt x="1879935" y="4038463"/>
                  <a:pt x="1890281" y="4038463"/>
                </a:cubicBezTo>
                <a:close/>
                <a:moveTo>
                  <a:pt x="1534930" y="4031057"/>
                </a:moveTo>
                <a:cubicBezTo>
                  <a:pt x="1536432" y="4029521"/>
                  <a:pt x="1540659" y="4030428"/>
                  <a:pt x="1547326" y="4034071"/>
                </a:cubicBezTo>
                <a:cubicBezTo>
                  <a:pt x="1559255" y="4040589"/>
                  <a:pt x="1565914" y="4057456"/>
                  <a:pt x="1556559" y="4057456"/>
                </a:cubicBezTo>
                <a:cubicBezTo>
                  <a:pt x="1552555" y="4057456"/>
                  <a:pt x="1552177" y="4077140"/>
                  <a:pt x="1556072" y="4082779"/>
                </a:cubicBezTo>
                <a:cubicBezTo>
                  <a:pt x="1561052" y="4089989"/>
                  <a:pt x="1569191" y="4114864"/>
                  <a:pt x="1569191" y="4122875"/>
                </a:cubicBezTo>
                <a:cubicBezTo>
                  <a:pt x="1569191" y="4127613"/>
                  <a:pt x="1573127" y="4138058"/>
                  <a:pt x="1577937" y="4146088"/>
                </a:cubicBezTo>
                <a:cubicBezTo>
                  <a:pt x="1582747" y="4154118"/>
                  <a:pt x="1586682" y="4164220"/>
                  <a:pt x="1586682" y="4168537"/>
                </a:cubicBezTo>
                <a:cubicBezTo>
                  <a:pt x="1586682" y="4172854"/>
                  <a:pt x="1589634" y="4178027"/>
                  <a:pt x="1593242" y="4180031"/>
                </a:cubicBezTo>
                <a:cubicBezTo>
                  <a:pt x="1599854" y="4183704"/>
                  <a:pt x="1602616" y="4203087"/>
                  <a:pt x="1596521" y="4203041"/>
                </a:cubicBezTo>
                <a:cubicBezTo>
                  <a:pt x="1594718" y="4203028"/>
                  <a:pt x="1578872" y="4182372"/>
                  <a:pt x="1561308" y="4157141"/>
                </a:cubicBezTo>
                <a:cubicBezTo>
                  <a:pt x="1530023" y="4112198"/>
                  <a:pt x="1521290" y="4097058"/>
                  <a:pt x="1521156" y="4087528"/>
                </a:cubicBezTo>
                <a:cubicBezTo>
                  <a:pt x="1521043" y="4079517"/>
                  <a:pt x="1533360" y="4082270"/>
                  <a:pt x="1535320" y="4090693"/>
                </a:cubicBezTo>
                <a:cubicBezTo>
                  <a:pt x="1536333" y="4095046"/>
                  <a:pt x="1538601" y="4087552"/>
                  <a:pt x="1540362" y="4074041"/>
                </a:cubicBezTo>
                <a:cubicBezTo>
                  <a:pt x="1542343" y="4058838"/>
                  <a:pt x="1541780" y="4046895"/>
                  <a:pt x="1538885" y="4042703"/>
                </a:cubicBezTo>
                <a:cubicBezTo>
                  <a:pt x="1534651" y="4036573"/>
                  <a:pt x="1533428" y="4032593"/>
                  <a:pt x="1534930" y="4031057"/>
                </a:cubicBezTo>
                <a:close/>
                <a:moveTo>
                  <a:pt x="843613" y="4027015"/>
                </a:moveTo>
                <a:cubicBezTo>
                  <a:pt x="846199" y="4028263"/>
                  <a:pt x="848314" y="4031990"/>
                  <a:pt x="848314" y="4035298"/>
                </a:cubicBezTo>
                <a:cubicBezTo>
                  <a:pt x="848314" y="4038606"/>
                  <a:pt x="846199" y="4042333"/>
                  <a:pt x="843613" y="4043581"/>
                </a:cubicBezTo>
                <a:cubicBezTo>
                  <a:pt x="841028" y="4044829"/>
                  <a:pt x="838912" y="4041101"/>
                  <a:pt x="838912" y="4035298"/>
                </a:cubicBezTo>
                <a:cubicBezTo>
                  <a:pt x="838912" y="4029495"/>
                  <a:pt x="841028" y="4025767"/>
                  <a:pt x="843613" y="4027015"/>
                </a:cubicBezTo>
                <a:close/>
                <a:moveTo>
                  <a:pt x="2342527" y="4008437"/>
                </a:moveTo>
                <a:cubicBezTo>
                  <a:pt x="2345218" y="4007880"/>
                  <a:pt x="2347571" y="4010188"/>
                  <a:pt x="2347571" y="4015778"/>
                </a:cubicBezTo>
                <a:cubicBezTo>
                  <a:pt x="2347571" y="4021291"/>
                  <a:pt x="2344456" y="4025802"/>
                  <a:pt x="2340648" y="4025802"/>
                </a:cubicBezTo>
                <a:cubicBezTo>
                  <a:pt x="2336840" y="4025802"/>
                  <a:pt x="2334503" y="4022419"/>
                  <a:pt x="2335455" y="4018284"/>
                </a:cubicBezTo>
                <a:cubicBezTo>
                  <a:pt x="2336806" y="4012415"/>
                  <a:pt x="2339835" y="4008993"/>
                  <a:pt x="2342527" y="4008437"/>
                </a:cubicBezTo>
                <a:close/>
                <a:moveTo>
                  <a:pt x="3724941" y="4000570"/>
                </a:moveTo>
                <a:cubicBezTo>
                  <a:pt x="3731163" y="3995002"/>
                  <a:pt x="3742535" y="4006925"/>
                  <a:pt x="3742535" y="4019019"/>
                </a:cubicBezTo>
                <a:cubicBezTo>
                  <a:pt x="3742535" y="4029203"/>
                  <a:pt x="3731275" y="4027178"/>
                  <a:pt x="3724767" y="4015823"/>
                </a:cubicBezTo>
                <a:cubicBezTo>
                  <a:pt x="3720044" y="4007587"/>
                  <a:pt x="3720075" y="4004924"/>
                  <a:pt x="3724941" y="4000570"/>
                </a:cubicBezTo>
                <a:close/>
                <a:moveTo>
                  <a:pt x="1367217" y="3939176"/>
                </a:moveTo>
                <a:lnTo>
                  <a:pt x="1375598" y="3939675"/>
                </a:lnTo>
                <a:cubicBezTo>
                  <a:pt x="1377051" y="3941779"/>
                  <a:pt x="1374468" y="3943275"/>
                  <a:pt x="1369858" y="3943001"/>
                </a:cubicBezTo>
                <a:close/>
                <a:moveTo>
                  <a:pt x="1367216" y="3939176"/>
                </a:moveTo>
                <a:lnTo>
                  <a:pt x="1367217" y="3939176"/>
                </a:lnTo>
                <a:lnTo>
                  <a:pt x="1367216" y="3939176"/>
                </a:lnTo>
                <a:close/>
                <a:moveTo>
                  <a:pt x="2495323" y="3937371"/>
                </a:moveTo>
                <a:cubicBezTo>
                  <a:pt x="2497036" y="3937482"/>
                  <a:pt x="2501881" y="3941357"/>
                  <a:pt x="2506090" y="3945983"/>
                </a:cubicBezTo>
                <a:cubicBezTo>
                  <a:pt x="2514499" y="3955224"/>
                  <a:pt x="2516657" y="3987817"/>
                  <a:pt x="2508860" y="3987817"/>
                </a:cubicBezTo>
                <a:cubicBezTo>
                  <a:pt x="2506010" y="3987817"/>
                  <a:pt x="2504847" y="3994405"/>
                  <a:pt x="2506067" y="4003644"/>
                </a:cubicBezTo>
                <a:cubicBezTo>
                  <a:pt x="2508040" y="4018586"/>
                  <a:pt x="2499797" y="4026668"/>
                  <a:pt x="2494768" y="4014723"/>
                </a:cubicBezTo>
                <a:cubicBezTo>
                  <a:pt x="2491463" y="4006872"/>
                  <a:pt x="2491962" y="3937154"/>
                  <a:pt x="2495323" y="3937371"/>
                </a:cubicBezTo>
                <a:close/>
                <a:moveTo>
                  <a:pt x="3895920" y="3935463"/>
                </a:moveTo>
                <a:cubicBezTo>
                  <a:pt x="3898485" y="3936562"/>
                  <a:pt x="3899960" y="3944742"/>
                  <a:pt x="3899960" y="3959837"/>
                </a:cubicBezTo>
                <a:cubicBezTo>
                  <a:pt x="3899960" y="3977338"/>
                  <a:pt x="3902268" y="3983280"/>
                  <a:pt x="3911406" y="3989307"/>
                </a:cubicBezTo>
                <a:cubicBezTo>
                  <a:pt x="3921443" y="3995928"/>
                  <a:pt x="3923817" y="3995132"/>
                  <a:pt x="3930692" y="3982841"/>
                </a:cubicBezTo>
                <a:cubicBezTo>
                  <a:pt x="3940937" y="3964524"/>
                  <a:pt x="3946474" y="3965129"/>
                  <a:pt x="3949909" y="3984943"/>
                </a:cubicBezTo>
                <a:cubicBezTo>
                  <a:pt x="3953443" y="4005328"/>
                  <a:pt x="3949552" y="4014678"/>
                  <a:pt x="3939464" y="4010043"/>
                </a:cubicBezTo>
                <a:cubicBezTo>
                  <a:pt x="3933373" y="4007244"/>
                  <a:pt x="3931188" y="4010501"/>
                  <a:pt x="3929769" y="4024499"/>
                </a:cubicBezTo>
                <a:cubicBezTo>
                  <a:pt x="3928763" y="4034436"/>
                  <a:pt x="3930371" y="4045858"/>
                  <a:pt x="3933346" y="4049881"/>
                </a:cubicBezTo>
                <a:cubicBezTo>
                  <a:pt x="3940204" y="4059157"/>
                  <a:pt x="3946041" y="4113587"/>
                  <a:pt x="3940956" y="4120846"/>
                </a:cubicBezTo>
                <a:cubicBezTo>
                  <a:pt x="3938809" y="4123909"/>
                  <a:pt x="3933770" y="4123562"/>
                  <a:pt x="3929478" y="4120056"/>
                </a:cubicBezTo>
                <a:cubicBezTo>
                  <a:pt x="3924007" y="4115587"/>
                  <a:pt x="3921825" y="4105879"/>
                  <a:pt x="3921825" y="4086004"/>
                </a:cubicBezTo>
                <a:cubicBezTo>
                  <a:pt x="3921825" y="4070714"/>
                  <a:pt x="3919827" y="4056416"/>
                  <a:pt x="3917386" y="4054232"/>
                </a:cubicBezTo>
                <a:cubicBezTo>
                  <a:pt x="3914944" y="4052047"/>
                  <a:pt x="3910125" y="4040483"/>
                  <a:pt x="3906676" y="4028534"/>
                </a:cubicBezTo>
                <a:cubicBezTo>
                  <a:pt x="3902585" y="4014359"/>
                  <a:pt x="3897455" y="4006809"/>
                  <a:pt x="3891911" y="4006809"/>
                </a:cubicBezTo>
                <a:cubicBezTo>
                  <a:pt x="3879691" y="4006809"/>
                  <a:pt x="3876455" y="3980566"/>
                  <a:pt x="3885345" y="3953575"/>
                </a:cubicBezTo>
                <a:cubicBezTo>
                  <a:pt x="3889702" y="3940346"/>
                  <a:pt x="3893356" y="3934364"/>
                  <a:pt x="3895920" y="3935463"/>
                </a:cubicBezTo>
                <a:close/>
                <a:moveTo>
                  <a:pt x="2337188" y="3930839"/>
                </a:moveTo>
                <a:cubicBezTo>
                  <a:pt x="2341763" y="3930839"/>
                  <a:pt x="2343356" y="3936017"/>
                  <a:pt x="2342396" y="3947761"/>
                </a:cubicBezTo>
                <a:cubicBezTo>
                  <a:pt x="2340687" y="3968659"/>
                  <a:pt x="2331821" y="3974077"/>
                  <a:pt x="2327982" y="3956568"/>
                </a:cubicBezTo>
                <a:cubicBezTo>
                  <a:pt x="2324570" y="3941003"/>
                  <a:pt x="2328207" y="3930839"/>
                  <a:pt x="2337188" y="3930839"/>
                </a:cubicBezTo>
                <a:close/>
                <a:moveTo>
                  <a:pt x="2224989" y="3912997"/>
                </a:moveTo>
                <a:cubicBezTo>
                  <a:pt x="2226643" y="3913005"/>
                  <a:pt x="2228411" y="3914065"/>
                  <a:pt x="2230083" y="3916486"/>
                </a:cubicBezTo>
                <a:cubicBezTo>
                  <a:pt x="2235437" y="3924236"/>
                  <a:pt x="2232336" y="3943501"/>
                  <a:pt x="2225735" y="3943501"/>
                </a:cubicBezTo>
                <a:cubicBezTo>
                  <a:pt x="2223512" y="3943501"/>
                  <a:pt x="2220433" y="3938751"/>
                  <a:pt x="2218895" y="3932946"/>
                </a:cubicBezTo>
                <a:cubicBezTo>
                  <a:pt x="2216102" y="3922410"/>
                  <a:pt x="2220029" y="3912972"/>
                  <a:pt x="2224989" y="3912997"/>
                </a:cubicBezTo>
                <a:close/>
                <a:moveTo>
                  <a:pt x="1388112" y="3908577"/>
                </a:moveTo>
                <a:cubicBezTo>
                  <a:pt x="1385822" y="3908943"/>
                  <a:pt x="1383840" y="3911987"/>
                  <a:pt x="1380454" y="3917982"/>
                </a:cubicBezTo>
                <a:cubicBezTo>
                  <a:pt x="1372652" y="3931799"/>
                  <a:pt x="1363663" y="3935077"/>
                  <a:pt x="1363663" y="3924107"/>
                </a:cubicBezTo>
                <a:cubicBezTo>
                  <a:pt x="1363663" y="3920325"/>
                  <a:pt x="1357435" y="3918244"/>
                  <a:pt x="1349452" y="3919359"/>
                </a:cubicBezTo>
                <a:cubicBezTo>
                  <a:pt x="1337649" y="3921007"/>
                  <a:pt x="1335239" y="3923978"/>
                  <a:pt x="1335239" y="3936885"/>
                </a:cubicBezTo>
                <a:cubicBezTo>
                  <a:pt x="1335239" y="3948254"/>
                  <a:pt x="1338174" y="3953421"/>
                  <a:pt x="1346172" y="3956132"/>
                </a:cubicBezTo>
                <a:cubicBezTo>
                  <a:pt x="1354295" y="3958885"/>
                  <a:pt x="1358141" y="3965852"/>
                  <a:pt x="1361141" y="3983244"/>
                </a:cubicBezTo>
                <a:cubicBezTo>
                  <a:pt x="1366324" y="4013290"/>
                  <a:pt x="1379378" y="4020675"/>
                  <a:pt x="1390289" y="3999733"/>
                </a:cubicBezTo>
                <a:cubicBezTo>
                  <a:pt x="1399821" y="3981439"/>
                  <a:pt x="1405230" y="3987414"/>
                  <a:pt x="1400728" y="4011262"/>
                </a:cubicBezTo>
                <a:cubicBezTo>
                  <a:pt x="1394690" y="4043248"/>
                  <a:pt x="1398307" y="4072265"/>
                  <a:pt x="1410270" y="4087809"/>
                </a:cubicBezTo>
                <a:cubicBezTo>
                  <a:pt x="1420615" y="4101248"/>
                  <a:pt x="1421855" y="4101531"/>
                  <a:pt x="1426873" y="4091597"/>
                </a:cubicBezTo>
                <a:cubicBezTo>
                  <a:pt x="1430678" y="4084064"/>
                  <a:pt x="1433223" y="4083036"/>
                  <a:pt x="1435407" y="4088151"/>
                </a:cubicBezTo>
                <a:cubicBezTo>
                  <a:pt x="1439959" y="4098813"/>
                  <a:pt x="1455342" y="4097052"/>
                  <a:pt x="1458399" y="4085520"/>
                </a:cubicBezTo>
                <a:cubicBezTo>
                  <a:pt x="1459846" y="4080062"/>
                  <a:pt x="1458800" y="4072370"/>
                  <a:pt x="1456075" y="4068426"/>
                </a:cubicBezTo>
                <a:cubicBezTo>
                  <a:pt x="1453351" y="4064481"/>
                  <a:pt x="1451122" y="4056099"/>
                  <a:pt x="1451122" y="4049797"/>
                </a:cubicBezTo>
                <a:cubicBezTo>
                  <a:pt x="1451122" y="4043496"/>
                  <a:pt x="1447186" y="4033461"/>
                  <a:pt x="1442376" y="4027499"/>
                </a:cubicBezTo>
                <a:cubicBezTo>
                  <a:pt x="1437566" y="4021535"/>
                  <a:pt x="1433630" y="4012989"/>
                  <a:pt x="1433630" y="4008506"/>
                </a:cubicBezTo>
                <a:cubicBezTo>
                  <a:pt x="1433630" y="4004022"/>
                  <a:pt x="1429795" y="3995601"/>
                  <a:pt x="1425108" y="3989791"/>
                </a:cubicBezTo>
                <a:cubicBezTo>
                  <a:pt x="1420421" y="3983981"/>
                  <a:pt x="1417456" y="3977189"/>
                  <a:pt x="1418520" y="3974698"/>
                </a:cubicBezTo>
                <a:cubicBezTo>
                  <a:pt x="1422053" y="3966421"/>
                  <a:pt x="1407671" y="3925510"/>
                  <a:pt x="1397617" y="3915240"/>
                </a:cubicBezTo>
                <a:cubicBezTo>
                  <a:pt x="1392999" y="3910523"/>
                  <a:pt x="1390401" y="3908211"/>
                  <a:pt x="1388112" y="3908577"/>
                </a:cubicBezTo>
                <a:close/>
                <a:moveTo>
                  <a:pt x="523559" y="3899185"/>
                </a:moveTo>
                <a:cubicBezTo>
                  <a:pt x="532732" y="3899185"/>
                  <a:pt x="547770" y="3927730"/>
                  <a:pt x="543663" y="3937349"/>
                </a:cubicBezTo>
                <a:cubicBezTo>
                  <a:pt x="539177" y="3947859"/>
                  <a:pt x="529159" y="3944115"/>
                  <a:pt x="526248" y="3930839"/>
                </a:cubicBezTo>
                <a:cubicBezTo>
                  <a:pt x="524721" y="3923875"/>
                  <a:pt x="521637" y="3918177"/>
                  <a:pt x="519394" y="3918177"/>
                </a:cubicBezTo>
                <a:cubicBezTo>
                  <a:pt x="517151" y="3918177"/>
                  <a:pt x="515316" y="3913904"/>
                  <a:pt x="515316" y="3908681"/>
                </a:cubicBezTo>
                <a:cubicBezTo>
                  <a:pt x="515316" y="3903458"/>
                  <a:pt x="519025" y="3899185"/>
                  <a:pt x="523559" y="3899185"/>
                </a:cubicBezTo>
                <a:close/>
                <a:moveTo>
                  <a:pt x="4105488" y="3892854"/>
                </a:moveTo>
                <a:cubicBezTo>
                  <a:pt x="4107893" y="3892854"/>
                  <a:pt x="4109861" y="3895702"/>
                  <a:pt x="4109861" y="3899185"/>
                </a:cubicBezTo>
                <a:cubicBezTo>
                  <a:pt x="4109861" y="3902667"/>
                  <a:pt x="4107893" y="3905515"/>
                  <a:pt x="4105488" y="3905515"/>
                </a:cubicBezTo>
                <a:cubicBezTo>
                  <a:pt x="4103082" y="3905515"/>
                  <a:pt x="4101115" y="3902667"/>
                  <a:pt x="4101115" y="3899185"/>
                </a:cubicBezTo>
                <a:cubicBezTo>
                  <a:pt x="4101115" y="3895702"/>
                  <a:pt x="4103082" y="3892854"/>
                  <a:pt x="4105488" y="3892854"/>
                </a:cubicBezTo>
                <a:close/>
                <a:moveTo>
                  <a:pt x="2909492" y="3892854"/>
                </a:moveTo>
                <a:cubicBezTo>
                  <a:pt x="2913574" y="3892854"/>
                  <a:pt x="2916052" y="3898833"/>
                  <a:pt x="2916052" y="3908681"/>
                </a:cubicBezTo>
                <a:cubicBezTo>
                  <a:pt x="2916052" y="3918529"/>
                  <a:pt x="2913574" y="3924508"/>
                  <a:pt x="2909492" y="3924508"/>
                </a:cubicBezTo>
                <a:cubicBezTo>
                  <a:pt x="2905412" y="3924508"/>
                  <a:pt x="2902933" y="3918529"/>
                  <a:pt x="2902933" y="3908681"/>
                </a:cubicBezTo>
                <a:cubicBezTo>
                  <a:pt x="2902933" y="3898833"/>
                  <a:pt x="2905412" y="3892854"/>
                  <a:pt x="2909492" y="3892854"/>
                </a:cubicBezTo>
                <a:close/>
                <a:moveTo>
                  <a:pt x="2655863" y="3892854"/>
                </a:moveTo>
                <a:cubicBezTo>
                  <a:pt x="2659470" y="3892854"/>
                  <a:pt x="2662423" y="3895535"/>
                  <a:pt x="2662423" y="3898811"/>
                </a:cubicBezTo>
                <a:cubicBezTo>
                  <a:pt x="2662423" y="3906794"/>
                  <a:pt x="2655593" y="3912512"/>
                  <a:pt x="2652101" y="3907454"/>
                </a:cubicBezTo>
                <a:cubicBezTo>
                  <a:pt x="2647175" y="3900324"/>
                  <a:pt x="2649101" y="3892854"/>
                  <a:pt x="2655863" y="3892854"/>
                </a:cubicBezTo>
                <a:close/>
                <a:moveTo>
                  <a:pt x="2015126" y="3890471"/>
                </a:moveTo>
                <a:cubicBezTo>
                  <a:pt x="2018179" y="3886051"/>
                  <a:pt x="2021270" y="3886407"/>
                  <a:pt x="2024850" y="3891588"/>
                </a:cubicBezTo>
                <a:cubicBezTo>
                  <a:pt x="2027736" y="3895766"/>
                  <a:pt x="2035607" y="3899185"/>
                  <a:pt x="2042341" y="3899185"/>
                </a:cubicBezTo>
                <a:cubicBezTo>
                  <a:pt x="2050646" y="3899185"/>
                  <a:pt x="2054585" y="3902441"/>
                  <a:pt x="2054585" y="3909307"/>
                </a:cubicBezTo>
                <a:cubicBezTo>
                  <a:pt x="2054585" y="3919304"/>
                  <a:pt x="2067171" y="3962689"/>
                  <a:pt x="2071849" y="3968824"/>
                </a:cubicBezTo>
                <a:cubicBezTo>
                  <a:pt x="2075939" y="3974186"/>
                  <a:pt x="2084746" y="3996282"/>
                  <a:pt x="2091632" y="4018461"/>
                </a:cubicBezTo>
                <a:cubicBezTo>
                  <a:pt x="2096420" y="4033881"/>
                  <a:pt x="2096979" y="4042908"/>
                  <a:pt x="2093696" y="4051792"/>
                </a:cubicBezTo>
                <a:cubicBezTo>
                  <a:pt x="2090178" y="4061308"/>
                  <a:pt x="2090784" y="4064859"/>
                  <a:pt x="2096463" y="4068015"/>
                </a:cubicBezTo>
                <a:cubicBezTo>
                  <a:pt x="2102527" y="4071383"/>
                  <a:pt x="2103267" y="4077823"/>
                  <a:pt x="2100916" y="4106782"/>
                </a:cubicBezTo>
                <a:cubicBezTo>
                  <a:pt x="2098452" y="4137132"/>
                  <a:pt x="2099212" y="4142640"/>
                  <a:pt x="2106951" y="4150489"/>
                </a:cubicBezTo>
                <a:cubicBezTo>
                  <a:pt x="2111822" y="4155427"/>
                  <a:pt x="2115806" y="4164434"/>
                  <a:pt x="2115806" y="4170504"/>
                </a:cubicBezTo>
                <a:cubicBezTo>
                  <a:pt x="2115806" y="4176574"/>
                  <a:pt x="2118021" y="4184746"/>
                  <a:pt x="2120728" y="4188665"/>
                </a:cubicBezTo>
                <a:cubicBezTo>
                  <a:pt x="2125881" y="4196127"/>
                  <a:pt x="2122376" y="4241389"/>
                  <a:pt x="2116702" y="4240650"/>
                </a:cubicBezTo>
                <a:cubicBezTo>
                  <a:pt x="2115007" y="4240429"/>
                  <a:pt x="2109193" y="4237672"/>
                  <a:pt x="2103781" y="4234523"/>
                </a:cubicBezTo>
                <a:lnTo>
                  <a:pt x="2103781" y="4234523"/>
                </a:lnTo>
                <a:cubicBezTo>
                  <a:pt x="2098369" y="4231374"/>
                  <a:pt x="2093605" y="4223720"/>
                  <a:pt x="2093194" y="4217514"/>
                </a:cubicBezTo>
                <a:cubicBezTo>
                  <a:pt x="2092783" y="4211309"/>
                  <a:pt x="2092225" y="4201681"/>
                  <a:pt x="2091953" y="4196119"/>
                </a:cubicBezTo>
                <a:cubicBezTo>
                  <a:pt x="2091475" y="4186310"/>
                  <a:pt x="2071274" y="4155196"/>
                  <a:pt x="2062695" y="4151056"/>
                </a:cubicBezTo>
                <a:cubicBezTo>
                  <a:pt x="2060057" y="4149784"/>
                  <a:pt x="2060504" y="4137905"/>
                  <a:pt x="2063875" y="4119655"/>
                </a:cubicBezTo>
                <a:cubicBezTo>
                  <a:pt x="2068214" y="4096172"/>
                  <a:pt x="2068187" y="4082900"/>
                  <a:pt x="2063743" y="4053303"/>
                </a:cubicBezTo>
                <a:cubicBezTo>
                  <a:pt x="2060687" y="4032954"/>
                  <a:pt x="2056643" y="4011938"/>
                  <a:pt x="2054756" y="4006601"/>
                </a:cubicBezTo>
                <a:cubicBezTo>
                  <a:pt x="2052869" y="4001264"/>
                  <a:pt x="2049979" y="3988027"/>
                  <a:pt x="2048334" y="3977186"/>
                </a:cubicBezTo>
                <a:cubicBezTo>
                  <a:pt x="2046690" y="3966345"/>
                  <a:pt x="2041520" y="3952465"/>
                  <a:pt x="2036846" y="3946341"/>
                </a:cubicBezTo>
                <a:cubicBezTo>
                  <a:pt x="2032172" y="3940218"/>
                  <a:pt x="2028348" y="3931817"/>
                  <a:pt x="2028348" y="3927674"/>
                </a:cubicBezTo>
                <a:cubicBezTo>
                  <a:pt x="2028348" y="3923530"/>
                  <a:pt x="2024366" y="3914922"/>
                  <a:pt x="2019499" y="3908546"/>
                </a:cubicBezTo>
                <a:cubicBezTo>
                  <a:pt x="2013463" y="3900638"/>
                  <a:pt x="2012073" y="3894892"/>
                  <a:pt x="2015126" y="3890471"/>
                </a:cubicBezTo>
                <a:close/>
                <a:moveTo>
                  <a:pt x="3762359" y="3882921"/>
                </a:moveTo>
                <a:cubicBezTo>
                  <a:pt x="3765128" y="3881912"/>
                  <a:pt x="3768444" y="3886099"/>
                  <a:pt x="3771539" y="3895761"/>
                </a:cubicBezTo>
                <a:cubicBezTo>
                  <a:pt x="3777140" y="3913245"/>
                  <a:pt x="3775346" y="3918177"/>
                  <a:pt x="3763380" y="3918177"/>
                </a:cubicBezTo>
                <a:cubicBezTo>
                  <a:pt x="3756946" y="3918177"/>
                  <a:pt x="3755385" y="3914362"/>
                  <a:pt x="3756456" y="3901256"/>
                </a:cubicBezTo>
                <a:cubicBezTo>
                  <a:pt x="3757366" y="3890135"/>
                  <a:pt x="3759589" y="3883930"/>
                  <a:pt x="3762359" y="3882921"/>
                </a:cubicBezTo>
                <a:close/>
                <a:moveTo>
                  <a:pt x="4054105" y="3868673"/>
                </a:moveTo>
                <a:cubicBezTo>
                  <a:pt x="4062485" y="3870396"/>
                  <a:pt x="4064004" y="3874724"/>
                  <a:pt x="4064349" y="3897845"/>
                </a:cubicBezTo>
                <a:cubicBezTo>
                  <a:pt x="4064572" y="3912776"/>
                  <a:pt x="4063565" y="3926057"/>
                  <a:pt x="4062113" y="3927356"/>
                </a:cubicBezTo>
                <a:cubicBezTo>
                  <a:pt x="4060660" y="3928655"/>
                  <a:pt x="4054083" y="3924035"/>
                  <a:pt x="4047496" y="3917089"/>
                </a:cubicBezTo>
                <a:cubicBezTo>
                  <a:pt x="4035765" y="3904717"/>
                  <a:pt x="4031239" y="3886523"/>
                  <a:pt x="4039894" y="3886523"/>
                </a:cubicBezTo>
                <a:cubicBezTo>
                  <a:pt x="4042299" y="3886523"/>
                  <a:pt x="4044267" y="3882052"/>
                  <a:pt x="4044267" y="3876586"/>
                </a:cubicBezTo>
                <a:cubicBezTo>
                  <a:pt x="4044267" y="3869903"/>
                  <a:pt x="4047487" y="3867312"/>
                  <a:pt x="4054105" y="3868673"/>
                </a:cubicBezTo>
                <a:close/>
                <a:moveTo>
                  <a:pt x="2218103" y="3867530"/>
                </a:moveTo>
                <a:cubicBezTo>
                  <a:pt x="2221453" y="3867530"/>
                  <a:pt x="2225327" y="3871803"/>
                  <a:pt x="2226711" y="3877027"/>
                </a:cubicBezTo>
                <a:cubicBezTo>
                  <a:pt x="2228423" y="3883486"/>
                  <a:pt x="2226475" y="3886523"/>
                  <a:pt x="2220619" y="3886523"/>
                </a:cubicBezTo>
                <a:cubicBezTo>
                  <a:pt x="2215883" y="3886523"/>
                  <a:pt x="2212011" y="3882252"/>
                  <a:pt x="2212011" y="3877027"/>
                </a:cubicBezTo>
                <a:cubicBezTo>
                  <a:pt x="2212011" y="3871803"/>
                  <a:pt x="2214752" y="3867530"/>
                  <a:pt x="2218103" y="3867530"/>
                </a:cubicBezTo>
                <a:close/>
                <a:moveTo>
                  <a:pt x="1971688" y="3857866"/>
                </a:moveTo>
                <a:cubicBezTo>
                  <a:pt x="1977160" y="3852970"/>
                  <a:pt x="1988801" y="3895709"/>
                  <a:pt x="1986087" y="3910735"/>
                </a:cubicBezTo>
                <a:cubicBezTo>
                  <a:pt x="1984860" y="3917524"/>
                  <a:pt x="1985996" y="3924993"/>
                  <a:pt x="1988610" y="3927333"/>
                </a:cubicBezTo>
                <a:cubicBezTo>
                  <a:pt x="1991226" y="3929672"/>
                  <a:pt x="1993364" y="3941041"/>
                  <a:pt x="1993364" y="3952596"/>
                </a:cubicBezTo>
                <a:cubicBezTo>
                  <a:pt x="1993364" y="3964151"/>
                  <a:pt x="1996120" y="3976915"/>
                  <a:pt x="1999487" y="3980960"/>
                </a:cubicBezTo>
                <a:cubicBezTo>
                  <a:pt x="2002854" y="3985006"/>
                  <a:pt x="2005609" y="3998543"/>
                  <a:pt x="2005609" y="4011042"/>
                </a:cubicBezTo>
                <a:cubicBezTo>
                  <a:pt x="2005609" y="4023542"/>
                  <a:pt x="2007464" y="4035537"/>
                  <a:pt x="2009731" y="4037699"/>
                </a:cubicBezTo>
                <a:cubicBezTo>
                  <a:pt x="2011999" y="4039861"/>
                  <a:pt x="2015098" y="4050888"/>
                  <a:pt x="2016619" y="4062204"/>
                </a:cubicBezTo>
                <a:cubicBezTo>
                  <a:pt x="2019841" y="4086182"/>
                  <a:pt x="2010010" y="4091486"/>
                  <a:pt x="2002084" y="4070047"/>
                </a:cubicBezTo>
                <a:cubicBezTo>
                  <a:pt x="1999495" y="4063042"/>
                  <a:pt x="1997871" y="4053784"/>
                  <a:pt x="1998475" y="4049471"/>
                </a:cubicBezTo>
                <a:cubicBezTo>
                  <a:pt x="2000402" y="4035704"/>
                  <a:pt x="1988985" y="4013140"/>
                  <a:pt x="1980092" y="4013140"/>
                </a:cubicBezTo>
                <a:cubicBezTo>
                  <a:pt x="1975366" y="4013140"/>
                  <a:pt x="1971500" y="4008867"/>
                  <a:pt x="1971500" y="4003644"/>
                </a:cubicBezTo>
                <a:cubicBezTo>
                  <a:pt x="1971500" y="3998421"/>
                  <a:pt x="1973468" y="3994147"/>
                  <a:pt x="1975873" y="3994147"/>
                </a:cubicBezTo>
                <a:cubicBezTo>
                  <a:pt x="1981430" y="3994147"/>
                  <a:pt x="1981644" y="3970593"/>
                  <a:pt x="1976112" y="3967769"/>
                </a:cubicBezTo>
                <a:cubicBezTo>
                  <a:pt x="1970708" y="3965010"/>
                  <a:pt x="1966578" y="3862438"/>
                  <a:pt x="1971688" y="3857866"/>
                </a:cubicBezTo>
                <a:close/>
                <a:moveTo>
                  <a:pt x="502197" y="3851703"/>
                </a:moveTo>
                <a:cubicBezTo>
                  <a:pt x="504602" y="3849551"/>
                  <a:pt x="506570" y="3852232"/>
                  <a:pt x="506570" y="3857660"/>
                </a:cubicBezTo>
                <a:cubicBezTo>
                  <a:pt x="506570" y="3863089"/>
                  <a:pt x="504602" y="3867530"/>
                  <a:pt x="502197" y="3867530"/>
                </a:cubicBezTo>
                <a:cubicBezTo>
                  <a:pt x="499792" y="3867530"/>
                  <a:pt x="497824" y="3864850"/>
                  <a:pt x="497824" y="3861573"/>
                </a:cubicBezTo>
                <a:cubicBezTo>
                  <a:pt x="497824" y="3858297"/>
                  <a:pt x="499792" y="3853855"/>
                  <a:pt x="502197" y="3851703"/>
                </a:cubicBezTo>
                <a:close/>
                <a:moveTo>
                  <a:pt x="2255504" y="3849289"/>
                </a:moveTo>
                <a:cubicBezTo>
                  <a:pt x="2258339" y="3850660"/>
                  <a:pt x="2260113" y="3856731"/>
                  <a:pt x="2260113" y="3867157"/>
                </a:cubicBezTo>
                <a:cubicBezTo>
                  <a:pt x="2260113" y="3890357"/>
                  <a:pt x="2254613" y="3895889"/>
                  <a:pt x="2245726" y="3881626"/>
                </a:cubicBezTo>
                <a:cubicBezTo>
                  <a:pt x="2240091" y="3872582"/>
                  <a:pt x="2239885" y="3868784"/>
                  <a:pt x="2244530" y="3859617"/>
                </a:cubicBezTo>
                <a:cubicBezTo>
                  <a:pt x="2248773" y="3851245"/>
                  <a:pt x="2252669" y="3847917"/>
                  <a:pt x="2255504" y="3849289"/>
                </a:cubicBezTo>
                <a:close/>
                <a:moveTo>
                  <a:pt x="3417010" y="3829545"/>
                </a:moveTo>
                <a:cubicBezTo>
                  <a:pt x="3420476" y="3829545"/>
                  <a:pt x="3423312" y="3833818"/>
                  <a:pt x="3423312" y="3839042"/>
                </a:cubicBezTo>
                <a:cubicBezTo>
                  <a:pt x="3423312" y="3848577"/>
                  <a:pt x="3414080" y="3852056"/>
                  <a:pt x="3408853" y="3844489"/>
                </a:cubicBezTo>
                <a:cubicBezTo>
                  <a:pt x="3404773" y="3838581"/>
                  <a:pt x="3409705" y="3829545"/>
                  <a:pt x="3417010" y="3829545"/>
                </a:cubicBezTo>
                <a:close/>
                <a:moveTo>
                  <a:pt x="2738431" y="3824454"/>
                </a:moveTo>
                <a:cubicBezTo>
                  <a:pt x="2739993" y="3823468"/>
                  <a:pt x="2743623" y="3824329"/>
                  <a:pt x="2750318" y="3826407"/>
                </a:cubicBezTo>
                <a:cubicBezTo>
                  <a:pt x="2758495" y="3828947"/>
                  <a:pt x="2765412" y="3831404"/>
                  <a:pt x="2765687" y="3831867"/>
                </a:cubicBezTo>
                <a:cubicBezTo>
                  <a:pt x="2765963" y="3832331"/>
                  <a:pt x="2767474" y="3847325"/>
                  <a:pt x="2769047" y="3865187"/>
                </a:cubicBezTo>
                <a:cubicBezTo>
                  <a:pt x="2771804" y="3896481"/>
                  <a:pt x="2771493" y="3897778"/>
                  <a:pt x="2760550" y="3900807"/>
                </a:cubicBezTo>
                <a:cubicBezTo>
                  <a:pt x="2754148" y="3902579"/>
                  <a:pt x="2748519" y="3900839"/>
                  <a:pt x="2747649" y="3896820"/>
                </a:cubicBezTo>
                <a:cubicBezTo>
                  <a:pt x="2746801" y="3892898"/>
                  <a:pt x="2745288" y="3879717"/>
                  <a:pt x="2744287" y="3867530"/>
                </a:cubicBezTo>
                <a:cubicBezTo>
                  <a:pt x="2743287" y="3855344"/>
                  <a:pt x="2740888" y="3840067"/>
                  <a:pt x="2738958" y="3833582"/>
                </a:cubicBezTo>
                <a:cubicBezTo>
                  <a:pt x="2737378" y="3828273"/>
                  <a:pt x="2736870" y="3825440"/>
                  <a:pt x="2738431" y="3824454"/>
                </a:cubicBezTo>
                <a:close/>
                <a:moveTo>
                  <a:pt x="1314629" y="3823496"/>
                </a:moveTo>
                <a:cubicBezTo>
                  <a:pt x="1309924" y="3824382"/>
                  <a:pt x="1305359" y="3827673"/>
                  <a:pt x="1304002" y="3832791"/>
                </a:cubicBezTo>
                <a:cubicBezTo>
                  <a:pt x="1302606" y="3838059"/>
                  <a:pt x="1303933" y="3846674"/>
                  <a:pt x="1306949" y="3851937"/>
                </a:cubicBezTo>
                <a:cubicBezTo>
                  <a:pt x="1314633" y="3865340"/>
                  <a:pt x="1317317" y="3858785"/>
                  <a:pt x="1311067" y="3841880"/>
                </a:cubicBezTo>
                <a:cubicBezTo>
                  <a:pt x="1306233" y="3828802"/>
                  <a:pt x="1306662" y="3828027"/>
                  <a:pt x="1317140" y="3830926"/>
                </a:cubicBezTo>
                <a:cubicBezTo>
                  <a:pt x="1323341" y="3832643"/>
                  <a:pt x="1327375" y="3831610"/>
                  <a:pt x="1326103" y="3828631"/>
                </a:cubicBezTo>
                <a:cubicBezTo>
                  <a:pt x="1324181" y="3824130"/>
                  <a:pt x="1319335" y="3822610"/>
                  <a:pt x="1314629" y="3823496"/>
                </a:cubicBezTo>
                <a:close/>
                <a:moveTo>
                  <a:pt x="3892163" y="3819903"/>
                </a:moveTo>
                <a:cubicBezTo>
                  <a:pt x="3896293" y="3817585"/>
                  <a:pt x="3904890" y="3818207"/>
                  <a:pt x="3911267" y="3821285"/>
                </a:cubicBezTo>
                <a:cubicBezTo>
                  <a:pt x="3920929" y="3825948"/>
                  <a:pt x="3923141" y="3831329"/>
                  <a:pt x="3924522" y="3853537"/>
                </a:cubicBezTo>
                <a:cubicBezTo>
                  <a:pt x="3925968" y="3876764"/>
                  <a:pt x="3925057" y="3880192"/>
                  <a:pt x="3917443" y="3880192"/>
                </a:cubicBezTo>
                <a:cubicBezTo>
                  <a:pt x="3911118" y="3880192"/>
                  <a:pt x="3908706" y="3875967"/>
                  <a:pt x="3908706" y="3864893"/>
                </a:cubicBezTo>
                <a:cubicBezTo>
                  <a:pt x="3908706" y="3855512"/>
                  <a:pt x="3904055" y="3844666"/>
                  <a:pt x="3896680" y="3836855"/>
                </a:cubicBezTo>
                <a:cubicBezTo>
                  <a:pt x="3886276" y="3825832"/>
                  <a:pt x="3885667" y="3823549"/>
                  <a:pt x="3892163" y="3819903"/>
                </a:cubicBezTo>
                <a:close/>
                <a:moveTo>
                  <a:pt x="1959090" y="3812273"/>
                </a:moveTo>
                <a:cubicBezTo>
                  <a:pt x="1962026" y="3813352"/>
                  <a:pt x="1965749" y="3817761"/>
                  <a:pt x="1968903" y="3825000"/>
                </a:cubicBezTo>
                <a:cubicBezTo>
                  <a:pt x="1972200" y="3832566"/>
                  <a:pt x="1971980" y="3837713"/>
                  <a:pt x="1968122" y="3843299"/>
                </a:cubicBezTo>
                <a:cubicBezTo>
                  <a:pt x="1965170" y="3847573"/>
                  <a:pt x="1962521" y="3848364"/>
                  <a:pt x="1962236" y="3845056"/>
                </a:cubicBezTo>
                <a:cubicBezTo>
                  <a:pt x="1961951" y="3841748"/>
                  <a:pt x="1961951" y="3836905"/>
                  <a:pt x="1962236" y="3834293"/>
                </a:cubicBezTo>
                <a:cubicBezTo>
                  <a:pt x="1962521" y="3831682"/>
                  <a:pt x="1960786" y="3829545"/>
                  <a:pt x="1958381" y="3829545"/>
                </a:cubicBezTo>
                <a:cubicBezTo>
                  <a:pt x="1955976" y="3829545"/>
                  <a:pt x="1954008" y="3825035"/>
                  <a:pt x="1954008" y="3819521"/>
                </a:cubicBezTo>
                <a:cubicBezTo>
                  <a:pt x="1954008" y="3813443"/>
                  <a:pt x="1956155" y="3811193"/>
                  <a:pt x="1959090" y="3812273"/>
                </a:cubicBezTo>
                <a:close/>
                <a:moveTo>
                  <a:pt x="486892" y="3810553"/>
                </a:moveTo>
                <a:cubicBezTo>
                  <a:pt x="490500" y="3810553"/>
                  <a:pt x="493451" y="3814826"/>
                  <a:pt x="493451" y="3820049"/>
                </a:cubicBezTo>
                <a:cubicBezTo>
                  <a:pt x="493451" y="3825272"/>
                  <a:pt x="490500" y="3829545"/>
                  <a:pt x="486892" y="3829545"/>
                </a:cubicBezTo>
                <a:cubicBezTo>
                  <a:pt x="483284" y="3829545"/>
                  <a:pt x="480332" y="3825272"/>
                  <a:pt x="480332" y="3820049"/>
                </a:cubicBezTo>
                <a:cubicBezTo>
                  <a:pt x="480332" y="3814826"/>
                  <a:pt x="483284" y="3810553"/>
                  <a:pt x="486892" y="3810553"/>
                </a:cubicBezTo>
                <a:close/>
                <a:moveTo>
                  <a:pt x="4113305" y="3809050"/>
                </a:moveTo>
                <a:cubicBezTo>
                  <a:pt x="4121709" y="3813106"/>
                  <a:pt x="4119461" y="3823215"/>
                  <a:pt x="4110156" y="3823215"/>
                </a:cubicBezTo>
                <a:cubicBezTo>
                  <a:pt x="4105506" y="3823215"/>
                  <a:pt x="4100455" y="3828912"/>
                  <a:pt x="4098927" y="3835877"/>
                </a:cubicBezTo>
                <a:cubicBezTo>
                  <a:pt x="4094805" y="3854684"/>
                  <a:pt x="4087996" y="3851200"/>
                  <a:pt x="4087996" y="3830284"/>
                </a:cubicBezTo>
                <a:cubicBezTo>
                  <a:pt x="4087996" y="3816291"/>
                  <a:pt x="4090332" y="3811382"/>
                  <a:pt x="4098000" y="3809260"/>
                </a:cubicBezTo>
                <a:cubicBezTo>
                  <a:pt x="4103503" y="3807737"/>
                  <a:pt x="4110390" y="3807643"/>
                  <a:pt x="4113305" y="3809050"/>
                </a:cubicBezTo>
                <a:close/>
                <a:moveTo>
                  <a:pt x="2043084" y="3794750"/>
                </a:moveTo>
                <a:cubicBezTo>
                  <a:pt x="2041816" y="3795042"/>
                  <a:pt x="2041467" y="3797207"/>
                  <a:pt x="2041467" y="3801376"/>
                </a:cubicBezTo>
                <a:cubicBezTo>
                  <a:pt x="2041467" y="3806834"/>
                  <a:pt x="2043435" y="3809539"/>
                  <a:pt x="2045840" y="3807387"/>
                </a:cubicBezTo>
                <a:cubicBezTo>
                  <a:pt x="2048245" y="3805235"/>
                  <a:pt x="2050212" y="3806492"/>
                  <a:pt x="2050212" y="3810179"/>
                </a:cubicBezTo>
                <a:cubicBezTo>
                  <a:pt x="2050212" y="3813867"/>
                  <a:pt x="2052181" y="3816883"/>
                  <a:pt x="2054585" y="3816883"/>
                </a:cubicBezTo>
                <a:cubicBezTo>
                  <a:pt x="2056991" y="3816883"/>
                  <a:pt x="2058958" y="3814720"/>
                  <a:pt x="2058958" y="3812075"/>
                </a:cubicBezTo>
                <a:cubicBezTo>
                  <a:pt x="2058958" y="3809431"/>
                  <a:pt x="2055023" y="3803709"/>
                  <a:pt x="2050212" y="3799360"/>
                </a:cubicBezTo>
                <a:cubicBezTo>
                  <a:pt x="2046538" y="3796038"/>
                  <a:pt x="2044352" y="3794458"/>
                  <a:pt x="2043084" y="3794750"/>
                </a:cubicBezTo>
                <a:close/>
                <a:moveTo>
                  <a:pt x="1790937" y="3787564"/>
                </a:moveTo>
                <a:cubicBezTo>
                  <a:pt x="1790740" y="3787287"/>
                  <a:pt x="1790249" y="3790113"/>
                  <a:pt x="1789378" y="3795919"/>
                </a:cubicBezTo>
                <a:cubicBezTo>
                  <a:pt x="1788235" y="3803539"/>
                  <a:pt x="1783976" y="3811211"/>
                  <a:pt x="1779916" y="3812965"/>
                </a:cubicBezTo>
                <a:cubicBezTo>
                  <a:pt x="1774602" y="3815262"/>
                  <a:pt x="1774984" y="3815797"/>
                  <a:pt x="1781278" y="3814873"/>
                </a:cubicBezTo>
                <a:cubicBezTo>
                  <a:pt x="1787214" y="3814001"/>
                  <a:pt x="1790254" y="3808526"/>
                  <a:pt x="1790740" y="3797826"/>
                </a:cubicBezTo>
                <a:cubicBezTo>
                  <a:pt x="1791040" y="3791221"/>
                  <a:pt x="1791135" y="3787841"/>
                  <a:pt x="1790937" y="3787564"/>
                </a:cubicBezTo>
                <a:close/>
                <a:moveTo>
                  <a:pt x="2023582" y="3786360"/>
                </a:moveTo>
                <a:cubicBezTo>
                  <a:pt x="2022843" y="3786156"/>
                  <a:pt x="2021117" y="3788463"/>
                  <a:pt x="2017887" y="3793139"/>
                </a:cubicBezTo>
                <a:cubicBezTo>
                  <a:pt x="2009485" y="3805302"/>
                  <a:pt x="2008763" y="3812617"/>
                  <a:pt x="2016323" y="3808973"/>
                </a:cubicBezTo>
                <a:cubicBezTo>
                  <a:pt x="2019329" y="3807524"/>
                  <a:pt x="2022493" y="3801078"/>
                  <a:pt x="2023354" y="3794649"/>
                </a:cubicBezTo>
                <a:cubicBezTo>
                  <a:pt x="2024072" y="3789280"/>
                  <a:pt x="2024321" y="3786564"/>
                  <a:pt x="2023582" y="3786360"/>
                </a:cubicBezTo>
                <a:close/>
                <a:moveTo>
                  <a:pt x="2013093" y="3774587"/>
                </a:moveTo>
                <a:cubicBezTo>
                  <a:pt x="2008310" y="3775297"/>
                  <a:pt x="2004185" y="3780119"/>
                  <a:pt x="2003926" y="3785302"/>
                </a:cubicBezTo>
                <a:cubicBezTo>
                  <a:pt x="2003667" y="3790485"/>
                  <a:pt x="2004257" y="3791340"/>
                  <a:pt x="2005238" y="3787201"/>
                </a:cubicBezTo>
                <a:cubicBezTo>
                  <a:pt x="2006219" y="3783063"/>
                  <a:pt x="2010344" y="3778241"/>
                  <a:pt x="2014405" y="3776486"/>
                </a:cubicBezTo>
                <a:cubicBezTo>
                  <a:pt x="2019760" y="3774171"/>
                  <a:pt x="2019399" y="3773649"/>
                  <a:pt x="2013093" y="3774587"/>
                </a:cubicBezTo>
                <a:close/>
                <a:moveTo>
                  <a:pt x="2633998" y="3759906"/>
                </a:moveTo>
                <a:cubicBezTo>
                  <a:pt x="2637606" y="3759906"/>
                  <a:pt x="2640558" y="3764179"/>
                  <a:pt x="2640558" y="3769402"/>
                </a:cubicBezTo>
                <a:cubicBezTo>
                  <a:pt x="2640558" y="3774625"/>
                  <a:pt x="2637606" y="3778898"/>
                  <a:pt x="2633998" y="3778898"/>
                </a:cubicBezTo>
                <a:cubicBezTo>
                  <a:pt x="2630391" y="3778898"/>
                  <a:pt x="2627439" y="3774625"/>
                  <a:pt x="2627439" y="3769402"/>
                </a:cubicBezTo>
                <a:cubicBezTo>
                  <a:pt x="2627439" y="3764179"/>
                  <a:pt x="2630391" y="3759906"/>
                  <a:pt x="2633998" y="3759906"/>
                </a:cubicBezTo>
                <a:close/>
                <a:moveTo>
                  <a:pt x="4107673" y="3751286"/>
                </a:moveTo>
                <a:cubicBezTo>
                  <a:pt x="4115157" y="3755443"/>
                  <a:pt x="4115150" y="3755412"/>
                  <a:pt x="4111580" y="3768885"/>
                </a:cubicBezTo>
                <a:cubicBezTo>
                  <a:pt x="4107513" y="3784222"/>
                  <a:pt x="4101115" y="3780789"/>
                  <a:pt x="4101115" y="3763270"/>
                </a:cubicBezTo>
                <a:cubicBezTo>
                  <a:pt x="4101115" y="3751979"/>
                  <a:pt x="4102934" y="3748653"/>
                  <a:pt x="4107673" y="3751286"/>
                </a:cubicBezTo>
                <a:close/>
                <a:moveTo>
                  <a:pt x="1769471" y="3740913"/>
                </a:moveTo>
                <a:cubicBezTo>
                  <a:pt x="1760672" y="3740913"/>
                  <a:pt x="1759276" y="3754454"/>
                  <a:pt x="1766156" y="3773065"/>
                </a:cubicBezTo>
                <a:cubicBezTo>
                  <a:pt x="1769816" y="3782965"/>
                  <a:pt x="1772397" y="3784085"/>
                  <a:pt x="1779275" y="3778756"/>
                </a:cubicBezTo>
                <a:cubicBezTo>
                  <a:pt x="1783984" y="3775107"/>
                  <a:pt x="1787837" y="3768519"/>
                  <a:pt x="1787837" y="3764115"/>
                </a:cubicBezTo>
                <a:cubicBezTo>
                  <a:pt x="1787837" y="3752569"/>
                  <a:pt x="1778610" y="3740913"/>
                  <a:pt x="1769471" y="3740913"/>
                </a:cubicBezTo>
                <a:close/>
                <a:moveTo>
                  <a:pt x="2273182" y="3737793"/>
                </a:moveTo>
                <a:cubicBezTo>
                  <a:pt x="2270804" y="3739920"/>
                  <a:pt x="2268859" y="3744341"/>
                  <a:pt x="2268859" y="3747618"/>
                </a:cubicBezTo>
                <a:cubicBezTo>
                  <a:pt x="2268859" y="3756725"/>
                  <a:pt x="2271994" y="3754718"/>
                  <a:pt x="2274901" y="3743750"/>
                </a:cubicBezTo>
                <a:cubicBezTo>
                  <a:pt x="2276394" y="3738116"/>
                  <a:pt x="2275661" y="3735575"/>
                  <a:pt x="2273182" y="3737793"/>
                </a:cubicBezTo>
                <a:close/>
                <a:moveTo>
                  <a:pt x="2067015" y="3729938"/>
                </a:moveTo>
                <a:cubicBezTo>
                  <a:pt x="2065032" y="3730426"/>
                  <a:pt x="2062949" y="3732424"/>
                  <a:pt x="2060477" y="3736003"/>
                </a:cubicBezTo>
                <a:cubicBezTo>
                  <a:pt x="2051676" y="3748743"/>
                  <a:pt x="2056577" y="3772567"/>
                  <a:pt x="2067999" y="3772567"/>
                </a:cubicBezTo>
                <a:cubicBezTo>
                  <a:pt x="2072647" y="3772567"/>
                  <a:pt x="2076450" y="3775416"/>
                  <a:pt x="2076450" y="3778898"/>
                </a:cubicBezTo>
                <a:cubicBezTo>
                  <a:pt x="2076450" y="3786965"/>
                  <a:pt x="2077951" y="3786852"/>
                  <a:pt x="2091750" y="3777750"/>
                </a:cubicBezTo>
                <a:cubicBezTo>
                  <a:pt x="2106590" y="3767961"/>
                  <a:pt x="2105195" y="3745019"/>
                  <a:pt x="2089569" y="3741890"/>
                </a:cubicBezTo>
                <a:cubicBezTo>
                  <a:pt x="2083556" y="3740685"/>
                  <a:pt x="2076078" y="3736657"/>
                  <a:pt x="2072951" y="3732937"/>
                </a:cubicBezTo>
                <a:cubicBezTo>
                  <a:pt x="2070881" y="3730474"/>
                  <a:pt x="2068998" y="3729451"/>
                  <a:pt x="2067015" y="3729938"/>
                </a:cubicBezTo>
                <a:close/>
                <a:moveTo>
                  <a:pt x="1479546" y="3728251"/>
                </a:moveTo>
                <a:cubicBezTo>
                  <a:pt x="1483154" y="3728251"/>
                  <a:pt x="1486105" y="3732524"/>
                  <a:pt x="1486105" y="3737748"/>
                </a:cubicBezTo>
                <a:cubicBezTo>
                  <a:pt x="1486105" y="3742971"/>
                  <a:pt x="1483154" y="3747244"/>
                  <a:pt x="1479546" y="3747244"/>
                </a:cubicBezTo>
                <a:cubicBezTo>
                  <a:pt x="1475938" y="3747244"/>
                  <a:pt x="1472986" y="3742971"/>
                  <a:pt x="1472986" y="3737748"/>
                </a:cubicBezTo>
                <a:cubicBezTo>
                  <a:pt x="1472986" y="3732524"/>
                  <a:pt x="1475938" y="3728251"/>
                  <a:pt x="1479546" y="3728251"/>
                </a:cubicBezTo>
                <a:close/>
                <a:moveTo>
                  <a:pt x="2608904" y="3725099"/>
                </a:moveTo>
                <a:cubicBezTo>
                  <a:pt x="2610542" y="3726827"/>
                  <a:pt x="2610330" y="3730229"/>
                  <a:pt x="2607432" y="3734424"/>
                </a:cubicBezTo>
                <a:cubicBezTo>
                  <a:pt x="2605168" y="3737704"/>
                  <a:pt x="2600706" y="3738052"/>
                  <a:pt x="2597518" y="3735200"/>
                </a:cubicBezTo>
                <a:cubicBezTo>
                  <a:pt x="2592964" y="3731125"/>
                  <a:pt x="2593340" y="3729115"/>
                  <a:pt x="2599274" y="3725818"/>
                </a:cubicBezTo>
                <a:cubicBezTo>
                  <a:pt x="2603777" y="3723317"/>
                  <a:pt x="2607266" y="3723371"/>
                  <a:pt x="2608904" y="3725099"/>
                </a:cubicBezTo>
                <a:close/>
                <a:moveTo>
                  <a:pt x="2581523" y="3714641"/>
                </a:moveTo>
                <a:cubicBezTo>
                  <a:pt x="2583808" y="3714641"/>
                  <a:pt x="2586382" y="3717703"/>
                  <a:pt x="2587244" y="3721446"/>
                </a:cubicBezTo>
                <a:cubicBezTo>
                  <a:pt x="2588106" y="3725189"/>
                  <a:pt x="2585532" y="3728251"/>
                  <a:pt x="2581523" y="3728251"/>
                </a:cubicBezTo>
                <a:cubicBezTo>
                  <a:pt x="2577515" y="3728251"/>
                  <a:pt x="2574940" y="3725189"/>
                  <a:pt x="2575802" y="3721446"/>
                </a:cubicBezTo>
                <a:cubicBezTo>
                  <a:pt x="2576664" y="3717703"/>
                  <a:pt x="2579238" y="3714641"/>
                  <a:pt x="2581523" y="3714641"/>
                </a:cubicBezTo>
                <a:close/>
                <a:moveTo>
                  <a:pt x="1636912" y="3707003"/>
                </a:moveTo>
                <a:cubicBezTo>
                  <a:pt x="1641037" y="3704711"/>
                  <a:pt x="1642869" y="3705686"/>
                  <a:pt x="1641308" y="3709343"/>
                </a:cubicBezTo>
                <a:cubicBezTo>
                  <a:pt x="1639836" y="3712791"/>
                  <a:pt x="1643575" y="3718335"/>
                  <a:pt x="1649617" y="3721661"/>
                </a:cubicBezTo>
                <a:cubicBezTo>
                  <a:pt x="1655660" y="3724987"/>
                  <a:pt x="1663448" y="3735671"/>
                  <a:pt x="1666924" y="3745404"/>
                </a:cubicBezTo>
                <a:cubicBezTo>
                  <a:pt x="1670401" y="3755137"/>
                  <a:pt x="1677383" y="3768522"/>
                  <a:pt x="1682439" y="3775146"/>
                </a:cubicBezTo>
                <a:cubicBezTo>
                  <a:pt x="1687496" y="3781772"/>
                  <a:pt x="1691633" y="3792215"/>
                  <a:pt x="1691633" y="3798355"/>
                </a:cubicBezTo>
                <a:cubicBezTo>
                  <a:pt x="1691633" y="3819130"/>
                  <a:pt x="1696899" y="3829545"/>
                  <a:pt x="1707406" y="3829545"/>
                </a:cubicBezTo>
                <a:cubicBezTo>
                  <a:pt x="1722195" y="3829545"/>
                  <a:pt x="1720827" y="3847204"/>
                  <a:pt x="1705845" y="3849700"/>
                </a:cubicBezTo>
                <a:cubicBezTo>
                  <a:pt x="1697234" y="3851135"/>
                  <a:pt x="1693422" y="3855749"/>
                  <a:pt x="1692422" y="3865948"/>
                </a:cubicBezTo>
                <a:cubicBezTo>
                  <a:pt x="1690837" y="3882100"/>
                  <a:pt x="1690316" y="3882167"/>
                  <a:pt x="1670861" y="3868731"/>
                </a:cubicBezTo>
                <a:cubicBezTo>
                  <a:pt x="1663044" y="3863332"/>
                  <a:pt x="1656649" y="3855297"/>
                  <a:pt x="1656649" y="3850875"/>
                </a:cubicBezTo>
                <a:cubicBezTo>
                  <a:pt x="1656649" y="3846454"/>
                  <a:pt x="1653206" y="3839680"/>
                  <a:pt x="1648997" y="3835823"/>
                </a:cubicBezTo>
                <a:cubicBezTo>
                  <a:pt x="1643517" y="3830801"/>
                  <a:pt x="1642896" y="3827866"/>
                  <a:pt x="1646810" y="3825485"/>
                </a:cubicBezTo>
                <a:cubicBezTo>
                  <a:pt x="1649816" y="3823656"/>
                  <a:pt x="1652276" y="3817048"/>
                  <a:pt x="1652276" y="3810800"/>
                </a:cubicBezTo>
                <a:cubicBezTo>
                  <a:pt x="1652276" y="3794762"/>
                  <a:pt x="1642985" y="3785837"/>
                  <a:pt x="1632598" y="3791898"/>
                </a:cubicBezTo>
                <a:cubicBezTo>
                  <a:pt x="1619750" y="3799395"/>
                  <a:pt x="1617293" y="3798890"/>
                  <a:pt x="1617293" y="3788754"/>
                </a:cubicBezTo>
                <a:cubicBezTo>
                  <a:pt x="1617293" y="3783728"/>
                  <a:pt x="1621429" y="3775422"/>
                  <a:pt x="1626485" y="3770295"/>
                </a:cubicBezTo>
                <a:cubicBezTo>
                  <a:pt x="1634218" y="3762454"/>
                  <a:pt x="1635214" y="3757000"/>
                  <a:pt x="1632758" y="3735953"/>
                </a:cubicBezTo>
                <a:cubicBezTo>
                  <a:pt x="1630444" y="3716125"/>
                  <a:pt x="1631307" y="3710117"/>
                  <a:pt x="1636912" y="3707003"/>
                </a:cubicBezTo>
                <a:close/>
                <a:moveTo>
                  <a:pt x="777691" y="3702928"/>
                </a:moveTo>
                <a:cubicBezTo>
                  <a:pt x="783522" y="3702928"/>
                  <a:pt x="786437" y="3707149"/>
                  <a:pt x="786437" y="3715590"/>
                </a:cubicBezTo>
                <a:cubicBezTo>
                  <a:pt x="786437" y="3729940"/>
                  <a:pt x="781903" y="3731816"/>
                  <a:pt x="774193" y="3720654"/>
                </a:cubicBezTo>
                <a:cubicBezTo>
                  <a:pt x="766484" y="3709493"/>
                  <a:pt x="767779" y="3702928"/>
                  <a:pt x="777691" y="3702928"/>
                </a:cubicBezTo>
                <a:close/>
                <a:moveTo>
                  <a:pt x="2265717" y="3690468"/>
                </a:moveTo>
                <a:cubicBezTo>
                  <a:pt x="2258314" y="3690659"/>
                  <a:pt x="2258307" y="3691087"/>
                  <a:pt x="2265579" y="3699080"/>
                </a:cubicBezTo>
                <a:cubicBezTo>
                  <a:pt x="2269788" y="3703705"/>
                  <a:pt x="2273387" y="3711449"/>
                  <a:pt x="2273577" y="3716288"/>
                </a:cubicBezTo>
                <a:cubicBezTo>
                  <a:pt x="2273840" y="3722989"/>
                  <a:pt x="2274459" y="3723150"/>
                  <a:pt x="2276176" y="3716964"/>
                </a:cubicBezTo>
                <a:cubicBezTo>
                  <a:pt x="2277416" y="3712496"/>
                  <a:pt x="2277322" y="3704662"/>
                  <a:pt x="2275968" y="3699554"/>
                </a:cubicBezTo>
                <a:cubicBezTo>
                  <a:pt x="2274614" y="3694446"/>
                  <a:pt x="2270001" y="3690357"/>
                  <a:pt x="2265717" y="3690468"/>
                </a:cubicBezTo>
                <a:close/>
                <a:moveTo>
                  <a:pt x="4393541" y="3685390"/>
                </a:moveTo>
                <a:cubicBezTo>
                  <a:pt x="4407007" y="3683826"/>
                  <a:pt x="4408035" y="3684924"/>
                  <a:pt x="4405396" y="3698051"/>
                </a:cubicBezTo>
                <a:cubicBezTo>
                  <a:pt x="4396982" y="3739892"/>
                  <a:pt x="4397299" y="3752219"/>
                  <a:pt x="4406971" y="3759714"/>
                </a:cubicBezTo>
                <a:cubicBezTo>
                  <a:pt x="4414177" y="3765297"/>
                  <a:pt x="4416149" y="3771834"/>
                  <a:pt x="4415127" y="3786745"/>
                </a:cubicBezTo>
                <a:cubicBezTo>
                  <a:pt x="4413808" y="3805985"/>
                  <a:pt x="4407473" y="3815139"/>
                  <a:pt x="4401479" y="3806464"/>
                </a:cubicBezTo>
                <a:cubicBezTo>
                  <a:pt x="4399826" y="3804070"/>
                  <a:pt x="4398473" y="3794243"/>
                  <a:pt x="4398473" y="3784626"/>
                </a:cubicBezTo>
                <a:cubicBezTo>
                  <a:pt x="4398473" y="3775009"/>
                  <a:pt x="4395522" y="3762868"/>
                  <a:pt x="4391914" y="3757645"/>
                </a:cubicBezTo>
                <a:cubicBezTo>
                  <a:pt x="4388306" y="3752422"/>
                  <a:pt x="4385355" y="3739398"/>
                  <a:pt x="4385355" y="3728704"/>
                </a:cubicBezTo>
                <a:cubicBezTo>
                  <a:pt x="4385355" y="3715640"/>
                  <a:pt x="4383203" y="3709259"/>
                  <a:pt x="4378795" y="3709259"/>
                </a:cubicBezTo>
                <a:cubicBezTo>
                  <a:pt x="4375187" y="3709259"/>
                  <a:pt x="4372266" y="3707123"/>
                  <a:pt x="4372303" y="3704511"/>
                </a:cubicBezTo>
                <a:cubicBezTo>
                  <a:pt x="4372456" y="3693518"/>
                  <a:pt x="4379702" y="3686995"/>
                  <a:pt x="4393541" y="3685390"/>
                </a:cubicBezTo>
                <a:close/>
                <a:moveTo>
                  <a:pt x="444041" y="3678411"/>
                </a:moveTo>
                <a:cubicBezTo>
                  <a:pt x="446083" y="3677038"/>
                  <a:pt x="449144" y="3679301"/>
                  <a:pt x="453220" y="3685202"/>
                </a:cubicBezTo>
                <a:cubicBezTo>
                  <a:pt x="461267" y="3696852"/>
                  <a:pt x="459463" y="3709259"/>
                  <a:pt x="449722" y="3709259"/>
                </a:cubicBezTo>
                <a:cubicBezTo>
                  <a:pt x="443308" y="3709259"/>
                  <a:pt x="440976" y="3705038"/>
                  <a:pt x="440976" y="3693432"/>
                </a:cubicBezTo>
                <a:cubicBezTo>
                  <a:pt x="440976" y="3684792"/>
                  <a:pt x="441999" y="3679784"/>
                  <a:pt x="444041" y="3678411"/>
                </a:cubicBezTo>
                <a:close/>
                <a:moveTo>
                  <a:pt x="4470885" y="3671274"/>
                </a:moveTo>
                <a:cubicBezTo>
                  <a:pt x="4471945" y="3671274"/>
                  <a:pt x="4472813" y="3674122"/>
                  <a:pt x="4472813" y="3677605"/>
                </a:cubicBezTo>
                <a:cubicBezTo>
                  <a:pt x="4472813" y="3681087"/>
                  <a:pt x="4470729" y="3683935"/>
                  <a:pt x="4468182" y="3683935"/>
                </a:cubicBezTo>
                <a:cubicBezTo>
                  <a:pt x="4465635" y="3683935"/>
                  <a:pt x="4464767" y="3681087"/>
                  <a:pt x="4466253" y="3677605"/>
                </a:cubicBezTo>
                <a:cubicBezTo>
                  <a:pt x="4467740" y="3674122"/>
                  <a:pt x="4469825" y="3671274"/>
                  <a:pt x="4470885" y="3671274"/>
                </a:cubicBezTo>
                <a:close/>
                <a:moveTo>
                  <a:pt x="4171728" y="3669684"/>
                </a:moveTo>
                <a:cubicBezTo>
                  <a:pt x="4182148" y="3673629"/>
                  <a:pt x="4193120" y="3699191"/>
                  <a:pt x="4194226" y="3722097"/>
                </a:cubicBezTo>
                <a:cubicBezTo>
                  <a:pt x="4194724" y="3732432"/>
                  <a:pt x="4196608" y="3740894"/>
                  <a:pt x="4198412" y="3740901"/>
                </a:cubicBezTo>
                <a:cubicBezTo>
                  <a:pt x="4200216" y="3740907"/>
                  <a:pt x="4201692" y="3745186"/>
                  <a:pt x="4201692" y="3750410"/>
                </a:cubicBezTo>
                <a:cubicBezTo>
                  <a:pt x="4201692" y="3755633"/>
                  <a:pt x="4198741" y="3759906"/>
                  <a:pt x="4195132" y="3759906"/>
                </a:cubicBezTo>
                <a:cubicBezTo>
                  <a:pt x="4191525" y="3759906"/>
                  <a:pt x="4188573" y="3755633"/>
                  <a:pt x="4188573" y="3750410"/>
                </a:cubicBezTo>
                <a:cubicBezTo>
                  <a:pt x="4188573" y="3745186"/>
                  <a:pt x="4186391" y="3740913"/>
                  <a:pt x="4183725" y="3740913"/>
                </a:cubicBezTo>
                <a:cubicBezTo>
                  <a:pt x="4180698" y="3740913"/>
                  <a:pt x="4179943" y="3734777"/>
                  <a:pt x="4181714" y="3724559"/>
                </a:cubicBezTo>
                <a:cubicBezTo>
                  <a:pt x="4183943" y="3711701"/>
                  <a:pt x="4182736" y="3707519"/>
                  <a:pt x="4176068" y="3704994"/>
                </a:cubicBezTo>
                <a:cubicBezTo>
                  <a:pt x="4170917" y="3703045"/>
                  <a:pt x="4166888" y="3694907"/>
                  <a:pt x="4165810" y="3684278"/>
                </a:cubicBezTo>
                <a:cubicBezTo>
                  <a:pt x="4164369" y="3670065"/>
                  <a:pt x="4165483" y="3667320"/>
                  <a:pt x="4171728" y="3669684"/>
                </a:cubicBezTo>
                <a:close/>
                <a:moveTo>
                  <a:pt x="3781533" y="3666259"/>
                </a:moveTo>
                <a:cubicBezTo>
                  <a:pt x="3778911" y="3667379"/>
                  <a:pt x="3776058" y="3670574"/>
                  <a:pt x="3772184" y="3676181"/>
                </a:cubicBezTo>
                <a:cubicBezTo>
                  <a:pt x="3763730" y="3688422"/>
                  <a:pt x="3763132" y="3692204"/>
                  <a:pt x="3767900" y="3703257"/>
                </a:cubicBezTo>
                <a:cubicBezTo>
                  <a:pt x="3770948" y="3710324"/>
                  <a:pt x="3772274" y="3718838"/>
                  <a:pt x="3770849" y="3722178"/>
                </a:cubicBezTo>
                <a:cubicBezTo>
                  <a:pt x="3769423" y="3725518"/>
                  <a:pt x="3770340" y="3728251"/>
                  <a:pt x="3772888" y="3728251"/>
                </a:cubicBezTo>
                <a:cubicBezTo>
                  <a:pt x="3775434" y="3728251"/>
                  <a:pt x="3777518" y="3731574"/>
                  <a:pt x="3777518" y="3735634"/>
                </a:cubicBezTo>
                <a:cubicBezTo>
                  <a:pt x="3777518" y="3745550"/>
                  <a:pt x="3791721" y="3765852"/>
                  <a:pt x="3797197" y="3763763"/>
                </a:cubicBezTo>
                <a:cubicBezTo>
                  <a:pt x="3799601" y="3762847"/>
                  <a:pt x="3802141" y="3753769"/>
                  <a:pt x="3802839" y="3743591"/>
                </a:cubicBezTo>
                <a:cubicBezTo>
                  <a:pt x="3804782" y="3715301"/>
                  <a:pt x="3797843" y="3676411"/>
                  <a:pt x="3789493" y="3668785"/>
                </a:cubicBezTo>
                <a:cubicBezTo>
                  <a:pt x="3786545" y="3666092"/>
                  <a:pt x="3784154" y="3665138"/>
                  <a:pt x="3781533" y="3666259"/>
                </a:cubicBezTo>
                <a:close/>
                <a:moveTo>
                  <a:pt x="440976" y="3652281"/>
                </a:moveTo>
                <a:cubicBezTo>
                  <a:pt x="443381" y="3652281"/>
                  <a:pt x="445349" y="3654962"/>
                  <a:pt x="445349" y="3658238"/>
                </a:cubicBezTo>
                <a:cubicBezTo>
                  <a:pt x="445349" y="3661515"/>
                  <a:pt x="443381" y="3665956"/>
                  <a:pt x="440976" y="3668109"/>
                </a:cubicBezTo>
                <a:cubicBezTo>
                  <a:pt x="438571" y="3670260"/>
                  <a:pt x="436603" y="3667580"/>
                  <a:pt x="436603" y="3662151"/>
                </a:cubicBezTo>
                <a:cubicBezTo>
                  <a:pt x="436603" y="3656723"/>
                  <a:pt x="438571" y="3652281"/>
                  <a:pt x="440976" y="3652281"/>
                </a:cubicBezTo>
                <a:close/>
                <a:moveTo>
                  <a:pt x="3171373" y="3641045"/>
                </a:moveTo>
                <a:cubicBezTo>
                  <a:pt x="3176439" y="3643882"/>
                  <a:pt x="3179653" y="3659430"/>
                  <a:pt x="3181007" y="3687671"/>
                </a:cubicBezTo>
                <a:cubicBezTo>
                  <a:pt x="3181977" y="3707877"/>
                  <a:pt x="3184744" y="3727268"/>
                  <a:pt x="3187158" y="3730762"/>
                </a:cubicBezTo>
                <a:cubicBezTo>
                  <a:pt x="3194625" y="3741571"/>
                  <a:pt x="3192227" y="3759906"/>
                  <a:pt x="3183347" y="3759906"/>
                </a:cubicBezTo>
                <a:cubicBezTo>
                  <a:pt x="3177662" y="3759906"/>
                  <a:pt x="3174310" y="3753839"/>
                  <a:pt x="3172415" y="3740122"/>
                </a:cubicBezTo>
                <a:cubicBezTo>
                  <a:pt x="3170911" y="3729240"/>
                  <a:pt x="3169682" y="3712147"/>
                  <a:pt x="3169682" y="3702136"/>
                </a:cubicBezTo>
                <a:cubicBezTo>
                  <a:pt x="3169682" y="3692126"/>
                  <a:pt x="3167713" y="3683935"/>
                  <a:pt x="3165309" y="3683935"/>
                </a:cubicBezTo>
                <a:cubicBezTo>
                  <a:pt x="3159389" y="3683935"/>
                  <a:pt x="3159720" y="3647785"/>
                  <a:pt x="3165690" y="3642444"/>
                </a:cubicBezTo>
                <a:cubicBezTo>
                  <a:pt x="3167790" y="3640565"/>
                  <a:pt x="3169684" y="3640099"/>
                  <a:pt x="3171373" y="3641045"/>
                </a:cubicBezTo>
                <a:close/>
                <a:moveTo>
                  <a:pt x="4333348" y="3639619"/>
                </a:moveTo>
                <a:cubicBezTo>
                  <a:pt x="4335495" y="3639619"/>
                  <a:pt x="4337253" y="3646742"/>
                  <a:pt x="4337253" y="3655447"/>
                </a:cubicBezTo>
                <a:cubicBezTo>
                  <a:pt x="4337253" y="3671092"/>
                  <a:pt x="4331327" y="3676672"/>
                  <a:pt x="4326564" y="3665514"/>
                </a:cubicBezTo>
                <a:cubicBezTo>
                  <a:pt x="4323404" y="3658110"/>
                  <a:pt x="4328247" y="3639619"/>
                  <a:pt x="4333348" y="3639619"/>
                </a:cubicBezTo>
                <a:close/>
                <a:moveTo>
                  <a:pt x="3189618" y="3639619"/>
                </a:moveTo>
                <a:cubicBezTo>
                  <a:pt x="3190679" y="3639619"/>
                  <a:pt x="3191547" y="3642468"/>
                  <a:pt x="3191547" y="3645950"/>
                </a:cubicBezTo>
                <a:cubicBezTo>
                  <a:pt x="3191547" y="3649432"/>
                  <a:pt x="3189462" y="3652281"/>
                  <a:pt x="3186916" y="3652281"/>
                </a:cubicBezTo>
                <a:cubicBezTo>
                  <a:pt x="3184368" y="3652281"/>
                  <a:pt x="3183500" y="3649432"/>
                  <a:pt x="3184987" y="3645950"/>
                </a:cubicBezTo>
                <a:cubicBezTo>
                  <a:pt x="3186474" y="3642468"/>
                  <a:pt x="3188557" y="3639619"/>
                  <a:pt x="3189618" y="3639619"/>
                </a:cubicBezTo>
                <a:close/>
                <a:moveTo>
                  <a:pt x="682150" y="3636920"/>
                </a:moveTo>
                <a:cubicBezTo>
                  <a:pt x="682988" y="3635911"/>
                  <a:pt x="691160" y="3636436"/>
                  <a:pt x="700310" y="3638085"/>
                </a:cubicBezTo>
                <a:cubicBezTo>
                  <a:pt x="714294" y="3640607"/>
                  <a:pt x="716734" y="3643239"/>
                  <a:pt x="715615" y="3654597"/>
                </a:cubicBezTo>
                <a:cubicBezTo>
                  <a:pt x="713678" y="3674264"/>
                  <a:pt x="698421" y="3674483"/>
                  <a:pt x="688710" y="3654982"/>
                </a:cubicBezTo>
                <a:cubicBezTo>
                  <a:pt x="684265" y="3646057"/>
                  <a:pt x="681313" y="3637928"/>
                  <a:pt x="682150" y="3636920"/>
                </a:cubicBezTo>
                <a:close/>
                <a:moveTo>
                  <a:pt x="1590882" y="3636609"/>
                </a:moveTo>
                <a:cubicBezTo>
                  <a:pt x="1596011" y="3632020"/>
                  <a:pt x="1603945" y="3642372"/>
                  <a:pt x="1604107" y="3653864"/>
                </a:cubicBezTo>
                <a:cubicBezTo>
                  <a:pt x="1604200" y="3660428"/>
                  <a:pt x="1602682" y="3659892"/>
                  <a:pt x="1593415" y="3650082"/>
                </a:cubicBezTo>
                <a:cubicBezTo>
                  <a:pt x="1587302" y="3643611"/>
                  <a:pt x="1586691" y="3640359"/>
                  <a:pt x="1590882" y="3636609"/>
                </a:cubicBezTo>
                <a:close/>
                <a:moveTo>
                  <a:pt x="4351611" y="3620852"/>
                </a:moveTo>
                <a:cubicBezTo>
                  <a:pt x="4351946" y="3620814"/>
                  <a:pt x="4352455" y="3623386"/>
                  <a:pt x="4353385" y="3628541"/>
                </a:cubicBezTo>
                <a:cubicBezTo>
                  <a:pt x="4354486" y="3634634"/>
                  <a:pt x="4358948" y="3639620"/>
                  <a:pt x="4363301" y="3639620"/>
                </a:cubicBezTo>
                <a:cubicBezTo>
                  <a:pt x="4371610" y="3639620"/>
                  <a:pt x="4378995" y="3664825"/>
                  <a:pt x="4372776" y="3671956"/>
                </a:cubicBezTo>
                <a:cubicBezTo>
                  <a:pt x="4370826" y="3674193"/>
                  <a:pt x="4369697" y="3674781"/>
                  <a:pt x="4370269" y="3673264"/>
                </a:cubicBezTo>
                <a:cubicBezTo>
                  <a:pt x="4370841" y="3671748"/>
                  <a:pt x="4366598" y="3663687"/>
                  <a:pt x="4360839" y="3655351"/>
                </a:cubicBezTo>
                <a:cubicBezTo>
                  <a:pt x="4355082" y="3647015"/>
                  <a:pt x="4350599" y="3635080"/>
                  <a:pt x="4350879" y="3628828"/>
                </a:cubicBezTo>
                <a:cubicBezTo>
                  <a:pt x="4351115" y="3623540"/>
                  <a:pt x="4351276" y="3620890"/>
                  <a:pt x="4351611" y="3620852"/>
                </a:cubicBezTo>
                <a:close/>
                <a:moveTo>
                  <a:pt x="1737013" y="3614296"/>
                </a:moveTo>
                <a:cubicBezTo>
                  <a:pt x="1729036" y="3614296"/>
                  <a:pt x="1726616" y="3617735"/>
                  <a:pt x="1726616" y="3629068"/>
                </a:cubicBezTo>
                <a:cubicBezTo>
                  <a:pt x="1726616" y="3653909"/>
                  <a:pt x="1738955" y="3660646"/>
                  <a:pt x="1751414" y="3642608"/>
                </a:cubicBezTo>
                <a:cubicBezTo>
                  <a:pt x="1760065" y="3630084"/>
                  <a:pt x="1752034" y="3614296"/>
                  <a:pt x="1737013" y="3614296"/>
                </a:cubicBezTo>
                <a:close/>
                <a:moveTo>
                  <a:pt x="807126" y="3610806"/>
                </a:moveTo>
                <a:cubicBezTo>
                  <a:pt x="808349" y="3613130"/>
                  <a:pt x="808030" y="3617221"/>
                  <a:pt x="805224" y="3621284"/>
                </a:cubicBezTo>
                <a:cubicBezTo>
                  <a:pt x="802084" y="3625831"/>
                  <a:pt x="799638" y="3625940"/>
                  <a:pt x="797792" y="3621616"/>
                </a:cubicBezTo>
                <a:cubicBezTo>
                  <a:pt x="796279" y="3618071"/>
                  <a:pt x="797171" y="3613264"/>
                  <a:pt x="799775" y="3610934"/>
                </a:cubicBezTo>
                <a:cubicBezTo>
                  <a:pt x="803137" y="3607926"/>
                  <a:pt x="805903" y="3608482"/>
                  <a:pt x="807126" y="3610806"/>
                </a:cubicBezTo>
                <a:close/>
                <a:moveTo>
                  <a:pt x="2205452" y="3601634"/>
                </a:moveTo>
                <a:cubicBezTo>
                  <a:pt x="2201844" y="3601634"/>
                  <a:pt x="2198892" y="3604483"/>
                  <a:pt x="2198892" y="3607965"/>
                </a:cubicBezTo>
                <a:cubicBezTo>
                  <a:pt x="2198892" y="3611447"/>
                  <a:pt x="2201844" y="3614296"/>
                  <a:pt x="2205452" y="3614296"/>
                </a:cubicBezTo>
                <a:cubicBezTo>
                  <a:pt x="2209059" y="3614296"/>
                  <a:pt x="2212011" y="3611447"/>
                  <a:pt x="2212011" y="3607965"/>
                </a:cubicBezTo>
                <a:cubicBezTo>
                  <a:pt x="2212011" y="3604483"/>
                  <a:pt x="2209059" y="3601634"/>
                  <a:pt x="2205452" y="3601634"/>
                </a:cubicBezTo>
                <a:close/>
                <a:moveTo>
                  <a:pt x="2052748" y="3583925"/>
                </a:moveTo>
                <a:cubicBezTo>
                  <a:pt x="2039055" y="3586759"/>
                  <a:pt x="2037764" y="3623601"/>
                  <a:pt x="2050662" y="3643478"/>
                </a:cubicBezTo>
                <a:cubicBezTo>
                  <a:pt x="2061876" y="3660759"/>
                  <a:pt x="2072077" y="3663267"/>
                  <a:pt x="2072077" y="3648742"/>
                </a:cubicBezTo>
                <a:cubicBezTo>
                  <a:pt x="2072077" y="3643018"/>
                  <a:pt x="2074153" y="3640729"/>
                  <a:pt x="2077017" y="3643293"/>
                </a:cubicBezTo>
                <a:cubicBezTo>
                  <a:pt x="2079734" y="3645724"/>
                  <a:pt x="2081070" y="3645179"/>
                  <a:pt x="2079985" y="3642083"/>
                </a:cubicBezTo>
                <a:cubicBezTo>
                  <a:pt x="2078900" y="3638987"/>
                  <a:pt x="2074374" y="3624211"/>
                  <a:pt x="2069928" y="3609249"/>
                </a:cubicBezTo>
                <a:cubicBezTo>
                  <a:pt x="2063652" y="3588133"/>
                  <a:pt x="2059807" y="3582465"/>
                  <a:pt x="2052748" y="3583925"/>
                </a:cubicBezTo>
                <a:close/>
                <a:moveTo>
                  <a:pt x="2102688" y="3582642"/>
                </a:moveTo>
                <a:cubicBezTo>
                  <a:pt x="2091905" y="3582642"/>
                  <a:pt x="2087616" y="3595839"/>
                  <a:pt x="2091367" y="3617476"/>
                </a:cubicBezTo>
                <a:cubicBezTo>
                  <a:pt x="2093125" y="3627617"/>
                  <a:pt x="2097186" y="3633289"/>
                  <a:pt x="2102688" y="3633289"/>
                </a:cubicBezTo>
                <a:cubicBezTo>
                  <a:pt x="2108190" y="3633289"/>
                  <a:pt x="2112250" y="3627617"/>
                  <a:pt x="2114008" y="3617476"/>
                </a:cubicBezTo>
                <a:cubicBezTo>
                  <a:pt x="2117759" y="3595839"/>
                  <a:pt x="2113470" y="3582642"/>
                  <a:pt x="2102688" y="3582642"/>
                </a:cubicBezTo>
                <a:close/>
                <a:moveTo>
                  <a:pt x="2147146" y="3571020"/>
                </a:moveTo>
                <a:cubicBezTo>
                  <a:pt x="2141182" y="3572202"/>
                  <a:pt x="2137807" y="3585205"/>
                  <a:pt x="2137738" y="3608493"/>
                </a:cubicBezTo>
                <a:cubicBezTo>
                  <a:pt x="2137660" y="3635013"/>
                  <a:pt x="2140599" y="3640832"/>
                  <a:pt x="2152797" y="3638304"/>
                </a:cubicBezTo>
                <a:cubicBezTo>
                  <a:pt x="2160233" y="3636763"/>
                  <a:pt x="2161723" y="3631816"/>
                  <a:pt x="2161723" y="3608655"/>
                </a:cubicBezTo>
                <a:cubicBezTo>
                  <a:pt x="2161723" y="3588863"/>
                  <a:pt x="2159482" y="3578834"/>
                  <a:pt x="2153945" y="3573836"/>
                </a:cubicBezTo>
                <a:cubicBezTo>
                  <a:pt x="2151409" y="3571546"/>
                  <a:pt x="2149133" y="3570627"/>
                  <a:pt x="2147146" y="3571020"/>
                </a:cubicBezTo>
                <a:close/>
                <a:moveTo>
                  <a:pt x="1798001" y="3564738"/>
                </a:moveTo>
                <a:cubicBezTo>
                  <a:pt x="1781204" y="3569368"/>
                  <a:pt x="1787367" y="3690226"/>
                  <a:pt x="1804404" y="3690298"/>
                </a:cubicBezTo>
                <a:cubicBezTo>
                  <a:pt x="1808521" y="3690317"/>
                  <a:pt x="1817791" y="3697377"/>
                  <a:pt x="1825007" y="3705989"/>
                </a:cubicBezTo>
                <a:cubicBezTo>
                  <a:pt x="1839540" y="3723338"/>
                  <a:pt x="1848022" y="3724009"/>
                  <a:pt x="1854833" y="3708350"/>
                </a:cubicBezTo>
                <a:cubicBezTo>
                  <a:pt x="1858206" y="3700595"/>
                  <a:pt x="1857490" y="3695239"/>
                  <a:pt x="1852022" y="3687323"/>
                </a:cubicBezTo>
                <a:cubicBezTo>
                  <a:pt x="1847987" y="3681480"/>
                  <a:pt x="1844685" y="3672630"/>
                  <a:pt x="1844685" y="3667656"/>
                </a:cubicBezTo>
                <a:cubicBezTo>
                  <a:pt x="1844685" y="3662682"/>
                  <a:pt x="1842507" y="3658612"/>
                  <a:pt x="1839844" y="3658612"/>
                </a:cubicBezTo>
                <a:cubicBezTo>
                  <a:pt x="1837182" y="3658612"/>
                  <a:pt x="1836165" y="3654231"/>
                  <a:pt x="1837584" y="3648876"/>
                </a:cubicBezTo>
                <a:cubicBezTo>
                  <a:pt x="1839003" y="3643522"/>
                  <a:pt x="1837479" y="3637647"/>
                  <a:pt x="1834195" y="3635824"/>
                </a:cubicBezTo>
                <a:cubicBezTo>
                  <a:pt x="1830912" y="3634000"/>
                  <a:pt x="1827039" y="3621768"/>
                  <a:pt x="1825589" y="3608642"/>
                </a:cubicBezTo>
                <a:cubicBezTo>
                  <a:pt x="1822611" y="3581679"/>
                  <a:pt x="1809905" y="3561458"/>
                  <a:pt x="1798001" y="3564738"/>
                </a:cubicBezTo>
                <a:close/>
                <a:moveTo>
                  <a:pt x="4146521" y="3557318"/>
                </a:moveTo>
                <a:cubicBezTo>
                  <a:pt x="4149847" y="3557318"/>
                  <a:pt x="4153705" y="3563604"/>
                  <a:pt x="4155093" y="3571287"/>
                </a:cubicBezTo>
                <a:cubicBezTo>
                  <a:pt x="4158027" y="3587536"/>
                  <a:pt x="4158105" y="3587392"/>
                  <a:pt x="4148124" y="3584178"/>
                </a:cubicBezTo>
                <a:cubicBezTo>
                  <a:pt x="4139112" y="3581276"/>
                  <a:pt x="4137681" y="3557318"/>
                  <a:pt x="4146521" y="3557318"/>
                </a:cubicBezTo>
                <a:close/>
                <a:moveTo>
                  <a:pt x="1509191" y="3547053"/>
                </a:moveTo>
                <a:cubicBezTo>
                  <a:pt x="1508732" y="3547719"/>
                  <a:pt x="1508420" y="3549938"/>
                  <a:pt x="1508315" y="3553625"/>
                </a:cubicBezTo>
                <a:cubicBezTo>
                  <a:pt x="1508125" y="3560299"/>
                  <a:pt x="1509159" y="3564039"/>
                  <a:pt x="1510612" y="3561935"/>
                </a:cubicBezTo>
                <a:cubicBezTo>
                  <a:pt x="1512065" y="3559831"/>
                  <a:pt x="1512220" y="3554371"/>
                  <a:pt x="1510957" y="3549800"/>
                </a:cubicBezTo>
                <a:lnTo>
                  <a:pt x="1510957" y="3549800"/>
                </a:lnTo>
                <a:cubicBezTo>
                  <a:pt x="1510259" y="3547275"/>
                  <a:pt x="1509651" y="3546388"/>
                  <a:pt x="1509191" y="3547053"/>
                </a:cubicBezTo>
                <a:close/>
                <a:moveTo>
                  <a:pt x="4384535" y="3546663"/>
                </a:moveTo>
                <a:cubicBezTo>
                  <a:pt x="4381046" y="3548684"/>
                  <a:pt x="4382082" y="3550184"/>
                  <a:pt x="4387177" y="3550488"/>
                </a:cubicBezTo>
                <a:cubicBezTo>
                  <a:pt x="4391786" y="3550763"/>
                  <a:pt x="4394370" y="3549267"/>
                  <a:pt x="4392916" y="3547163"/>
                </a:cubicBezTo>
                <a:lnTo>
                  <a:pt x="4392916" y="3547162"/>
                </a:lnTo>
                <a:cubicBezTo>
                  <a:pt x="4391463" y="3545059"/>
                  <a:pt x="4387691" y="3544834"/>
                  <a:pt x="4384535" y="3546663"/>
                </a:cubicBezTo>
                <a:close/>
                <a:moveTo>
                  <a:pt x="2522488" y="3535161"/>
                </a:moveTo>
                <a:cubicBezTo>
                  <a:pt x="2507315" y="3535161"/>
                  <a:pt x="2502057" y="3552202"/>
                  <a:pt x="2512028" y="3569062"/>
                </a:cubicBezTo>
                <a:cubicBezTo>
                  <a:pt x="2521362" y="3584844"/>
                  <a:pt x="2530250" y="3584610"/>
                  <a:pt x="2537303" y="3568397"/>
                </a:cubicBezTo>
                <a:cubicBezTo>
                  <a:pt x="2543826" y="3553401"/>
                  <a:pt x="2535696" y="3535161"/>
                  <a:pt x="2522488" y="3535161"/>
                </a:cubicBezTo>
                <a:close/>
                <a:moveTo>
                  <a:pt x="4512472" y="3529100"/>
                </a:moveTo>
                <a:cubicBezTo>
                  <a:pt x="4518537" y="3534527"/>
                  <a:pt x="4517405" y="3538326"/>
                  <a:pt x="4509725" y="3538326"/>
                </a:cubicBezTo>
                <a:cubicBezTo>
                  <a:pt x="4505975" y="3538326"/>
                  <a:pt x="4504144" y="3535430"/>
                  <a:pt x="4505654" y="3531892"/>
                </a:cubicBezTo>
                <a:cubicBezTo>
                  <a:pt x="4507165" y="3528353"/>
                  <a:pt x="4510233" y="3527096"/>
                  <a:pt x="4512472" y="3529100"/>
                </a:cubicBezTo>
                <a:close/>
                <a:moveTo>
                  <a:pt x="1784685" y="3528061"/>
                </a:moveTo>
                <a:cubicBezTo>
                  <a:pt x="1785145" y="3527396"/>
                  <a:pt x="1785753" y="3528283"/>
                  <a:pt x="1786451" y="3530808"/>
                </a:cubicBezTo>
                <a:cubicBezTo>
                  <a:pt x="1787714" y="3535378"/>
                  <a:pt x="1787559" y="3540839"/>
                  <a:pt x="1786106" y="3542942"/>
                </a:cubicBezTo>
                <a:cubicBezTo>
                  <a:pt x="1784653" y="3545046"/>
                  <a:pt x="1783620" y="3541307"/>
                  <a:pt x="1783809" y="3534633"/>
                </a:cubicBezTo>
                <a:cubicBezTo>
                  <a:pt x="1783914" y="3530946"/>
                  <a:pt x="1784226" y="3528727"/>
                  <a:pt x="1784685" y="3528061"/>
                </a:cubicBezTo>
                <a:close/>
                <a:moveTo>
                  <a:pt x="2708921" y="3527919"/>
                </a:moveTo>
                <a:cubicBezTo>
                  <a:pt x="2712790" y="3526048"/>
                  <a:pt x="2717257" y="3527196"/>
                  <a:pt x="2719644" y="3532655"/>
                </a:cubicBezTo>
                <a:cubicBezTo>
                  <a:pt x="2725875" y="3546899"/>
                  <a:pt x="2724328" y="3550987"/>
                  <a:pt x="2712711" y="3550987"/>
                </a:cubicBezTo>
                <a:cubicBezTo>
                  <a:pt x="2705809" y="3550987"/>
                  <a:pt x="2701779" y="3547414"/>
                  <a:pt x="2701779" y="3541293"/>
                </a:cubicBezTo>
                <a:cubicBezTo>
                  <a:pt x="2701779" y="3534679"/>
                  <a:pt x="2705051" y="3529790"/>
                  <a:pt x="2708921" y="3527919"/>
                </a:cubicBezTo>
                <a:close/>
                <a:moveTo>
                  <a:pt x="4454649" y="3527292"/>
                </a:moveTo>
                <a:cubicBezTo>
                  <a:pt x="4457341" y="3526735"/>
                  <a:pt x="4459694" y="3529043"/>
                  <a:pt x="4459694" y="3534633"/>
                </a:cubicBezTo>
                <a:cubicBezTo>
                  <a:pt x="4459694" y="3540146"/>
                  <a:pt x="4456578" y="3544657"/>
                  <a:pt x="4452770" y="3544657"/>
                </a:cubicBezTo>
                <a:cubicBezTo>
                  <a:pt x="4448962" y="3544657"/>
                  <a:pt x="4446626" y="3541273"/>
                  <a:pt x="4447578" y="3537139"/>
                </a:cubicBezTo>
                <a:cubicBezTo>
                  <a:pt x="4448929" y="3531270"/>
                  <a:pt x="4451958" y="3527848"/>
                  <a:pt x="4454649" y="3527292"/>
                </a:cubicBezTo>
                <a:close/>
                <a:moveTo>
                  <a:pt x="4330693" y="3513002"/>
                </a:moveTo>
                <a:cubicBezTo>
                  <a:pt x="4334301" y="3513002"/>
                  <a:pt x="4337253" y="3517444"/>
                  <a:pt x="4337253" y="3522872"/>
                </a:cubicBezTo>
                <a:cubicBezTo>
                  <a:pt x="4337253" y="3528301"/>
                  <a:pt x="4339220" y="3530981"/>
                  <a:pt x="4341625" y="3528830"/>
                </a:cubicBezTo>
                <a:cubicBezTo>
                  <a:pt x="4344031" y="3526678"/>
                  <a:pt x="4345998" y="3527934"/>
                  <a:pt x="4345998" y="3531621"/>
                </a:cubicBezTo>
                <a:cubicBezTo>
                  <a:pt x="4345998" y="3538577"/>
                  <a:pt x="4344596" y="3538808"/>
                  <a:pt x="4331787" y="3533962"/>
                </a:cubicBezTo>
                <a:cubicBezTo>
                  <a:pt x="4322453" y="3530431"/>
                  <a:pt x="4321544" y="3513002"/>
                  <a:pt x="4330693" y="3513002"/>
                </a:cubicBezTo>
                <a:close/>
                <a:moveTo>
                  <a:pt x="1781278" y="3513002"/>
                </a:moveTo>
                <a:cubicBezTo>
                  <a:pt x="1778259" y="3513002"/>
                  <a:pt x="1773340" y="3517275"/>
                  <a:pt x="1770345" y="3522499"/>
                </a:cubicBezTo>
                <a:cubicBezTo>
                  <a:pt x="1766002" y="3530075"/>
                  <a:pt x="1766002" y="3533915"/>
                  <a:pt x="1770345" y="3541491"/>
                </a:cubicBezTo>
                <a:cubicBezTo>
                  <a:pt x="1773340" y="3546714"/>
                  <a:pt x="1778259" y="3550987"/>
                  <a:pt x="1781278" y="3550987"/>
                </a:cubicBezTo>
                <a:cubicBezTo>
                  <a:pt x="1784296" y="3550987"/>
                  <a:pt x="1789216" y="3546714"/>
                  <a:pt x="1792210" y="3541491"/>
                </a:cubicBezTo>
                <a:cubicBezTo>
                  <a:pt x="1796553" y="3533915"/>
                  <a:pt x="1796553" y="3530075"/>
                  <a:pt x="1792210" y="3522499"/>
                </a:cubicBezTo>
                <a:cubicBezTo>
                  <a:pt x="1789216" y="3517275"/>
                  <a:pt x="1784296" y="3513002"/>
                  <a:pt x="1781278" y="3513002"/>
                </a:cubicBezTo>
                <a:close/>
                <a:moveTo>
                  <a:pt x="2765727" y="3506671"/>
                </a:moveTo>
                <a:cubicBezTo>
                  <a:pt x="2772587" y="3506671"/>
                  <a:pt x="2773316" y="3511755"/>
                  <a:pt x="2771915" y="3549820"/>
                </a:cubicBezTo>
                <a:cubicBezTo>
                  <a:pt x="2771281" y="3567051"/>
                  <a:pt x="2773350" y="3581080"/>
                  <a:pt x="2777517" y="3587805"/>
                </a:cubicBezTo>
                <a:cubicBezTo>
                  <a:pt x="2785544" y="3600760"/>
                  <a:pt x="2785603" y="3645950"/>
                  <a:pt x="2777592" y="3645950"/>
                </a:cubicBezTo>
                <a:cubicBezTo>
                  <a:pt x="2774546" y="3645950"/>
                  <a:pt x="2769842" y="3639969"/>
                  <a:pt x="2767140" y="3632658"/>
                </a:cubicBezTo>
                <a:cubicBezTo>
                  <a:pt x="2763472" y="3622736"/>
                  <a:pt x="2759317" y="3620170"/>
                  <a:pt x="2750756" y="3622540"/>
                </a:cubicBezTo>
                <a:cubicBezTo>
                  <a:pt x="2743212" y="3624627"/>
                  <a:pt x="2737404" y="3622134"/>
                  <a:pt x="2733789" y="3615257"/>
                </a:cubicBezTo>
                <a:cubicBezTo>
                  <a:pt x="2726359" y="3601118"/>
                  <a:pt x="2726680" y="3595303"/>
                  <a:pt x="2734887" y="3595303"/>
                </a:cubicBezTo>
                <a:cubicBezTo>
                  <a:pt x="2747519" y="3595303"/>
                  <a:pt x="2755756" y="3575677"/>
                  <a:pt x="2757753" y="3540827"/>
                </a:cubicBezTo>
                <a:cubicBezTo>
                  <a:pt x="2759094" y="3517425"/>
                  <a:pt x="2761605" y="3506671"/>
                  <a:pt x="2765727" y="3506671"/>
                </a:cubicBezTo>
                <a:close/>
                <a:moveTo>
                  <a:pt x="740522" y="3475017"/>
                </a:moveTo>
                <a:cubicBezTo>
                  <a:pt x="744129" y="3475017"/>
                  <a:pt x="747081" y="3479290"/>
                  <a:pt x="747081" y="3484514"/>
                </a:cubicBezTo>
                <a:cubicBezTo>
                  <a:pt x="747081" y="3489737"/>
                  <a:pt x="744129" y="3494010"/>
                  <a:pt x="740522" y="3494010"/>
                </a:cubicBezTo>
                <a:cubicBezTo>
                  <a:pt x="736914" y="3494010"/>
                  <a:pt x="733962" y="3489737"/>
                  <a:pt x="733962" y="3484514"/>
                </a:cubicBezTo>
                <a:cubicBezTo>
                  <a:pt x="733962" y="3479290"/>
                  <a:pt x="736914" y="3475017"/>
                  <a:pt x="740522" y="3475017"/>
                </a:cubicBezTo>
                <a:close/>
                <a:moveTo>
                  <a:pt x="2881943" y="3462355"/>
                </a:moveTo>
                <a:cubicBezTo>
                  <a:pt x="2894195" y="3462355"/>
                  <a:pt x="2891755" y="3486670"/>
                  <a:pt x="2878636" y="3495324"/>
                </a:cubicBezTo>
                <a:cubicBezTo>
                  <a:pt x="2869292" y="3501488"/>
                  <a:pt x="2867766" y="3506034"/>
                  <a:pt x="2869346" y="3523011"/>
                </a:cubicBezTo>
                <a:cubicBezTo>
                  <a:pt x="2871849" y="3549903"/>
                  <a:pt x="2875441" y="3557318"/>
                  <a:pt x="2885957" y="3557318"/>
                </a:cubicBezTo>
                <a:cubicBezTo>
                  <a:pt x="2890768" y="3557318"/>
                  <a:pt x="2893487" y="3554470"/>
                  <a:pt x="2892001" y="3550987"/>
                </a:cubicBezTo>
                <a:cubicBezTo>
                  <a:pt x="2890515" y="3547505"/>
                  <a:pt x="2893450" y="3544657"/>
                  <a:pt x="2898525" y="3544657"/>
                </a:cubicBezTo>
                <a:cubicBezTo>
                  <a:pt x="2906735" y="3544657"/>
                  <a:pt x="2907560" y="3547620"/>
                  <a:pt x="2906022" y="3571563"/>
                </a:cubicBezTo>
                <a:cubicBezTo>
                  <a:pt x="2904716" y="3591896"/>
                  <a:pt x="2902259" y="3599006"/>
                  <a:pt x="2895961" y="3600666"/>
                </a:cubicBezTo>
                <a:cubicBezTo>
                  <a:pt x="2891378" y="3601875"/>
                  <a:pt x="2885758" y="3605436"/>
                  <a:pt x="2883473" y="3608579"/>
                </a:cubicBezTo>
                <a:cubicBezTo>
                  <a:pt x="2877147" y="3617286"/>
                  <a:pt x="2873437" y="3615573"/>
                  <a:pt x="2866193" y="3600603"/>
                </a:cubicBezTo>
                <a:cubicBezTo>
                  <a:pt x="2862551" y="3593071"/>
                  <a:pt x="2860640" y="3584400"/>
                  <a:pt x="2861950" y="3581332"/>
                </a:cubicBezTo>
                <a:cubicBezTo>
                  <a:pt x="2863259" y="3578266"/>
                  <a:pt x="2861976" y="3571647"/>
                  <a:pt x="2859095" y="3566625"/>
                </a:cubicBezTo>
                <a:cubicBezTo>
                  <a:pt x="2856216" y="3561602"/>
                  <a:pt x="2854647" y="3547741"/>
                  <a:pt x="2855607" y="3535822"/>
                </a:cubicBezTo>
                <a:cubicBezTo>
                  <a:pt x="2857084" y="3517519"/>
                  <a:pt x="2855474" y="3512542"/>
                  <a:pt x="2845247" y="3503796"/>
                </a:cubicBezTo>
                <a:cubicBezTo>
                  <a:pt x="2834450" y="3494563"/>
                  <a:pt x="2833721" y="3491927"/>
                  <a:pt x="2838518" y="3479481"/>
                </a:cubicBezTo>
                <a:cubicBezTo>
                  <a:pt x="2841477" y="3471803"/>
                  <a:pt x="2844199" y="3464611"/>
                  <a:pt x="2844567" y="3463500"/>
                </a:cubicBezTo>
                <a:cubicBezTo>
                  <a:pt x="2844933" y="3462388"/>
                  <a:pt x="2849312" y="3465166"/>
                  <a:pt x="2854296" y="3469672"/>
                </a:cubicBezTo>
                <a:cubicBezTo>
                  <a:pt x="2861447" y="3476138"/>
                  <a:pt x="2864488" y="3476230"/>
                  <a:pt x="2868715" y="3470111"/>
                </a:cubicBezTo>
                <a:cubicBezTo>
                  <a:pt x="2871661" y="3465846"/>
                  <a:pt x="2877614" y="3462355"/>
                  <a:pt x="2881943" y="3462355"/>
                </a:cubicBezTo>
                <a:close/>
                <a:moveTo>
                  <a:pt x="3212720" y="3424461"/>
                </a:moveTo>
                <a:cubicBezTo>
                  <a:pt x="3210761" y="3424317"/>
                  <a:pt x="3208239" y="3426087"/>
                  <a:pt x="3204212" y="3429702"/>
                </a:cubicBezTo>
                <a:cubicBezTo>
                  <a:pt x="3196994" y="3436182"/>
                  <a:pt x="3193983" y="3436409"/>
                  <a:pt x="3191529" y="3430662"/>
                </a:cubicBezTo>
                <a:cubicBezTo>
                  <a:pt x="3185716" y="3417044"/>
                  <a:pt x="3171810" y="3426461"/>
                  <a:pt x="3172515" y="3443537"/>
                </a:cubicBezTo>
                <a:cubicBezTo>
                  <a:pt x="3174170" y="3483584"/>
                  <a:pt x="3176852" y="3497988"/>
                  <a:pt x="3184563" y="3508254"/>
                </a:cubicBezTo>
                <a:cubicBezTo>
                  <a:pt x="3194326" y="3521253"/>
                  <a:pt x="3200919" y="3522226"/>
                  <a:pt x="3208164" y="3511736"/>
                </a:cubicBezTo>
                <a:cubicBezTo>
                  <a:pt x="3214518" y="3502537"/>
                  <a:pt x="3215128" y="3481348"/>
                  <a:pt x="3209038" y="3481348"/>
                </a:cubicBezTo>
                <a:cubicBezTo>
                  <a:pt x="3200919" y="3481348"/>
                  <a:pt x="3204591" y="3463861"/>
                  <a:pt x="3213411" y="3460521"/>
                </a:cubicBezTo>
                <a:cubicBezTo>
                  <a:pt x="3222848" y="3456948"/>
                  <a:pt x="3224502" y="3445839"/>
                  <a:pt x="3217851" y="3430701"/>
                </a:cubicBezTo>
                <a:cubicBezTo>
                  <a:pt x="3216075" y="3426661"/>
                  <a:pt x="3214679" y="3424604"/>
                  <a:pt x="3212720" y="3424461"/>
                </a:cubicBezTo>
                <a:close/>
                <a:moveTo>
                  <a:pt x="4431270" y="3405378"/>
                </a:moveTo>
                <a:cubicBezTo>
                  <a:pt x="4439132" y="3405378"/>
                  <a:pt x="4442203" y="3408789"/>
                  <a:pt x="4442203" y="3417522"/>
                </a:cubicBezTo>
                <a:cubicBezTo>
                  <a:pt x="4442203" y="3424201"/>
                  <a:pt x="4443397" y="3434172"/>
                  <a:pt x="4444857" y="3439680"/>
                </a:cubicBezTo>
                <a:cubicBezTo>
                  <a:pt x="4448227" y="3452396"/>
                  <a:pt x="4442500" y="3452457"/>
                  <a:pt x="4430057" y="3439839"/>
                </a:cubicBezTo>
                <a:cubicBezTo>
                  <a:pt x="4416418" y="3426008"/>
                  <a:pt x="4417145" y="3405378"/>
                  <a:pt x="4431270" y="3405378"/>
                </a:cubicBezTo>
                <a:close/>
                <a:moveTo>
                  <a:pt x="549890" y="3399047"/>
                </a:moveTo>
                <a:cubicBezTo>
                  <a:pt x="545314" y="3399047"/>
                  <a:pt x="544506" y="3420204"/>
                  <a:pt x="548842" y="3426481"/>
                </a:cubicBezTo>
                <a:cubicBezTo>
                  <a:pt x="550445" y="3428802"/>
                  <a:pt x="554873" y="3430371"/>
                  <a:pt x="558681" y="3429967"/>
                </a:cubicBezTo>
                <a:cubicBezTo>
                  <a:pt x="563849" y="3429419"/>
                  <a:pt x="563561" y="3428469"/>
                  <a:pt x="557546" y="3426224"/>
                </a:cubicBezTo>
                <a:cubicBezTo>
                  <a:pt x="552135" y="3424204"/>
                  <a:pt x="550205" y="3419246"/>
                  <a:pt x="551671" y="3411132"/>
                </a:cubicBezTo>
                <a:cubicBezTo>
                  <a:pt x="552871" y="3404485"/>
                  <a:pt x="552070" y="3399047"/>
                  <a:pt x="549890" y="3399047"/>
                </a:cubicBezTo>
                <a:close/>
                <a:moveTo>
                  <a:pt x="4493782" y="3361062"/>
                </a:moveTo>
                <a:cubicBezTo>
                  <a:pt x="4504549" y="3361062"/>
                  <a:pt x="4512737" y="3387401"/>
                  <a:pt x="4515201" y="3429955"/>
                </a:cubicBezTo>
                <a:cubicBezTo>
                  <a:pt x="4517467" y="3469086"/>
                  <a:pt x="4516864" y="3475017"/>
                  <a:pt x="4510617" y="3475017"/>
                </a:cubicBezTo>
                <a:cubicBezTo>
                  <a:pt x="4505926" y="3475017"/>
                  <a:pt x="4503423" y="3469697"/>
                  <a:pt x="4503423" y="3459717"/>
                </a:cubicBezTo>
                <a:cubicBezTo>
                  <a:pt x="4503423" y="3451303"/>
                  <a:pt x="4501737" y="3443469"/>
                  <a:pt x="4499676" y="3442307"/>
                </a:cubicBezTo>
                <a:cubicBezTo>
                  <a:pt x="4494542" y="3439417"/>
                  <a:pt x="4488859" y="3361062"/>
                  <a:pt x="4493782" y="3361062"/>
                </a:cubicBezTo>
                <a:close/>
                <a:moveTo>
                  <a:pt x="2909492" y="3361062"/>
                </a:moveTo>
                <a:cubicBezTo>
                  <a:pt x="2913574" y="3361062"/>
                  <a:pt x="2916052" y="3367041"/>
                  <a:pt x="2916052" y="3376889"/>
                </a:cubicBezTo>
                <a:cubicBezTo>
                  <a:pt x="2916052" y="3385593"/>
                  <a:pt x="2915560" y="3392491"/>
                  <a:pt x="2914958" y="3392216"/>
                </a:cubicBezTo>
                <a:cubicBezTo>
                  <a:pt x="2914358" y="3391942"/>
                  <a:pt x="2911405" y="3390279"/>
                  <a:pt x="2908399" y="3388523"/>
                </a:cubicBezTo>
                <a:cubicBezTo>
                  <a:pt x="2900670" y="3384008"/>
                  <a:pt x="2901584" y="3361062"/>
                  <a:pt x="2909492" y="3361062"/>
                </a:cubicBezTo>
                <a:close/>
                <a:moveTo>
                  <a:pt x="4276032" y="3354731"/>
                </a:moveTo>
                <a:cubicBezTo>
                  <a:pt x="4271735" y="3354731"/>
                  <a:pt x="4267027" y="3359237"/>
                  <a:pt x="4265567" y="3364745"/>
                </a:cubicBezTo>
                <a:cubicBezTo>
                  <a:pt x="4261468" y="3380210"/>
                  <a:pt x="4262429" y="3405378"/>
                  <a:pt x="4267117" y="3405378"/>
                </a:cubicBezTo>
                <a:cubicBezTo>
                  <a:pt x="4269429" y="3405378"/>
                  <a:pt x="4273441" y="3416773"/>
                  <a:pt x="4276032" y="3430701"/>
                </a:cubicBezTo>
                <a:cubicBezTo>
                  <a:pt x="4281041" y="3457634"/>
                  <a:pt x="4291986" y="3464466"/>
                  <a:pt x="4302037" y="3446933"/>
                </a:cubicBezTo>
                <a:cubicBezTo>
                  <a:pt x="4307700" y="3437054"/>
                  <a:pt x="4301464" y="3411709"/>
                  <a:pt x="4293369" y="3411709"/>
                </a:cubicBezTo>
                <a:cubicBezTo>
                  <a:pt x="4291049" y="3411709"/>
                  <a:pt x="4289150" y="3403395"/>
                  <a:pt x="4289150" y="3393234"/>
                </a:cubicBezTo>
                <a:cubicBezTo>
                  <a:pt x="4289150" y="3366871"/>
                  <a:pt x="4285014" y="3354731"/>
                  <a:pt x="4276032" y="3354731"/>
                </a:cubicBezTo>
                <a:close/>
                <a:moveTo>
                  <a:pt x="2669069" y="3336073"/>
                </a:moveTo>
                <a:cubicBezTo>
                  <a:pt x="2665559" y="3335774"/>
                  <a:pt x="2662564" y="3338266"/>
                  <a:pt x="2661312" y="3343652"/>
                </a:cubicBezTo>
                <a:cubicBezTo>
                  <a:pt x="2659866" y="3349871"/>
                  <a:pt x="2657960" y="3349759"/>
                  <a:pt x="2652411" y="3343129"/>
                </a:cubicBezTo>
                <a:cubicBezTo>
                  <a:pt x="2648409" y="3338348"/>
                  <a:pt x="2641470" y="3336475"/>
                  <a:pt x="2636395" y="3338808"/>
                </a:cubicBezTo>
                <a:cubicBezTo>
                  <a:pt x="2629019" y="3342196"/>
                  <a:pt x="2627439" y="3348247"/>
                  <a:pt x="2627439" y="3373095"/>
                </a:cubicBezTo>
                <a:cubicBezTo>
                  <a:pt x="2627439" y="3389690"/>
                  <a:pt x="2628751" y="3405167"/>
                  <a:pt x="2630354" y="3407488"/>
                </a:cubicBezTo>
                <a:cubicBezTo>
                  <a:pt x="2635193" y="3414494"/>
                  <a:pt x="2648560" y="3412235"/>
                  <a:pt x="2652210" y="3403795"/>
                </a:cubicBezTo>
                <a:cubicBezTo>
                  <a:pt x="2654092" y="3399442"/>
                  <a:pt x="2655684" y="3391608"/>
                  <a:pt x="2655748" y="3386385"/>
                </a:cubicBezTo>
                <a:cubicBezTo>
                  <a:pt x="2655811" y="3381162"/>
                  <a:pt x="2660148" y="3376006"/>
                  <a:pt x="2665384" y="3374926"/>
                </a:cubicBezTo>
                <a:cubicBezTo>
                  <a:pt x="2679476" y="3372021"/>
                  <a:pt x="2686749" y="3357158"/>
                  <a:pt x="2679914" y="3345235"/>
                </a:cubicBezTo>
                <a:cubicBezTo>
                  <a:pt x="2676604" y="3339460"/>
                  <a:pt x="2672579" y="3336371"/>
                  <a:pt x="2669069" y="3336073"/>
                </a:cubicBezTo>
                <a:close/>
                <a:moveTo>
                  <a:pt x="587549" y="3300251"/>
                </a:moveTo>
                <a:cubicBezTo>
                  <a:pt x="585292" y="3297131"/>
                  <a:pt x="581333" y="3297816"/>
                  <a:pt x="574278" y="3300379"/>
                </a:cubicBezTo>
                <a:cubicBezTo>
                  <a:pt x="564976" y="3303760"/>
                  <a:pt x="563120" y="3307703"/>
                  <a:pt x="564236" y="3321715"/>
                </a:cubicBezTo>
                <a:cubicBezTo>
                  <a:pt x="565211" y="3333958"/>
                  <a:pt x="568436" y="3339486"/>
                  <a:pt x="575444" y="3340927"/>
                </a:cubicBezTo>
                <a:cubicBezTo>
                  <a:pt x="581595" y="3342191"/>
                  <a:pt x="585283" y="3347337"/>
                  <a:pt x="585283" y="3354654"/>
                </a:cubicBezTo>
                <a:cubicBezTo>
                  <a:pt x="585283" y="3383278"/>
                  <a:pt x="595253" y="3394742"/>
                  <a:pt x="606273" y="3378788"/>
                </a:cubicBezTo>
                <a:cubicBezTo>
                  <a:pt x="614472" y="3366918"/>
                  <a:pt x="612474" y="3354943"/>
                  <a:pt x="601264" y="3348772"/>
                </a:cubicBezTo>
                <a:cubicBezTo>
                  <a:pt x="593614" y="3344562"/>
                  <a:pt x="590907" y="3338001"/>
                  <a:pt x="590611" y="3322956"/>
                </a:cubicBezTo>
                <a:cubicBezTo>
                  <a:pt x="590363" y="3310298"/>
                  <a:pt x="589807" y="3303372"/>
                  <a:pt x="587549" y="3300251"/>
                </a:cubicBezTo>
                <a:close/>
                <a:moveTo>
                  <a:pt x="4154664" y="3279903"/>
                </a:moveTo>
                <a:cubicBezTo>
                  <a:pt x="4140613" y="3277009"/>
                  <a:pt x="4136422" y="3296689"/>
                  <a:pt x="4148160" y="3310449"/>
                </a:cubicBezTo>
                <a:cubicBezTo>
                  <a:pt x="4155681" y="3319265"/>
                  <a:pt x="4156874" y="3325844"/>
                  <a:pt x="4154873" y="3347448"/>
                </a:cubicBezTo>
                <a:cubicBezTo>
                  <a:pt x="4153260" y="3364859"/>
                  <a:pt x="4154107" y="3373723"/>
                  <a:pt x="4157387" y="3373723"/>
                </a:cubicBezTo>
                <a:cubicBezTo>
                  <a:pt x="4160108" y="3373723"/>
                  <a:pt x="4162336" y="3382799"/>
                  <a:pt x="4162336" y="3393890"/>
                </a:cubicBezTo>
                <a:cubicBezTo>
                  <a:pt x="4162336" y="3405884"/>
                  <a:pt x="4166190" y="3419997"/>
                  <a:pt x="4171844" y="3428710"/>
                </a:cubicBezTo>
                <a:cubicBezTo>
                  <a:pt x="4183547" y="3446745"/>
                  <a:pt x="4187175" y="3447056"/>
                  <a:pt x="4190840" y="3430334"/>
                </a:cubicBezTo>
                <a:cubicBezTo>
                  <a:pt x="4194319" y="3414464"/>
                  <a:pt x="4189124" y="3354731"/>
                  <a:pt x="4184264" y="3354731"/>
                </a:cubicBezTo>
                <a:cubicBezTo>
                  <a:pt x="4182345" y="3354731"/>
                  <a:pt x="4179540" y="3347608"/>
                  <a:pt x="4178032" y="3338904"/>
                </a:cubicBezTo>
                <a:cubicBezTo>
                  <a:pt x="4176523" y="3330199"/>
                  <a:pt x="4172366" y="3323077"/>
                  <a:pt x="4168795" y="3323077"/>
                </a:cubicBezTo>
                <a:cubicBezTo>
                  <a:pt x="4164157" y="3323077"/>
                  <a:pt x="4162620" y="3317198"/>
                  <a:pt x="4163412" y="3302505"/>
                </a:cubicBezTo>
                <a:cubicBezTo>
                  <a:pt x="4164336" y="3285391"/>
                  <a:pt x="4162865" y="3281593"/>
                  <a:pt x="4154664" y="3279903"/>
                </a:cubicBezTo>
                <a:close/>
                <a:moveTo>
                  <a:pt x="3384462" y="3266400"/>
                </a:moveTo>
                <a:cubicBezTo>
                  <a:pt x="3382627" y="3266785"/>
                  <a:pt x="3381140" y="3268762"/>
                  <a:pt x="3379525" y="3272430"/>
                </a:cubicBezTo>
                <a:cubicBezTo>
                  <a:pt x="3373763" y="3285514"/>
                  <a:pt x="3374087" y="3353134"/>
                  <a:pt x="3379925" y="3355951"/>
                </a:cubicBezTo>
                <a:cubicBezTo>
                  <a:pt x="3382518" y="3357203"/>
                  <a:pt x="3384978" y="3368123"/>
                  <a:pt x="3385390" y="3380219"/>
                </a:cubicBezTo>
                <a:cubicBezTo>
                  <a:pt x="3386068" y="3400055"/>
                  <a:pt x="3384906" y="3402417"/>
                  <a:pt x="3373548" y="3404295"/>
                </a:cubicBezTo>
                <a:cubicBezTo>
                  <a:pt x="3361139" y="3406347"/>
                  <a:pt x="3360992" y="3406842"/>
                  <a:pt x="3363543" y="3438014"/>
                </a:cubicBezTo>
                <a:cubicBezTo>
                  <a:pt x="3365474" y="3461632"/>
                  <a:pt x="3368943" y="3472854"/>
                  <a:pt x="3377229" y="3482289"/>
                </a:cubicBezTo>
                <a:cubicBezTo>
                  <a:pt x="3383333" y="3489241"/>
                  <a:pt x="3388329" y="3500251"/>
                  <a:pt x="3388329" y="3506757"/>
                </a:cubicBezTo>
                <a:cubicBezTo>
                  <a:pt x="3388329" y="3513263"/>
                  <a:pt x="3390296" y="3520347"/>
                  <a:pt x="3392701" y="3522499"/>
                </a:cubicBezTo>
                <a:cubicBezTo>
                  <a:pt x="3395106" y="3524650"/>
                  <a:pt x="3397074" y="3531749"/>
                  <a:pt x="3397074" y="3538273"/>
                </a:cubicBezTo>
                <a:cubicBezTo>
                  <a:pt x="3397074" y="3544797"/>
                  <a:pt x="3401009" y="3551943"/>
                  <a:pt x="3405820" y="3554153"/>
                </a:cubicBezTo>
                <a:cubicBezTo>
                  <a:pt x="3410630" y="3556363"/>
                  <a:pt x="3414566" y="3563678"/>
                  <a:pt x="3414566" y="3570407"/>
                </a:cubicBezTo>
                <a:cubicBezTo>
                  <a:pt x="3414566" y="3577136"/>
                  <a:pt x="3416533" y="3582642"/>
                  <a:pt x="3418939" y="3582642"/>
                </a:cubicBezTo>
                <a:cubicBezTo>
                  <a:pt x="3421344" y="3582642"/>
                  <a:pt x="3423312" y="3589289"/>
                  <a:pt x="3423312" y="3597414"/>
                </a:cubicBezTo>
                <a:cubicBezTo>
                  <a:pt x="3423312" y="3605538"/>
                  <a:pt x="3424623" y="3614085"/>
                  <a:pt x="3426227" y="3616406"/>
                </a:cubicBezTo>
                <a:cubicBezTo>
                  <a:pt x="3431633" y="3624232"/>
                  <a:pt x="3444220" y="3620704"/>
                  <a:pt x="3446895" y="3610613"/>
                </a:cubicBezTo>
                <a:cubicBezTo>
                  <a:pt x="3450838" y="3595735"/>
                  <a:pt x="3450106" y="3569980"/>
                  <a:pt x="3445741" y="3569980"/>
                </a:cubicBezTo>
                <a:cubicBezTo>
                  <a:pt x="3443646" y="3569980"/>
                  <a:pt x="3440597" y="3552886"/>
                  <a:pt x="3438964" y="3531995"/>
                </a:cubicBezTo>
                <a:cubicBezTo>
                  <a:pt x="3437332" y="3511103"/>
                  <a:pt x="3434331" y="3494010"/>
                  <a:pt x="3432296" y="3494010"/>
                </a:cubicBezTo>
                <a:cubicBezTo>
                  <a:pt x="3430260" y="3494010"/>
                  <a:pt x="3427201" y="3471219"/>
                  <a:pt x="3425497" y="3443363"/>
                </a:cubicBezTo>
                <a:cubicBezTo>
                  <a:pt x="3423795" y="3415507"/>
                  <a:pt x="3420637" y="3392716"/>
                  <a:pt x="3418484" y="3392716"/>
                </a:cubicBezTo>
                <a:cubicBezTo>
                  <a:pt x="3416328" y="3392716"/>
                  <a:pt x="3414566" y="3384519"/>
                  <a:pt x="3414566" y="3374498"/>
                </a:cubicBezTo>
                <a:cubicBezTo>
                  <a:pt x="3414566" y="3364479"/>
                  <a:pt x="3411711" y="3352852"/>
                  <a:pt x="3408222" y="3348660"/>
                </a:cubicBezTo>
                <a:cubicBezTo>
                  <a:pt x="3404618" y="3344329"/>
                  <a:pt x="3401314" y="3327191"/>
                  <a:pt x="3400570" y="3308969"/>
                </a:cubicBezTo>
                <a:cubicBezTo>
                  <a:pt x="3399653" y="3286524"/>
                  <a:pt x="3396926" y="3274803"/>
                  <a:pt x="3391484" y="3269917"/>
                </a:cubicBezTo>
                <a:cubicBezTo>
                  <a:pt x="3388479" y="3267220"/>
                  <a:pt x="3386297" y="3266014"/>
                  <a:pt x="3384462" y="3266400"/>
                </a:cubicBezTo>
                <a:close/>
                <a:moveTo>
                  <a:pt x="3348864" y="3248793"/>
                </a:moveTo>
                <a:cubicBezTo>
                  <a:pt x="3345735" y="3247498"/>
                  <a:pt x="3342333" y="3248277"/>
                  <a:pt x="3339131" y="3252124"/>
                </a:cubicBezTo>
                <a:cubicBezTo>
                  <a:pt x="3328886" y="3264436"/>
                  <a:pt x="3334271" y="3297753"/>
                  <a:pt x="3346508" y="3297753"/>
                </a:cubicBezTo>
                <a:cubicBezTo>
                  <a:pt x="3349679" y="3297753"/>
                  <a:pt x="3354371" y="3294095"/>
                  <a:pt x="3356934" y="3289624"/>
                </a:cubicBezTo>
                <a:cubicBezTo>
                  <a:pt x="3365185" y="3275229"/>
                  <a:pt x="3358250" y="3252677"/>
                  <a:pt x="3348864" y="3248793"/>
                </a:cubicBezTo>
                <a:close/>
                <a:moveTo>
                  <a:pt x="313287" y="3234445"/>
                </a:moveTo>
                <a:cubicBezTo>
                  <a:pt x="307242" y="3234445"/>
                  <a:pt x="305415" y="3239467"/>
                  <a:pt x="305415" y="3256085"/>
                </a:cubicBezTo>
                <a:cubicBezTo>
                  <a:pt x="305415" y="3285553"/>
                  <a:pt x="309257" y="3297753"/>
                  <a:pt x="318534" y="3297753"/>
                </a:cubicBezTo>
                <a:cubicBezTo>
                  <a:pt x="322830" y="3297753"/>
                  <a:pt x="327539" y="3293247"/>
                  <a:pt x="328998" y="3287739"/>
                </a:cubicBezTo>
                <a:cubicBezTo>
                  <a:pt x="336318" y="3260124"/>
                  <a:pt x="328747" y="3234445"/>
                  <a:pt x="313287" y="3234445"/>
                </a:cubicBezTo>
                <a:close/>
                <a:moveTo>
                  <a:pt x="4380392" y="3159521"/>
                </a:moveTo>
                <a:cubicBezTo>
                  <a:pt x="4370345" y="3161580"/>
                  <a:pt x="4370094" y="3163088"/>
                  <a:pt x="4371629" y="3212287"/>
                </a:cubicBezTo>
                <a:cubicBezTo>
                  <a:pt x="4372498" y="3240143"/>
                  <a:pt x="4374957" y="3263884"/>
                  <a:pt x="4377095" y="3265043"/>
                </a:cubicBezTo>
                <a:cubicBezTo>
                  <a:pt x="4379233" y="3266204"/>
                  <a:pt x="4380982" y="3271100"/>
                  <a:pt x="4380982" y="3275924"/>
                </a:cubicBezTo>
                <a:cubicBezTo>
                  <a:pt x="4380982" y="3287969"/>
                  <a:pt x="4393153" y="3280395"/>
                  <a:pt x="4396210" y="3266447"/>
                </a:cubicBezTo>
                <a:cubicBezTo>
                  <a:pt x="4400868" y="3245201"/>
                  <a:pt x="4400394" y="3171384"/>
                  <a:pt x="4395554" y="3164378"/>
                </a:cubicBezTo>
                <a:cubicBezTo>
                  <a:pt x="4392905" y="3160541"/>
                  <a:pt x="4386082" y="3158356"/>
                  <a:pt x="4380392" y="3159521"/>
                </a:cubicBezTo>
                <a:close/>
                <a:moveTo>
                  <a:pt x="608431" y="3076110"/>
                </a:moveTo>
                <a:cubicBezTo>
                  <a:pt x="606192" y="3077029"/>
                  <a:pt x="604049" y="3079406"/>
                  <a:pt x="602272" y="3083464"/>
                </a:cubicBezTo>
                <a:cubicBezTo>
                  <a:pt x="597025" y="3095452"/>
                  <a:pt x="597492" y="3125259"/>
                  <a:pt x="603005" y="3130192"/>
                </a:cubicBezTo>
                <a:cubicBezTo>
                  <a:pt x="605537" y="3132458"/>
                  <a:pt x="606802" y="3137611"/>
                  <a:pt x="605816" y="3141644"/>
                </a:cubicBezTo>
                <a:cubicBezTo>
                  <a:pt x="604830" y="3145678"/>
                  <a:pt x="612106" y="3161798"/>
                  <a:pt x="621984" y="3177467"/>
                </a:cubicBezTo>
                <a:lnTo>
                  <a:pt x="639944" y="3205956"/>
                </a:lnTo>
                <a:lnTo>
                  <a:pt x="626855" y="3208107"/>
                </a:lnTo>
                <a:cubicBezTo>
                  <a:pt x="616428" y="3209822"/>
                  <a:pt x="611314" y="3206007"/>
                  <a:pt x="601711" y="3189354"/>
                </a:cubicBezTo>
                <a:cubicBezTo>
                  <a:pt x="595080" y="3177856"/>
                  <a:pt x="589531" y="3171190"/>
                  <a:pt x="589378" y="3174540"/>
                </a:cubicBezTo>
                <a:cubicBezTo>
                  <a:pt x="589226" y="3177891"/>
                  <a:pt x="587275" y="3174039"/>
                  <a:pt x="585043" y="3165981"/>
                </a:cubicBezTo>
                <a:cubicBezTo>
                  <a:pt x="582810" y="3157923"/>
                  <a:pt x="579284" y="3152851"/>
                  <a:pt x="577206" y="3154710"/>
                </a:cubicBezTo>
                <a:cubicBezTo>
                  <a:pt x="575127" y="3156570"/>
                  <a:pt x="574357" y="3151055"/>
                  <a:pt x="575492" y="3142456"/>
                </a:cubicBezTo>
                <a:cubicBezTo>
                  <a:pt x="576628" y="3133856"/>
                  <a:pt x="579295" y="3126820"/>
                  <a:pt x="581420" y="3126820"/>
                </a:cubicBezTo>
                <a:cubicBezTo>
                  <a:pt x="589701" y="3126820"/>
                  <a:pt x="584711" y="3109483"/>
                  <a:pt x="574489" y="3102739"/>
                </a:cubicBezTo>
                <a:cubicBezTo>
                  <a:pt x="565212" y="3096621"/>
                  <a:pt x="562753" y="3097566"/>
                  <a:pt x="556997" y="3109463"/>
                </a:cubicBezTo>
                <a:cubicBezTo>
                  <a:pt x="548748" y="3126512"/>
                  <a:pt x="548298" y="3140196"/>
                  <a:pt x="556129" y="3135846"/>
                </a:cubicBezTo>
                <a:cubicBezTo>
                  <a:pt x="560434" y="3133454"/>
                  <a:pt x="561446" y="3137659"/>
                  <a:pt x="560000" y="3151929"/>
                </a:cubicBezTo>
                <a:cubicBezTo>
                  <a:pt x="558904" y="3162741"/>
                  <a:pt x="560595" y="3175707"/>
                  <a:pt x="563838" y="3181366"/>
                </a:cubicBezTo>
                <a:cubicBezTo>
                  <a:pt x="567027" y="3186928"/>
                  <a:pt x="571680" y="3196390"/>
                  <a:pt x="574180" y="3202392"/>
                </a:cubicBezTo>
                <a:cubicBezTo>
                  <a:pt x="591104" y="3243042"/>
                  <a:pt x="597600" y="3253960"/>
                  <a:pt x="600152" y="3246045"/>
                </a:cubicBezTo>
                <a:cubicBezTo>
                  <a:pt x="601648" y="3241406"/>
                  <a:pt x="602050" y="3244020"/>
                  <a:pt x="601046" y="3251855"/>
                </a:cubicBezTo>
                <a:cubicBezTo>
                  <a:pt x="600042" y="3259689"/>
                  <a:pt x="600966" y="3266099"/>
                  <a:pt x="603100" y="3266099"/>
                </a:cubicBezTo>
                <a:cubicBezTo>
                  <a:pt x="605235" y="3266099"/>
                  <a:pt x="608273" y="3273933"/>
                  <a:pt x="609854" y="3283509"/>
                </a:cubicBezTo>
                <a:cubicBezTo>
                  <a:pt x="611433" y="3293085"/>
                  <a:pt x="614664" y="3304479"/>
                  <a:pt x="617032" y="3308832"/>
                </a:cubicBezTo>
                <a:cubicBezTo>
                  <a:pt x="619400" y="3313184"/>
                  <a:pt x="619811" y="3316746"/>
                  <a:pt x="617946" y="3316746"/>
                </a:cubicBezTo>
                <a:cubicBezTo>
                  <a:pt x="616081" y="3316746"/>
                  <a:pt x="618792" y="3322066"/>
                  <a:pt x="623970" y="3328567"/>
                </a:cubicBezTo>
                <a:cubicBezTo>
                  <a:pt x="629148" y="3335070"/>
                  <a:pt x="633385" y="3345990"/>
                  <a:pt x="633385" y="3352836"/>
                </a:cubicBezTo>
                <a:cubicBezTo>
                  <a:pt x="633385" y="3373477"/>
                  <a:pt x="639067" y="3377284"/>
                  <a:pt x="658577" y="3369716"/>
                </a:cubicBezTo>
                <a:cubicBezTo>
                  <a:pt x="664086" y="3367578"/>
                  <a:pt x="669621" y="3359206"/>
                  <a:pt x="671077" y="3350809"/>
                </a:cubicBezTo>
                <a:cubicBezTo>
                  <a:pt x="674135" y="3333168"/>
                  <a:pt x="679944" y="3331754"/>
                  <a:pt x="690819" y="3346003"/>
                </a:cubicBezTo>
                <a:cubicBezTo>
                  <a:pt x="707087" y="3367317"/>
                  <a:pt x="719876" y="3339683"/>
                  <a:pt x="704860" y="3315662"/>
                </a:cubicBezTo>
                <a:cubicBezTo>
                  <a:pt x="696086" y="3301624"/>
                  <a:pt x="686481" y="3300707"/>
                  <a:pt x="683069" y="3313581"/>
                </a:cubicBezTo>
                <a:cubicBezTo>
                  <a:pt x="677390" y="3335002"/>
                  <a:pt x="653576" y="3313004"/>
                  <a:pt x="648396" y="3281551"/>
                </a:cubicBezTo>
                <a:cubicBezTo>
                  <a:pt x="646709" y="3271312"/>
                  <a:pt x="642464" y="3258153"/>
                  <a:pt x="638964" y="3252310"/>
                </a:cubicBezTo>
                <a:cubicBezTo>
                  <a:pt x="634458" y="3244789"/>
                  <a:pt x="633839" y="3238477"/>
                  <a:pt x="636844" y="3230703"/>
                </a:cubicBezTo>
                <a:cubicBezTo>
                  <a:pt x="640711" y="3220699"/>
                  <a:pt x="641357" y="3220941"/>
                  <a:pt x="644091" y="3233414"/>
                </a:cubicBezTo>
                <a:cubicBezTo>
                  <a:pt x="645742" y="3240944"/>
                  <a:pt x="649912" y="3247106"/>
                  <a:pt x="653357" y="3247106"/>
                </a:cubicBezTo>
                <a:cubicBezTo>
                  <a:pt x="656803" y="3247106"/>
                  <a:pt x="659622" y="3250938"/>
                  <a:pt x="659622" y="3255622"/>
                </a:cubicBezTo>
                <a:cubicBezTo>
                  <a:pt x="659622" y="3260305"/>
                  <a:pt x="663668" y="3269437"/>
                  <a:pt x="668613" y="3275916"/>
                </a:cubicBezTo>
                <a:cubicBezTo>
                  <a:pt x="676292" y="3285977"/>
                  <a:pt x="678929" y="3286497"/>
                  <a:pt x="686690" y="3279479"/>
                </a:cubicBezTo>
                <a:cubicBezTo>
                  <a:pt x="693647" y="3273190"/>
                  <a:pt x="696533" y="3273031"/>
                  <a:pt x="698996" y="3278800"/>
                </a:cubicBezTo>
                <a:cubicBezTo>
                  <a:pt x="704713" y="3292193"/>
                  <a:pt x="718657" y="3283123"/>
                  <a:pt x="718657" y="3266012"/>
                </a:cubicBezTo>
                <a:cubicBezTo>
                  <a:pt x="718657" y="3252393"/>
                  <a:pt x="716447" y="3250007"/>
                  <a:pt x="702258" y="3248307"/>
                </a:cubicBezTo>
                <a:cubicBezTo>
                  <a:pt x="686019" y="3246361"/>
                  <a:pt x="685860" y="3246074"/>
                  <a:pt x="685860" y="3218686"/>
                </a:cubicBezTo>
                <a:cubicBezTo>
                  <a:pt x="685860" y="3195981"/>
                  <a:pt x="683223" y="3186983"/>
                  <a:pt x="671132" y="3168421"/>
                </a:cubicBezTo>
                <a:cubicBezTo>
                  <a:pt x="663031" y="3155986"/>
                  <a:pt x="653493" y="3145813"/>
                  <a:pt x="649936" y="3145813"/>
                </a:cubicBezTo>
                <a:cubicBezTo>
                  <a:pt x="638352" y="3145813"/>
                  <a:pt x="625360" y="3123579"/>
                  <a:pt x="623889" y="3101236"/>
                </a:cubicBezTo>
                <a:cubicBezTo>
                  <a:pt x="622735" y="3083732"/>
                  <a:pt x="615150" y="3073356"/>
                  <a:pt x="608431" y="3076110"/>
                </a:cubicBezTo>
                <a:close/>
                <a:moveTo>
                  <a:pt x="299116" y="2844933"/>
                </a:moveTo>
                <a:cubicBezTo>
                  <a:pt x="303196" y="2846859"/>
                  <a:pt x="305415" y="2851711"/>
                  <a:pt x="305415" y="2859317"/>
                </a:cubicBezTo>
                <a:cubicBezTo>
                  <a:pt x="305415" y="2865615"/>
                  <a:pt x="308538" y="2877223"/>
                  <a:pt x="312354" y="2885111"/>
                </a:cubicBezTo>
                <a:cubicBezTo>
                  <a:pt x="317852" y="2896473"/>
                  <a:pt x="318194" y="2901370"/>
                  <a:pt x="314006" y="2908678"/>
                </a:cubicBezTo>
                <a:cubicBezTo>
                  <a:pt x="311097" y="2913751"/>
                  <a:pt x="306217" y="2917902"/>
                  <a:pt x="303161" y="2917902"/>
                </a:cubicBezTo>
                <a:cubicBezTo>
                  <a:pt x="300106" y="2917902"/>
                  <a:pt x="296536" y="2921936"/>
                  <a:pt x="295229" y="2926867"/>
                </a:cubicBezTo>
                <a:cubicBezTo>
                  <a:pt x="292244" y="2938128"/>
                  <a:pt x="296760" y="3007519"/>
                  <a:pt x="301032" y="3016030"/>
                </a:cubicBezTo>
                <a:cubicBezTo>
                  <a:pt x="302780" y="3019512"/>
                  <a:pt x="305502" y="3030195"/>
                  <a:pt x="307082" y="3039770"/>
                </a:cubicBezTo>
                <a:cubicBezTo>
                  <a:pt x="308662" y="3049346"/>
                  <a:pt x="311885" y="3057181"/>
                  <a:pt x="314244" y="3057181"/>
                </a:cubicBezTo>
                <a:cubicBezTo>
                  <a:pt x="321268" y="3057181"/>
                  <a:pt x="319314" y="3111671"/>
                  <a:pt x="311975" y="3120489"/>
                </a:cubicBezTo>
                <a:cubicBezTo>
                  <a:pt x="302206" y="3132227"/>
                  <a:pt x="303689" y="3156344"/>
                  <a:pt x="314431" y="3160411"/>
                </a:cubicBezTo>
                <a:cubicBezTo>
                  <a:pt x="319389" y="3162288"/>
                  <a:pt x="323092" y="3167606"/>
                  <a:pt x="322659" y="3172228"/>
                </a:cubicBezTo>
                <a:cubicBezTo>
                  <a:pt x="320920" y="3190782"/>
                  <a:pt x="323366" y="3196459"/>
                  <a:pt x="333101" y="3196459"/>
                </a:cubicBezTo>
                <a:cubicBezTo>
                  <a:pt x="346142" y="3196459"/>
                  <a:pt x="355695" y="3221025"/>
                  <a:pt x="351673" y="3244221"/>
                </a:cubicBezTo>
                <a:cubicBezTo>
                  <a:pt x="349397" y="3257353"/>
                  <a:pt x="350784" y="3263404"/>
                  <a:pt x="357674" y="3270391"/>
                </a:cubicBezTo>
                <a:cubicBezTo>
                  <a:pt x="368216" y="3281081"/>
                  <a:pt x="369336" y="3294899"/>
                  <a:pt x="360077" y="3300043"/>
                </a:cubicBezTo>
                <a:cubicBezTo>
                  <a:pt x="350697" y="3305254"/>
                  <a:pt x="351979" y="3331760"/>
                  <a:pt x="362263" y="3345235"/>
                </a:cubicBezTo>
                <a:cubicBezTo>
                  <a:pt x="367074" y="3351537"/>
                  <a:pt x="371009" y="3363374"/>
                  <a:pt x="371009" y="3371539"/>
                </a:cubicBezTo>
                <a:cubicBezTo>
                  <a:pt x="371009" y="3383203"/>
                  <a:pt x="368637" y="3386385"/>
                  <a:pt x="359940" y="3386385"/>
                </a:cubicBezTo>
                <a:cubicBezTo>
                  <a:pt x="348442" y="3386385"/>
                  <a:pt x="339041" y="3405778"/>
                  <a:pt x="348358" y="3410274"/>
                </a:cubicBezTo>
                <a:cubicBezTo>
                  <a:pt x="351196" y="3411643"/>
                  <a:pt x="353518" y="3421320"/>
                  <a:pt x="353518" y="3431779"/>
                </a:cubicBezTo>
                <a:cubicBezTo>
                  <a:pt x="353518" y="3446987"/>
                  <a:pt x="356080" y="3452194"/>
                  <a:pt x="366316" y="3457788"/>
                </a:cubicBezTo>
                <a:cubicBezTo>
                  <a:pt x="378646" y="3464526"/>
                  <a:pt x="388501" y="3484868"/>
                  <a:pt x="388501" y="3503581"/>
                </a:cubicBezTo>
                <a:cubicBezTo>
                  <a:pt x="388501" y="3508518"/>
                  <a:pt x="392437" y="3515606"/>
                  <a:pt x="397247" y="3519333"/>
                </a:cubicBezTo>
                <a:cubicBezTo>
                  <a:pt x="402057" y="3523060"/>
                  <a:pt x="405993" y="3531897"/>
                  <a:pt x="405993" y="3538971"/>
                </a:cubicBezTo>
                <a:cubicBezTo>
                  <a:pt x="405993" y="3546044"/>
                  <a:pt x="410912" y="3561170"/>
                  <a:pt x="416925" y="3572583"/>
                </a:cubicBezTo>
                <a:cubicBezTo>
                  <a:pt x="438773" y="3614051"/>
                  <a:pt x="425890" y="3621313"/>
                  <a:pt x="400289" y="3581960"/>
                </a:cubicBezTo>
                <a:cubicBezTo>
                  <a:pt x="391139" y="3567895"/>
                  <a:pt x="379425" y="3544489"/>
                  <a:pt x="374258" y="3529946"/>
                </a:cubicBezTo>
                <a:cubicBezTo>
                  <a:pt x="369091" y="3515404"/>
                  <a:pt x="361327" y="3499784"/>
                  <a:pt x="357004" y="3495233"/>
                </a:cubicBezTo>
                <a:cubicBezTo>
                  <a:pt x="352682" y="3490684"/>
                  <a:pt x="349145" y="3480338"/>
                  <a:pt x="349145" y="3472244"/>
                </a:cubicBezTo>
                <a:cubicBezTo>
                  <a:pt x="349145" y="3462865"/>
                  <a:pt x="343594" y="3451398"/>
                  <a:pt x="333840" y="3440626"/>
                </a:cubicBezTo>
                <a:cubicBezTo>
                  <a:pt x="325355" y="3431258"/>
                  <a:pt x="318534" y="3418093"/>
                  <a:pt x="318534" y="3411084"/>
                </a:cubicBezTo>
                <a:cubicBezTo>
                  <a:pt x="318534" y="3404131"/>
                  <a:pt x="313615" y="3391841"/>
                  <a:pt x="307602" y="3383774"/>
                </a:cubicBezTo>
                <a:cubicBezTo>
                  <a:pt x="301589" y="3375707"/>
                  <a:pt x="296670" y="3365833"/>
                  <a:pt x="296670" y="3361833"/>
                </a:cubicBezTo>
                <a:cubicBezTo>
                  <a:pt x="296670" y="3357832"/>
                  <a:pt x="294210" y="3348528"/>
                  <a:pt x="291204" y="3341156"/>
                </a:cubicBezTo>
                <a:cubicBezTo>
                  <a:pt x="286831" y="3330434"/>
                  <a:pt x="286831" y="3327180"/>
                  <a:pt x="291204" y="3324887"/>
                </a:cubicBezTo>
                <a:cubicBezTo>
                  <a:pt x="297713" y="3321474"/>
                  <a:pt x="298538" y="3293842"/>
                  <a:pt x="292297" y="3288257"/>
                </a:cubicBezTo>
                <a:cubicBezTo>
                  <a:pt x="289891" y="3286105"/>
                  <a:pt x="287924" y="3277123"/>
                  <a:pt x="287924" y="3268298"/>
                </a:cubicBezTo>
                <a:cubicBezTo>
                  <a:pt x="287924" y="3257662"/>
                  <a:pt x="285022" y="3251153"/>
                  <a:pt x="279316" y="3248993"/>
                </a:cubicBezTo>
                <a:cubicBezTo>
                  <a:pt x="271869" y="3246174"/>
                  <a:pt x="270836" y="3240854"/>
                  <a:pt x="271663" y="3209582"/>
                </a:cubicBezTo>
                <a:cubicBezTo>
                  <a:pt x="272576" y="3175025"/>
                  <a:pt x="271877" y="3172444"/>
                  <a:pt x="255824" y="3151135"/>
                </a:cubicBezTo>
                <a:cubicBezTo>
                  <a:pt x="243739" y="3135092"/>
                  <a:pt x="239448" y="3124700"/>
                  <a:pt x="240519" y="3114065"/>
                </a:cubicBezTo>
                <a:cubicBezTo>
                  <a:pt x="242026" y="3099109"/>
                  <a:pt x="262146" y="3077495"/>
                  <a:pt x="275363" y="3076636"/>
                </a:cubicBezTo>
                <a:cubicBezTo>
                  <a:pt x="279277" y="3076381"/>
                  <a:pt x="284521" y="3072612"/>
                  <a:pt x="287016" y="3068260"/>
                </a:cubicBezTo>
                <a:cubicBezTo>
                  <a:pt x="293564" y="3056837"/>
                  <a:pt x="281862" y="3019213"/>
                  <a:pt x="271736" y="3019134"/>
                </a:cubicBezTo>
                <a:cubicBezTo>
                  <a:pt x="267411" y="3019102"/>
                  <a:pt x="256985" y="3007731"/>
                  <a:pt x="248567" y="2993872"/>
                </a:cubicBezTo>
                <a:cubicBezTo>
                  <a:pt x="236873" y="2974617"/>
                  <a:pt x="230028" y="2968658"/>
                  <a:pt x="219553" y="2968611"/>
                </a:cubicBezTo>
                <a:cubicBezTo>
                  <a:pt x="209719" y="2968566"/>
                  <a:pt x="203783" y="2963994"/>
                  <a:pt x="198550" y="2952433"/>
                </a:cubicBezTo>
                <a:cubicBezTo>
                  <a:pt x="188371" y="2929942"/>
                  <a:pt x="193259" y="2911571"/>
                  <a:pt x="209422" y="2911571"/>
                </a:cubicBezTo>
                <a:cubicBezTo>
                  <a:pt x="219680" y="2911571"/>
                  <a:pt x="222747" y="2908178"/>
                  <a:pt x="225158" y="2894161"/>
                </a:cubicBezTo>
                <a:cubicBezTo>
                  <a:pt x="228039" y="2877407"/>
                  <a:pt x="237932" y="2861545"/>
                  <a:pt x="245762" y="2861125"/>
                </a:cubicBezTo>
                <a:cubicBezTo>
                  <a:pt x="247826" y="2861014"/>
                  <a:pt x="248389" y="2867420"/>
                  <a:pt x="247013" y="2875360"/>
                </a:cubicBezTo>
                <a:cubicBezTo>
                  <a:pt x="240820" y="2911084"/>
                  <a:pt x="258686" y="2935855"/>
                  <a:pt x="275118" y="2914326"/>
                </a:cubicBezTo>
                <a:cubicBezTo>
                  <a:pt x="285388" y="2900871"/>
                  <a:pt x="285718" y="2890590"/>
                  <a:pt x="276532" y="2870294"/>
                </a:cubicBezTo>
                <a:cubicBezTo>
                  <a:pt x="269749" y="2855307"/>
                  <a:pt x="269922" y="2854561"/>
                  <a:pt x="281659" y="2848100"/>
                </a:cubicBezTo>
                <a:cubicBezTo>
                  <a:pt x="289097" y="2844006"/>
                  <a:pt x="295037" y="2843007"/>
                  <a:pt x="299116" y="2844933"/>
                </a:cubicBezTo>
                <a:close/>
                <a:moveTo>
                  <a:pt x="4347140" y="2808314"/>
                </a:moveTo>
                <a:cubicBezTo>
                  <a:pt x="4337315" y="2807335"/>
                  <a:pt x="4335235" y="2809562"/>
                  <a:pt x="4335975" y="2820272"/>
                </a:cubicBezTo>
                <a:cubicBezTo>
                  <a:pt x="4336814" y="2832429"/>
                  <a:pt x="4335100" y="2833218"/>
                  <a:pt x="4313472" y="2830622"/>
                </a:cubicBezTo>
                <a:cubicBezTo>
                  <a:pt x="4292375" y="2828089"/>
                  <a:pt x="4289759" y="2829181"/>
                  <a:pt x="4287024" y="2841656"/>
                </a:cubicBezTo>
                <a:cubicBezTo>
                  <a:pt x="4285062" y="2850604"/>
                  <a:pt x="4286448" y="2859434"/>
                  <a:pt x="4290942" y="2866625"/>
                </a:cubicBezTo>
                <a:cubicBezTo>
                  <a:pt x="4298778" y="2879159"/>
                  <a:pt x="4300112" y="2892578"/>
                  <a:pt x="4293523" y="2892578"/>
                </a:cubicBezTo>
                <a:cubicBezTo>
                  <a:pt x="4285230" y="2892578"/>
                  <a:pt x="4289172" y="2910727"/>
                  <a:pt x="4298383" y="2914961"/>
                </a:cubicBezTo>
                <a:cubicBezTo>
                  <a:pt x="4308883" y="2919785"/>
                  <a:pt x="4326494" y="2899832"/>
                  <a:pt x="4316481" y="2894457"/>
                </a:cubicBezTo>
                <a:cubicBezTo>
                  <a:pt x="4307136" y="2889442"/>
                  <a:pt x="4310473" y="2873571"/>
                  <a:pt x="4322232" y="2867098"/>
                </a:cubicBezTo>
                <a:cubicBezTo>
                  <a:pt x="4337564" y="2858659"/>
                  <a:pt x="4336902" y="2858163"/>
                  <a:pt x="4344228" y="2883547"/>
                </a:cubicBezTo>
                <a:cubicBezTo>
                  <a:pt x="4350698" y="2905968"/>
                  <a:pt x="4349183" y="2930563"/>
                  <a:pt x="4341331" y="2930563"/>
                </a:cubicBezTo>
                <a:cubicBezTo>
                  <a:pt x="4336075" y="2930563"/>
                  <a:pt x="4335993" y="2947834"/>
                  <a:pt x="4341235" y="2950611"/>
                </a:cubicBezTo>
                <a:cubicBezTo>
                  <a:pt x="4343426" y="2951772"/>
                  <a:pt x="4345760" y="2964117"/>
                  <a:pt x="4346422" y="2978045"/>
                </a:cubicBezTo>
                <a:cubicBezTo>
                  <a:pt x="4347085" y="2991973"/>
                  <a:pt x="4349414" y="3006834"/>
                  <a:pt x="4351599" y="3011069"/>
                </a:cubicBezTo>
                <a:cubicBezTo>
                  <a:pt x="4353784" y="3015304"/>
                  <a:pt x="4354720" y="3022427"/>
                  <a:pt x="4353681" y="3026896"/>
                </a:cubicBezTo>
                <a:cubicBezTo>
                  <a:pt x="4352641" y="3031366"/>
                  <a:pt x="4354914" y="3038493"/>
                  <a:pt x="4358733" y="3042735"/>
                </a:cubicBezTo>
                <a:cubicBezTo>
                  <a:pt x="4367551" y="3052530"/>
                  <a:pt x="4367318" y="3052543"/>
                  <a:pt x="4374735" y="3041806"/>
                </a:cubicBezTo>
                <a:cubicBezTo>
                  <a:pt x="4381984" y="3031311"/>
                  <a:pt x="4382916" y="3015342"/>
                  <a:pt x="4376609" y="3009699"/>
                </a:cubicBezTo>
                <a:cubicBezTo>
                  <a:pt x="4374203" y="3007547"/>
                  <a:pt x="4372236" y="2993135"/>
                  <a:pt x="4372236" y="2977671"/>
                </a:cubicBezTo>
                <a:cubicBezTo>
                  <a:pt x="4372236" y="2962208"/>
                  <a:pt x="4374203" y="2949556"/>
                  <a:pt x="4376609" y="2949556"/>
                </a:cubicBezTo>
                <a:cubicBezTo>
                  <a:pt x="4382749" y="2949556"/>
                  <a:pt x="4382065" y="2928334"/>
                  <a:pt x="4375625" y="2919010"/>
                </a:cubicBezTo>
                <a:cubicBezTo>
                  <a:pt x="4371800" y="2913473"/>
                  <a:pt x="4371563" y="2908132"/>
                  <a:pt x="4374793" y="2900334"/>
                </a:cubicBezTo>
                <a:cubicBezTo>
                  <a:pt x="4380909" y="2885567"/>
                  <a:pt x="4382369" y="2841931"/>
                  <a:pt x="4376745" y="2841931"/>
                </a:cubicBezTo>
                <a:cubicBezTo>
                  <a:pt x="4374265" y="2841931"/>
                  <a:pt x="4372236" y="2838879"/>
                  <a:pt x="4372236" y="2835149"/>
                </a:cubicBezTo>
                <a:cubicBezTo>
                  <a:pt x="4372236" y="2823118"/>
                  <a:pt x="4359546" y="2809548"/>
                  <a:pt x="4347140" y="2808314"/>
                </a:cubicBezTo>
                <a:close/>
                <a:moveTo>
                  <a:pt x="185194" y="2800466"/>
                </a:moveTo>
                <a:cubicBezTo>
                  <a:pt x="189412" y="2798867"/>
                  <a:pt x="195472" y="2799995"/>
                  <a:pt x="202843" y="2804051"/>
                </a:cubicBezTo>
                <a:cubicBezTo>
                  <a:pt x="212914" y="2809595"/>
                  <a:pt x="214175" y="2812194"/>
                  <a:pt x="209063" y="2816874"/>
                </a:cubicBezTo>
                <a:cubicBezTo>
                  <a:pt x="198483" y="2826562"/>
                  <a:pt x="178601" y="2824192"/>
                  <a:pt x="178601" y="2813244"/>
                </a:cubicBezTo>
                <a:cubicBezTo>
                  <a:pt x="178601" y="2806392"/>
                  <a:pt x="180976" y="2802066"/>
                  <a:pt x="185194" y="2800466"/>
                </a:cubicBezTo>
                <a:close/>
                <a:moveTo>
                  <a:pt x="222256" y="2788186"/>
                </a:moveTo>
                <a:cubicBezTo>
                  <a:pt x="224620" y="2786070"/>
                  <a:pt x="233475" y="2786219"/>
                  <a:pt x="241934" y="2788517"/>
                </a:cubicBezTo>
                <a:cubicBezTo>
                  <a:pt x="255309" y="2792149"/>
                  <a:pt x="257313" y="2795077"/>
                  <a:pt x="257313" y="2810982"/>
                </a:cubicBezTo>
                <a:cubicBezTo>
                  <a:pt x="257313" y="2824652"/>
                  <a:pt x="255240" y="2829270"/>
                  <a:pt x="249103" y="2829270"/>
                </a:cubicBezTo>
                <a:cubicBezTo>
                  <a:pt x="244587" y="2829270"/>
                  <a:pt x="238443" y="2824997"/>
                  <a:pt x="235449" y="2819774"/>
                </a:cubicBezTo>
                <a:cubicBezTo>
                  <a:pt x="232454" y="2814551"/>
                  <a:pt x="227294" y="2810277"/>
                  <a:pt x="223981" y="2810277"/>
                </a:cubicBezTo>
                <a:cubicBezTo>
                  <a:pt x="217082" y="2810277"/>
                  <a:pt x="215807" y="2793955"/>
                  <a:pt x="222256" y="2788186"/>
                </a:cubicBezTo>
                <a:close/>
                <a:moveTo>
                  <a:pt x="4412081" y="2689991"/>
                </a:moveTo>
                <a:cubicBezTo>
                  <a:pt x="4424157" y="2689991"/>
                  <a:pt x="4429546" y="2714850"/>
                  <a:pt x="4428685" y="2766566"/>
                </a:cubicBezTo>
                <a:cubicBezTo>
                  <a:pt x="4427818" y="2818737"/>
                  <a:pt x="4424057" y="2832168"/>
                  <a:pt x="4416240" y="2811021"/>
                </a:cubicBezTo>
                <a:cubicBezTo>
                  <a:pt x="4413745" y="2804271"/>
                  <a:pt x="4410404" y="2774278"/>
                  <a:pt x="4408816" y="2744370"/>
                </a:cubicBezTo>
                <a:cubicBezTo>
                  <a:pt x="4406454" y="2699871"/>
                  <a:pt x="4407047" y="2689991"/>
                  <a:pt x="4412081" y="2689991"/>
                </a:cubicBezTo>
                <a:close/>
                <a:moveTo>
                  <a:pt x="127218" y="2621494"/>
                </a:moveTo>
                <a:cubicBezTo>
                  <a:pt x="145820" y="2625318"/>
                  <a:pt x="141816" y="2670565"/>
                  <a:pt x="122846" y="2670901"/>
                </a:cubicBezTo>
                <a:cubicBezTo>
                  <a:pt x="119358" y="2670964"/>
                  <a:pt x="117380" y="2661676"/>
                  <a:pt x="117380" y="2645235"/>
                </a:cubicBezTo>
                <a:cubicBezTo>
                  <a:pt x="117380" y="2622138"/>
                  <a:pt x="118398" y="2619680"/>
                  <a:pt x="127218" y="2621494"/>
                </a:cubicBezTo>
                <a:close/>
                <a:moveTo>
                  <a:pt x="202062" y="2494799"/>
                </a:moveTo>
                <a:cubicBezTo>
                  <a:pt x="208110" y="2493113"/>
                  <a:pt x="209587" y="2496021"/>
                  <a:pt x="208469" y="2507415"/>
                </a:cubicBezTo>
                <a:cubicBezTo>
                  <a:pt x="207535" y="2516934"/>
                  <a:pt x="210532" y="2526344"/>
                  <a:pt x="216859" y="2533762"/>
                </a:cubicBezTo>
                <a:cubicBezTo>
                  <a:pt x="222273" y="2540108"/>
                  <a:pt x="226703" y="2550221"/>
                  <a:pt x="226703" y="2556236"/>
                </a:cubicBezTo>
                <a:cubicBezTo>
                  <a:pt x="226703" y="2562251"/>
                  <a:pt x="228904" y="2570359"/>
                  <a:pt x="231595" y="2574254"/>
                </a:cubicBezTo>
                <a:cubicBezTo>
                  <a:pt x="235202" y="2579476"/>
                  <a:pt x="234053" y="2592559"/>
                  <a:pt x="227222" y="2624068"/>
                </a:cubicBezTo>
                <a:cubicBezTo>
                  <a:pt x="216136" y="2675200"/>
                  <a:pt x="215791" y="2685838"/>
                  <a:pt x="224867" y="2696743"/>
                </a:cubicBezTo>
                <a:cubicBezTo>
                  <a:pt x="230186" y="2703134"/>
                  <a:pt x="234717" y="2703439"/>
                  <a:pt x="244545" y="2698068"/>
                </a:cubicBezTo>
                <a:cubicBezTo>
                  <a:pt x="256458" y="2691558"/>
                  <a:pt x="257313" y="2692114"/>
                  <a:pt x="257313" y="2706368"/>
                </a:cubicBezTo>
                <a:cubicBezTo>
                  <a:pt x="257313" y="2719409"/>
                  <a:pt x="255216" y="2721645"/>
                  <a:pt x="242983" y="2721645"/>
                </a:cubicBezTo>
                <a:cubicBezTo>
                  <a:pt x="233167" y="2721645"/>
                  <a:pt x="224127" y="2727629"/>
                  <a:pt x="214289" y="2740638"/>
                </a:cubicBezTo>
                <a:cubicBezTo>
                  <a:pt x="193758" y="2767786"/>
                  <a:pt x="187346" y="2765651"/>
                  <a:pt x="187346" y="2731669"/>
                </a:cubicBezTo>
                <a:cubicBezTo>
                  <a:pt x="187346" y="2716208"/>
                  <a:pt x="185096" y="2702622"/>
                  <a:pt x="182313" y="2701279"/>
                </a:cubicBezTo>
                <a:cubicBezTo>
                  <a:pt x="179544" y="2699942"/>
                  <a:pt x="176345" y="2682559"/>
                  <a:pt x="175205" y="2662649"/>
                </a:cubicBezTo>
                <a:cubicBezTo>
                  <a:pt x="174064" y="2642739"/>
                  <a:pt x="171410" y="2624909"/>
                  <a:pt x="169307" y="2623027"/>
                </a:cubicBezTo>
                <a:cubicBezTo>
                  <a:pt x="167203" y="2621144"/>
                  <a:pt x="165482" y="2611226"/>
                  <a:pt x="165482" y="2600985"/>
                </a:cubicBezTo>
                <a:cubicBezTo>
                  <a:pt x="165482" y="2585465"/>
                  <a:pt x="167258" y="2582366"/>
                  <a:pt x="176156" y="2582366"/>
                </a:cubicBezTo>
                <a:cubicBezTo>
                  <a:pt x="190305" y="2582366"/>
                  <a:pt x="193356" y="2573656"/>
                  <a:pt x="193816" y="2531949"/>
                </a:cubicBezTo>
                <a:cubicBezTo>
                  <a:pt x="194128" y="2503601"/>
                  <a:pt x="195688" y="2496576"/>
                  <a:pt x="202062" y="2494799"/>
                </a:cubicBezTo>
                <a:close/>
                <a:moveTo>
                  <a:pt x="154003" y="2487403"/>
                </a:moveTo>
                <a:cubicBezTo>
                  <a:pt x="160250" y="2487403"/>
                  <a:pt x="165482" y="2513730"/>
                  <a:pt x="165482" y="2545173"/>
                </a:cubicBezTo>
                <a:cubicBezTo>
                  <a:pt x="165482" y="2564737"/>
                  <a:pt x="159039" y="2567728"/>
                  <a:pt x="140337" y="2556845"/>
                </a:cubicBezTo>
                <a:cubicBezTo>
                  <a:pt x="128127" y="2549740"/>
                  <a:pt x="127849" y="2541455"/>
                  <a:pt x="139428" y="2529713"/>
                </a:cubicBezTo>
                <a:cubicBezTo>
                  <a:pt x="144340" y="2524732"/>
                  <a:pt x="148043" y="2518161"/>
                  <a:pt x="147656" y="2515110"/>
                </a:cubicBezTo>
                <a:cubicBezTo>
                  <a:pt x="145740" y="2499961"/>
                  <a:pt x="148616" y="2487403"/>
                  <a:pt x="154003" y="2487403"/>
                </a:cubicBezTo>
                <a:close/>
                <a:moveTo>
                  <a:pt x="4489212" y="2459669"/>
                </a:moveTo>
                <a:cubicBezTo>
                  <a:pt x="4506938" y="2465803"/>
                  <a:pt x="4507796" y="2467224"/>
                  <a:pt x="4507796" y="2490415"/>
                </a:cubicBezTo>
                <a:cubicBezTo>
                  <a:pt x="4507796" y="2502106"/>
                  <a:pt x="4510118" y="2512793"/>
                  <a:pt x="4512956" y="2514162"/>
                </a:cubicBezTo>
                <a:cubicBezTo>
                  <a:pt x="4516322" y="2515787"/>
                  <a:pt x="4516842" y="2520920"/>
                  <a:pt x="4514448" y="2528934"/>
                </a:cubicBezTo>
                <a:cubicBezTo>
                  <a:pt x="4512431" y="2535689"/>
                  <a:pt x="4511135" y="2543535"/>
                  <a:pt x="4511569" y="2546369"/>
                </a:cubicBezTo>
                <a:cubicBezTo>
                  <a:pt x="4512002" y="2549203"/>
                  <a:pt x="4510191" y="2563161"/>
                  <a:pt x="4507545" y="2577386"/>
                </a:cubicBezTo>
                <a:cubicBezTo>
                  <a:pt x="4503120" y="2601177"/>
                  <a:pt x="4503569" y="2604315"/>
                  <a:pt x="4513150" y="2616549"/>
                </a:cubicBezTo>
                <a:cubicBezTo>
                  <a:pt x="4518879" y="2623863"/>
                  <a:pt x="4527279" y="2632901"/>
                  <a:pt x="4531819" y="2636631"/>
                </a:cubicBezTo>
                <a:cubicBezTo>
                  <a:pt x="4536358" y="2640362"/>
                  <a:pt x="4541899" y="2651342"/>
                  <a:pt x="4544130" y="2661031"/>
                </a:cubicBezTo>
                <a:cubicBezTo>
                  <a:pt x="4547409" y="2675279"/>
                  <a:pt x="4546498" y="2681091"/>
                  <a:pt x="4539364" y="2691419"/>
                </a:cubicBezTo>
                <a:cubicBezTo>
                  <a:pt x="4529460" y="2705758"/>
                  <a:pt x="4520915" y="2701899"/>
                  <a:pt x="4520915" y="2683088"/>
                </a:cubicBezTo>
                <a:cubicBezTo>
                  <a:pt x="4520915" y="2676220"/>
                  <a:pt x="4517964" y="2668962"/>
                  <a:pt x="4514355" y="2666957"/>
                </a:cubicBezTo>
                <a:cubicBezTo>
                  <a:pt x="4510748" y="2664953"/>
                  <a:pt x="4507796" y="2656729"/>
                  <a:pt x="4507796" y="2648681"/>
                </a:cubicBezTo>
                <a:cubicBezTo>
                  <a:pt x="4507796" y="2612677"/>
                  <a:pt x="4491969" y="2602005"/>
                  <a:pt x="4476606" y="2627651"/>
                </a:cubicBezTo>
                <a:cubicBezTo>
                  <a:pt x="4467602" y="2642680"/>
                  <a:pt x="4466499" y="2649522"/>
                  <a:pt x="4472248" y="2654666"/>
                </a:cubicBezTo>
                <a:cubicBezTo>
                  <a:pt x="4474343" y="2656540"/>
                  <a:pt x="4477189" y="2666270"/>
                  <a:pt x="4478572" y="2676289"/>
                </a:cubicBezTo>
                <a:cubicBezTo>
                  <a:pt x="4481394" y="2696713"/>
                  <a:pt x="4501448" y="2712864"/>
                  <a:pt x="4516779" y="2707060"/>
                </a:cubicBezTo>
                <a:cubicBezTo>
                  <a:pt x="4528708" y="2702543"/>
                  <a:pt x="4532889" y="2718650"/>
                  <a:pt x="4523632" y="2733459"/>
                </a:cubicBezTo>
                <a:cubicBezTo>
                  <a:pt x="4519041" y="2740804"/>
                  <a:pt x="4516542" y="2756205"/>
                  <a:pt x="4516542" y="2777165"/>
                </a:cubicBezTo>
                <a:cubicBezTo>
                  <a:pt x="4516542" y="2814008"/>
                  <a:pt x="4512711" y="2820860"/>
                  <a:pt x="4500806" y="2805311"/>
                </a:cubicBezTo>
                <a:lnTo>
                  <a:pt x="4500806" y="2805310"/>
                </a:lnTo>
                <a:cubicBezTo>
                  <a:pt x="4496233" y="2799337"/>
                  <a:pt x="4490031" y="2794165"/>
                  <a:pt x="4487024" y="2793817"/>
                </a:cubicBezTo>
                <a:cubicBezTo>
                  <a:pt x="4484019" y="2793469"/>
                  <a:pt x="4478608" y="2792757"/>
                  <a:pt x="4475000" y="2792234"/>
                </a:cubicBezTo>
                <a:cubicBezTo>
                  <a:pt x="4471093" y="2791669"/>
                  <a:pt x="4468440" y="2784883"/>
                  <a:pt x="4468440" y="2775457"/>
                </a:cubicBezTo>
                <a:cubicBezTo>
                  <a:pt x="4468440" y="2766753"/>
                  <a:pt x="4466472" y="2759630"/>
                  <a:pt x="4464067" y="2759630"/>
                </a:cubicBezTo>
                <a:cubicBezTo>
                  <a:pt x="4461662" y="2759630"/>
                  <a:pt x="4459694" y="2754101"/>
                  <a:pt x="4459694" y="2747342"/>
                </a:cubicBezTo>
                <a:cubicBezTo>
                  <a:pt x="4459694" y="2740584"/>
                  <a:pt x="4461662" y="2733293"/>
                  <a:pt x="4464067" y="2731141"/>
                </a:cubicBezTo>
                <a:cubicBezTo>
                  <a:pt x="4470062" y="2725778"/>
                  <a:pt x="4469618" y="2689991"/>
                  <a:pt x="4463558" y="2689991"/>
                </a:cubicBezTo>
                <a:cubicBezTo>
                  <a:pt x="4460828" y="2689991"/>
                  <a:pt x="4459682" y="2684408"/>
                  <a:pt x="4460961" y="2677329"/>
                </a:cubicBezTo>
                <a:cubicBezTo>
                  <a:pt x="4462219" y="2670365"/>
                  <a:pt x="4461465" y="2664667"/>
                  <a:pt x="4459285" y="2664667"/>
                </a:cubicBezTo>
                <a:cubicBezTo>
                  <a:pt x="4457105" y="2664667"/>
                  <a:pt x="4455321" y="2648666"/>
                  <a:pt x="4455321" y="2629110"/>
                </a:cubicBezTo>
                <a:cubicBezTo>
                  <a:pt x="4455321" y="2595782"/>
                  <a:pt x="4455915" y="2593776"/>
                  <a:pt x="4464775" y="2597130"/>
                </a:cubicBezTo>
                <a:cubicBezTo>
                  <a:pt x="4485373" y="2604929"/>
                  <a:pt x="4498727" y="2574663"/>
                  <a:pt x="4484058" y="2553425"/>
                </a:cubicBezTo>
                <a:cubicBezTo>
                  <a:pt x="4476151" y="2541978"/>
                  <a:pt x="4473076" y="2542075"/>
                  <a:pt x="4463930" y="2554058"/>
                </a:cubicBezTo>
                <a:cubicBezTo>
                  <a:pt x="4453905" y="2567191"/>
                  <a:pt x="4440547" y="2559078"/>
                  <a:pt x="4417058" y="2525589"/>
                </a:cubicBezTo>
                <a:cubicBezTo>
                  <a:pt x="4405156" y="2508619"/>
                  <a:pt x="4398473" y="2493472"/>
                  <a:pt x="4398473" y="2483464"/>
                </a:cubicBezTo>
                <a:cubicBezTo>
                  <a:pt x="4398473" y="2469034"/>
                  <a:pt x="4399645" y="2468156"/>
                  <a:pt x="4413779" y="2471995"/>
                </a:cubicBezTo>
                <a:cubicBezTo>
                  <a:pt x="4423811" y="2474719"/>
                  <a:pt x="4429084" y="2473727"/>
                  <a:pt x="4429084" y="2469116"/>
                </a:cubicBezTo>
                <a:cubicBezTo>
                  <a:pt x="4429084" y="2457459"/>
                  <a:pt x="4442832" y="2461193"/>
                  <a:pt x="4451173" y="2475117"/>
                </a:cubicBezTo>
                <a:cubicBezTo>
                  <a:pt x="4457941" y="2486414"/>
                  <a:pt x="4460198" y="2487055"/>
                  <a:pt x="4468085" y="2479925"/>
                </a:cubicBezTo>
                <a:cubicBezTo>
                  <a:pt x="4473091" y="2475399"/>
                  <a:pt x="4477186" y="2468054"/>
                  <a:pt x="4477186" y="2463602"/>
                </a:cubicBezTo>
                <a:cubicBezTo>
                  <a:pt x="4477186" y="2457984"/>
                  <a:pt x="4480865" y="2456781"/>
                  <a:pt x="4489212" y="2459669"/>
                </a:cubicBezTo>
                <a:close/>
                <a:moveTo>
                  <a:pt x="7746" y="2436756"/>
                </a:moveTo>
                <a:cubicBezTo>
                  <a:pt x="16623" y="2436756"/>
                  <a:pt x="17123" y="2439343"/>
                  <a:pt x="15909" y="2478985"/>
                </a:cubicBezTo>
                <a:cubicBezTo>
                  <a:pt x="15090" y="2505722"/>
                  <a:pt x="12610" y="2522174"/>
                  <a:pt x="9149" y="2523829"/>
                </a:cubicBezTo>
                <a:cubicBezTo>
                  <a:pt x="5287" y="2525677"/>
                  <a:pt x="3666" y="2517470"/>
                  <a:pt x="3624" y="2495844"/>
                </a:cubicBezTo>
                <a:cubicBezTo>
                  <a:pt x="3589" y="2479015"/>
                  <a:pt x="2378" y="2458836"/>
                  <a:pt x="927" y="2451001"/>
                </a:cubicBezTo>
                <a:cubicBezTo>
                  <a:pt x="-1212" y="2439444"/>
                  <a:pt x="75" y="2436756"/>
                  <a:pt x="7746" y="2436756"/>
                </a:cubicBezTo>
                <a:close/>
                <a:moveTo>
                  <a:pt x="4451449" y="2180169"/>
                </a:moveTo>
                <a:cubicBezTo>
                  <a:pt x="4454310" y="2178602"/>
                  <a:pt x="4458375" y="2179294"/>
                  <a:pt x="4461168" y="2183599"/>
                </a:cubicBezTo>
                <a:cubicBezTo>
                  <a:pt x="4465043" y="2189569"/>
                  <a:pt x="4464951" y="2192127"/>
                  <a:pt x="4460788" y="2194337"/>
                </a:cubicBezTo>
                <a:cubicBezTo>
                  <a:pt x="4457782" y="2195933"/>
                  <a:pt x="4455322" y="2206973"/>
                  <a:pt x="4455322" y="2218869"/>
                </a:cubicBezTo>
                <a:cubicBezTo>
                  <a:pt x="4455322" y="2230767"/>
                  <a:pt x="4453354" y="2240500"/>
                  <a:pt x="4450949" y="2240500"/>
                </a:cubicBezTo>
                <a:cubicBezTo>
                  <a:pt x="4444202" y="2240500"/>
                  <a:pt x="4445778" y="2263314"/>
                  <a:pt x="4453135" y="2272154"/>
                </a:cubicBezTo>
                <a:cubicBezTo>
                  <a:pt x="4461664" y="2282403"/>
                  <a:pt x="4461501" y="2295119"/>
                  <a:pt x="4452776" y="2299966"/>
                </a:cubicBezTo>
                <a:cubicBezTo>
                  <a:pt x="4448972" y="2302079"/>
                  <a:pt x="4445529" y="2303584"/>
                  <a:pt x="4445124" y="2303309"/>
                </a:cubicBezTo>
                <a:cubicBezTo>
                  <a:pt x="4444722" y="2303034"/>
                  <a:pt x="4441928" y="2301372"/>
                  <a:pt x="4438922" y="2299616"/>
                </a:cubicBezTo>
                <a:lnTo>
                  <a:pt x="4438923" y="2299616"/>
                </a:lnTo>
                <a:cubicBezTo>
                  <a:pt x="4431949" y="2295542"/>
                  <a:pt x="4431791" y="2258106"/>
                  <a:pt x="4438704" y="2248097"/>
                </a:cubicBezTo>
                <a:cubicBezTo>
                  <a:pt x="4442786" y="2242188"/>
                  <a:pt x="4442786" y="2240500"/>
                  <a:pt x="4438704" y="2240500"/>
                </a:cubicBezTo>
                <a:cubicBezTo>
                  <a:pt x="4435818" y="2240500"/>
                  <a:pt x="4433457" y="2234802"/>
                  <a:pt x="4433457" y="2227838"/>
                </a:cubicBezTo>
                <a:cubicBezTo>
                  <a:pt x="4433457" y="2220875"/>
                  <a:pt x="4435424" y="2215176"/>
                  <a:pt x="4437830" y="2215176"/>
                </a:cubicBezTo>
                <a:cubicBezTo>
                  <a:pt x="4440235" y="2215176"/>
                  <a:pt x="4442203" y="2210903"/>
                  <a:pt x="4442203" y="2205680"/>
                </a:cubicBezTo>
                <a:cubicBezTo>
                  <a:pt x="4442203" y="2200458"/>
                  <a:pt x="4444287" y="2196184"/>
                  <a:pt x="4446833" y="2196184"/>
                </a:cubicBezTo>
                <a:cubicBezTo>
                  <a:pt x="4449381" y="2196184"/>
                  <a:pt x="4450332" y="2193532"/>
                  <a:pt x="4448948" y="2190290"/>
                </a:cubicBezTo>
                <a:cubicBezTo>
                  <a:pt x="4446930" y="2185561"/>
                  <a:pt x="4448588" y="2181735"/>
                  <a:pt x="4451449" y="2180169"/>
                </a:cubicBezTo>
                <a:close/>
                <a:moveTo>
                  <a:pt x="34606" y="2069567"/>
                </a:moveTo>
                <a:cubicBezTo>
                  <a:pt x="41993" y="2069567"/>
                  <a:pt x="50608" y="2073128"/>
                  <a:pt x="53749" y="2077480"/>
                </a:cubicBezTo>
                <a:cubicBezTo>
                  <a:pt x="56890" y="2081833"/>
                  <a:pt x="63637" y="2089584"/>
                  <a:pt x="68742" y="2094705"/>
                </a:cubicBezTo>
                <a:cubicBezTo>
                  <a:pt x="73846" y="2099827"/>
                  <a:pt x="78086" y="2108373"/>
                  <a:pt x="78162" y="2113698"/>
                </a:cubicBezTo>
                <a:cubicBezTo>
                  <a:pt x="78239" y="2119023"/>
                  <a:pt x="81191" y="2128909"/>
                  <a:pt x="84722" y="2135668"/>
                </a:cubicBezTo>
                <a:cubicBezTo>
                  <a:pt x="88253" y="2142427"/>
                  <a:pt x="91142" y="2152969"/>
                  <a:pt x="91142" y="2159094"/>
                </a:cubicBezTo>
                <a:cubicBezTo>
                  <a:pt x="91142" y="2165220"/>
                  <a:pt x="94520" y="2172968"/>
                  <a:pt x="98649" y="2176313"/>
                </a:cubicBezTo>
                <a:cubicBezTo>
                  <a:pt x="105049" y="2181498"/>
                  <a:pt x="105348" y="2184580"/>
                  <a:pt x="100678" y="2197213"/>
                </a:cubicBezTo>
                <a:cubicBezTo>
                  <a:pt x="97665" y="2205363"/>
                  <a:pt x="94779" y="2224821"/>
                  <a:pt x="94264" y="2240455"/>
                </a:cubicBezTo>
                <a:cubicBezTo>
                  <a:pt x="93470" y="2264584"/>
                  <a:pt x="94825" y="2269837"/>
                  <a:pt x="103228" y="2275221"/>
                </a:cubicBezTo>
                <a:cubicBezTo>
                  <a:pt x="108672" y="2278708"/>
                  <a:pt x="112240" y="2284908"/>
                  <a:pt x="111157" y="2288996"/>
                </a:cubicBezTo>
                <a:cubicBezTo>
                  <a:pt x="110073" y="2293084"/>
                  <a:pt x="111871" y="2297922"/>
                  <a:pt x="115154" y="2299745"/>
                </a:cubicBezTo>
                <a:cubicBezTo>
                  <a:pt x="119360" y="2302082"/>
                  <a:pt x="120743" y="2312515"/>
                  <a:pt x="119839" y="2335089"/>
                </a:cubicBezTo>
                <a:cubicBezTo>
                  <a:pt x="119133" y="2352705"/>
                  <a:pt x="119767" y="2367139"/>
                  <a:pt x="121247" y="2367166"/>
                </a:cubicBezTo>
                <a:cubicBezTo>
                  <a:pt x="127529" y="2367282"/>
                  <a:pt x="134871" y="2403761"/>
                  <a:pt x="134871" y="2434853"/>
                </a:cubicBezTo>
                <a:cubicBezTo>
                  <a:pt x="134871" y="2471186"/>
                  <a:pt x="136638" y="2469452"/>
                  <a:pt x="105354" y="2463831"/>
                </a:cubicBezTo>
                <a:cubicBezTo>
                  <a:pt x="92947" y="2461602"/>
                  <a:pt x="91142" y="2458917"/>
                  <a:pt x="91142" y="2442687"/>
                </a:cubicBezTo>
                <a:cubicBezTo>
                  <a:pt x="91142" y="2432461"/>
                  <a:pt x="89019" y="2424095"/>
                  <a:pt x="86424" y="2424095"/>
                </a:cubicBezTo>
                <a:cubicBezTo>
                  <a:pt x="83339" y="2424095"/>
                  <a:pt x="82204" y="2407647"/>
                  <a:pt x="83144" y="2376598"/>
                </a:cubicBezTo>
                <a:cubicBezTo>
                  <a:pt x="83935" y="2350476"/>
                  <a:pt x="83105" y="2329109"/>
                  <a:pt x="81303" y="2329117"/>
                </a:cubicBezTo>
                <a:cubicBezTo>
                  <a:pt x="79499" y="2329123"/>
                  <a:pt x="78023" y="2308310"/>
                  <a:pt x="78023" y="2282860"/>
                </a:cubicBezTo>
                <a:cubicBezTo>
                  <a:pt x="78023" y="2233532"/>
                  <a:pt x="74047" y="2219757"/>
                  <a:pt x="56084" y="2206845"/>
                </a:cubicBezTo>
                <a:cubicBezTo>
                  <a:pt x="46323" y="2199829"/>
                  <a:pt x="45006" y="2194261"/>
                  <a:pt x="43040" y="2151714"/>
                </a:cubicBezTo>
                <a:cubicBezTo>
                  <a:pt x="41048" y="2108581"/>
                  <a:pt x="39981" y="2104207"/>
                  <a:pt x="31014" y="2102364"/>
                </a:cubicBezTo>
                <a:cubicBezTo>
                  <a:pt x="23893" y="2100899"/>
                  <a:pt x="21175" y="2096091"/>
                  <a:pt x="21175" y="2084954"/>
                </a:cubicBezTo>
                <a:cubicBezTo>
                  <a:pt x="21175" y="2071998"/>
                  <a:pt x="23298" y="2069567"/>
                  <a:pt x="34606" y="2069567"/>
                </a:cubicBezTo>
                <a:close/>
                <a:moveTo>
                  <a:pt x="4460614" y="2037913"/>
                </a:moveTo>
                <a:cubicBezTo>
                  <a:pt x="4468293" y="2037913"/>
                  <a:pt x="4468881" y="2040781"/>
                  <a:pt x="4466134" y="2064819"/>
                </a:cubicBezTo>
                <a:cubicBezTo>
                  <a:pt x="4462464" y="2096925"/>
                  <a:pt x="4460963" y="2101221"/>
                  <a:pt x="4453412" y="2101221"/>
                </a:cubicBezTo>
                <a:cubicBezTo>
                  <a:pt x="4450241" y="2101221"/>
                  <a:pt x="4445196" y="2105495"/>
                  <a:pt x="4442203" y="2110717"/>
                </a:cubicBezTo>
                <a:cubicBezTo>
                  <a:pt x="4439209" y="2115941"/>
                  <a:pt x="4435031" y="2120214"/>
                  <a:pt x="4432921" y="2120214"/>
                </a:cubicBezTo>
                <a:cubicBezTo>
                  <a:pt x="4430811" y="2120214"/>
                  <a:pt x="4429084" y="2115941"/>
                  <a:pt x="4429084" y="2110717"/>
                </a:cubicBezTo>
                <a:cubicBezTo>
                  <a:pt x="4429084" y="2105495"/>
                  <a:pt x="4427116" y="2101221"/>
                  <a:pt x="4424711" y="2101221"/>
                </a:cubicBezTo>
                <a:cubicBezTo>
                  <a:pt x="4422306" y="2101221"/>
                  <a:pt x="4420338" y="2097185"/>
                  <a:pt x="4420338" y="2092252"/>
                </a:cubicBezTo>
                <a:cubicBezTo>
                  <a:pt x="4420338" y="2087320"/>
                  <a:pt x="4418016" y="2082163"/>
                  <a:pt x="4415178" y="2080794"/>
                </a:cubicBezTo>
                <a:cubicBezTo>
                  <a:pt x="4404971" y="2075869"/>
                  <a:pt x="4415475" y="2056905"/>
                  <a:pt x="4428412" y="2056905"/>
                </a:cubicBezTo>
                <a:cubicBezTo>
                  <a:pt x="4435408" y="2056905"/>
                  <a:pt x="4443582" y="2052632"/>
                  <a:pt x="4446576" y="2047409"/>
                </a:cubicBezTo>
                <a:cubicBezTo>
                  <a:pt x="4449569" y="2042186"/>
                  <a:pt x="4455887" y="2037913"/>
                  <a:pt x="4460614" y="2037913"/>
                </a:cubicBezTo>
                <a:close/>
                <a:moveTo>
                  <a:pt x="103803" y="1997172"/>
                </a:moveTo>
                <a:cubicBezTo>
                  <a:pt x="108304" y="1993144"/>
                  <a:pt x="113732" y="2009429"/>
                  <a:pt x="109790" y="2015136"/>
                </a:cubicBezTo>
                <a:cubicBezTo>
                  <a:pt x="105098" y="2021929"/>
                  <a:pt x="99888" y="2019120"/>
                  <a:pt x="99888" y="2009798"/>
                </a:cubicBezTo>
                <a:cubicBezTo>
                  <a:pt x="99888" y="2004780"/>
                  <a:pt x="101649" y="1999099"/>
                  <a:pt x="103803" y="1997172"/>
                </a:cubicBezTo>
                <a:close/>
                <a:moveTo>
                  <a:pt x="4417411" y="1842865"/>
                </a:moveTo>
                <a:cubicBezTo>
                  <a:pt x="4426211" y="1841865"/>
                  <a:pt x="4436219" y="1843425"/>
                  <a:pt x="4440321" y="1848354"/>
                </a:cubicBezTo>
                <a:cubicBezTo>
                  <a:pt x="4444542" y="1853425"/>
                  <a:pt x="4446576" y="1868924"/>
                  <a:pt x="4446576" y="1896026"/>
                </a:cubicBezTo>
                <a:cubicBezTo>
                  <a:pt x="4446576" y="1932005"/>
                  <a:pt x="4445226" y="1938181"/>
                  <a:pt x="4433604" y="1955393"/>
                </a:cubicBezTo>
                <a:cubicBezTo>
                  <a:pt x="4420486" y="1974823"/>
                  <a:pt x="4415431" y="1978051"/>
                  <a:pt x="4410134" y="1970383"/>
                </a:cubicBezTo>
                <a:cubicBezTo>
                  <a:pt x="4408531" y="1968063"/>
                  <a:pt x="4407219" y="1958295"/>
                  <a:pt x="4407219" y="1948678"/>
                </a:cubicBezTo>
                <a:cubicBezTo>
                  <a:pt x="4407219" y="1939061"/>
                  <a:pt x="4404268" y="1926919"/>
                  <a:pt x="4400659" y="1921696"/>
                </a:cubicBezTo>
                <a:cubicBezTo>
                  <a:pt x="4393356" y="1911121"/>
                  <a:pt x="4391547" y="1860649"/>
                  <a:pt x="4398473" y="1860649"/>
                </a:cubicBezTo>
                <a:cubicBezTo>
                  <a:pt x="4400878" y="1860649"/>
                  <a:pt x="4402354" y="1857087"/>
                  <a:pt x="4401754" y="1852735"/>
                </a:cubicBezTo>
                <a:cubicBezTo>
                  <a:pt x="4401020" y="1847424"/>
                  <a:pt x="4408611" y="1843865"/>
                  <a:pt x="4417411" y="1842865"/>
                </a:cubicBezTo>
                <a:close/>
                <a:moveTo>
                  <a:pt x="4344905" y="1614950"/>
                </a:moveTo>
                <a:cubicBezTo>
                  <a:pt x="4349115" y="1616124"/>
                  <a:pt x="4352557" y="1621279"/>
                  <a:pt x="4352557" y="1626407"/>
                </a:cubicBezTo>
                <a:cubicBezTo>
                  <a:pt x="4352557" y="1631535"/>
                  <a:pt x="4349115" y="1636690"/>
                  <a:pt x="4344905" y="1637863"/>
                </a:cubicBezTo>
                <a:cubicBezTo>
                  <a:pt x="4339535" y="1639360"/>
                  <a:pt x="4337253" y="1635942"/>
                  <a:pt x="4337253" y="1626407"/>
                </a:cubicBezTo>
                <a:cubicBezTo>
                  <a:pt x="4337253" y="1616872"/>
                  <a:pt x="4339535" y="1613453"/>
                  <a:pt x="4344905" y="1614950"/>
                </a:cubicBezTo>
                <a:close/>
                <a:moveTo>
                  <a:pt x="4204363" y="1582188"/>
                </a:moveTo>
                <a:cubicBezTo>
                  <a:pt x="4197064" y="1582102"/>
                  <a:pt x="4196393" y="1585598"/>
                  <a:pt x="4198605" y="1612163"/>
                </a:cubicBezTo>
                <a:cubicBezTo>
                  <a:pt x="4200911" y="1639834"/>
                  <a:pt x="4214478" y="1693454"/>
                  <a:pt x="4221888" y="1704182"/>
                </a:cubicBezTo>
                <a:cubicBezTo>
                  <a:pt x="4226089" y="1710263"/>
                  <a:pt x="4227977" y="1709597"/>
                  <a:pt x="4243234" y="1696654"/>
                </a:cubicBezTo>
                <a:cubicBezTo>
                  <a:pt x="4250450" y="1690534"/>
                  <a:pt x="4257024" y="1680517"/>
                  <a:pt x="4257843" y="1674394"/>
                </a:cubicBezTo>
                <a:cubicBezTo>
                  <a:pt x="4259456" y="1662329"/>
                  <a:pt x="4242669" y="1632479"/>
                  <a:pt x="4235464" y="1634601"/>
                </a:cubicBezTo>
                <a:cubicBezTo>
                  <a:pt x="4233031" y="1635317"/>
                  <a:pt x="4229173" y="1625936"/>
                  <a:pt x="4226892" y="1613755"/>
                </a:cubicBezTo>
                <a:cubicBezTo>
                  <a:pt x="4222385" y="1589697"/>
                  <a:pt x="4217133" y="1582337"/>
                  <a:pt x="4204363" y="1582188"/>
                </a:cubicBezTo>
                <a:close/>
                <a:moveTo>
                  <a:pt x="4407219" y="1487128"/>
                </a:moveTo>
                <a:cubicBezTo>
                  <a:pt x="4409624" y="1487128"/>
                  <a:pt x="4411592" y="1491402"/>
                  <a:pt x="4411592" y="1496625"/>
                </a:cubicBezTo>
                <a:cubicBezTo>
                  <a:pt x="4411592" y="1501848"/>
                  <a:pt x="4409624" y="1506120"/>
                  <a:pt x="4407219" y="1506120"/>
                </a:cubicBezTo>
                <a:cubicBezTo>
                  <a:pt x="4404814" y="1506120"/>
                  <a:pt x="4402846" y="1501848"/>
                  <a:pt x="4402846" y="1496625"/>
                </a:cubicBezTo>
                <a:cubicBezTo>
                  <a:pt x="4402846" y="1491402"/>
                  <a:pt x="4404814" y="1487128"/>
                  <a:pt x="4407219" y="1487128"/>
                </a:cubicBezTo>
                <a:close/>
                <a:moveTo>
                  <a:pt x="4317718" y="1474466"/>
                </a:moveTo>
                <a:cubicBezTo>
                  <a:pt x="4321431" y="1474466"/>
                  <a:pt x="4345998" y="1512422"/>
                  <a:pt x="4345998" y="1518157"/>
                </a:cubicBezTo>
                <a:cubicBezTo>
                  <a:pt x="4345998" y="1527487"/>
                  <a:pt x="4336171" y="1526974"/>
                  <a:pt x="4327663" y="1517200"/>
                </a:cubicBezTo>
                <a:cubicBezTo>
                  <a:pt x="4322087" y="1510793"/>
                  <a:pt x="4313633" y="1474466"/>
                  <a:pt x="4317718" y="1474466"/>
                </a:cubicBezTo>
                <a:close/>
                <a:moveTo>
                  <a:pt x="4293987" y="1306730"/>
                </a:moveTo>
                <a:cubicBezTo>
                  <a:pt x="4296786" y="1305175"/>
                  <a:pt x="4300348" y="1306376"/>
                  <a:pt x="4303395" y="1311043"/>
                </a:cubicBezTo>
                <a:cubicBezTo>
                  <a:pt x="4314481" y="1328015"/>
                  <a:pt x="4320345" y="1352557"/>
                  <a:pt x="4318980" y="1376275"/>
                </a:cubicBezTo>
                <a:cubicBezTo>
                  <a:pt x="4317138" y="1408262"/>
                  <a:pt x="4308655" y="1411397"/>
                  <a:pt x="4300491" y="1383107"/>
                </a:cubicBezTo>
                <a:cubicBezTo>
                  <a:pt x="4296020" y="1367613"/>
                  <a:pt x="4291151" y="1360511"/>
                  <a:pt x="4285001" y="1360511"/>
                </a:cubicBezTo>
                <a:cubicBezTo>
                  <a:pt x="4274509" y="1360511"/>
                  <a:pt x="4273177" y="1346499"/>
                  <a:pt x="4282590" y="1335187"/>
                </a:cubicBezTo>
                <a:cubicBezTo>
                  <a:pt x="4286199" y="1330853"/>
                  <a:pt x="4289150" y="1323550"/>
                  <a:pt x="4289150" y="1318959"/>
                </a:cubicBezTo>
                <a:cubicBezTo>
                  <a:pt x="4289150" y="1312598"/>
                  <a:pt x="4291188" y="1308286"/>
                  <a:pt x="4293987" y="1306730"/>
                </a:cubicBezTo>
                <a:close/>
                <a:moveTo>
                  <a:pt x="4289150" y="1180082"/>
                </a:moveTo>
                <a:cubicBezTo>
                  <a:pt x="4291556" y="1177930"/>
                  <a:pt x="4293523" y="1180610"/>
                  <a:pt x="4293523" y="1186038"/>
                </a:cubicBezTo>
                <a:cubicBezTo>
                  <a:pt x="4293523" y="1191467"/>
                  <a:pt x="4291556" y="1195908"/>
                  <a:pt x="4289150" y="1195908"/>
                </a:cubicBezTo>
                <a:cubicBezTo>
                  <a:pt x="4286745" y="1195908"/>
                  <a:pt x="4284778" y="1193228"/>
                  <a:pt x="4284778" y="1189951"/>
                </a:cubicBezTo>
                <a:cubicBezTo>
                  <a:pt x="4284778" y="1186675"/>
                  <a:pt x="4286745" y="1182233"/>
                  <a:pt x="4289150" y="1180082"/>
                </a:cubicBezTo>
                <a:close/>
                <a:moveTo>
                  <a:pt x="4345236" y="1176916"/>
                </a:moveTo>
                <a:cubicBezTo>
                  <a:pt x="4356140" y="1176916"/>
                  <a:pt x="4373988" y="1205488"/>
                  <a:pt x="4370740" y="1217745"/>
                </a:cubicBezTo>
                <a:cubicBezTo>
                  <a:pt x="4367336" y="1230589"/>
                  <a:pt x="4345998" y="1230866"/>
                  <a:pt x="4345998" y="1218067"/>
                </a:cubicBezTo>
                <a:cubicBezTo>
                  <a:pt x="4345998" y="1212843"/>
                  <a:pt x="4344031" y="1208570"/>
                  <a:pt x="4341625" y="1208570"/>
                </a:cubicBezTo>
                <a:cubicBezTo>
                  <a:pt x="4339220" y="1208570"/>
                  <a:pt x="4337253" y="1201448"/>
                  <a:pt x="4337253" y="1192743"/>
                </a:cubicBezTo>
                <a:cubicBezTo>
                  <a:pt x="4337253" y="1181640"/>
                  <a:pt x="4339636" y="1176916"/>
                  <a:pt x="4345236" y="1176916"/>
                </a:cubicBezTo>
                <a:close/>
                <a:moveTo>
                  <a:pt x="4039894" y="1107277"/>
                </a:moveTo>
                <a:cubicBezTo>
                  <a:pt x="4046077" y="1107277"/>
                  <a:pt x="4045347" y="1153828"/>
                  <a:pt x="4039019" y="1162988"/>
                </a:cubicBezTo>
                <a:cubicBezTo>
                  <a:pt x="4031817" y="1173414"/>
                  <a:pt x="4029404" y="1172663"/>
                  <a:pt x="4019800" y="1156998"/>
                </a:cubicBezTo>
                <a:cubicBezTo>
                  <a:pt x="4013808" y="1147226"/>
                  <a:pt x="4013004" y="1142635"/>
                  <a:pt x="4016936" y="1140644"/>
                </a:cubicBezTo>
                <a:cubicBezTo>
                  <a:pt x="4019942" y="1139122"/>
                  <a:pt x="4022402" y="1133840"/>
                  <a:pt x="4022402" y="1128907"/>
                </a:cubicBezTo>
                <a:cubicBezTo>
                  <a:pt x="4022402" y="1123974"/>
                  <a:pt x="4025354" y="1119938"/>
                  <a:pt x="4028961" y="1119938"/>
                </a:cubicBezTo>
                <a:cubicBezTo>
                  <a:pt x="4032569" y="1119938"/>
                  <a:pt x="4035521" y="1117089"/>
                  <a:pt x="4035521" y="1113607"/>
                </a:cubicBezTo>
                <a:cubicBezTo>
                  <a:pt x="4035521" y="1110125"/>
                  <a:pt x="4037488" y="1107277"/>
                  <a:pt x="4039894" y="1107277"/>
                </a:cubicBezTo>
                <a:close/>
                <a:moveTo>
                  <a:pt x="4144916" y="1053528"/>
                </a:moveTo>
                <a:cubicBezTo>
                  <a:pt x="4149806" y="1057904"/>
                  <a:pt x="4146596" y="1069291"/>
                  <a:pt x="4140471" y="1069291"/>
                </a:cubicBezTo>
                <a:cubicBezTo>
                  <a:pt x="4138350" y="1069291"/>
                  <a:pt x="4135483" y="1066639"/>
                  <a:pt x="4134098" y="1063398"/>
                </a:cubicBezTo>
                <a:cubicBezTo>
                  <a:pt x="4130865" y="1055823"/>
                  <a:pt x="4139091" y="1048316"/>
                  <a:pt x="4144916" y="1053528"/>
                </a:cubicBezTo>
                <a:close/>
                <a:moveTo>
                  <a:pt x="3987419" y="990156"/>
                </a:moveTo>
                <a:cubicBezTo>
                  <a:pt x="3985013" y="988004"/>
                  <a:pt x="3983046" y="989260"/>
                  <a:pt x="3983046" y="992947"/>
                </a:cubicBezTo>
                <a:cubicBezTo>
                  <a:pt x="3983046" y="996635"/>
                  <a:pt x="3985013" y="999652"/>
                  <a:pt x="3987419" y="999652"/>
                </a:cubicBezTo>
                <a:cubicBezTo>
                  <a:pt x="3989824" y="999652"/>
                  <a:pt x="3991792" y="998396"/>
                  <a:pt x="3991792" y="996860"/>
                </a:cubicBezTo>
                <a:cubicBezTo>
                  <a:pt x="3991792" y="995325"/>
                  <a:pt x="3989824" y="992307"/>
                  <a:pt x="3987419" y="990156"/>
                </a:cubicBezTo>
                <a:close/>
                <a:moveTo>
                  <a:pt x="4173388" y="892398"/>
                </a:moveTo>
                <a:cubicBezTo>
                  <a:pt x="4176923" y="893423"/>
                  <a:pt x="4180831" y="898778"/>
                  <a:pt x="4182372" y="907667"/>
                </a:cubicBezTo>
                <a:cubicBezTo>
                  <a:pt x="4184110" y="917692"/>
                  <a:pt x="4182681" y="926784"/>
                  <a:pt x="4178395" y="932991"/>
                </a:cubicBezTo>
                <a:cubicBezTo>
                  <a:pt x="4168370" y="947502"/>
                  <a:pt x="4160861" y="945131"/>
                  <a:pt x="4163952" y="928430"/>
                </a:cubicBezTo>
                <a:cubicBezTo>
                  <a:pt x="4165402" y="920596"/>
                  <a:pt x="4166617" y="909200"/>
                  <a:pt x="4166648" y="903107"/>
                </a:cubicBezTo>
                <a:cubicBezTo>
                  <a:pt x="4166694" y="894677"/>
                  <a:pt x="4169854" y="891373"/>
                  <a:pt x="4173388" y="892398"/>
                </a:cubicBezTo>
                <a:close/>
                <a:moveTo>
                  <a:pt x="4006132" y="869101"/>
                </a:moveTo>
                <a:cubicBezTo>
                  <a:pt x="4005672" y="869767"/>
                  <a:pt x="4005361" y="871985"/>
                  <a:pt x="4005256" y="875673"/>
                </a:cubicBezTo>
                <a:cubicBezTo>
                  <a:pt x="4005065" y="882347"/>
                  <a:pt x="4006100" y="886085"/>
                  <a:pt x="4007552" y="883982"/>
                </a:cubicBezTo>
                <a:cubicBezTo>
                  <a:pt x="4009005" y="881878"/>
                  <a:pt x="4009160" y="876418"/>
                  <a:pt x="4007897" y="871848"/>
                </a:cubicBezTo>
                <a:lnTo>
                  <a:pt x="4007897" y="871848"/>
                </a:lnTo>
                <a:cubicBezTo>
                  <a:pt x="4007199" y="869323"/>
                  <a:pt x="4006592" y="868435"/>
                  <a:pt x="4006132" y="869101"/>
                </a:cubicBezTo>
                <a:close/>
                <a:moveTo>
                  <a:pt x="4268481" y="836466"/>
                </a:moveTo>
                <a:cubicBezTo>
                  <a:pt x="4270763" y="838424"/>
                  <a:pt x="4271747" y="843443"/>
                  <a:pt x="4272461" y="852405"/>
                </a:cubicBezTo>
                <a:cubicBezTo>
                  <a:pt x="4274274" y="875150"/>
                  <a:pt x="4288053" y="879265"/>
                  <a:pt x="4298063" y="860052"/>
                </a:cubicBezTo>
                <a:cubicBezTo>
                  <a:pt x="4311044" y="835139"/>
                  <a:pt x="4319761" y="847756"/>
                  <a:pt x="4319761" y="891455"/>
                </a:cubicBezTo>
                <a:cubicBezTo>
                  <a:pt x="4319761" y="912251"/>
                  <a:pt x="4317633" y="931169"/>
                  <a:pt x="4315033" y="933496"/>
                </a:cubicBezTo>
                <a:cubicBezTo>
                  <a:pt x="4312432" y="935823"/>
                  <a:pt x="4304257" y="929581"/>
                  <a:pt x="4296867" y="919625"/>
                </a:cubicBezTo>
                <a:cubicBezTo>
                  <a:pt x="4287877" y="907516"/>
                  <a:pt x="4284326" y="905176"/>
                  <a:pt x="4286139" y="912555"/>
                </a:cubicBezTo>
                <a:cubicBezTo>
                  <a:pt x="4287631" y="918623"/>
                  <a:pt x="4286316" y="927016"/>
                  <a:pt x="4283218" y="931206"/>
                </a:cubicBezTo>
                <a:cubicBezTo>
                  <a:pt x="4278637" y="937401"/>
                  <a:pt x="4278846" y="940959"/>
                  <a:pt x="4284339" y="950245"/>
                </a:cubicBezTo>
                <a:cubicBezTo>
                  <a:pt x="4292546" y="964120"/>
                  <a:pt x="4305993" y="965152"/>
                  <a:pt x="4309434" y="952171"/>
                </a:cubicBezTo>
                <a:cubicBezTo>
                  <a:pt x="4312086" y="942162"/>
                  <a:pt x="4324134" y="938818"/>
                  <a:pt x="4324134" y="948089"/>
                </a:cubicBezTo>
                <a:cubicBezTo>
                  <a:pt x="4324134" y="951068"/>
                  <a:pt x="4330529" y="956148"/>
                  <a:pt x="4338345" y="959380"/>
                </a:cubicBezTo>
                <a:cubicBezTo>
                  <a:pt x="4347889" y="963325"/>
                  <a:pt x="4353004" y="969714"/>
                  <a:pt x="4353914" y="978828"/>
                </a:cubicBezTo>
                <a:cubicBezTo>
                  <a:pt x="4354660" y="986294"/>
                  <a:pt x="4358103" y="995806"/>
                  <a:pt x="4361566" y="999968"/>
                </a:cubicBezTo>
                <a:cubicBezTo>
                  <a:pt x="4365030" y="1004128"/>
                  <a:pt x="4367863" y="1012679"/>
                  <a:pt x="4367863" y="1018968"/>
                </a:cubicBezTo>
                <a:cubicBezTo>
                  <a:pt x="4367863" y="1025256"/>
                  <a:pt x="4370672" y="1034469"/>
                  <a:pt x="4374106" y="1039440"/>
                </a:cubicBezTo>
                <a:cubicBezTo>
                  <a:pt x="4382062" y="1050959"/>
                  <a:pt x="4388092" y="1094615"/>
                  <a:pt x="4381726" y="1094615"/>
                </a:cubicBezTo>
                <a:cubicBezTo>
                  <a:pt x="4379196" y="1094615"/>
                  <a:pt x="4375865" y="1091664"/>
                  <a:pt x="4374326" y="1088058"/>
                </a:cubicBezTo>
                <a:cubicBezTo>
                  <a:pt x="4372787" y="1084452"/>
                  <a:pt x="4364307" y="1081952"/>
                  <a:pt x="4355483" y="1082503"/>
                </a:cubicBezTo>
                <a:cubicBezTo>
                  <a:pt x="4346659" y="1083055"/>
                  <a:pt x="4323735" y="1081281"/>
                  <a:pt x="4304542" y="1078559"/>
                </a:cubicBezTo>
                <a:cubicBezTo>
                  <a:pt x="4271459" y="1073869"/>
                  <a:pt x="4270039" y="1074181"/>
                  <a:pt x="4277212" y="1084565"/>
                </a:cubicBezTo>
                <a:cubicBezTo>
                  <a:pt x="4281373" y="1090590"/>
                  <a:pt x="4284778" y="1098653"/>
                  <a:pt x="4284778" y="1102482"/>
                </a:cubicBezTo>
                <a:cubicBezTo>
                  <a:pt x="4284778" y="1106311"/>
                  <a:pt x="4288045" y="1114672"/>
                  <a:pt x="4292039" y="1121061"/>
                </a:cubicBezTo>
                <a:cubicBezTo>
                  <a:pt x="4301680" y="1136485"/>
                  <a:pt x="4298237" y="1140004"/>
                  <a:pt x="4280650" y="1132702"/>
                </a:cubicBezTo>
                <a:cubicBezTo>
                  <a:pt x="4271423" y="1128871"/>
                  <a:pt x="4263302" y="1128910"/>
                  <a:pt x="4258269" y="1132810"/>
                </a:cubicBezTo>
                <a:cubicBezTo>
                  <a:pt x="4244828" y="1143225"/>
                  <a:pt x="4242260" y="1139931"/>
                  <a:pt x="4239604" y="1108859"/>
                </a:cubicBezTo>
                <a:cubicBezTo>
                  <a:pt x="4238189" y="1092320"/>
                  <a:pt x="4237659" y="1068817"/>
                  <a:pt x="4238427" y="1056630"/>
                </a:cubicBezTo>
                <a:cubicBezTo>
                  <a:pt x="4239195" y="1044443"/>
                  <a:pt x="4238397" y="1013105"/>
                  <a:pt x="4236655" y="986990"/>
                </a:cubicBezTo>
                <a:cubicBezTo>
                  <a:pt x="4234913" y="960875"/>
                  <a:pt x="4235189" y="936803"/>
                  <a:pt x="4237269" y="933495"/>
                </a:cubicBezTo>
                <a:cubicBezTo>
                  <a:pt x="4239347" y="930187"/>
                  <a:pt x="4241048" y="922352"/>
                  <a:pt x="4241048" y="916085"/>
                </a:cubicBezTo>
                <a:cubicBezTo>
                  <a:pt x="4241048" y="909817"/>
                  <a:pt x="4243016" y="904689"/>
                  <a:pt x="4245421" y="904689"/>
                </a:cubicBezTo>
                <a:cubicBezTo>
                  <a:pt x="4247827" y="904689"/>
                  <a:pt x="4249794" y="890749"/>
                  <a:pt x="4249794" y="873712"/>
                </a:cubicBezTo>
                <a:cubicBezTo>
                  <a:pt x="4249794" y="851305"/>
                  <a:pt x="4251707" y="841672"/>
                  <a:pt x="4256711" y="838893"/>
                </a:cubicBezTo>
                <a:cubicBezTo>
                  <a:pt x="4262618" y="835611"/>
                  <a:pt x="4266199" y="834508"/>
                  <a:pt x="4268481" y="836466"/>
                </a:cubicBezTo>
                <a:close/>
                <a:moveTo>
                  <a:pt x="1503102" y="801258"/>
                </a:moveTo>
                <a:cubicBezTo>
                  <a:pt x="1488778" y="800264"/>
                  <a:pt x="1488325" y="800958"/>
                  <a:pt x="1489315" y="822388"/>
                </a:cubicBezTo>
                <a:cubicBezTo>
                  <a:pt x="1489878" y="834575"/>
                  <a:pt x="1490478" y="849818"/>
                  <a:pt x="1490647" y="856262"/>
                </a:cubicBezTo>
                <a:cubicBezTo>
                  <a:pt x="1491505" y="888858"/>
                  <a:pt x="1511509" y="893844"/>
                  <a:pt x="1530226" y="866125"/>
                </a:cubicBezTo>
                <a:cubicBezTo>
                  <a:pt x="1544790" y="844556"/>
                  <a:pt x="1545333" y="830570"/>
                  <a:pt x="1532021" y="819901"/>
                </a:cubicBezTo>
                <a:cubicBezTo>
                  <a:pt x="1527211" y="816046"/>
                  <a:pt x="1522069" y="810505"/>
                  <a:pt x="1520594" y="807589"/>
                </a:cubicBezTo>
                <a:cubicBezTo>
                  <a:pt x="1519119" y="804671"/>
                  <a:pt x="1511248" y="801823"/>
                  <a:pt x="1503102" y="801258"/>
                </a:cubicBezTo>
                <a:close/>
                <a:moveTo>
                  <a:pt x="3729804" y="798436"/>
                </a:moveTo>
                <a:cubicBezTo>
                  <a:pt x="3720308" y="798826"/>
                  <a:pt x="3717720" y="801396"/>
                  <a:pt x="3719615" y="808547"/>
                </a:cubicBezTo>
                <a:cubicBezTo>
                  <a:pt x="3721273" y="814804"/>
                  <a:pt x="3720379" y="816544"/>
                  <a:pt x="3717041" y="813557"/>
                </a:cubicBezTo>
                <a:cubicBezTo>
                  <a:pt x="3709675" y="806967"/>
                  <a:pt x="3710735" y="819762"/>
                  <a:pt x="3718483" y="830980"/>
                </a:cubicBezTo>
                <a:cubicBezTo>
                  <a:pt x="3725695" y="841420"/>
                  <a:pt x="3727207" y="854042"/>
                  <a:pt x="3721246" y="854042"/>
                </a:cubicBezTo>
                <a:cubicBezTo>
                  <a:pt x="3713880" y="854042"/>
                  <a:pt x="3712066" y="907075"/>
                  <a:pt x="3718912" y="922278"/>
                </a:cubicBezTo>
                <a:cubicBezTo>
                  <a:pt x="3722484" y="930211"/>
                  <a:pt x="3724299" y="939297"/>
                  <a:pt x="3722944" y="942470"/>
                </a:cubicBezTo>
                <a:cubicBezTo>
                  <a:pt x="3720559" y="948057"/>
                  <a:pt x="3741606" y="980659"/>
                  <a:pt x="3747598" y="980659"/>
                </a:cubicBezTo>
                <a:cubicBezTo>
                  <a:pt x="3749230" y="980659"/>
                  <a:pt x="3753678" y="978930"/>
                  <a:pt x="3757482" y="976816"/>
                </a:cubicBezTo>
                <a:cubicBezTo>
                  <a:pt x="3765240" y="972507"/>
                  <a:pt x="3767398" y="927111"/>
                  <a:pt x="3760153" y="920630"/>
                </a:cubicBezTo>
                <a:cubicBezTo>
                  <a:pt x="3757818" y="918540"/>
                  <a:pt x="3754613" y="902703"/>
                  <a:pt x="3753030" y="885437"/>
                </a:cubicBezTo>
                <a:cubicBezTo>
                  <a:pt x="3751448" y="868170"/>
                  <a:pt x="3748439" y="854042"/>
                  <a:pt x="3746345" y="854042"/>
                </a:cubicBezTo>
                <a:cubicBezTo>
                  <a:pt x="3744249" y="854042"/>
                  <a:pt x="3742535" y="841413"/>
                  <a:pt x="3742535" y="825977"/>
                </a:cubicBezTo>
                <a:cubicBezTo>
                  <a:pt x="3742535" y="799084"/>
                  <a:pt x="3742003" y="797933"/>
                  <a:pt x="3729804" y="798436"/>
                </a:cubicBezTo>
                <a:close/>
                <a:moveTo>
                  <a:pt x="4044267" y="755914"/>
                </a:moveTo>
                <a:cubicBezTo>
                  <a:pt x="4047874" y="755914"/>
                  <a:pt x="4051454" y="762324"/>
                  <a:pt x="4052223" y="770158"/>
                </a:cubicBezTo>
                <a:cubicBezTo>
                  <a:pt x="4053299" y="781121"/>
                  <a:pt x="4051466" y="784403"/>
                  <a:pt x="4044267" y="784403"/>
                </a:cubicBezTo>
                <a:cubicBezTo>
                  <a:pt x="4037067" y="784403"/>
                  <a:pt x="4035234" y="781121"/>
                  <a:pt x="4036310" y="770158"/>
                </a:cubicBezTo>
                <a:cubicBezTo>
                  <a:pt x="4037079" y="762324"/>
                  <a:pt x="4040659" y="755914"/>
                  <a:pt x="4044267" y="755914"/>
                </a:cubicBezTo>
                <a:close/>
                <a:moveTo>
                  <a:pt x="4191963" y="753633"/>
                </a:moveTo>
                <a:cubicBezTo>
                  <a:pt x="4198131" y="750512"/>
                  <a:pt x="4210791" y="769985"/>
                  <a:pt x="4213395" y="793226"/>
                </a:cubicBezTo>
                <a:cubicBezTo>
                  <a:pt x="4215517" y="812150"/>
                  <a:pt x="4214647" y="816057"/>
                  <a:pt x="4208313" y="816057"/>
                </a:cubicBezTo>
                <a:cubicBezTo>
                  <a:pt x="4202539" y="816057"/>
                  <a:pt x="4201178" y="812225"/>
                  <a:pt x="4202744" y="800369"/>
                </a:cubicBezTo>
                <a:cubicBezTo>
                  <a:pt x="4204246" y="788989"/>
                  <a:pt x="4202585" y="783657"/>
                  <a:pt x="4196694" y="780951"/>
                </a:cubicBezTo>
                <a:cubicBezTo>
                  <a:pt x="4192228" y="778898"/>
                  <a:pt x="4188573" y="771713"/>
                  <a:pt x="4188573" y="764983"/>
                </a:cubicBezTo>
                <a:cubicBezTo>
                  <a:pt x="4188573" y="758225"/>
                  <a:pt x="4189907" y="754674"/>
                  <a:pt x="4191963" y="753633"/>
                </a:cubicBezTo>
                <a:close/>
                <a:moveTo>
                  <a:pt x="2207638" y="740087"/>
                </a:moveTo>
                <a:cubicBezTo>
                  <a:pt x="2205233" y="740087"/>
                  <a:pt x="2203265" y="744151"/>
                  <a:pt x="2203265" y="749119"/>
                </a:cubicBezTo>
                <a:cubicBezTo>
                  <a:pt x="2203265" y="754087"/>
                  <a:pt x="2199821" y="759454"/>
                  <a:pt x="2195613" y="761046"/>
                </a:cubicBezTo>
                <a:cubicBezTo>
                  <a:pt x="2189736" y="763269"/>
                  <a:pt x="2189533" y="764112"/>
                  <a:pt x="2194738" y="764676"/>
                </a:cubicBezTo>
                <a:cubicBezTo>
                  <a:pt x="2198466" y="765080"/>
                  <a:pt x="2203877" y="761992"/>
                  <a:pt x="2206763" y="757813"/>
                </a:cubicBezTo>
                <a:cubicBezTo>
                  <a:pt x="2213149" y="748569"/>
                  <a:pt x="2213567" y="740087"/>
                  <a:pt x="2207638" y="740087"/>
                </a:cubicBezTo>
                <a:close/>
                <a:moveTo>
                  <a:pt x="2492685" y="661279"/>
                </a:moveTo>
                <a:cubicBezTo>
                  <a:pt x="2490926" y="662292"/>
                  <a:pt x="2489272" y="665607"/>
                  <a:pt x="2487033" y="671621"/>
                </a:cubicBezTo>
                <a:cubicBezTo>
                  <a:pt x="2484033" y="679681"/>
                  <a:pt x="2481367" y="692814"/>
                  <a:pt x="2481109" y="700808"/>
                </a:cubicBezTo>
                <a:cubicBezTo>
                  <a:pt x="2480723" y="712774"/>
                  <a:pt x="2482598" y="715011"/>
                  <a:pt x="2491725" y="713470"/>
                </a:cubicBezTo>
                <a:cubicBezTo>
                  <a:pt x="2500563" y="711977"/>
                  <a:pt x="2503077" y="707639"/>
                  <a:pt x="2504127" y="692066"/>
                </a:cubicBezTo>
                <a:cubicBezTo>
                  <a:pt x="2504906" y="680506"/>
                  <a:pt x="2502800" y="669357"/>
                  <a:pt x="2498966" y="664751"/>
                </a:cubicBezTo>
                <a:cubicBezTo>
                  <a:pt x="2496307" y="661557"/>
                  <a:pt x="2494444" y="660267"/>
                  <a:pt x="2492685" y="661279"/>
                </a:cubicBezTo>
                <a:close/>
                <a:moveTo>
                  <a:pt x="1542281" y="646751"/>
                </a:moveTo>
                <a:cubicBezTo>
                  <a:pt x="1544973" y="646195"/>
                  <a:pt x="1547326" y="648503"/>
                  <a:pt x="1547326" y="654093"/>
                </a:cubicBezTo>
                <a:cubicBezTo>
                  <a:pt x="1547326" y="659605"/>
                  <a:pt x="1544211" y="664117"/>
                  <a:pt x="1540402" y="664117"/>
                </a:cubicBezTo>
                <a:cubicBezTo>
                  <a:pt x="1536594" y="664117"/>
                  <a:pt x="1534257" y="660733"/>
                  <a:pt x="1535210" y="656599"/>
                </a:cubicBezTo>
                <a:cubicBezTo>
                  <a:pt x="1536561" y="650729"/>
                  <a:pt x="1539590" y="647308"/>
                  <a:pt x="1542281" y="646751"/>
                </a:cubicBezTo>
                <a:close/>
                <a:moveTo>
                  <a:pt x="4233596" y="626131"/>
                </a:moveTo>
                <a:cubicBezTo>
                  <a:pt x="4240376" y="626131"/>
                  <a:pt x="4297896" y="709201"/>
                  <a:pt x="4297896" y="718993"/>
                </a:cubicBezTo>
                <a:cubicBezTo>
                  <a:pt x="4297896" y="722885"/>
                  <a:pt x="4294945" y="727710"/>
                  <a:pt x="4291336" y="729715"/>
                </a:cubicBezTo>
                <a:cubicBezTo>
                  <a:pt x="4287249" y="731985"/>
                  <a:pt x="4284778" y="741642"/>
                  <a:pt x="4284778" y="755341"/>
                </a:cubicBezTo>
                <a:cubicBezTo>
                  <a:pt x="4284778" y="782795"/>
                  <a:pt x="4281153" y="786183"/>
                  <a:pt x="4266012" y="772883"/>
                </a:cubicBezTo>
                <a:cubicBezTo>
                  <a:pt x="4259427" y="767098"/>
                  <a:pt x="4254990" y="758777"/>
                  <a:pt x="4256152" y="754391"/>
                </a:cubicBezTo>
                <a:cubicBezTo>
                  <a:pt x="4257314" y="750006"/>
                  <a:pt x="4256359" y="746418"/>
                  <a:pt x="4254030" y="746418"/>
                </a:cubicBezTo>
                <a:cubicBezTo>
                  <a:pt x="4251700" y="746418"/>
                  <a:pt x="4249794" y="739206"/>
                  <a:pt x="4249794" y="730392"/>
                </a:cubicBezTo>
                <a:cubicBezTo>
                  <a:pt x="4249794" y="720839"/>
                  <a:pt x="4246703" y="712787"/>
                  <a:pt x="4242141" y="710456"/>
                </a:cubicBezTo>
                <a:cubicBezTo>
                  <a:pt x="4229647" y="704072"/>
                  <a:pt x="4214811" y="681755"/>
                  <a:pt x="4214811" y="669344"/>
                </a:cubicBezTo>
                <a:cubicBezTo>
                  <a:pt x="4214811" y="662987"/>
                  <a:pt x="4216566" y="657786"/>
                  <a:pt x="4218709" y="657786"/>
                </a:cubicBezTo>
                <a:cubicBezTo>
                  <a:pt x="4220854" y="657786"/>
                  <a:pt x="4223843" y="650663"/>
                  <a:pt x="4225352" y="641959"/>
                </a:cubicBezTo>
                <a:cubicBezTo>
                  <a:pt x="4226861" y="633254"/>
                  <a:pt x="4230571" y="626131"/>
                  <a:pt x="4233596" y="626131"/>
                </a:cubicBezTo>
                <a:close/>
                <a:moveTo>
                  <a:pt x="2100311" y="609600"/>
                </a:moveTo>
                <a:cubicBezTo>
                  <a:pt x="2101797" y="608433"/>
                  <a:pt x="2104256" y="608884"/>
                  <a:pt x="2108154" y="610589"/>
                </a:cubicBezTo>
                <a:cubicBezTo>
                  <a:pt x="2121281" y="616331"/>
                  <a:pt x="2126172" y="623548"/>
                  <a:pt x="2122602" y="631911"/>
                </a:cubicBezTo>
                <a:cubicBezTo>
                  <a:pt x="2119357" y="639510"/>
                  <a:pt x="2105807" y="641198"/>
                  <a:pt x="2101230" y="634573"/>
                </a:cubicBezTo>
                <a:cubicBezTo>
                  <a:pt x="2099627" y="632251"/>
                  <a:pt x="2098315" y="624937"/>
                  <a:pt x="2098315" y="618319"/>
                </a:cubicBezTo>
                <a:cubicBezTo>
                  <a:pt x="2098315" y="613552"/>
                  <a:pt x="2098826" y="610767"/>
                  <a:pt x="2100311" y="609600"/>
                </a:cubicBezTo>
                <a:close/>
                <a:moveTo>
                  <a:pt x="4009611" y="608352"/>
                </a:moveTo>
                <a:cubicBezTo>
                  <a:pt x="4012197" y="609600"/>
                  <a:pt x="4014312" y="613327"/>
                  <a:pt x="4014312" y="616635"/>
                </a:cubicBezTo>
                <a:cubicBezTo>
                  <a:pt x="4014312" y="619943"/>
                  <a:pt x="4012197" y="623670"/>
                  <a:pt x="4009611" y="624918"/>
                </a:cubicBezTo>
                <a:cubicBezTo>
                  <a:pt x="4007026" y="626166"/>
                  <a:pt x="4004911" y="622439"/>
                  <a:pt x="4004911" y="616635"/>
                </a:cubicBezTo>
                <a:cubicBezTo>
                  <a:pt x="4004911" y="610832"/>
                  <a:pt x="4007026" y="607104"/>
                  <a:pt x="4009611" y="608352"/>
                </a:cubicBezTo>
                <a:close/>
                <a:moveTo>
                  <a:pt x="4096448" y="583964"/>
                </a:moveTo>
                <a:cubicBezTo>
                  <a:pt x="4099965" y="584780"/>
                  <a:pt x="4102840" y="587903"/>
                  <a:pt x="4107195" y="593827"/>
                </a:cubicBezTo>
                <a:cubicBezTo>
                  <a:pt x="4112580" y="601148"/>
                  <a:pt x="4122107" y="607139"/>
                  <a:pt x="4128369" y="607139"/>
                </a:cubicBezTo>
                <a:cubicBezTo>
                  <a:pt x="4146484" y="607139"/>
                  <a:pt x="4153590" y="613678"/>
                  <a:pt x="4153590" y="630348"/>
                </a:cubicBezTo>
                <a:cubicBezTo>
                  <a:pt x="4153590" y="639262"/>
                  <a:pt x="4151695" y="644176"/>
                  <a:pt x="4149141" y="641890"/>
                </a:cubicBezTo>
                <a:cubicBezTo>
                  <a:pt x="4146693" y="639701"/>
                  <a:pt x="4133816" y="639877"/>
                  <a:pt x="4120525" y="642281"/>
                </a:cubicBezTo>
                <a:cubicBezTo>
                  <a:pt x="4092856" y="647286"/>
                  <a:pt x="4071898" y="671436"/>
                  <a:pt x="4067481" y="703404"/>
                </a:cubicBezTo>
                <a:cubicBezTo>
                  <a:pt x="4064125" y="727699"/>
                  <a:pt x="4035521" y="746365"/>
                  <a:pt x="4035521" y="724260"/>
                </a:cubicBezTo>
                <a:cubicBezTo>
                  <a:pt x="4035521" y="719037"/>
                  <a:pt x="4037488" y="714763"/>
                  <a:pt x="4039894" y="714763"/>
                </a:cubicBezTo>
                <a:cubicBezTo>
                  <a:pt x="4045855" y="714763"/>
                  <a:pt x="4045426" y="685624"/>
                  <a:pt x="4039254" y="671317"/>
                </a:cubicBezTo>
                <a:cubicBezTo>
                  <a:pt x="4033742" y="658539"/>
                  <a:pt x="4037738" y="623455"/>
                  <a:pt x="4044061" y="629112"/>
                </a:cubicBezTo>
                <a:cubicBezTo>
                  <a:pt x="4046212" y="631037"/>
                  <a:pt x="4052090" y="624236"/>
                  <a:pt x="4057125" y="614000"/>
                </a:cubicBezTo>
                <a:cubicBezTo>
                  <a:pt x="4062159" y="603764"/>
                  <a:pt x="4073282" y="592043"/>
                  <a:pt x="4081844" y="587951"/>
                </a:cubicBezTo>
                <a:cubicBezTo>
                  <a:pt x="4088770" y="584642"/>
                  <a:pt x="4092930" y="583149"/>
                  <a:pt x="4096448" y="583964"/>
                </a:cubicBezTo>
                <a:close/>
                <a:moveTo>
                  <a:pt x="3399607" y="565410"/>
                </a:moveTo>
                <a:cubicBezTo>
                  <a:pt x="3391884" y="563769"/>
                  <a:pt x="3387224" y="579464"/>
                  <a:pt x="3390710" y="595369"/>
                </a:cubicBezTo>
                <a:cubicBezTo>
                  <a:pt x="3394209" y="611327"/>
                  <a:pt x="3408911" y="610296"/>
                  <a:pt x="3412518" y="593840"/>
                </a:cubicBezTo>
                <a:cubicBezTo>
                  <a:pt x="3415603" y="579774"/>
                  <a:pt x="3410090" y="567638"/>
                  <a:pt x="3399607" y="565410"/>
                </a:cubicBezTo>
                <a:close/>
                <a:moveTo>
                  <a:pt x="3753272" y="543830"/>
                </a:moveTo>
                <a:cubicBezTo>
                  <a:pt x="3760971" y="543830"/>
                  <a:pt x="3790344" y="587515"/>
                  <a:pt x="3790519" y="599225"/>
                </a:cubicBezTo>
                <a:cubicBezTo>
                  <a:pt x="3790583" y="603578"/>
                  <a:pt x="3792516" y="607139"/>
                  <a:pt x="3794812" y="607139"/>
                </a:cubicBezTo>
                <a:cubicBezTo>
                  <a:pt x="3798720" y="607139"/>
                  <a:pt x="3806586" y="648938"/>
                  <a:pt x="3804642" y="659368"/>
                </a:cubicBezTo>
                <a:cubicBezTo>
                  <a:pt x="3804155" y="661980"/>
                  <a:pt x="3805723" y="664117"/>
                  <a:pt x="3808129" y="664117"/>
                </a:cubicBezTo>
                <a:cubicBezTo>
                  <a:pt x="3810534" y="664117"/>
                  <a:pt x="3812502" y="671239"/>
                  <a:pt x="3812502" y="679944"/>
                </a:cubicBezTo>
                <a:cubicBezTo>
                  <a:pt x="3812502" y="689792"/>
                  <a:pt x="3810023" y="695771"/>
                  <a:pt x="3805943" y="695771"/>
                </a:cubicBezTo>
                <a:cubicBezTo>
                  <a:pt x="3802334" y="695771"/>
                  <a:pt x="3799383" y="691458"/>
                  <a:pt x="3799383" y="686189"/>
                </a:cubicBezTo>
                <a:cubicBezTo>
                  <a:pt x="3799383" y="680918"/>
                  <a:pt x="3797558" y="671660"/>
                  <a:pt x="3795328" y="665613"/>
                </a:cubicBezTo>
                <a:cubicBezTo>
                  <a:pt x="3793100" y="659567"/>
                  <a:pt x="3790199" y="649592"/>
                  <a:pt x="3788882" y="643446"/>
                </a:cubicBezTo>
                <a:cubicBezTo>
                  <a:pt x="3787566" y="637300"/>
                  <a:pt x="3781819" y="629702"/>
                  <a:pt x="3776114" y="626562"/>
                </a:cubicBezTo>
                <a:cubicBezTo>
                  <a:pt x="3770409" y="623421"/>
                  <a:pt x="3762196" y="609932"/>
                  <a:pt x="3757864" y="596585"/>
                </a:cubicBezTo>
                <a:cubicBezTo>
                  <a:pt x="3753532" y="583239"/>
                  <a:pt x="3748025" y="570470"/>
                  <a:pt x="3745624" y="568210"/>
                </a:cubicBezTo>
                <a:cubicBezTo>
                  <a:pt x="3739464" y="562409"/>
                  <a:pt x="3745291" y="543830"/>
                  <a:pt x="3753272" y="543830"/>
                </a:cubicBezTo>
                <a:close/>
                <a:moveTo>
                  <a:pt x="2508411" y="515434"/>
                </a:moveTo>
                <a:cubicBezTo>
                  <a:pt x="2504104" y="514401"/>
                  <a:pt x="2499878" y="515729"/>
                  <a:pt x="2493352" y="518847"/>
                </a:cubicBezTo>
                <a:cubicBezTo>
                  <a:pt x="2482992" y="523798"/>
                  <a:pt x="2476746" y="523968"/>
                  <a:pt x="2472948" y="519406"/>
                </a:cubicBezTo>
                <a:cubicBezTo>
                  <a:pt x="2468354" y="513886"/>
                  <a:pt x="2443606" y="526013"/>
                  <a:pt x="2426655" y="542091"/>
                </a:cubicBezTo>
                <a:cubicBezTo>
                  <a:pt x="2421983" y="546522"/>
                  <a:pt x="2417762" y="622657"/>
                  <a:pt x="2421860" y="628589"/>
                </a:cubicBezTo>
                <a:cubicBezTo>
                  <a:pt x="2424293" y="632112"/>
                  <a:pt x="2426284" y="641221"/>
                  <a:pt x="2426284" y="648832"/>
                </a:cubicBezTo>
                <a:cubicBezTo>
                  <a:pt x="2426284" y="661372"/>
                  <a:pt x="2431239" y="679043"/>
                  <a:pt x="2440777" y="700519"/>
                </a:cubicBezTo>
                <a:cubicBezTo>
                  <a:pt x="2445394" y="710913"/>
                  <a:pt x="2451698" y="710530"/>
                  <a:pt x="2459393" y="699389"/>
                </a:cubicBezTo>
                <a:cubicBezTo>
                  <a:pt x="2467519" y="687625"/>
                  <a:pt x="2467369" y="667744"/>
                  <a:pt x="2459081" y="657786"/>
                </a:cubicBezTo>
                <a:cubicBezTo>
                  <a:pt x="2450414" y="647372"/>
                  <a:pt x="2450672" y="636411"/>
                  <a:pt x="2459470" y="641298"/>
                </a:cubicBezTo>
                <a:cubicBezTo>
                  <a:pt x="2463325" y="643440"/>
                  <a:pt x="2471373" y="639515"/>
                  <a:pt x="2477551" y="632480"/>
                </a:cubicBezTo>
                <a:cubicBezTo>
                  <a:pt x="2483674" y="625506"/>
                  <a:pt x="2486451" y="619800"/>
                  <a:pt x="2483722" y="619800"/>
                </a:cubicBezTo>
                <a:cubicBezTo>
                  <a:pt x="2480682" y="619800"/>
                  <a:pt x="2478759" y="607536"/>
                  <a:pt x="2478759" y="588146"/>
                </a:cubicBezTo>
                <a:cubicBezTo>
                  <a:pt x="2478759" y="564230"/>
                  <a:pt x="2480363" y="556492"/>
                  <a:pt x="2485319" y="556492"/>
                </a:cubicBezTo>
                <a:cubicBezTo>
                  <a:pt x="2488926" y="556492"/>
                  <a:pt x="2491878" y="560167"/>
                  <a:pt x="2491878" y="564659"/>
                </a:cubicBezTo>
                <a:cubicBezTo>
                  <a:pt x="2491878" y="569151"/>
                  <a:pt x="2499398" y="584856"/>
                  <a:pt x="2508588" y="599558"/>
                </a:cubicBezTo>
                <a:lnTo>
                  <a:pt x="2525299" y="626289"/>
                </a:lnTo>
                <a:lnTo>
                  <a:pt x="2539199" y="616250"/>
                </a:lnTo>
                <a:cubicBezTo>
                  <a:pt x="2553351" y="606030"/>
                  <a:pt x="2558554" y="581112"/>
                  <a:pt x="2548428" y="572052"/>
                </a:cubicBezTo>
                <a:cubicBezTo>
                  <a:pt x="2545859" y="569754"/>
                  <a:pt x="2544897" y="563571"/>
                  <a:pt x="2546291" y="558312"/>
                </a:cubicBezTo>
                <a:cubicBezTo>
                  <a:pt x="2548026" y="551769"/>
                  <a:pt x="2546810" y="549871"/>
                  <a:pt x="2542439" y="552299"/>
                </a:cubicBezTo>
                <a:cubicBezTo>
                  <a:pt x="2538651" y="554404"/>
                  <a:pt x="2536783" y="552759"/>
                  <a:pt x="2537847" y="548256"/>
                </a:cubicBezTo>
                <a:cubicBezTo>
                  <a:pt x="2538834" y="544081"/>
                  <a:pt x="2532586" y="534151"/>
                  <a:pt x="2523962" y="526189"/>
                </a:cubicBezTo>
                <a:cubicBezTo>
                  <a:pt x="2517108" y="519862"/>
                  <a:pt x="2512719" y="516468"/>
                  <a:pt x="2508411" y="515434"/>
                </a:cubicBezTo>
                <a:close/>
                <a:moveTo>
                  <a:pt x="3394917" y="499514"/>
                </a:moveTo>
                <a:cubicBezTo>
                  <a:pt x="3385202" y="499514"/>
                  <a:pt x="3378100" y="529260"/>
                  <a:pt x="3385075" y="540733"/>
                </a:cubicBezTo>
                <a:cubicBezTo>
                  <a:pt x="3393394" y="554416"/>
                  <a:pt x="3400986" y="551857"/>
                  <a:pt x="3404022" y="534348"/>
                </a:cubicBezTo>
                <a:cubicBezTo>
                  <a:pt x="3407506" y="514244"/>
                  <a:pt x="3403656" y="499514"/>
                  <a:pt x="3394917" y="499514"/>
                </a:cubicBezTo>
                <a:close/>
                <a:moveTo>
                  <a:pt x="2473972" y="490389"/>
                </a:moveTo>
                <a:cubicBezTo>
                  <a:pt x="2471843" y="492294"/>
                  <a:pt x="2472541" y="497688"/>
                  <a:pt x="2475523" y="502376"/>
                </a:cubicBezTo>
                <a:cubicBezTo>
                  <a:pt x="2482232" y="512920"/>
                  <a:pt x="2484208" y="510938"/>
                  <a:pt x="2480591" y="497291"/>
                </a:cubicBezTo>
                <a:cubicBezTo>
                  <a:pt x="2479079" y="491590"/>
                  <a:pt x="2476101" y="488484"/>
                  <a:pt x="2473972" y="490389"/>
                </a:cubicBezTo>
                <a:close/>
                <a:moveTo>
                  <a:pt x="2576610" y="482359"/>
                </a:moveTo>
                <a:cubicBezTo>
                  <a:pt x="2571620" y="489583"/>
                  <a:pt x="2578946" y="505856"/>
                  <a:pt x="2586852" y="505111"/>
                </a:cubicBezTo>
                <a:cubicBezTo>
                  <a:pt x="2594153" y="504423"/>
                  <a:pt x="2594161" y="504195"/>
                  <a:pt x="2586989" y="501481"/>
                </a:cubicBezTo>
                <a:cubicBezTo>
                  <a:pt x="2582780" y="499888"/>
                  <a:pt x="2579336" y="494047"/>
                  <a:pt x="2579336" y="488499"/>
                </a:cubicBezTo>
                <a:cubicBezTo>
                  <a:pt x="2579336" y="482950"/>
                  <a:pt x="2578110" y="480188"/>
                  <a:pt x="2576610" y="482359"/>
                </a:cubicBezTo>
                <a:close/>
                <a:moveTo>
                  <a:pt x="2585636" y="469292"/>
                </a:moveTo>
                <a:cubicBezTo>
                  <a:pt x="2584175" y="471406"/>
                  <a:pt x="2586588" y="478477"/>
                  <a:pt x="2590998" y="485006"/>
                </a:cubicBezTo>
                <a:cubicBezTo>
                  <a:pt x="2595407" y="491535"/>
                  <a:pt x="2599735" y="494341"/>
                  <a:pt x="2600616" y="491243"/>
                </a:cubicBezTo>
                <a:cubicBezTo>
                  <a:pt x="2601496" y="488144"/>
                  <a:pt x="2599083" y="481073"/>
                  <a:pt x="2595253" y="475529"/>
                </a:cubicBezTo>
                <a:cubicBezTo>
                  <a:pt x="2591424" y="469984"/>
                  <a:pt x="2587096" y="467178"/>
                  <a:pt x="2585636" y="469292"/>
                </a:cubicBezTo>
                <a:close/>
                <a:moveTo>
                  <a:pt x="3422903" y="465059"/>
                </a:moveTo>
                <a:cubicBezTo>
                  <a:pt x="3420722" y="467011"/>
                  <a:pt x="3418939" y="472713"/>
                  <a:pt x="3418939" y="477730"/>
                </a:cubicBezTo>
                <a:cubicBezTo>
                  <a:pt x="3418939" y="490833"/>
                  <a:pt x="3421910" y="488965"/>
                  <a:pt x="3424580" y="474182"/>
                </a:cubicBezTo>
                <a:cubicBezTo>
                  <a:pt x="3425839" y="467213"/>
                  <a:pt x="3425085" y="463108"/>
                  <a:pt x="3422903" y="465059"/>
                </a:cubicBezTo>
                <a:close/>
                <a:moveTo>
                  <a:pt x="3788764" y="436206"/>
                </a:moveTo>
                <a:cubicBezTo>
                  <a:pt x="3792030" y="436206"/>
                  <a:pt x="3797049" y="442616"/>
                  <a:pt x="3799916" y="450450"/>
                </a:cubicBezTo>
                <a:cubicBezTo>
                  <a:pt x="3802782" y="458284"/>
                  <a:pt x="3808936" y="469529"/>
                  <a:pt x="3813589" y="475438"/>
                </a:cubicBezTo>
                <a:cubicBezTo>
                  <a:pt x="3818243" y="481347"/>
                  <a:pt x="3820770" y="489181"/>
                  <a:pt x="3819205" y="492847"/>
                </a:cubicBezTo>
                <a:cubicBezTo>
                  <a:pt x="3815196" y="502237"/>
                  <a:pt x="3802588" y="500707"/>
                  <a:pt x="3796103" y="490044"/>
                </a:cubicBezTo>
                <a:cubicBezTo>
                  <a:pt x="3793097" y="485101"/>
                  <a:pt x="3790637" y="478436"/>
                  <a:pt x="3790637" y="475233"/>
                </a:cubicBezTo>
                <a:cubicBezTo>
                  <a:pt x="3790637" y="472031"/>
                  <a:pt x="3787802" y="466004"/>
                  <a:pt x="3784337" y="461842"/>
                </a:cubicBezTo>
                <a:cubicBezTo>
                  <a:pt x="3777074" y="453114"/>
                  <a:pt x="3779994" y="436206"/>
                  <a:pt x="3788764" y="436206"/>
                </a:cubicBezTo>
                <a:close/>
                <a:moveTo>
                  <a:pt x="2416536" y="393600"/>
                </a:moveTo>
                <a:cubicBezTo>
                  <a:pt x="2419357" y="392997"/>
                  <a:pt x="2421911" y="396309"/>
                  <a:pt x="2421911" y="404024"/>
                </a:cubicBezTo>
                <a:cubicBezTo>
                  <a:pt x="2421911" y="411800"/>
                  <a:pt x="2419088" y="417213"/>
                  <a:pt x="2415031" y="417213"/>
                </a:cubicBezTo>
                <a:cubicBezTo>
                  <a:pt x="2410959" y="417213"/>
                  <a:pt x="2408728" y="412906"/>
                  <a:pt x="2409565" y="406659"/>
                </a:cubicBezTo>
                <a:cubicBezTo>
                  <a:pt x="2410629" y="398718"/>
                  <a:pt x="2413716" y="394202"/>
                  <a:pt x="2416536" y="393600"/>
                </a:cubicBezTo>
                <a:close/>
                <a:moveTo>
                  <a:pt x="3384911" y="341340"/>
                </a:moveTo>
                <a:cubicBezTo>
                  <a:pt x="3374162" y="341236"/>
                  <a:pt x="3368359" y="354420"/>
                  <a:pt x="3372417" y="369731"/>
                </a:cubicBezTo>
                <a:cubicBezTo>
                  <a:pt x="3373802" y="374955"/>
                  <a:pt x="3377455" y="379003"/>
                  <a:pt x="3380538" y="378728"/>
                </a:cubicBezTo>
                <a:cubicBezTo>
                  <a:pt x="3384927" y="378337"/>
                  <a:pt x="3384957" y="377536"/>
                  <a:pt x="3380675" y="375035"/>
                </a:cubicBezTo>
                <a:lnTo>
                  <a:pt x="3380675" y="375035"/>
                </a:lnTo>
                <a:cubicBezTo>
                  <a:pt x="3377669" y="373279"/>
                  <a:pt x="3375209" y="366213"/>
                  <a:pt x="3375209" y="359334"/>
                </a:cubicBezTo>
                <a:cubicBezTo>
                  <a:pt x="3375209" y="352455"/>
                  <a:pt x="3376779" y="348231"/>
                  <a:pt x="3378698" y="349948"/>
                </a:cubicBezTo>
                <a:cubicBezTo>
                  <a:pt x="3380617" y="351665"/>
                  <a:pt x="3385044" y="350452"/>
                  <a:pt x="3388537" y="347252"/>
                </a:cubicBezTo>
                <a:cubicBezTo>
                  <a:pt x="3393480" y="342726"/>
                  <a:pt x="3392677" y="341415"/>
                  <a:pt x="3384911" y="341340"/>
                </a:cubicBezTo>
                <a:close/>
                <a:moveTo>
                  <a:pt x="3481752" y="328581"/>
                </a:moveTo>
                <a:cubicBezTo>
                  <a:pt x="3478562" y="328581"/>
                  <a:pt x="3474719" y="335704"/>
                  <a:pt x="3473209" y="344408"/>
                </a:cubicBezTo>
                <a:cubicBezTo>
                  <a:pt x="3470799" y="358313"/>
                  <a:pt x="3468111" y="360235"/>
                  <a:pt x="3451077" y="360235"/>
                </a:cubicBezTo>
                <a:cubicBezTo>
                  <a:pt x="3440413" y="360235"/>
                  <a:pt x="3429123" y="363704"/>
                  <a:pt x="3425989" y="367943"/>
                </a:cubicBezTo>
                <a:cubicBezTo>
                  <a:pt x="3418508" y="378060"/>
                  <a:pt x="3424306" y="416876"/>
                  <a:pt x="3435239" y="429875"/>
                </a:cubicBezTo>
                <a:cubicBezTo>
                  <a:pt x="3441469" y="437282"/>
                  <a:pt x="3442631" y="444595"/>
                  <a:pt x="3440516" y="463112"/>
                </a:cubicBezTo>
                <a:cubicBezTo>
                  <a:pt x="3438509" y="480705"/>
                  <a:pt x="3439327" y="486853"/>
                  <a:pt x="3443678" y="486853"/>
                </a:cubicBezTo>
                <a:cubicBezTo>
                  <a:pt x="3446913" y="486853"/>
                  <a:pt x="3449549" y="493485"/>
                  <a:pt x="3449549" y="501624"/>
                </a:cubicBezTo>
                <a:cubicBezTo>
                  <a:pt x="3449549" y="520284"/>
                  <a:pt x="3453399" y="525859"/>
                  <a:pt x="3464675" y="523522"/>
                </a:cubicBezTo>
                <a:cubicBezTo>
                  <a:pt x="3472450" y="521910"/>
                  <a:pt x="3473771" y="516371"/>
                  <a:pt x="3474924" y="480522"/>
                </a:cubicBezTo>
                <a:cubicBezTo>
                  <a:pt x="3475653" y="457889"/>
                  <a:pt x="3478112" y="436665"/>
                  <a:pt x="3480390" y="433357"/>
                </a:cubicBezTo>
                <a:cubicBezTo>
                  <a:pt x="3482669" y="430049"/>
                  <a:pt x="3484532" y="420790"/>
                  <a:pt x="3484532" y="412781"/>
                </a:cubicBezTo>
                <a:cubicBezTo>
                  <a:pt x="3484532" y="404214"/>
                  <a:pt x="3487169" y="398220"/>
                  <a:pt x="3490938" y="398220"/>
                </a:cubicBezTo>
                <a:cubicBezTo>
                  <a:pt x="3498511" y="398220"/>
                  <a:pt x="3506292" y="379500"/>
                  <a:pt x="3504808" y="364853"/>
                </a:cubicBezTo>
                <a:cubicBezTo>
                  <a:pt x="3503420" y="351174"/>
                  <a:pt x="3489060" y="328581"/>
                  <a:pt x="3481752" y="328581"/>
                </a:cubicBezTo>
                <a:close/>
                <a:moveTo>
                  <a:pt x="3250209" y="322250"/>
                </a:moveTo>
                <a:cubicBezTo>
                  <a:pt x="3243214" y="322250"/>
                  <a:pt x="3227889" y="333810"/>
                  <a:pt x="3218734" y="345991"/>
                </a:cubicBezTo>
                <a:cubicBezTo>
                  <a:pt x="3215463" y="350343"/>
                  <a:pt x="3210413" y="353905"/>
                  <a:pt x="3207511" y="353905"/>
                </a:cubicBezTo>
                <a:cubicBezTo>
                  <a:pt x="3200783" y="353905"/>
                  <a:pt x="3188954" y="373794"/>
                  <a:pt x="3185026" y="391710"/>
                </a:cubicBezTo>
                <a:cubicBezTo>
                  <a:pt x="3182959" y="401144"/>
                  <a:pt x="3184556" y="409295"/>
                  <a:pt x="3190049" y="417333"/>
                </a:cubicBezTo>
                <a:cubicBezTo>
                  <a:pt x="3198704" y="429998"/>
                  <a:pt x="3209038" y="433607"/>
                  <a:pt x="3209038" y="423965"/>
                </a:cubicBezTo>
                <a:cubicBezTo>
                  <a:pt x="3209038" y="420714"/>
                  <a:pt x="3214450" y="417153"/>
                  <a:pt x="3221064" y="416051"/>
                </a:cubicBezTo>
                <a:cubicBezTo>
                  <a:pt x="3230509" y="414477"/>
                  <a:pt x="3233387" y="410312"/>
                  <a:pt x="3234472" y="396638"/>
                </a:cubicBezTo>
                <a:cubicBezTo>
                  <a:pt x="3236215" y="374710"/>
                  <a:pt x="3252767" y="371301"/>
                  <a:pt x="3252767" y="392871"/>
                </a:cubicBezTo>
                <a:cubicBezTo>
                  <a:pt x="3252767" y="406113"/>
                  <a:pt x="3253025" y="406177"/>
                  <a:pt x="3261513" y="395055"/>
                </a:cubicBezTo>
                <a:cubicBezTo>
                  <a:pt x="3277567" y="374022"/>
                  <a:pt x="3269528" y="322250"/>
                  <a:pt x="3250209" y="322250"/>
                </a:cubicBezTo>
                <a:close/>
                <a:moveTo>
                  <a:pt x="3735611" y="303258"/>
                </a:moveTo>
                <a:cubicBezTo>
                  <a:pt x="3739420" y="303258"/>
                  <a:pt x="3742535" y="307294"/>
                  <a:pt x="3742535" y="312227"/>
                </a:cubicBezTo>
                <a:cubicBezTo>
                  <a:pt x="3742535" y="317159"/>
                  <a:pt x="3744851" y="322313"/>
                  <a:pt x="3747682" y="323679"/>
                </a:cubicBezTo>
                <a:cubicBezTo>
                  <a:pt x="3750513" y="325045"/>
                  <a:pt x="3751381" y="329556"/>
                  <a:pt x="3749611" y="333703"/>
                </a:cubicBezTo>
                <a:cubicBezTo>
                  <a:pt x="3745013" y="344472"/>
                  <a:pt x="3739615" y="343017"/>
                  <a:pt x="3736483" y="330164"/>
                </a:cubicBezTo>
                <a:cubicBezTo>
                  <a:pt x="3734998" y="324070"/>
                  <a:pt x="3732636" y="315524"/>
                  <a:pt x="3731235" y="311171"/>
                </a:cubicBezTo>
                <a:cubicBezTo>
                  <a:pt x="3729770" y="306619"/>
                  <a:pt x="3731629" y="303258"/>
                  <a:pt x="3735611" y="303258"/>
                </a:cubicBezTo>
                <a:close/>
                <a:moveTo>
                  <a:pt x="2667524" y="278974"/>
                </a:moveTo>
                <a:cubicBezTo>
                  <a:pt x="2661560" y="280156"/>
                  <a:pt x="2658185" y="293159"/>
                  <a:pt x="2658117" y="316447"/>
                </a:cubicBezTo>
                <a:cubicBezTo>
                  <a:pt x="2658039" y="342968"/>
                  <a:pt x="2660977" y="348786"/>
                  <a:pt x="2673175" y="346258"/>
                </a:cubicBezTo>
                <a:cubicBezTo>
                  <a:pt x="2680611" y="344717"/>
                  <a:pt x="2682100" y="339770"/>
                  <a:pt x="2682100" y="316609"/>
                </a:cubicBezTo>
                <a:cubicBezTo>
                  <a:pt x="2682100" y="296817"/>
                  <a:pt x="2679861" y="286788"/>
                  <a:pt x="2674323" y="281790"/>
                </a:cubicBezTo>
                <a:cubicBezTo>
                  <a:pt x="2671787" y="279500"/>
                  <a:pt x="2669512" y="278580"/>
                  <a:pt x="2667524" y="278974"/>
                </a:cubicBezTo>
                <a:close/>
                <a:moveTo>
                  <a:pt x="2403748" y="222584"/>
                </a:moveTo>
                <a:cubicBezTo>
                  <a:pt x="2406439" y="222027"/>
                  <a:pt x="2408792" y="224335"/>
                  <a:pt x="2408792" y="229925"/>
                </a:cubicBezTo>
                <a:cubicBezTo>
                  <a:pt x="2408792" y="235438"/>
                  <a:pt x="2405677" y="239949"/>
                  <a:pt x="2401869" y="239949"/>
                </a:cubicBezTo>
                <a:cubicBezTo>
                  <a:pt x="2398060" y="239949"/>
                  <a:pt x="2395724" y="236566"/>
                  <a:pt x="2396676" y="232431"/>
                </a:cubicBezTo>
                <a:cubicBezTo>
                  <a:pt x="2398027" y="226562"/>
                  <a:pt x="2401056" y="223140"/>
                  <a:pt x="2403748" y="222584"/>
                </a:cubicBezTo>
                <a:close/>
                <a:moveTo>
                  <a:pt x="3661635" y="214625"/>
                </a:moveTo>
                <a:cubicBezTo>
                  <a:pt x="3665279" y="214625"/>
                  <a:pt x="3668195" y="220253"/>
                  <a:pt x="3668195" y="227287"/>
                </a:cubicBezTo>
                <a:cubicBezTo>
                  <a:pt x="3668195" y="234321"/>
                  <a:pt x="3665279" y="239949"/>
                  <a:pt x="3661635" y="239949"/>
                </a:cubicBezTo>
                <a:cubicBezTo>
                  <a:pt x="3657991" y="239949"/>
                  <a:pt x="3655077" y="234321"/>
                  <a:pt x="3655077" y="227287"/>
                </a:cubicBezTo>
                <a:cubicBezTo>
                  <a:pt x="3655077" y="220253"/>
                  <a:pt x="3657991" y="214625"/>
                  <a:pt x="3661635" y="214625"/>
                </a:cubicBezTo>
                <a:close/>
                <a:moveTo>
                  <a:pt x="2458546" y="189624"/>
                </a:moveTo>
                <a:cubicBezTo>
                  <a:pt x="2461856" y="188735"/>
                  <a:pt x="2465760" y="190792"/>
                  <a:pt x="2468139" y="196363"/>
                </a:cubicBezTo>
                <a:cubicBezTo>
                  <a:pt x="2469953" y="200613"/>
                  <a:pt x="2478604" y="202209"/>
                  <a:pt x="2489869" y="200371"/>
                </a:cubicBezTo>
                <a:cubicBezTo>
                  <a:pt x="2506662" y="197630"/>
                  <a:pt x="2509560" y="199226"/>
                  <a:pt x="2518076" y="215902"/>
                </a:cubicBezTo>
                <a:cubicBezTo>
                  <a:pt x="2523296" y="226123"/>
                  <a:pt x="2526486" y="238565"/>
                  <a:pt x="2525165" y="243549"/>
                </a:cubicBezTo>
                <a:cubicBezTo>
                  <a:pt x="2521689" y="256664"/>
                  <a:pt x="2516449" y="254691"/>
                  <a:pt x="2511500" y="238403"/>
                </a:cubicBezTo>
                <a:cubicBezTo>
                  <a:pt x="2504650" y="215859"/>
                  <a:pt x="2492282" y="216449"/>
                  <a:pt x="2489102" y="239473"/>
                </a:cubicBezTo>
                <a:cubicBezTo>
                  <a:pt x="2485958" y="262227"/>
                  <a:pt x="2470013" y="267861"/>
                  <a:pt x="2470013" y="246218"/>
                </a:cubicBezTo>
                <a:cubicBezTo>
                  <a:pt x="2470013" y="239220"/>
                  <a:pt x="2466078" y="228616"/>
                  <a:pt x="2461268" y="222653"/>
                </a:cubicBezTo>
                <a:cubicBezTo>
                  <a:pt x="2456458" y="216690"/>
                  <a:pt x="2452522" y="206747"/>
                  <a:pt x="2452522" y="200557"/>
                </a:cubicBezTo>
                <a:cubicBezTo>
                  <a:pt x="2452522" y="194347"/>
                  <a:pt x="2455237" y="190513"/>
                  <a:pt x="2458546" y="189624"/>
                </a:cubicBezTo>
                <a:close/>
                <a:moveTo>
                  <a:pt x="2511298" y="176640"/>
                </a:moveTo>
                <a:cubicBezTo>
                  <a:pt x="2515048" y="176640"/>
                  <a:pt x="2518116" y="179489"/>
                  <a:pt x="2518116" y="182971"/>
                </a:cubicBezTo>
                <a:cubicBezTo>
                  <a:pt x="2518116" y="186454"/>
                  <a:pt x="2516264" y="189302"/>
                  <a:pt x="2514001" y="189302"/>
                </a:cubicBezTo>
                <a:cubicBezTo>
                  <a:pt x="2511738" y="189302"/>
                  <a:pt x="2508670" y="186454"/>
                  <a:pt x="2507183" y="182971"/>
                </a:cubicBezTo>
                <a:cubicBezTo>
                  <a:pt x="2505697" y="179489"/>
                  <a:pt x="2507548" y="176640"/>
                  <a:pt x="2511298" y="176640"/>
                </a:cubicBezTo>
                <a:close/>
                <a:moveTo>
                  <a:pt x="2555929" y="171777"/>
                </a:moveTo>
                <a:cubicBezTo>
                  <a:pt x="2566610" y="171004"/>
                  <a:pt x="2578329" y="172802"/>
                  <a:pt x="2582482" y="177792"/>
                </a:cubicBezTo>
                <a:cubicBezTo>
                  <a:pt x="2587445" y="183755"/>
                  <a:pt x="2586019" y="186637"/>
                  <a:pt x="2574699" y="193528"/>
                </a:cubicBezTo>
                <a:cubicBezTo>
                  <a:pt x="2558114" y="203624"/>
                  <a:pt x="2558671" y="203563"/>
                  <a:pt x="2555286" y="195633"/>
                </a:cubicBezTo>
                <a:cubicBezTo>
                  <a:pt x="2553799" y="192151"/>
                  <a:pt x="2548763" y="189302"/>
                  <a:pt x="2544095" y="189302"/>
                </a:cubicBezTo>
                <a:cubicBezTo>
                  <a:pt x="2539427" y="189302"/>
                  <a:pt x="2535607" y="185648"/>
                  <a:pt x="2535607" y="181183"/>
                </a:cubicBezTo>
                <a:cubicBezTo>
                  <a:pt x="2535607" y="175892"/>
                  <a:pt x="2545249" y="172549"/>
                  <a:pt x="2555929" y="171777"/>
                </a:cubicBezTo>
                <a:close/>
                <a:moveTo>
                  <a:pt x="2651238" y="166688"/>
                </a:moveTo>
                <a:cubicBezTo>
                  <a:pt x="2657528" y="168492"/>
                  <a:pt x="2662423" y="175539"/>
                  <a:pt x="2662423" y="186823"/>
                </a:cubicBezTo>
                <a:cubicBezTo>
                  <a:pt x="2662423" y="195151"/>
                  <a:pt x="2660493" y="201964"/>
                  <a:pt x="2658132" y="201964"/>
                </a:cubicBezTo>
                <a:cubicBezTo>
                  <a:pt x="2655774" y="201964"/>
                  <a:pt x="2652609" y="209086"/>
                  <a:pt x="2651099" y="217791"/>
                </a:cubicBezTo>
                <a:cubicBezTo>
                  <a:pt x="2648579" y="232326"/>
                  <a:pt x="2632643" y="241240"/>
                  <a:pt x="2631294" y="228870"/>
                </a:cubicBezTo>
                <a:cubicBezTo>
                  <a:pt x="2631009" y="226259"/>
                  <a:pt x="2631009" y="221985"/>
                  <a:pt x="2631294" y="219374"/>
                </a:cubicBezTo>
                <a:cubicBezTo>
                  <a:pt x="2631578" y="216762"/>
                  <a:pt x="2629844" y="214625"/>
                  <a:pt x="2627439" y="214625"/>
                </a:cubicBezTo>
                <a:cubicBezTo>
                  <a:pt x="2620291" y="214625"/>
                  <a:pt x="2622736" y="193545"/>
                  <a:pt x="2631687" y="178004"/>
                </a:cubicBezTo>
                <a:cubicBezTo>
                  <a:pt x="2637265" y="168321"/>
                  <a:pt x="2644949" y="164883"/>
                  <a:pt x="2651238" y="166688"/>
                </a:cubicBezTo>
                <a:close/>
                <a:moveTo>
                  <a:pt x="3294675" y="163979"/>
                </a:moveTo>
                <a:cubicBezTo>
                  <a:pt x="3302396" y="163979"/>
                  <a:pt x="3301052" y="177608"/>
                  <a:pt x="3292944" y="181520"/>
                </a:cubicBezTo>
                <a:cubicBezTo>
                  <a:pt x="3290088" y="182899"/>
                  <a:pt x="3287751" y="179516"/>
                  <a:pt x="3287751" y="174003"/>
                </a:cubicBezTo>
                <a:cubicBezTo>
                  <a:pt x="3287751" y="168490"/>
                  <a:pt x="3290866" y="163979"/>
                  <a:pt x="3294675" y="163979"/>
                </a:cubicBezTo>
                <a:close/>
                <a:moveTo>
                  <a:pt x="3593184" y="152944"/>
                </a:moveTo>
                <a:cubicBezTo>
                  <a:pt x="3595875" y="152388"/>
                  <a:pt x="3598229" y="154696"/>
                  <a:pt x="3598229" y="160286"/>
                </a:cubicBezTo>
                <a:cubicBezTo>
                  <a:pt x="3598229" y="165799"/>
                  <a:pt x="3595112" y="170310"/>
                  <a:pt x="3591305" y="170310"/>
                </a:cubicBezTo>
                <a:cubicBezTo>
                  <a:pt x="3587497" y="170310"/>
                  <a:pt x="3585159" y="166926"/>
                  <a:pt x="3586112" y="162792"/>
                </a:cubicBezTo>
                <a:cubicBezTo>
                  <a:pt x="3587463" y="156923"/>
                  <a:pt x="3590492" y="153501"/>
                  <a:pt x="3593184" y="152944"/>
                </a:cubicBezTo>
                <a:close/>
                <a:moveTo>
                  <a:pt x="2447768" y="122488"/>
                </a:moveTo>
                <a:cubicBezTo>
                  <a:pt x="2454976" y="128937"/>
                  <a:pt x="2453468" y="151317"/>
                  <a:pt x="2445825" y="151317"/>
                </a:cubicBezTo>
                <a:cubicBezTo>
                  <a:pt x="2442142" y="151317"/>
                  <a:pt x="2437945" y="146852"/>
                  <a:pt x="2436499" y="141395"/>
                </a:cubicBezTo>
                <a:cubicBezTo>
                  <a:pt x="2433343" y="129488"/>
                  <a:pt x="2441081" y="116504"/>
                  <a:pt x="2447768" y="122488"/>
                </a:cubicBezTo>
                <a:close/>
                <a:moveTo>
                  <a:pt x="2758453" y="113837"/>
                </a:moveTo>
                <a:cubicBezTo>
                  <a:pt x="2758489" y="112848"/>
                  <a:pt x="2756442" y="113310"/>
                  <a:pt x="2752343" y="114355"/>
                </a:cubicBezTo>
                <a:cubicBezTo>
                  <a:pt x="2743193" y="116691"/>
                  <a:pt x="2733150" y="156532"/>
                  <a:pt x="2739995" y="163342"/>
                </a:cubicBezTo>
                <a:cubicBezTo>
                  <a:pt x="2746060" y="169373"/>
                  <a:pt x="2753611" y="202383"/>
                  <a:pt x="2756797" y="236783"/>
                </a:cubicBezTo>
                <a:cubicBezTo>
                  <a:pt x="2760450" y="276217"/>
                  <a:pt x="2765335" y="286290"/>
                  <a:pt x="2776577" y="277579"/>
                </a:cubicBezTo>
                <a:cubicBezTo>
                  <a:pt x="2782786" y="272768"/>
                  <a:pt x="2784864" y="264163"/>
                  <a:pt x="2784864" y="243265"/>
                </a:cubicBezTo>
                <a:cubicBezTo>
                  <a:pt x="2784864" y="227925"/>
                  <a:pt x="2786832" y="213612"/>
                  <a:pt x="2789237" y="211460"/>
                </a:cubicBezTo>
                <a:cubicBezTo>
                  <a:pt x="2796011" y="205400"/>
                  <a:pt x="2794395" y="176679"/>
                  <a:pt x="2787050" y="172599"/>
                </a:cubicBezTo>
                <a:cubicBezTo>
                  <a:pt x="2783443" y="170595"/>
                  <a:pt x="2780492" y="164868"/>
                  <a:pt x="2780492" y="159871"/>
                </a:cubicBezTo>
                <a:cubicBezTo>
                  <a:pt x="2780492" y="143577"/>
                  <a:pt x="2765437" y="126054"/>
                  <a:pt x="2754010" y="129045"/>
                </a:cubicBezTo>
                <a:cubicBezTo>
                  <a:pt x="2743566" y="131779"/>
                  <a:pt x="2743521" y="131619"/>
                  <a:pt x="2752067" y="122018"/>
                </a:cubicBezTo>
                <a:cubicBezTo>
                  <a:pt x="2756299" y="117264"/>
                  <a:pt x="2758418" y="114826"/>
                  <a:pt x="2758453" y="113837"/>
                </a:cubicBezTo>
                <a:close/>
                <a:moveTo>
                  <a:pt x="3208103" y="91897"/>
                </a:moveTo>
                <a:cubicBezTo>
                  <a:pt x="3213281" y="90045"/>
                  <a:pt x="3217784" y="97707"/>
                  <a:pt x="3217784" y="116250"/>
                </a:cubicBezTo>
                <a:cubicBezTo>
                  <a:pt x="3217784" y="127720"/>
                  <a:pt x="3220735" y="140651"/>
                  <a:pt x="3224343" y="144986"/>
                </a:cubicBezTo>
                <a:cubicBezTo>
                  <a:pt x="3227951" y="149321"/>
                  <a:pt x="3230903" y="159844"/>
                  <a:pt x="3230903" y="168372"/>
                </a:cubicBezTo>
                <a:cubicBezTo>
                  <a:pt x="3230903" y="176899"/>
                  <a:pt x="3233854" y="188149"/>
                  <a:pt x="3237462" y="193372"/>
                </a:cubicBezTo>
                <a:cubicBezTo>
                  <a:pt x="3244242" y="203188"/>
                  <a:pt x="3246531" y="221731"/>
                  <a:pt x="3240742" y="219944"/>
                </a:cubicBezTo>
                <a:cubicBezTo>
                  <a:pt x="3238938" y="219386"/>
                  <a:pt x="3231221" y="217798"/>
                  <a:pt x="3223595" y="216414"/>
                </a:cubicBezTo>
                <a:cubicBezTo>
                  <a:pt x="3203557" y="212779"/>
                  <a:pt x="3185757" y="185085"/>
                  <a:pt x="3189004" y="162600"/>
                </a:cubicBezTo>
                <a:cubicBezTo>
                  <a:pt x="3190402" y="152912"/>
                  <a:pt x="3192816" y="135822"/>
                  <a:pt x="3194368" y="124622"/>
                </a:cubicBezTo>
                <a:cubicBezTo>
                  <a:pt x="3197072" y="105112"/>
                  <a:pt x="3202925" y="93748"/>
                  <a:pt x="3208103" y="91897"/>
                </a:cubicBezTo>
                <a:close/>
                <a:moveTo>
                  <a:pt x="3421125" y="62685"/>
                </a:moveTo>
                <a:cubicBezTo>
                  <a:pt x="3424732" y="62685"/>
                  <a:pt x="3427684" y="66958"/>
                  <a:pt x="3427684" y="72181"/>
                </a:cubicBezTo>
                <a:cubicBezTo>
                  <a:pt x="3427684" y="77405"/>
                  <a:pt x="3429221" y="81678"/>
                  <a:pt x="3431098" y="81678"/>
                </a:cubicBezTo>
                <a:cubicBezTo>
                  <a:pt x="3435608" y="81678"/>
                  <a:pt x="3445240" y="118931"/>
                  <a:pt x="3441509" y="121946"/>
                </a:cubicBezTo>
                <a:cubicBezTo>
                  <a:pt x="3439919" y="123233"/>
                  <a:pt x="3436145" y="123001"/>
                  <a:pt x="3433123" y="121434"/>
                </a:cubicBezTo>
                <a:cubicBezTo>
                  <a:pt x="3430102" y="119865"/>
                  <a:pt x="3428743" y="115976"/>
                  <a:pt x="3430102" y="112791"/>
                </a:cubicBezTo>
                <a:cubicBezTo>
                  <a:pt x="3431461" y="109606"/>
                  <a:pt x="3430490" y="107001"/>
                  <a:pt x="3427942" y="107001"/>
                </a:cubicBezTo>
                <a:cubicBezTo>
                  <a:pt x="3425395" y="107001"/>
                  <a:pt x="3423312" y="101303"/>
                  <a:pt x="3423312" y="94339"/>
                </a:cubicBezTo>
                <a:cubicBezTo>
                  <a:pt x="3423312" y="87375"/>
                  <a:pt x="3421344" y="81678"/>
                  <a:pt x="3418939" y="81678"/>
                </a:cubicBezTo>
                <a:cubicBezTo>
                  <a:pt x="3416533" y="81678"/>
                  <a:pt x="3414566" y="77405"/>
                  <a:pt x="3414566" y="72181"/>
                </a:cubicBezTo>
                <a:cubicBezTo>
                  <a:pt x="3414566" y="66958"/>
                  <a:pt x="3417517" y="62685"/>
                  <a:pt x="3421125" y="62685"/>
                </a:cubicBezTo>
                <a:close/>
                <a:moveTo>
                  <a:pt x="3123228" y="39762"/>
                </a:moveTo>
                <a:cubicBezTo>
                  <a:pt x="3124340" y="38590"/>
                  <a:pt x="3126716" y="40562"/>
                  <a:pt x="3129915" y="46141"/>
                </a:cubicBezTo>
                <a:cubicBezTo>
                  <a:pt x="3133020" y="51558"/>
                  <a:pt x="3133456" y="56718"/>
                  <a:pt x="3130996" y="58920"/>
                </a:cubicBezTo>
                <a:cubicBezTo>
                  <a:pt x="3128726" y="60950"/>
                  <a:pt x="3125632" y="57947"/>
                  <a:pt x="3124122" y="52246"/>
                </a:cubicBezTo>
                <a:cubicBezTo>
                  <a:pt x="3122267" y="45250"/>
                  <a:pt x="3122116" y="40934"/>
                  <a:pt x="3123228" y="39762"/>
                </a:cubicBezTo>
                <a:close/>
                <a:moveTo>
                  <a:pt x="3491456" y="6650"/>
                </a:moveTo>
                <a:cubicBezTo>
                  <a:pt x="3493713" y="7680"/>
                  <a:pt x="3496272" y="11147"/>
                  <a:pt x="3502024" y="18369"/>
                </a:cubicBezTo>
                <a:cubicBezTo>
                  <a:pt x="3507571" y="25333"/>
                  <a:pt x="3514759" y="31031"/>
                  <a:pt x="3517999" y="31031"/>
                </a:cubicBezTo>
                <a:cubicBezTo>
                  <a:pt x="3521238" y="31031"/>
                  <a:pt x="3523889" y="33879"/>
                  <a:pt x="3523889" y="37362"/>
                </a:cubicBezTo>
                <a:cubicBezTo>
                  <a:pt x="3523889" y="40844"/>
                  <a:pt x="3526840" y="43693"/>
                  <a:pt x="3530448" y="43693"/>
                </a:cubicBezTo>
                <a:cubicBezTo>
                  <a:pt x="3534146" y="43693"/>
                  <a:pt x="3537008" y="49356"/>
                  <a:pt x="3537008" y="56677"/>
                </a:cubicBezTo>
                <a:cubicBezTo>
                  <a:pt x="3537008" y="68583"/>
                  <a:pt x="3565454" y="113232"/>
                  <a:pt x="3573084" y="113301"/>
                </a:cubicBezTo>
                <a:cubicBezTo>
                  <a:pt x="3574888" y="113318"/>
                  <a:pt x="3576364" y="117914"/>
                  <a:pt x="3576364" y="123514"/>
                </a:cubicBezTo>
                <a:cubicBezTo>
                  <a:pt x="3576364" y="131092"/>
                  <a:pt x="3573688" y="132724"/>
                  <a:pt x="3565906" y="129897"/>
                </a:cubicBezTo>
                <a:cubicBezTo>
                  <a:pt x="3556533" y="126491"/>
                  <a:pt x="3555257" y="128464"/>
                  <a:pt x="3553610" y="148893"/>
                </a:cubicBezTo>
                <a:cubicBezTo>
                  <a:pt x="3552230" y="165993"/>
                  <a:pt x="3553751" y="173479"/>
                  <a:pt x="3559695" y="178853"/>
                </a:cubicBezTo>
                <a:cubicBezTo>
                  <a:pt x="3568675" y="186973"/>
                  <a:pt x="3570011" y="202298"/>
                  <a:pt x="3562664" y="212934"/>
                </a:cubicBezTo>
                <a:cubicBezTo>
                  <a:pt x="3556064" y="222489"/>
                  <a:pt x="3561075" y="239949"/>
                  <a:pt x="3570416" y="239949"/>
                </a:cubicBezTo>
                <a:cubicBezTo>
                  <a:pt x="3574511" y="239949"/>
                  <a:pt x="3581581" y="235077"/>
                  <a:pt x="3586126" y="229122"/>
                </a:cubicBezTo>
                <a:cubicBezTo>
                  <a:pt x="3593093" y="219993"/>
                  <a:pt x="3594988" y="219697"/>
                  <a:pt x="3598207" y="227237"/>
                </a:cubicBezTo>
                <a:cubicBezTo>
                  <a:pt x="3600306" y="232155"/>
                  <a:pt x="3600918" y="238770"/>
                  <a:pt x="3599566" y="241937"/>
                </a:cubicBezTo>
                <a:cubicBezTo>
                  <a:pt x="3596331" y="249514"/>
                  <a:pt x="3606716" y="258723"/>
                  <a:pt x="3618632" y="258845"/>
                </a:cubicBezTo>
                <a:cubicBezTo>
                  <a:pt x="3629513" y="258956"/>
                  <a:pt x="3661535" y="300242"/>
                  <a:pt x="3665357" y="319085"/>
                </a:cubicBezTo>
                <a:cubicBezTo>
                  <a:pt x="3666770" y="326049"/>
                  <a:pt x="3666225" y="342430"/>
                  <a:pt x="3664147" y="355487"/>
                </a:cubicBezTo>
                <a:cubicBezTo>
                  <a:pt x="3661949" y="369306"/>
                  <a:pt x="3662006" y="379228"/>
                  <a:pt x="3664283" y="379228"/>
                </a:cubicBezTo>
                <a:cubicBezTo>
                  <a:pt x="3666434" y="379228"/>
                  <a:pt x="3668196" y="383501"/>
                  <a:pt x="3668196" y="388724"/>
                </a:cubicBezTo>
                <a:cubicBezTo>
                  <a:pt x="3668196" y="393948"/>
                  <a:pt x="3670163" y="398220"/>
                  <a:pt x="3672568" y="398220"/>
                </a:cubicBezTo>
                <a:cubicBezTo>
                  <a:pt x="3674973" y="398220"/>
                  <a:pt x="3676941" y="408680"/>
                  <a:pt x="3676941" y="421463"/>
                </a:cubicBezTo>
                <a:cubicBezTo>
                  <a:pt x="3676941" y="434246"/>
                  <a:pt x="3679674" y="449202"/>
                  <a:pt x="3683014" y="454700"/>
                </a:cubicBezTo>
                <a:cubicBezTo>
                  <a:pt x="3686353" y="460197"/>
                  <a:pt x="3690445" y="473953"/>
                  <a:pt x="3692108" y="485270"/>
                </a:cubicBezTo>
                <a:cubicBezTo>
                  <a:pt x="3694511" y="501645"/>
                  <a:pt x="3693718" y="505845"/>
                  <a:pt x="3688220" y="505845"/>
                </a:cubicBezTo>
                <a:cubicBezTo>
                  <a:pt x="3684422" y="505845"/>
                  <a:pt x="3681806" y="502731"/>
                  <a:pt x="3682407" y="498925"/>
                </a:cubicBezTo>
                <a:cubicBezTo>
                  <a:pt x="3684346" y="486656"/>
                  <a:pt x="3669145" y="476556"/>
                  <a:pt x="3660542" y="484398"/>
                </a:cubicBezTo>
                <a:cubicBezTo>
                  <a:pt x="3649957" y="494048"/>
                  <a:pt x="3648855" y="508671"/>
                  <a:pt x="3656943" y="532140"/>
                </a:cubicBezTo>
                <a:cubicBezTo>
                  <a:pt x="3660727" y="543122"/>
                  <a:pt x="3663823" y="559054"/>
                  <a:pt x="3663823" y="567545"/>
                </a:cubicBezTo>
                <a:cubicBezTo>
                  <a:pt x="3663823" y="576036"/>
                  <a:pt x="3667758" y="590227"/>
                  <a:pt x="3672568" y="599081"/>
                </a:cubicBezTo>
                <a:cubicBezTo>
                  <a:pt x="3677379" y="607934"/>
                  <a:pt x="3681314" y="620323"/>
                  <a:pt x="3681314" y="626611"/>
                </a:cubicBezTo>
                <a:cubicBezTo>
                  <a:pt x="3681314" y="632900"/>
                  <a:pt x="3683281" y="639807"/>
                  <a:pt x="3685687" y="641959"/>
                </a:cubicBezTo>
                <a:cubicBezTo>
                  <a:pt x="3688092" y="644110"/>
                  <a:pt x="3690060" y="652384"/>
                  <a:pt x="3690060" y="660343"/>
                </a:cubicBezTo>
                <a:cubicBezTo>
                  <a:pt x="3690060" y="678177"/>
                  <a:pt x="3704117" y="697639"/>
                  <a:pt x="3714879" y="694706"/>
                </a:cubicBezTo>
                <a:cubicBezTo>
                  <a:pt x="3719266" y="693510"/>
                  <a:pt x="3724799" y="686138"/>
                  <a:pt x="3727174" y="678324"/>
                </a:cubicBezTo>
                <a:cubicBezTo>
                  <a:pt x="3729816" y="669628"/>
                  <a:pt x="3735329" y="664117"/>
                  <a:pt x="3741385" y="664117"/>
                </a:cubicBezTo>
                <a:cubicBezTo>
                  <a:pt x="3756867" y="664117"/>
                  <a:pt x="3753920" y="686819"/>
                  <a:pt x="3736264" y="703575"/>
                </a:cubicBezTo>
                <a:cubicBezTo>
                  <a:pt x="3719509" y="719476"/>
                  <a:pt x="3710769" y="756437"/>
                  <a:pt x="3721445" y="766238"/>
                </a:cubicBezTo>
                <a:cubicBezTo>
                  <a:pt x="3730163" y="774239"/>
                  <a:pt x="3743706" y="772450"/>
                  <a:pt x="3753209" y="762044"/>
                </a:cubicBezTo>
                <a:cubicBezTo>
                  <a:pt x="3769495" y="744212"/>
                  <a:pt x="3785979" y="753179"/>
                  <a:pt x="3792622" y="783484"/>
                </a:cubicBezTo>
                <a:cubicBezTo>
                  <a:pt x="3796816" y="802612"/>
                  <a:pt x="3814112" y="799777"/>
                  <a:pt x="3816087" y="779639"/>
                </a:cubicBezTo>
                <a:cubicBezTo>
                  <a:pt x="3816856" y="771797"/>
                  <a:pt x="3824235" y="757926"/>
                  <a:pt x="3832485" y="748816"/>
                </a:cubicBezTo>
                <a:cubicBezTo>
                  <a:pt x="3844749" y="735275"/>
                  <a:pt x="3847474" y="728059"/>
                  <a:pt x="3847425" y="709264"/>
                </a:cubicBezTo>
                <a:cubicBezTo>
                  <a:pt x="3847352" y="681364"/>
                  <a:pt x="3843200" y="656960"/>
                  <a:pt x="3839142" y="660590"/>
                </a:cubicBezTo>
                <a:cubicBezTo>
                  <a:pt x="3834328" y="664898"/>
                  <a:pt x="3838060" y="573936"/>
                  <a:pt x="3842989" y="566799"/>
                </a:cubicBezTo>
                <a:cubicBezTo>
                  <a:pt x="3845462" y="563219"/>
                  <a:pt x="3847485" y="555512"/>
                  <a:pt x="3847485" y="549670"/>
                </a:cubicBezTo>
                <a:cubicBezTo>
                  <a:pt x="3847485" y="543829"/>
                  <a:pt x="3850200" y="535788"/>
                  <a:pt x="3853517" y="531802"/>
                </a:cubicBezTo>
                <a:cubicBezTo>
                  <a:pt x="3861375" y="522361"/>
                  <a:pt x="3865336" y="492780"/>
                  <a:pt x="3861473" y="472401"/>
                </a:cubicBezTo>
                <a:cubicBezTo>
                  <a:pt x="3859792" y="463537"/>
                  <a:pt x="3851164" y="444615"/>
                  <a:pt x="3842299" y="430355"/>
                </a:cubicBezTo>
                <a:cubicBezTo>
                  <a:pt x="3833435" y="416093"/>
                  <a:pt x="3824791" y="398044"/>
                  <a:pt x="3823090" y="390244"/>
                </a:cubicBezTo>
                <a:cubicBezTo>
                  <a:pt x="3821387" y="382444"/>
                  <a:pt x="3816342" y="371455"/>
                  <a:pt x="3811876" y="365824"/>
                </a:cubicBezTo>
                <a:cubicBezTo>
                  <a:pt x="3807409" y="360192"/>
                  <a:pt x="3803756" y="351137"/>
                  <a:pt x="3803756" y="345701"/>
                </a:cubicBezTo>
                <a:cubicBezTo>
                  <a:pt x="3803756" y="340264"/>
                  <a:pt x="3801296" y="331942"/>
                  <a:pt x="3798290" y="327206"/>
                </a:cubicBezTo>
                <a:cubicBezTo>
                  <a:pt x="3787028" y="309466"/>
                  <a:pt x="3782277" y="290931"/>
                  <a:pt x="3783985" y="271395"/>
                </a:cubicBezTo>
                <a:cubicBezTo>
                  <a:pt x="3786140" y="246750"/>
                  <a:pt x="3789194" y="241660"/>
                  <a:pt x="3795958" y="251450"/>
                </a:cubicBezTo>
                <a:cubicBezTo>
                  <a:pt x="3798804" y="255570"/>
                  <a:pt x="3805835" y="258942"/>
                  <a:pt x="3811582" y="258942"/>
                </a:cubicBezTo>
                <a:cubicBezTo>
                  <a:pt x="3823136" y="258942"/>
                  <a:pt x="3838367" y="281252"/>
                  <a:pt x="3838594" y="298509"/>
                </a:cubicBezTo>
                <a:cubicBezTo>
                  <a:pt x="3838673" y="304603"/>
                  <a:pt x="3840707" y="309588"/>
                  <a:pt x="3843112" y="309588"/>
                </a:cubicBezTo>
                <a:cubicBezTo>
                  <a:pt x="3845518" y="309588"/>
                  <a:pt x="3847485" y="313965"/>
                  <a:pt x="3847485" y="319315"/>
                </a:cubicBezTo>
                <a:cubicBezTo>
                  <a:pt x="3847485" y="324665"/>
                  <a:pt x="3862335" y="350059"/>
                  <a:pt x="3880487" y="375747"/>
                </a:cubicBezTo>
                <a:lnTo>
                  <a:pt x="3913488" y="422452"/>
                </a:lnTo>
                <a:lnTo>
                  <a:pt x="3912190" y="462566"/>
                </a:lnTo>
                <a:lnTo>
                  <a:pt x="3910892" y="502680"/>
                </a:lnTo>
                <a:lnTo>
                  <a:pt x="3924010" y="504823"/>
                </a:lnTo>
                <a:cubicBezTo>
                  <a:pt x="3942999" y="507924"/>
                  <a:pt x="3948063" y="516714"/>
                  <a:pt x="3948063" y="546577"/>
                </a:cubicBezTo>
                <a:cubicBezTo>
                  <a:pt x="3948063" y="564774"/>
                  <a:pt x="3950947" y="577580"/>
                  <a:pt x="3957252" y="587378"/>
                </a:cubicBezTo>
                <a:cubicBezTo>
                  <a:pt x="3963929" y="597753"/>
                  <a:pt x="3965963" y="607602"/>
                  <a:pt x="3964689" y="623392"/>
                </a:cubicBezTo>
                <a:cubicBezTo>
                  <a:pt x="3963726" y="635344"/>
                  <a:pt x="3964510" y="645124"/>
                  <a:pt x="3966432" y="645124"/>
                </a:cubicBezTo>
                <a:cubicBezTo>
                  <a:pt x="3968354" y="645124"/>
                  <a:pt x="3969927" y="653671"/>
                  <a:pt x="3969927" y="664117"/>
                </a:cubicBezTo>
                <a:cubicBezTo>
                  <a:pt x="3969927" y="678989"/>
                  <a:pt x="3967999" y="683109"/>
                  <a:pt x="3961040" y="683109"/>
                </a:cubicBezTo>
                <a:cubicBezTo>
                  <a:pt x="3948054" y="683109"/>
                  <a:pt x="3943151" y="707199"/>
                  <a:pt x="3951373" y="730591"/>
                </a:cubicBezTo>
                <a:cubicBezTo>
                  <a:pt x="3955046" y="741036"/>
                  <a:pt x="3959445" y="753857"/>
                  <a:pt x="3961150" y="759079"/>
                </a:cubicBezTo>
                <a:cubicBezTo>
                  <a:pt x="3962855" y="764302"/>
                  <a:pt x="3969441" y="769474"/>
                  <a:pt x="3975786" y="770572"/>
                </a:cubicBezTo>
                <a:cubicBezTo>
                  <a:pt x="3982132" y="771671"/>
                  <a:pt x="3990139" y="778389"/>
                  <a:pt x="3993580" y="785503"/>
                </a:cubicBezTo>
                <a:cubicBezTo>
                  <a:pt x="3997023" y="792617"/>
                  <a:pt x="4001963" y="796536"/>
                  <a:pt x="4004560" y="794212"/>
                </a:cubicBezTo>
                <a:cubicBezTo>
                  <a:pt x="4014268" y="785527"/>
                  <a:pt x="4018223" y="797801"/>
                  <a:pt x="4011235" y="814926"/>
                </a:cubicBezTo>
                <a:cubicBezTo>
                  <a:pt x="4005848" y="828130"/>
                  <a:pt x="4005321" y="835790"/>
                  <a:pt x="4008872" y="849310"/>
                </a:cubicBezTo>
                <a:cubicBezTo>
                  <a:pt x="4014915" y="872322"/>
                  <a:pt x="4024350" y="871260"/>
                  <a:pt x="4041280" y="845658"/>
                </a:cubicBezTo>
                <a:cubicBezTo>
                  <a:pt x="4048936" y="834083"/>
                  <a:pt x="4058642" y="822777"/>
                  <a:pt x="4062851" y="820534"/>
                </a:cubicBezTo>
                <a:cubicBezTo>
                  <a:pt x="4067060" y="818290"/>
                  <a:pt x="4070504" y="810836"/>
                  <a:pt x="4070504" y="803968"/>
                </a:cubicBezTo>
                <a:cubicBezTo>
                  <a:pt x="4070504" y="797100"/>
                  <a:pt x="4072558" y="789643"/>
                  <a:pt x="4075068" y="787397"/>
                </a:cubicBezTo>
                <a:cubicBezTo>
                  <a:pt x="4082578" y="780678"/>
                  <a:pt x="4092369" y="797337"/>
                  <a:pt x="4092369" y="816832"/>
                </a:cubicBezTo>
                <a:cubicBezTo>
                  <a:pt x="4092369" y="826852"/>
                  <a:pt x="4094336" y="835050"/>
                  <a:pt x="4096742" y="835050"/>
                </a:cubicBezTo>
                <a:cubicBezTo>
                  <a:pt x="4099147" y="835050"/>
                  <a:pt x="4101115" y="838974"/>
                  <a:pt x="4101115" y="843771"/>
                </a:cubicBezTo>
                <a:cubicBezTo>
                  <a:pt x="4101115" y="848568"/>
                  <a:pt x="4103939" y="855887"/>
                  <a:pt x="4107393" y="860036"/>
                </a:cubicBezTo>
                <a:cubicBezTo>
                  <a:pt x="4110846" y="864184"/>
                  <a:pt x="4114938" y="875929"/>
                  <a:pt x="4116486" y="886134"/>
                </a:cubicBezTo>
                <a:cubicBezTo>
                  <a:pt x="4118035" y="896339"/>
                  <a:pt x="4120903" y="904689"/>
                  <a:pt x="4122859" y="904689"/>
                </a:cubicBezTo>
                <a:cubicBezTo>
                  <a:pt x="4129480" y="904689"/>
                  <a:pt x="4132273" y="926431"/>
                  <a:pt x="4126496" y="933011"/>
                </a:cubicBezTo>
                <a:cubicBezTo>
                  <a:pt x="4123360" y="936585"/>
                  <a:pt x="4120164" y="950905"/>
                  <a:pt x="4119395" y="964833"/>
                </a:cubicBezTo>
                <a:cubicBezTo>
                  <a:pt x="4118627" y="978760"/>
                  <a:pt x="4114199" y="996037"/>
                  <a:pt x="4109556" y="1003225"/>
                </a:cubicBezTo>
                <a:cubicBezTo>
                  <a:pt x="4102882" y="1013559"/>
                  <a:pt x="4101223" y="1024826"/>
                  <a:pt x="4101632" y="1057038"/>
                </a:cubicBezTo>
                <a:cubicBezTo>
                  <a:pt x="4102419" y="1118983"/>
                  <a:pt x="4105729" y="1134108"/>
                  <a:pt x="4119684" y="1139507"/>
                </a:cubicBezTo>
                <a:cubicBezTo>
                  <a:pt x="4129383" y="1143260"/>
                  <a:pt x="4133289" y="1141217"/>
                  <a:pt x="4139990" y="1128881"/>
                </a:cubicBezTo>
                <a:cubicBezTo>
                  <a:pt x="4149734" y="1110949"/>
                  <a:pt x="4161440" y="1109019"/>
                  <a:pt x="4165434" y="1124687"/>
                </a:cubicBezTo>
                <a:cubicBezTo>
                  <a:pt x="4166987" y="1130780"/>
                  <a:pt x="4169593" y="1137190"/>
                  <a:pt x="4171225" y="1138931"/>
                </a:cubicBezTo>
                <a:cubicBezTo>
                  <a:pt x="4172858" y="1140671"/>
                  <a:pt x="4175524" y="1152580"/>
                  <a:pt x="4177151" y="1165392"/>
                </a:cubicBezTo>
                <a:cubicBezTo>
                  <a:pt x="4179716" y="1185600"/>
                  <a:pt x="4178500" y="1190847"/>
                  <a:pt x="4167975" y="1204976"/>
                </a:cubicBezTo>
                <a:cubicBezTo>
                  <a:pt x="4149740" y="1229454"/>
                  <a:pt x="4143811" y="1222224"/>
                  <a:pt x="4151601" y="1185009"/>
                </a:cubicBezTo>
                <a:cubicBezTo>
                  <a:pt x="4157255" y="1157992"/>
                  <a:pt x="4122446" y="1148532"/>
                  <a:pt x="4115472" y="1175190"/>
                </a:cubicBezTo>
                <a:cubicBezTo>
                  <a:pt x="4111829" y="1189114"/>
                  <a:pt x="4103120" y="1202239"/>
                  <a:pt x="4097522" y="1202239"/>
                </a:cubicBezTo>
                <a:cubicBezTo>
                  <a:pt x="4090898" y="1202239"/>
                  <a:pt x="4088241" y="1185964"/>
                  <a:pt x="4090938" y="1161908"/>
                </a:cubicBezTo>
                <a:cubicBezTo>
                  <a:pt x="4092778" y="1145484"/>
                  <a:pt x="4091040" y="1135021"/>
                  <a:pt x="4084144" y="1120998"/>
                </a:cubicBezTo>
                <a:cubicBezTo>
                  <a:pt x="4079047" y="1110635"/>
                  <a:pt x="4074877" y="1098965"/>
                  <a:pt x="4074877" y="1095063"/>
                </a:cubicBezTo>
                <a:cubicBezTo>
                  <a:pt x="4074877" y="1091163"/>
                  <a:pt x="4069744" y="1085145"/>
                  <a:pt x="4063469" y="1081691"/>
                </a:cubicBezTo>
                <a:cubicBezTo>
                  <a:pt x="4054637" y="1076829"/>
                  <a:pt x="4053151" y="1073513"/>
                  <a:pt x="4056887" y="1066994"/>
                </a:cubicBezTo>
                <a:cubicBezTo>
                  <a:pt x="4060299" y="1061044"/>
                  <a:pt x="4060487" y="1044568"/>
                  <a:pt x="4057531" y="1010814"/>
                </a:cubicBezTo>
                <a:cubicBezTo>
                  <a:pt x="4055058" y="982581"/>
                  <a:pt x="4054928" y="955081"/>
                  <a:pt x="4057210" y="943558"/>
                </a:cubicBezTo>
                <a:cubicBezTo>
                  <a:pt x="4059334" y="932835"/>
                  <a:pt x="4059619" y="916195"/>
                  <a:pt x="4057842" y="906579"/>
                </a:cubicBezTo>
                <a:cubicBezTo>
                  <a:pt x="4055189" y="892214"/>
                  <a:pt x="4051242" y="888129"/>
                  <a:pt x="4035718" y="883685"/>
                </a:cubicBezTo>
                <a:cubicBezTo>
                  <a:pt x="4015653" y="877940"/>
                  <a:pt x="4009486" y="883293"/>
                  <a:pt x="4009350" y="906575"/>
                </a:cubicBezTo>
                <a:cubicBezTo>
                  <a:pt x="4009314" y="912836"/>
                  <a:pt x="4004078" y="924439"/>
                  <a:pt x="3997719" y="932360"/>
                </a:cubicBezTo>
                <a:cubicBezTo>
                  <a:pt x="3987364" y="945255"/>
                  <a:pt x="3986526" y="949361"/>
                  <a:pt x="3989704" y="971623"/>
                </a:cubicBezTo>
                <a:cubicBezTo>
                  <a:pt x="3991655" y="985298"/>
                  <a:pt x="3992795" y="1000315"/>
                  <a:pt x="3992236" y="1004994"/>
                </a:cubicBezTo>
                <a:cubicBezTo>
                  <a:pt x="3991480" y="1011323"/>
                  <a:pt x="3994652" y="1012410"/>
                  <a:pt x="4004625" y="1009239"/>
                </a:cubicBezTo>
                <a:cubicBezTo>
                  <a:pt x="4014796" y="1006005"/>
                  <a:pt x="4018029" y="1007202"/>
                  <a:pt x="4018029" y="1014201"/>
                </a:cubicBezTo>
                <a:cubicBezTo>
                  <a:pt x="4018029" y="1019274"/>
                  <a:pt x="4020980" y="1026971"/>
                  <a:pt x="4024588" y="1031306"/>
                </a:cubicBezTo>
                <a:cubicBezTo>
                  <a:pt x="4028195" y="1035641"/>
                  <a:pt x="4031148" y="1045961"/>
                  <a:pt x="4031148" y="1054239"/>
                </a:cubicBezTo>
                <a:cubicBezTo>
                  <a:pt x="4031148" y="1062518"/>
                  <a:pt x="4033115" y="1069291"/>
                  <a:pt x="4035521" y="1069291"/>
                </a:cubicBezTo>
                <a:cubicBezTo>
                  <a:pt x="4037926" y="1069291"/>
                  <a:pt x="4039924" y="1074277"/>
                  <a:pt x="4039960" y="1080371"/>
                </a:cubicBezTo>
                <a:cubicBezTo>
                  <a:pt x="4040018" y="1089839"/>
                  <a:pt x="4040644" y="1090069"/>
                  <a:pt x="4044266" y="1081953"/>
                </a:cubicBezTo>
                <a:cubicBezTo>
                  <a:pt x="4046597" y="1076730"/>
                  <a:pt x="4048506" y="1075306"/>
                  <a:pt x="4048506" y="1078788"/>
                </a:cubicBezTo>
                <a:cubicBezTo>
                  <a:pt x="4048506" y="1082270"/>
                  <a:pt x="4046736" y="1089167"/>
                  <a:pt x="4044572" y="1094114"/>
                </a:cubicBezTo>
                <a:cubicBezTo>
                  <a:pt x="4041220" y="1101781"/>
                  <a:pt x="4038992" y="1101547"/>
                  <a:pt x="4029488" y="1092532"/>
                </a:cubicBezTo>
                <a:cubicBezTo>
                  <a:pt x="4015693" y="1079445"/>
                  <a:pt x="4007592" y="1079142"/>
                  <a:pt x="4000537" y="1091450"/>
                </a:cubicBezTo>
                <a:cubicBezTo>
                  <a:pt x="3996171" y="1099065"/>
                  <a:pt x="3996280" y="1103016"/>
                  <a:pt x="4001086" y="1111401"/>
                </a:cubicBezTo>
                <a:cubicBezTo>
                  <a:pt x="4005450" y="1119012"/>
                  <a:pt x="4006701" y="1137522"/>
                  <a:pt x="4005684" y="1179458"/>
                </a:cubicBezTo>
                <a:cubicBezTo>
                  <a:pt x="4004605" y="1223959"/>
                  <a:pt x="4005818" y="1239939"/>
                  <a:pt x="4011018" y="1249721"/>
                </a:cubicBezTo>
                <a:cubicBezTo>
                  <a:pt x="4014722" y="1256685"/>
                  <a:pt x="4017814" y="1270025"/>
                  <a:pt x="4017890" y="1279365"/>
                </a:cubicBezTo>
                <a:cubicBezTo>
                  <a:pt x="4018066" y="1300837"/>
                  <a:pt x="4033415" y="1310120"/>
                  <a:pt x="4041682" y="1293755"/>
                </a:cubicBezTo>
                <a:cubicBezTo>
                  <a:pt x="4047438" y="1282358"/>
                  <a:pt x="4046028" y="1255210"/>
                  <a:pt x="4039371" y="1249254"/>
                </a:cubicBezTo>
                <a:cubicBezTo>
                  <a:pt x="4037254" y="1247358"/>
                  <a:pt x="4035521" y="1236005"/>
                  <a:pt x="4035521" y="1224024"/>
                </a:cubicBezTo>
                <a:cubicBezTo>
                  <a:pt x="4035521" y="1205626"/>
                  <a:pt x="4037056" y="1202239"/>
                  <a:pt x="4045401" y="1202239"/>
                </a:cubicBezTo>
                <a:cubicBezTo>
                  <a:pt x="4057146" y="1202239"/>
                  <a:pt x="4064388" y="1217175"/>
                  <a:pt x="4068670" y="1250220"/>
                </a:cubicBezTo>
                <a:cubicBezTo>
                  <a:pt x="4070396" y="1263538"/>
                  <a:pt x="4073870" y="1277631"/>
                  <a:pt x="4076391" y="1281537"/>
                </a:cubicBezTo>
                <a:cubicBezTo>
                  <a:pt x="4081652" y="1289690"/>
                  <a:pt x="4102235" y="1285958"/>
                  <a:pt x="4098627" y="1277505"/>
                </a:cubicBezTo>
                <a:cubicBezTo>
                  <a:pt x="4097315" y="1274432"/>
                  <a:pt x="4101765" y="1274842"/>
                  <a:pt x="4108517" y="1278416"/>
                </a:cubicBezTo>
                <a:cubicBezTo>
                  <a:pt x="4115269" y="1281992"/>
                  <a:pt x="4123474" y="1286290"/>
                  <a:pt x="4126752" y="1287969"/>
                </a:cubicBezTo>
                <a:cubicBezTo>
                  <a:pt x="4131236" y="1290267"/>
                  <a:pt x="4131496" y="1293137"/>
                  <a:pt x="4127806" y="1299575"/>
                </a:cubicBezTo>
                <a:cubicBezTo>
                  <a:pt x="4123857" y="1306464"/>
                  <a:pt x="4125038" y="1307538"/>
                  <a:pt x="4133874" y="1305093"/>
                </a:cubicBezTo>
                <a:cubicBezTo>
                  <a:pt x="4142564" y="1302688"/>
                  <a:pt x="4144844" y="1298264"/>
                  <a:pt x="4144844" y="1283803"/>
                </a:cubicBezTo>
                <a:cubicBezTo>
                  <a:pt x="4144844" y="1269988"/>
                  <a:pt x="4146897" y="1265548"/>
                  <a:pt x="4153286" y="1265548"/>
                </a:cubicBezTo>
                <a:cubicBezTo>
                  <a:pt x="4158698" y="1265548"/>
                  <a:pt x="4162229" y="1270637"/>
                  <a:pt x="4163125" y="1279728"/>
                </a:cubicBezTo>
                <a:cubicBezTo>
                  <a:pt x="4163894" y="1287527"/>
                  <a:pt x="4168126" y="1294902"/>
                  <a:pt x="4172531" y="1296118"/>
                </a:cubicBezTo>
                <a:cubicBezTo>
                  <a:pt x="4184376" y="1299388"/>
                  <a:pt x="4195852" y="1278682"/>
                  <a:pt x="4193740" y="1257851"/>
                </a:cubicBezTo>
                <a:cubicBezTo>
                  <a:pt x="4192698" y="1247574"/>
                  <a:pt x="4193984" y="1240225"/>
                  <a:pt x="4196823" y="1240225"/>
                </a:cubicBezTo>
                <a:cubicBezTo>
                  <a:pt x="4199501" y="1240225"/>
                  <a:pt x="4201692" y="1235951"/>
                  <a:pt x="4201692" y="1230729"/>
                </a:cubicBezTo>
                <a:cubicBezTo>
                  <a:pt x="4201692" y="1224953"/>
                  <a:pt x="4205761" y="1221232"/>
                  <a:pt x="4212078" y="1221232"/>
                </a:cubicBezTo>
                <a:cubicBezTo>
                  <a:pt x="4220211" y="1221232"/>
                  <a:pt x="4223056" y="1225522"/>
                  <a:pt x="4225197" y="1241016"/>
                </a:cubicBezTo>
                <a:cubicBezTo>
                  <a:pt x="4226700" y="1251897"/>
                  <a:pt x="4227930" y="1266397"/>
                  <a:pt x="4227930" y="1273238"/>
                </a:cubicBezTo>
                <a:cubicBezTo>
                  <a:pt x="4227930" y="1280079"/>
                  <a:pt x="4231767" y="1290406"/>
                  <a:pt x="4236457" y="1296187"/>
                </a:cubicBezTo>
                <a:cubicBezTo>
                  <a:pt x="4245384" y="1307189"/>
                  <a:pt x="4252446" y="1346846"/>
                  <a:pt x="4258151" y="1418012"/>
                </a:cubicBezTo>
                <a:cubicBezTo>
                  <a:pt x="4259989" y="1440933"/>
                  <a:pt x="4262713" y="1462544"/>
                  <a:pt x="4264204" y="1466038"/>
                </a:cubicBezTo>
                <a:cubicBezTo>
                  <a:pt x="4268527" y="1476166"/>
                  <a:pt x="4284247" y="1471595"/>
                  <a:pt x="4291061" y="1458229"/>
                </a:cubicBezTo>
                <a:cubicBezTo>
                  <a:pt x="4295881" y="1448777"/>
                  <a:pt x="4298507" y="1447689"/>
                  <a:pt x="4302556" y="1453466"/>
                </a:cubicBezTo>
                <a:cubicBezTo>
                  <a:pt x="4310667" y="1465041"/>
                  <a:pt x="4304179" y="1479710"/>
                  <a:pt x="4288263" y="1485776"/>
                </a:cubicBezTo>
                <a:lnTo>
                  <a:pt x="4273845" y="1491271"/>
                </a:lnTo>
                <a:lnTo>
                  <a:pt x="4274670" y="1576119"/>
                </a:lnTo>
                <a:cubicBezTo>
                  <a:pt x="4275187" y="1629302"/>
                  <a:pt x="4277226" y="1661803"/>
                  <a:pt x="4280135" y="1663208"/>
                </a:cubicBezTo>
                <a:cubicBezTo>
                  <a:pt x="4282689" y="1664439"/>
                  <a:pt x="4284786" y="1677318"/>
                  <a:pt x="4284796" y="1691826"/>
                </a:cubicBezTo>
                <a:cubicBezTo>
                  <a:pt x="4284805" y="1707440"/>
                  <a:pt x="4289315" y="1731050"/>
                  <a:pt x="4295844" y="1749682"/>
                </a:cubicBezTo>
                <a:cubicBezTo>
                  <a:pt x="4304028" y="1773035"/>
                  <a:pt x="4307579" y="1795505"/>
                  <a:pt x="4309600" y="1836731"/>
                </a:cubicBezTo>
                <a:cubicBezTo>
                  <a:pt x="4311099" y="1867296"/>
                  <a:pt x="4314087" y="1892303"/>
                  <a:pt x="4316241" y="1892303"/>
                </a:cubicBezTo>
                <a:cubicBezTo>
                  <a:pt x="4320687" y="1892303"/>
                  <a:pt x="4317040" y="1930980"/>
                  <a:pt x="4310107" y="1957356"/>
                </a:cubicBezTo>
                <a:cubicBezTo>
                  <a:pt x="4306458" y="1971241"/>
                  <a:pt x="4306914" y="1977217"/>
                  <a:pt x="4312284" y="1985845"/>
                </a:cubicBezTo>
                <a:cubicBezTo>
                  <a:pt x="4316021" y="1991849"/>
                  <a:pt x="4320430" y="2004597"/>
                  <a:pt x="4322081" y="2014172"/>
                </a:cubicBezTo>
                <a:cubicBezTo>
                  <a:pt x="4323731" y="2023747"/>
                  <a:pt x="4326836" y="2031582"/>
                  <a:pt x="4328981" y="2031582"/>
                </a:cubicBezTo>
                <a:cubicBezTo>
                  <a:pt x="4331125" y="2031582"/>
                  <a:pt x="4332880" y="2036931"/>
                  <a:pt x="4332880" y="2043469"/>
                </a:cubicBezTo>
                <a:cubicBezTo>
                  <a:pt x="4332880" y="2063669"/>
                  <a:pt x="4342559" y="2069939"/>
                  <a:pt x="4353651" y="2056924"/>
                </a:cubicBezTo>
                <a:cubicBezTo>
                  <a:pt x="4359063" y="2050574"/>
                  <a:pt x="4363490" y="2040761"/>
                  <a:pt x="4363490" y="2035116"/>
                </a:cubicBezTo>
                <a:cubicBezTo>
                  <a:pt x="4363490" y="2025830"/>
                  <a:pt x="4374965" y="2013985"/>
                  <a:pt x="4378404" y="2019721"/>
                </a:cubicBezTo>
                <a:cubicBezTo>
                  <a:pt x="4382680" y="2026854"/>
                  <a:pt x="4384603" y="2067785"/>
                  <a:pt x="4381043" y="2075898"/>
                </a:cubicBezTo>
                <a:cubicBezTo>
                  <a:pt x="4377629" y="2083677"/>
                  <a:pt x="4375302" y="2083981"/>
                  <a:pt x="4368169" y="2077583"/>
                </a:cubicBezTo>
                <a:cubicBezTo>
                  <a:pt x="4363381" y="2073287"/>
                  <a:pt x="4356207" y="2071582"/>
                  <a:pt x="4352226" y="2073792"/>
                </a:cubicBezTo>
                <a:cubicBezTo>
                  <a:pt x="4346268" y="2077103"/>
                  <a:pt x="4345547" y="2082948"/>
                  <a:pt x="4348141" y="2106926"/>
                </a:cubicBezTo>
                <a:cubicBezTo>
                  <a:pt x="4349873" y="2122939"/>
                  <a:pt x="4351206" y="2141026"/>
                  <a:pt x="4351103" y="2147120"/>
                </a:cubicBezTo>
                <a:cubicBezTo>
                  <a:pt x="4351000" y="2153213"/>
                  <a:pt x="4352761" y="2158199"/>
                  <a:pt x="4355016" y="2158199"/>
                </a:cubicBezTo>
                <a:cubicBezTo>
                  <a:pt x="4357271" y="2158199"/>
                  <a:pt x="4359117" y="2162472"/>
                  <a:pt x="4359117" y="2167695"/>
                </a:cubicBezTo>
                <a:cubicBezTo>
                  <a:pt x="4359117" y="2172918"/>
                  <a:pt x="4361085" y="2177191"/>
                  <a:pt x="4363490" y="2177191"/>
                </a:cubicBezTo>
                <a:cubicBezTo>
                  <a:pt x="4369461" y="2177191"/>
                  <a:pt x="4369033" y="2204620"/>
                  <a:pt x="4362923" y="2213465"/>
                </a:cubicBezTo>
                <a:cubicBezTo>
                  <a:pt x="4360191" y="2217421"/>
                  <a:pt x="4356771" y="2253115"/>
                  <a:pt x="4355271" y="2293337"/>
                </a:cubicBezTo>
                <a:cubicBezTo>
                  <a:pt x="4352827" y="2358834"/>
                  <a:pt x="4353334" y="2366758"/>
                  <a:pt x="4360370" y="2373116"/>
                </a:cubicBezTo>
                <a:cubicBezTo>
                  <a:pt x="4372985" y="2384514"/>
                  <a:pt x="4377570" y="2409853"/>
                  <a:pt x="4371450" y="2434355"/>
                </a:cubicBezTo>
                <a:cubicBezTo>
                  <a:pt x="4368511" y="2446121"/>
                  <a:pt x="4364534" y="2455749"/>
                  <a:pt x="4362612" y="2455749"/>
                </a:cubicBezTo>
                <a:cubicBezTo>
                  <a:pt x="4357631" y="2455749"/>
                  <a:pt x="4358275" y="2489982"/>
                  <a:pt x="4363396" y="2497396"/>
                </a:cubicBezTo>
                <a:cubicBezTo>
                  <a:pt x="4365748" y="2500803"/>
                  <a:pt x="4368713" y="2547510"/>
                  <a:pt x="4369984" y="2601191"/>
                </a:cubicBezTo>
                <a:cubicBezTo>
                  <a:pt x="4371255" y="2654871"/>
                  <a:pt x="4374095" y="2700403"/>
                  <a:pt x="4376297" y="2702374"/>
                </a:cubicBezTo>
                <a:cubicBezTo>
                  <a:pt x="4378499" y="2704344"/>
                  <a:pt x="4381707" y="2733701"/>
                  <a:pt x="4383427" y="2767613"/>
                </a:cubicBezTo>
                <a:cubicBezTo>
                  <a:pt x="4385146" y="2801524"/>
                  <a:pt x="4388251" y="2829270"/>
                  <a:pt x="4390327" y="2829270"/>
                </a:cubicBezTo>
                <a:cubicBezTo>
                  <a:pt x="4392403" y="2829270"/>
                  <a:pt x="4394101" y="2840524"/>
                  <a:pt x="4394101" y="2854279"/>
                </a:cubicBezTo>
                <a:cubicBezTo>
                  <a:pt x="4394101" y="2870956"/>
                  <a:pt x="4396509" y="2881239"/>
                  <a:pt x="4401330" y="2885145"/>
                </a:cubicBezTo>
                <a:cubicBezTo>
                  <a:pt x="4407551" y="2890184"/>
                  <a:pt x="4407887" y="2894843"/>
                  <a:pt x="4403735" y="2918518"/>
                </a:cubicBezTo>
                <a:cubicBezTo>
                  <a:pt x="4401082" y="2933652"/>
                  <a:pt x="4400307" y="2947539"/>
                  <a:pt x="4402014" y="2949378"/>
                </a:cubicBezTo>
                <a:cubicBezTo>
                  <a:pt x="4403720" y="2951217"/>
                  <a:pt x="4408989" y="2963405"/>
                  <a:pt x="4413722" y="2976462"/>
                </a:cubicBezTo>
                <a:cubicBezTo>
                  <a:pt x="4422755" y="3001383"/>
                  <a:pt x="4428254" y="3005204"/>
                  <a:pt x="4436955" y="2992606"/>
                </a:cubicBezTo>
                <a:cubicBezTo>
                  <a:pt x="4443008" y="2983844"/>
                  <a:pt x="4444037" y="2962218"/>
                  <a:pt x="4438402" y="2962218"/>
                </a:cubicBezTo>
                <a:cubicBezTo>
                  <a:pt x="4436311" y="2962218"/>
                  <a:pt x="4433493" y="2952336"/>
                  <a:pt x="4432140" y="2940257"/>
                </a:cubicBezTo>
                <a:cubicBezTo>
                  <a:pt x="4430785" y="2928178"/>
                  <a:pt x="4425583" y="2911933"/>
                  <a:pt x="4420579" y="2904157"/>
                </a:cubicBezTo>
                <a:lnTo>
                  <a:pt x="4411480" y="2890017"/>
                </a:lnTo>
                <a:lnTo>
                  <a:pt x="4423561" y="2875699"/>
                </a:lnTo>
                <a:cubicBezTo>
                  <a:pt x="4437451" y="2859237"/>
                  <a:pt x="4451949" y="2856909"/>
                  <a:pt x="4459419" y="2869941"/>
                </a:cubicBezTo>
                <a:cubicBezTo>
                  <a:pt x="4465644" y="2880798"/>
                  <a:pt x="4461173" y="2922996"/>
                  <a:pt x="4452464" y="2935605"/>
                </a:cubicBezTo>
                <a:cubicBezTo>
                  <a:pt x="4446070" y="2944861"/>
                  <a:pt x="4444467" y="2962218"/>
                  <a:pt x="4450005" y="2962218"/>
                </a:cubicBezTo>
                <a:cubicBezTo>
                  <a:pt x="4451892" y="2962218"/>
                  <a:pt x="4457000" y="2970952"/>
                  <a:pt x="4461356" y="2981627"/>
                </a:cubicBezTo>
                <a:cubicBezTo>
                  <a:pt x="4468620" y="2999432"/>
                  <a:pt x="4468698" y="3001959"/>
                  <a:pt x="4462298" y="3012197"/>
                </a:cubicBezTo>
                <a:cubicBezTo>
                  <a:pt x="4454880" y="3024065"/>
                  <a:pt x="4453231" y="3039382"/>
                  <a:pt x="4458544" y="3047075"/>
                </a:cubicBezTo>
                <a:cubicBezTo>
                  <a:pt x="4460317" y="3049641"/>
                  <a:pt x="4464114" y="3071903"/>
                  <a:pt x="4466982" y="3096545"/>
                </a:cubicBezTo>
                <a:cubicBezTo>
                  <a:pt x="4469850" y="3121186"/>
                  <a:pt x="4474231" y="3143169"/>
                  <a:pt x="4476717" y="3145393"/>
                </a:cubicBezTo>
                <a:cubicBezTo>
                  <a:pt x="4479207" y="3147621"/>
                  <a:pt x="4481629" y="3176354"/>
                  <a:pt x="4482109" y="3209351"/>
                </a:cubicBezTo>
                <a:cubicBezTo>
                  <a:pt x="4482824" y="3258484"/>
                  <a:pt x="4484503" y="3271734"/>
                  <a:pt x="4491442" y="3282990"/>
                </a:cubicBezTo>
                <a:cubicBezTo>
                  <a:pt x="4497783" y="3293278"/>
                  <a:pt x="4499162" y="3301605"/>
                  <a:pt x="4496943" y="3316228"/>
                </a:cubicBezTo>
                <a:cubicBezTo>
                  <a:pt x="4493270" y="3340439"/>
                  <a:pt x="4483514" y="3341615"/>
                  <a:pt x="4479522" y="3318328"/>
                </a:cubicBezTo>
                <a:cubicBezTo>
                  <a:pt x="4476154" y="3298680"/>
                  <a:pt x="4460893" y="3272430"/>
                  <a:pt x="4452840" y="3272430"/>
                </a:cubicBezTo>
                <a:cubicBezTo>
                  <a:pt x="4446154" y="3272430"/>
                  <a:pt x="4442203" y="3286899"/>
                  <a:pt x="4442203" y="3311385"/>
                </a:cubicBezTo>
                <a:cubicBezTo>
                  <a:pt x="4442203" y="3321795"/>
                  <a:pt x="4439184" y="3334682"/>
                  <a:pt x="4435495" y="3340023"/>
                </a:cubicBezTo>
                <a:cubicBezTo>
                  <a:pt x="4431661" y="3345574"/>
                  <a:pt x="4429909" y="3354850"/>
                  <a:pt x="4431405" y="3361676"/>
                </a:cubicBezTo>
                <a:cubicBezTo>
                  <a:pt x="4433651" y="3371920"/>
                  <a:pt x="4432582" y="3372853"/>
                  <a:pt x="4423901" y="3368237"/>
                </a:cubicBezTo>
                <a:cubicBezTo>
                  <a:pt x="4415737" y="3363896"/>
                  <a:pt x="4413356" y="3356944"/>
                  <a:pt x="4411592" y="3332307"/>
                </a:cubicBezTo>
                <a:cubicBezTo>
                  <a:pt x="4409698" y="3305849"/>
                  <a:pt x="4407865" y="3301168"/>
                  <a:pt x="4397896" y="3297338"/>
                </a:cubicBezTo>
                <a:cubicBezTo>
                  <a:pt x="4391566" y="3294906"/>
                  <a:pt x="4384072" y="3294987"/>
                  <a:pt x="4381244" y="3297518"/>
                </a:cubicBezTo>
                <a:cubicBezTo>
                  <a:pt x="4374953" y="3303147"/>
                  <a:pt x="4379280" y="3332143"/>
                  <a:pt x="4387970" y="3342585"/>
                </a:cubicBezTo>
                <a:cubicBezTo>
                  <a:pt x="4395032" y="3351070"/>
                  <a:pt x="4396573" y="3411709"/>
                  <a:pt x="4389728" y="3411709"/>
                </a:cubicBezTo>
                <a:cubicBezTo>
                  <a:pt x="4387322" y="3411709"/>
                  <a:pt x="4385355" y="3423104"/>
                  <a:pt x="4385355" y="3437032"/>
                </a:cubicBezTo>
                <a:cubicBezTo>
                  <a:pt x="4385355" y="3450960"/>
                  <a:pt x="4387322" y="3462355"/>
                  <a:pt x="4389728" y="3462355"/>
                </a:cubicBezTo>
                <a:cubicBezTo>
                  <a:pt x="4392133" y="3462355"/>
                  <a:pt x="4394101" y="3469316"/>
                  <a:pt x="4394101" y="3477824"/>
                </a:cubicBezTo>
                <a:cubicBezTo>
                  <a:pt x="4394101" y="3486331"/>
                  <a:pt x="4398166" y="3497414"/>
                  <a:pt x="4403134" y="3502453"/>
                </a:cubicBezTo>
                <a:cubicBezTo>
                  <a:pt x="4410497" y="3509918"/>
                  <a:pt x="4411638" y="3515708"/>
                  <a:pt x="4409301" y="3533741"/>
                </a:cubicBezTo>
                <a:cubicBezTo>
                  <a:pt x="4407513" y="3547540"/>
                  <a:pt x="4408278" y="3557518"/>
                  <a:pt x="4411334" y="3560252"/>
                </a:cubicBezTo>
                <a:cubicBezTo>
                  <a:pt x="4414360" y="3562961"/>
                  <a:pt x="4415160" y="3572918"/>
                  <a:pt x="4413426" y="3586301"/>
                </a:cubicBezTo>
                <a:cubicBezTo>
                  <a:pt x="4411232" y="3603235"/>
                  <a:pt x="4412068" y="3607965"/>
                  <a:pt x="4417255" y="3607965"/>
                </a:cubicBezTo>
                <a:cubicBezTo>
                  <a:pt x="4421739" y="3607965"/>
                  <a:pt x="4423150" y="3612073"/>
                  <a:pt x="4421605" y="3620627"/>
                </a:cubicBezTo>
                <a:cubicBezTo>
                  <a:pt x="4420347" y="3627590"/>
                  <a:pt x="4416534" y="3633289"/>
                  <a:pt x="4413131" y="3633289"/>
                </a:cubicBezTo>
                <a:cubicBezTo>
                  <a:pt x="4409728" y="3633289"/>
                  <a:pt x="4405812" y="3637562"/>
                  <a:pt x="4404428" y="3642785"/>
                </a:cubicBezTo>
                <a:cubicBezTo>
                  <a:pt x="4403043" y="3648008"/>
                  <a:pt x="4398186" y="3652281"/>
                  <a:pt x="4393632" y="3652281"/>
                </a:cubicBezTo>
                <a:cubicBezTo>
                  <a:pt x="4387073" y="3652281"/>
                  <a:pt x="4385355" y="3647639"/>
                  <a:pt x="4385355" y="3629925"/>
                </a:cubicBezTo>
                <a:cubicBezTo>
                  <a:pt x="4385355" y="3615892"/>
                  <a:pt x="4387797" y="3606211"/>
                  <a:pt x="4391914" y="3603924"/>
                </a:cubicBezTo>
                <a:cubicBezTo>
                  <a:pt x="4395522" y="3601919"/>
                  <a:pt x="4398473" y="3593562"/>
                  <a:pt x="4398473" y="3585352"/>
                </a:cubicBezTo>
                <a:cubicBezTo>
                  <a:pt x="4398473" y="3569607"/>
                  <a:pt x="4387338" y="3557318"/>
                  <a:pt x="4373070" y="3557318"/>
                </a:cubicBezTo>
                <a:cubicBezTo>
                  <a:pt x="4363359" y="3557318"/>
                  <a:pt x="4356613" y="3524686"/>
                  <a:pt x="4362940" y="3508318"/>
                </a:cubicBezTo>
                <a:cubicBezTo>
                  <a:pt x="4365415" y="3501914"/>
                  <a:pt x="4364319" y="3494494"/>
                  <a:pt x="4359759" y="3486782"/>
                </a:cubicBezTo>
                <a:cubicBezTo>
                  <a:pt x="4351128" y="3472190"/>
                  <a:pt x="4342550" y="3471843"/>
                  <a:pt x="4332004" y="3485660"/>
                </a:cubicBezTo>
                <a:cubicBezTo>
                  <a:pt x="4324352" y="3495687"/>
                  <a:pt x="4323493" y="3495504"/>
                  <a:pt x="4317200" y="3482495"/>
                </a:cubicBezTo>
                <a:cubicBezTo>
                  <a:pt x="4308990" y="3465526"/>
                  <a:pt x="4299650" y="3464775"/>
                  <a:pt x="4293795" y="3480613"/>
                </a:cubicBezTo>
                <a:cubicBezTo>
                  <a:pt x="4290442" y="3489683"/>
                  <a:pt x="4291971" y="3499914"/>
                  <a:pt x="4300183" y="3523346"/>
                </a:cubicBezTo>
                <a:cubicBezTo>
                  <a:pt x="4306120" y="3540290"/>
                  <a:pt x="4310987" y="3560395"/>
                  <a:pt x="4310997" y="3568024"/>
                </a:cubicBezTo>
                <a:cubicBezTo>
                  <a:pt x="4311006" y="3575652"/>
                  <a:pt x="4313015" y="3583684"/>
                  <a:pt x="4315459" y="3585871"/>
                </a:cubicBezTo>
                <a:cubicBezTo>
                  <a:pt x="4322971" y="3592592"/>
                  <a:pt x="4315546" y="3601634"/>
                  <a:pt x="4302514" y="3601634"/>
                </a:cubicBezTo>
                <a:cubicBezTo>
                  <a:pt x="4288527" y="3601634"/>
                  <a:pt x="4275275" y="3578803"/>
                  <a:pt x="4271659" y="3548478"/>
                </a:cubicBezTo>
                <a:cubicBezTo>
                  <a:pt x="4269223" y="3528055"/>
                  <a:pt x="4254451" y="3510564"/>
                  <a:pt x="4251054" y="3524081"/>
                </a:cubicBezTo>
                <a:cubicBezTo>
                  <a:pt x="4247155" y="3539593"/>
                  <a:pt x="4236675" y="3532372"/>
                  <a:pt x="4236675" y="3514175"/>
                </a:cubicBezTo>
                <a:cubicBezTo>
                  <a:pt x="4236675" y="3500042"/>
                  <a:pt x="4233508" y="3494168"/>
                  <a:pt x="4221370" y="3485789"/>
                </a:cubicBezTo>
                <a:cubicBezTo>
                  <a:pt x="4212952" y="3479977"/>
                  <a:pt x="4206065" y="3471169"/>
                  <a:pt x="4206065" y="3466216"/>
                </a:cubicBezTo>
                <a:cubicBezTo>
                  <a:pt x="4206065" y="3460319"/>
                  <a:pt x="4203038" y="3458355"/>
                  <a:pt x="4197295" y="3460530"/>
                </a:cubicBezTo>
                <a:cubicBezTo>
                  <a:pt x="4192472" y="3462356"/>
                  <a:pt x="4185586" y="3460316"/>
                  <a:pt x="4181991" y="3455997"/>
                </a:cubicBezTo>
                <a:cubicBezTo>
                  <a:pt x="4176441" y="3449329"/>
                  <a:pt x="4175454" y="3450970"/>
                  <a:pt x="4175454" y="3466856"/>
                </a:cubicBezTo>
                <a:cubicBezTo>
                  <a:pt x="4175454" y="3491796"/>
                  <a:pt x="4172119" y="3495286"/>
                  <a:pt x="4159615" y="3483426"/>
                </a:cubicBezTo>
                <a:cubicBezTo>
                  <a:pt x="4151211" y="3475452"/>
                  <a:pt x="4145688" y="3474774"/>
                  <a:pt x="4131533" y="3479975"/>
                </a:cubicBezTo>
                <a:cubicBezTo>
                  <a:pt x="4114648" y="3486180"/>
                  <a:pt x="4114037" y="3485884"/>
                  <a:pt x="4116891" y="3472870"/>
                </a:cubicBezTo>
                <a:cubicBezTo>
                  <a:pt x="4119527" y="3460840"/>
                  <a:pt x="4119047" y="3460276"/>
                  <a:pt x="4112678" y="3467929"/>
                </a:cubicBezTo>
                <a:cubicBezTo>
                  <a:pt x="4104758" y="3477444"/>
                  <a:pt x="4102969" y="3494010"/>
                  <a:pt x="4109861" y="3494010"/>
                </a:cubicBezTo>
                <a:cubicBezTo>
                  <a:pt x="4116533" y="3494010"/>
                  <a:pt x="4115068" y="3523551"/>
                  <a:pt x="4107881" y="3533957"/>
                </a:cubicBezTo>
                <a:cubicBezTo>
                  <a:pt x="4100407" y="3544778"/>
                  <a:pt x="4102028" y="3595604"/>
                  <a:pt x="4111751" y="3655281"/>
                </a:cubicBezTo>
                <a:cubicBezTo>
                  <a:pt x="4115140" y="3676081"/>
                  <a:pt x="4116973" y="3695300"/>
                  <a:pt x="4115825" y="3697990"/>
                </a:cubicBezTo>
                <a:cubicBezTo>
                  <a:pt x="4114676" y="3700681"/>
                  <a:pt x="4107924" y="3698531"/>
                  <a:pt x="4100821" y="3693212"/>
                </a:cubicBezTo>
                <a:cubicBezTo>
                  <a:pt x="4091076" y="3685916"/>
                  <a:pt x="4088184" y="3685533"/>
                  <a:pt x="4089044" y="3691653"/>
                </a:cubicBezTo>
                <a:cubicBezTo>
                  <a:pt x="4089670" y="3696113"/>
                  <a:pt x="4086739" y="3699367"/>
                  <a:pt x="4082530" y="3698884"/>
                </a:cubicBezTo>
                <a:cubicBezTo>
                  <a:pt x="4073802" y="3697881"/>
                  <a:pt x="4072115" y="3706871"/>
                  <a:pt x="4080291" y="3710817"/>
                </a:cubicBezTo>
                <a:cubicBezTo>
                  <a:pt x="4084569" y="3712881"/>
                  <a:pt x="4084588" y="3716981"/>
                  <a:pt x="4080385" y="3730337"/>
                </a:cubicBezTo>
                <a:cubicBezTo>
                  <a:pt x="4073328" y="3752763"/>
                  <a:pt x="4066131" y="3751823"/>
                  <a:pt x="4066131" y="3728475"/>
                </a:cubicBezTo>
                <a:cubicBezTo>
                  <a:pt x="4066131" y="3716097"/>
                  <a:pt x="4063111" y="3707364"/>
                  <a:pt x="4057262" y="3702834"/>
                </a:cubicBezTo>
                <a:cubicBezTo>
                  <a:pt x="4052386" y="3699054"/>
                  <a:pt x="4049550" y="3693256"/>
                  <a:pt x="4050961" y="3689949"/>
                </a:cubicBezTo>
                <a:cubicBezTo>
                  <a:pt x="4052374" y="3686641"/>
                  <a:pt x="4051925" y="3683935"/>
                  <a:pt x="4049965" y="3683935"/>
                </a:cubicBezTo>
                <a:cubicBezTo>
                  <a:pt x="4048005" y="3683935"/>
                  <a:pt x="4043619" y="3674838"/>
                  <a:pt x="4040220" y="3663718"/>
                </a:cubicBezTo>
                <a:cubicBezTo>
                  <a:pt x="4035659" y="3648798"/>
                  <a:pt x="4035379" y="3642854"/>
                  <a:pt x="4039152" y="3641032"/>
                </a:cubicBezTo>
                <a:cubicBezTo>
                  <a:pt x="4047499" y="3637004"/>
                  <a:pt x="4045039" y="3623665"/>
                  <a:pt x="4032349" y="3604142"/>
                </a:cubicBezTo>
                <a:cubicBezTo>
                  <a:pt x="4025795" y="3594058"/>
                  <a:pt x="4020937" y="3583403"/>
                  <a:pt x="4021554" y="3580466"/>
                </a:cubicBezTo>
                <a:cubicBezTo>
                  <a:pt x="4022171" y="3577528"/>
                  <a:pt x="4020172" y="3576331"/>
                  <a:pt x="4017114" y="3577808"/>
                </a:cubicBezTo>
                <a:cubicBezTo>
                  <a:pt x="4014056" y="3579284"/>
                  <a:pt x="4009389" y="3591658"/>
                  <a:pt x="4006744" y="3605307"/>
                </a:cubicBezTo>
                <a:cubicBezTo>
                  <a:pt x="4004099" y="3618956"/>
                  <a:pt x="3999454" y="3630123"/>
                  <a:pt x="3996422" y="3630123"/>
                </a:cubicBezTo>
                <a:cubicBezTo>
                  <a:pt x="3990802" y="3630123"/>
                  <a:pt x="3981850" y="3596880"/>
                  <a:pt x="3976929" y="3557734"/>
                </a:cubicBezTo>
                <a:cubicBezTo>
                  <a:pt x="3975426" y="3545775"/>
                  <a:pt x="3970962" y="3530818"/>
                  <a:pt x="3967010" y="3524497"/>
                </a:cubicBezTo>
                <a:cubicBezTo>
                  <a:pt x="3958306" y="3510570"/>
                  <a:pt x="3940001" y="3509385"/>
                  <a:pt x="3936518" y="3522521"/>
                </a:cubicBezTo>
                <a:cubicBezTo>
                  <a:pt x="3933561" y="3533681"/>
                  <a:pt x="3950462" y="3588973"/>
                  <a:pt x="3956830" y="3588973"/>
                </a:cubicBezTo>
                <a:cubicBezTo>
                  <a:pt x="3959223" y="3588973"/>
                  <a:pt x="3961181" y="3595657"/>
                  <a:pt x="3961181" y="3603827"/>
                </a:cubicBezTo>
                <a:cubicBezTo>
                  <a:pt x="3961181" y="3619866"/>
                  <a:pt x="3973035" y="3658612"/>
                  <a:pt x="3977941" y="3658612"/>
                </a:cubicBezTo>
                <a:cubicBezTo>
                  <a:pt x="3985899" y="3658612"/>
                  <a:pt x="3992240" y="3686672"/>
                  <a:pt x="3989531" y="3709893"/>
                </a:cubicBezTo>
                <a:cubicBezTo>
                  <a:pt x="3986582" y="3735163"/>
                  <a:pt x="3978673" y="3744302"/>
                  <a:pt x="3978673" y="3722438"/>
                </a:cubicBezTo>
                <a:cubicBezTo>
                  <a:pt x="3978673" y="3700687"/>
                  <a:pt x="3973564" y="3690266"/>
                  <a:pt x="3962900" y="3690266"/>
                </a:cubicBezTo>
                <a:cubicBezTo>
                  <a:pt x="3957144" y="3690266"/>
                  <a:pt x="3952435" y="3687472"/>
                  <a:pt x="3952435" y="3684056"/>
                </a:cubicBezTo>
                <a:cubicBezTo>
                  <a:pt x="3952435" y="3680641"/>
                  <a:pt x="3947777" y="3676154"/>
                  <a:pt x="3942083" y="3674084"/>
                </a:cubicBezTo>
                <a:cubicBezTo>
                  <a:pt x="3934704" y="3671403"/>
                  <a:pt x="3928399" y="3674792"/>
                  <a:pt x="3920131" y="3685884"/>
                </a:cubicBezTo>
                <a:cubicBezTo>
                  <a:pt x="3909683" y="3699904"/>
                  <a:pt x="3909042" y="3703246"/>
                  <a:pt x="3913664" y="3719597"/>
                </a:cubicBezTo>
                <a:cubicBezTo>
                  <a:pt x="3916487" y="3729580"/>
                  <a:pt x="3919379" y="3740597"/>
                  <a:pt x="3920091" y="3744079"/>
                </a:cubicBezTo>
                <a:cubicBezTo>
                  <a:pt x="3920802" y="3747560"/>
                  <a:pt x="3922697" y="3756820"/>
                  <a:pt x="3924301" y="3764654"/>
                </a:cubicBezTo>
                <a:cubicBezTo>
                  <a:pt x="3926643" y="3776090"/>
                  <a:pt x="3925490" y="3778898"/>
                  <a:pt x="3918458" y="3778898"/>
                </a:cubicBezTo>
                <a:cubicBezTo>
                  <a:pt x="3911412" y="3778898"/>
                  <a:pt x="3909114" y="3773252"/>
                  <a:pt x="3906709" y="3750028"/>
                </a:cubicBezTo>
                <a:cubicBezTo>
                  <a:pt x="3904118" y="3725019"/>
                  <a:pt x="3902442" y="3721419"/>
                  <a:pt x="3894186" y="3723122"/>
                </a:cubicBezTo>
                <a:cubicBezTo>
                  <a:pt x="3888079" y="3724380"/>
                  <a:pt x="3884139" y="3730344"/>
                  <a:pt x="3883222" y="3739717"/>
                </a:cubicBezTo>
                <a:cubicBezTo>
                  <a:pt x="3882435" y="3747765"/>
                  <a:pt x="3879004" y="3755896"/>
                  <a:pt x="3875601" y="3757787"/>
                </a:cubicBezTo>
                <a:cubicBezTo>
                  <a:pt x="3871514" y="3760058"/>
                  <a:pt x="3870305" y="3766378"/>
                  <a:pt x="3872041" y="3776393"/>
                </a:cubicBezTo>
                <a:cubicBezTo>
                  <a:pt x="3874722" y="3791853"/>
                  <a:pt x="3867240" y="3798390"/>
                  <a:pt x="3863739" y="3783647"/>
                </a:cubicBezTo>
                <a:cubicBezTo>
                  <a:pt x="3862704" y="3779294"/>
                  <a:pt x="3862320" y="3780006"/>
                  <a:pt x="3862885" y="3785229"/>
                </a:cubicBezTo>
                <a:cubicBezTo>
                  <a:pt x="3865164" y="3806327"/>
                  <a:pt x="3867477" y="3814146"/>
                  <a:pt x="3874122" y="3823214"/>
                </a:cubicBezTo>
                <a:cubicBezTo>
                  <a:pt x="3881165" y="3832827"/>
                  <a:pt x="3889126" y="3899185"/>
                  <a:pt x="3883234" y="3899185"/>
                </a:cubicBezTo>
                <a:cubicBezTo>
                  <a:pt x="3875651" y="3899185"/>
                  <a:pt x="3865380" y="3872580"/>
                  <a:pt x="3862599" y="3845738"/>
                </a:cubicBezTo>
                <a:cubicBezTo>
                  <a:pt x="3860945" y="3829762"/>
                  <a:pt x="3857211" y="3814599"/>
                  <a:pt x="3854301" y="3812039"/>
                </a:cubicBezTo>
                <a:cubicBezTo>
                  <a:pt x="3851392" y="3809480"/>
                  <a:pt x="3847730" y="3802337"/>
                  <a:pt x="3846160" y="3796165"/>
                </a:cubicBezTo>
                <a:cubicBezTo>
                  <a:pt x="3839709" y="3770764"/>
                  <a:pt x="3813703" y="3779786"/>
                  <a:pt x="3819335" y="3805472"/>
                </a:cubicBezTo>
                <a:cubicBezTo>
                  <a:pt x="3821147" y="3813738"/>
                  <a:pt x="3818322" y="3822521"/>
                  <a:pt x="3810462" y="3833067"/>
                </a:cubicBezTo>
                <a:cubicBezTo>
                  <a:pt x="3795842" y="3852685"/>
                  <a:pt x="3792272" y="3852500"/>
                  <a:pt x="3788709" y="3831946"/>
                </a:cubicBezTo>
                <a:cubicBezTo>
                  <a:pt x="3785389" y="3812796"/>
                  <a:pt x="3776330" y="3797899"/>
                  <a:pt x="3767992" y="3797873"/>
                </a:cubicBezTo>
                <a:cubicBezTo>
                  <a:pt x="3761233" y="3797854"/>
                  <a:pt x="3744123" y="3762433"/>
                  <a:pt x="3746015" y="3752380"/>
                </a:cubicBezTo>
                <a:cubicBezTo>
                  <a:pt x="3747342" y="3745323"/>
                  <a:pt x="3717953" y="3702928"/>
                  <a:pt x="3711733" y="3702928"/>
                </a:cubicBezTo>
                <a:cubicBezTo>
                  <a:pt x="3709826" y="3702928"/>
                  <a:pt x="3705154" y="3704657"/>
                  <a:pt x="3701350" y="3706771"/>
                </a:cubicBezTo>
                <a:cubicBezTo>
                  <a:pt x="3693795" y="3710968"/>
                  <a:pt x="3691748" y="3728251"/>
                  <a:pt x="3698806" y="3728251"/>
                </a:cubicBezTo>
                <a:cubicBezTo>
                  <a:pt x="3701211" y="3728251"/>
                  <a:pt x="3703179" y="3736798"/>
                  <a:pt x="3703179" y="3747244"/>
                </a:cubicBezTo>
                <a:cubicBezTo>
                  <a:pt x="3703179" y="3757690"/>
                  <a:pt x="3705146" y="3766237"/>
                  <a:pt x="3707552" y="3766237"/>
                </a:cubicBezTo>
                <a:cubicBezTo>
                  <a:pt x="3709957" y="3766237"/>
                  <a:pt x="3711925" y="3770678"/>
                  <a:pt x="3711925" y="3776107"/>
                </a:cubicBezTo>
                <a:cubicBezTo>
                  <a:pt x="3711925" y="3781535"/>
                  <a:pt x="3713898" y="3784211"/>
                  <a:pt x="3716310" y="3782052"/>
                </a:cubicBezTo>
                <a:cubicBezTo>
                  <a:pt x="3718931" y="3779707"/>
                  <a:pt x="3719941" y="3784017"/>
                  <a:pt x="3718822" y="3792758"/>
                </a:cubicBezTo>
                <a:cubicBezTo>
                  <a:pt x="3717790" y="3800803"/>
                  <a:pt x="3716800" y="3810948"/>
                  <a:pt x="3716622" y="3815301"/>
                </a:cubicBezTo>
                <a:cubicBezTo>
                  <a:pt x="3716443" y="3819653"/>
                  <a:pt x="3713017" y="3823214"/>
                  <a:pt x="3709009" y="3823214"/>
                </a:cubicBezTo>
                <a:cubicBezTo>
                  <a:pt x="3705001" y="3823214"/>
                  <a:pt x="3703040" y="3825124"/>
                  <a:pt x="3704652" y="3827457"/>
                </a:cubicBezTo>
                <a:cubicBezTo>
                  <a:pt x="3706263" y="3829790"/>
                  <a:pt x="3704599" y="3838290"/>
                  <a:pt x="3700954" y="3846344"/>
                </a:cubicBezTo>
                <a:cubicBezTo>
                  <a:pt x="3697308" y="3854399"/>
                  <a:pt x="3692816" y="3871511"/>
                  <a:pt x="3690971" y="3884370"/>
                </a:cubicBezTo>
                <a:cubicBezTo>
                  <a:pt x="3686870" y="3912945"/>
                  <a:pt x="3678481" y="3918531"/>
                  <a:pt x="3672702" y="3896534"/>
                </a:cubicBezTo>
                <a:cubicBezTo>
                  <a:pt x="3670343" y="3887546"/>
                  <a:pt x="3666625" y="3880192"/>
                  <a:pt x="3664440" y="3880192"/>
                </a:cubicBezTo>
                <a:cubicBezTo>
                  <a:pt x="3662255" y="3880192"/>
                  <a:pt x="3659099" y="3861675"/>
                  <a:pt x="3657424" y="3839042"/>
                </a:cubicBezTo>
                <a:cubicBezTo>
                  <a:pt x="3655749" y="3816409"/>
                  <a:pt x="3652569" y="3797891"/>
                  <a:pt x="3650356" y="3797891"/>
                </a:cubicBezTo>
                <a:cubicBezTo>
                  <a:pt x="3648141" y="3797891"/>
                  <a:pt x="3646331" y="3789841"/>
                  <a:pt x="3646331" y="3780002"/>
                </a:cubicBezTo>
                <a:cubicBezTo>
                  <a:pt x="3646331" y="3769489"/>
                  <a:pt x="3642158" y="3756438"/>
                  <a:pt x="3636210" y="3748347"/>
                </a:cubicBezTo>
                <a:cubicBezTo>
                  <a:pt x="3625768" y="3734148"/>
                  <a:pt x="3617509" y="3729740"/>
                  <a:pt x="3622279" y="3740913"/>
                </a:cubicBezTo>
                <a:cubicBezTo>
                  <a:pt x="3623765" y="3744395"/>
                  <a:pt x="3622898" y="3747244"/>
                  <a:pt x="3620351" y="3747244"/>
                </a:cubicBezTo>
                <a:cubicBezTo>
                  <a:pt x="3617803" y="3747244"/>
                  <a:pt x="3615720" y="3743784"/>
                  <a:pt x="3615720" y="3739557"/>
                </a:cubicBezTo>
                <a:cubicBezTo>
                  <a:pt x="3615720" y="3734292"/>
                  <a:pt x="3613677" y="3734828"/>
                  <a:pt x="3609235" y="3741257"/>
                </a:cubicBezTo>
                <a:cubicBezTo>
                  <a:pt x="3600172" y="3754379"/>
                  <a:pt x="3598396" y="3868396"/>
                  <a:pt x="3607022" y="3883441"/>
                </a:cubicBezTo>
                <a:cubicBezTo>
                  <a:pt x="3610343" y="3889233"/>
                  <a:pt x="3616619" y="3908678"/>
                  <a:pt x="3620970" y="3926650"/>
                </a:cubicBezTo>
                <a:cubicBezTo>
                  <a:pt x="3625320" y="3944623"/>
                  <a:pt x="3631822" y="3962491"/>
                  <a:pt x="3635418" y="3966357"/>
                </a:cubicBezTo>
                <a:cubicBezTo>
                  <a:pt x="3639015" y="3970222"/>
                  <a:pt x="3641958" y="3977641"/>
                  <a:pt x="3641958" y="3982842"/>
                </a:cubicBezTo>
                <a:cubicBezTo>
                  <a:pt x="3641958" y="3988043"/>
                  <a:pt x="3647035" y="4000231"/>
                  <a:pt x="3653242" y="4009926"/>
                </a:cubicBezTo>
                <a:cubicBezTo>
                  <a:pt x="3661280" y="4022483"/>
                  <a:pt x="3663686" y="4031399"/>
                  <a:pt x="3661604" y="4040922"/>
                </a:cubicBezTo>
                <a:cubicBezTo>
                  <a:pt x="3655493" y="4068883"/>
                  <a:pt x="3657180" y="4079123"/>
                  <a:pt x="3669309" y="4087671"/>
                </a:cubicBezTo>
                <a:cubicBezTo>
                  <a:pt x="3679320" y="4094727"/>
                  <a:pt x="3680875" y="4098933"/>
                  <a:pt x="3678511" y="4112573"/>
                </a:cubicBezTo>
                <a:cubicBezTo>
                  <a:pt x="3676264" y="4125528"/>
                  <a:pt x="3676951" y="4127890"/>
                  <a:pt x="3681769" y="4123786"/>
                </a:cubicBezTo>
                <a:cubicBezTo>
                  <a:pt x="3685629" y="4120499"/>
                  <a:pt x="3685184" y="4123062"/>
                  <a:pt x="3680561" y="4130756"/>
                </a:cubicBezTo>
                <a:cubicBezTo>
                  <a:pt x="3674333" y="4141118"/>
                  <a:pt x="3673955" y="4147383"/>
                  <a:pt x="3678018" y="4172994"/>
                </a:cubicBezTo>
                <a:cubicBezTo>
                  <a:pt x="3680640" y="4189533"/>
                  <a:pt x="3684423" y="4203066"/>
                  <a:pt x="3686423" y="4203066"/>
                </a:cubicBezTo>
                <a:cubicBezTo>
                  <a:pt x="3690559" y="4203066"/>
                  <a:pt x="3691434" y="4236952"/>
                  <a:pt x="3687445" y="4242725"/>
                </a:cubicBezTo>
                <a:cubicBezTo>
                  <a:pt x="3683663" y="4248200"/>
                  <a:pt x="3672199" y="4240707"/>
                  <a:pt x="3674851" y="4234494"/>
                </a:cubicBezTo>
                <a:cubicBezTo>
                  <a:pt x="3676079" y="4231618"/>
                  <a:pt x="3675083" y="4227475"/>
                  <a:pt x="3672639" y="4225288"/>
                </a:cubicBezTo>
                <a:cubicBezTo>
                  <a:pt x="3670195" y="4223101"/>
                  <a:pt x="3668195" y="4216130"/>
                  <a:pt x="3668195" y="4209798"/>
                </a:cubicBezTo>
                <a:cubicBezTo>
                  <a:pt x="3668195" y="4203466"/>
                  <a:pt x="3665244" y="4194739"/>
                  <a:pt x="3661635" y="4190404"/>
                </a:cubicBezTo>
                <a:cubicBezTo>
                  <a:pt x="3658027" y="4186069"/>
                  <a:pt x="3655077" y="4174325"/>
                  <a:pt x="3655077" y="4164306"/>
                </a:cubicBezTo>
                <a:cubicBezTo>
                  <a:pt x="3655077" y="4154286"/>
                  <a:pt x="3653109" y="4146088"/>
                  <a:pt x="3650704" y="4146088"/>
                </a:cubicBezTo>
                <a:cubicBezTo>
                  <a:pt x="3648298" y="4146088"/>
                  <a:pt x="3646331" y="4137891"/>
                  <a:pt x="3646331" y="4127870"/>
                </a:cubicBezTo>
                <a:cubicBezTo>
                  <a:pt x="3646331" y="4117851"/>
                  <a:pt x="3643578" y="4106346"/>
                  <a:pt x="3640215" y="4102305"/>
                </a:cubicBezTo>
                <a:cubicBezTo>
                  <a:pt x="3634809" y="4095810"/>
                  <a:pt x="3629407" y="4062547"/>
                  <a:pt x="3628573" y="4030629"/>
                </a:cubicBezTo>
                <a:cubicBezTo>
                  <a:pt x="3628416" y="4024579"/>
                  <a:pt x="3624261" y="4015548"/>
                  <a:pt x="3619343" y="4010560"/>
                </a:cubicBezTo>
                <a:cubicBezTo>
                  <a:pt x="3614423" y="4005572"/>
                  <a:pt x="3611608" y="3998657"/>
                  <a:pt x="3613087" y="3995194"/>
                </a:cubicBezTo>
                <a:cubicBezTo>
                  <a:pt x="3614564" y="3991731"/>
                  <a:pt x="3613916" y="3987943"/>
                  <a:pt x="3611643" y="3986775"/>
                </a:cubicBezTo>
                <a:cubicBezTo>
                  <a:pt x="3609371" y="3985607"/>
                  <a:pt x="3606848" y="3977529"/>
                  <a:pt x="3606039" y="3968824"/>
                </a:cubicBezTo>
                <a:cubicBezTo>
                  <a:pt x="3603957" y="3946450"/>
                  <a:pt x="3599028" y="3937170"/>
                  <a:pt x="3589225" y="3937170"/>
                </a:cubicBezTo>
                <a:cubicBezTo>
                  <a:pt x="3583738" y="3937170"/>
                  <a:pt x="3580737" y="3932825"/>
                  <a:pt x="3580737" y="3924882"/>
                </a:cubicBezTo>
                <a:cubicBezTo>
                  <a:pt x="3580737" y="3918123"/>
                  <a:pt x="3579023" y="3911061"/>
                  <a:pt x="3576929" y="3909186"/>
                </a:cubicBezTo>
                <a:cubicBezTo>
                  <a:pt x="3574833" y="3907312"/>
                  <a:pt x="3571988" y="3897885"/>
                  <a:pt x="3570603" y="3888238"/>
                </a:cubicBezTo>
                <a:cubicBezTo>
                  <a:pt x="3569192" y="3878392"/>
                  <a:pt x="3562322" y="3865208"/>
                  <a:pt x="3554944" y="3858187"/>
                </a:cubicBezTo>
                <a:cubicBezTo>
                  <a:pt x="3535458" y="3839642"/>
                  <a:pt x="3529333" y="3819997"/>
                  <a:pt x="3538478" y="3805368"/>
                </a:cubicBezTo>
                <a:cubicBezTo>
                  <a:pt x="3548320" y="3789621"/>
                  <a:pt x="3547733" y="3784929"/>
                  <a:pt x="3533727" y="3767505"/>
                </a:cubicBezTo>
                <a:cubicBezTo>
                  <a:pt x="3523284" y="3754512"/>
                  <a:pt x="3521825" y="3748412"/>
                  <a:pt x="3522632" y="3721158"/>
                </a:cubicBezTo>
                <a:cubicBezTo>
                  <a:pt x="3523455" y="3693358"/>
                  <a:pt x="3522378" y="3689122"/>
                  <a:pt x="3513197" y="3684068"/>
                </a:cubicBezTo>
                <a:cubicBezTo>
                  <a:pt x="3506658" y="3680469"/>
                  <a:pt x="3501749" y="3671213"/>
                  <a:pt x="3499894" y="3658986"/>
                </a:cubicBezTo>
                <a:cubicBezTo>
                  <a:pt x="3496854" y="3638944"/>
                  <a:pt x="3482669" y="3628111"/>
                  <a:pt x="3469237" y="3635573"/>
                </a:cubicBezTo>
                <a:cubicBezTo>
                  <a:pt x="3461766" y="3639723"/>
                  <a:pt x="3460014" y="3680814"/>
                  <a:pt x="3467041" y="3687101"/>
                </a:cubicBezTo>
                <a:cubicBezTo>
                  <a:pt x="3469446" y="3689253"/>
                  <a:pt x="3471414" y="3697826"/>
                  <a:pt x="3471414" y="3706153"/>
                </a:cubicBezTo>
                <a:cubicBezTo>
                  <a:pt x="3471414" y="3714479"/>
                  <a:pt x="3473914" y="3723570"/>
                  <a:pt x="3476971" y="3726354"/>
                </a:cubicBezTo>
                <a:cubicBezTo>
                  <a:pt x="3484344" y="3733069"/>
                  <a:pt x="3494051" y="3765634"/>
                  <a:pt x="3490888" y="3773042"/>
                </a:cubicBezTo>
                <a:cubicBezTo>
                  <a:pt x="3489514" y="3776263"/>
                  <a:pt x="3490473" y="3778898"/>
                  <a:pt x="3493020" y="3778898"/>
                </a:cubicBezTo>
                <a:cubicBezTo>
                  <a:pt x="3495567" y="3778898"/>
                  <a:pt x="3497651" y="3785672"/>
                  <a:pt x="3497651" y="3793950"/>
                </a:cubicBezTo>
                <a:cubicBezTo>
                  <a:pt x="3497651" y="3802229"/>
                  <a:pt x="3500753" y="3812729"/>
                  <a:pt x="3504545" y="3817285"/>
                </a:cubicBezTo>
                <a:cubicBezTo>
                  <a:pt x="3509560" y="3823311"/>
                  <a:pt x="3510707" y="3831717"/>
                  <a:pt x="3508755" y="3848132"/>
                </a:cubicBezTo>
                <a:cubicBezTo>
                  <a:pt x="3506803" y="3864551"/>
                  <a:pt x="3507290" y="3868110"/>
                  <a:pt x="3510540" y="3861199"/>
                </a:cubicBezTo>
                <a:cubicBezTo>
                  <a:pt x="3514556" y="3852664"/>
                  <a:pt x="3517037" y="3856496"/>
                  <a:pt x="3515661" y="3869113"/>
                </a:cubicBezTo>
                <a:cubicBezTo>
                  <a:pt x="3515376" y="3871725"/>
                  <a:pt x="3517110" y="3873861"/>
                  <a:pt x="3519516" y="3873861"/>
                </a:cubicBezTo>
                <a:cubicBezTo>
                  <a:pt x="3521921" y="3873861"/>
                  <a:pt x="3523889" y="3878254"/>
                  <a:pt x="3523889" y="3883622"/>
                </a:cubicBezTo>
                <a:cubicBezTo>
                  <a:pt x="3523889" y="3888991"/>
                  <a:pt x="3527726" y="3899347"/>
                  <a:pt x="3532417" y="3906635"/>
                </a:cubicBezTo>
                <a:cubicBezTo>
                  <a:pt x="3537108" y="3913925"/>
                  <a:pt x="3542129" y="3928762"/>
                  <a:pt x="3543578" y="3939608"/>
                </a:cubicBezTo>
                <a:cubicBezTo>
                  <a:pt x="3550438" y="3991000"/>
                  <a:pt x="3561569" y="4033585"/>
                  <a:pt x="3572787" y="4051368"/>
                </a:cubicBezTo>
                <a:cubicBezTo>
                  <a:pt x="3579565" y="4062111"/>
                  <a:pt x="3585110" y="4076421"/>
                  <a:pt x="3585110" y="4083170"/>
                </a:cubicBezTo>
                <a:cubicBezTo>
                  <a:pt x="3585110" y="4089919"/>
                  <a:pt x="3586586" y="4095464"/>
                  <a:pt x="3588390" y="4095491"/>
                </a:cubicBezTo>
                <a:cubicBezTo>
                  <a:pt x="3593117" y="4095562"/>
                  <a:pt x="3602793" y="4127855"/>
                  <a:pt x="3600027" y="4134333"/>
                </a:cubicBezTo>
                <a:cubicBezTo>
                  <a:pt x="3595593" y="4144721"/>
                  <a:pt x="3580737" y="4126788"/>
                  <a:pt x="3580737" y="4111046"/>
                </a:cubicBezTo>
                <a:cubicBezTo>
                  <a:pt x="3580737" y="4102463"/>
                  <a:pt x="3578988" y="4095441"/>
                  <a:pt x="3576851" y="4095441"/>
                </a:cubicBezTo>
                <a:cubicBezTo>
                  <a:pt x="3574712" y="4095441"/>
                  <a:pt x="3571710" y="4085756"/>
                  <a:pt x="3570176" y="4073920"/>
                </a:cubicBezTo>
                <a:cubicBezTo>
                  <a:pt x="3566607" y="4046379"/>
                  <a:pt x="3557870" y="4035867"/>
                  <a:pt x="3543030" y="4041258"/>
                </a:cubicBezTo>
                <a:cubicBezTo>
                  <a:pt x="3532038" y="4045253"/>
                  <a:pt x="3531584" y="4044483"/>
                  <a:pt x="3534118" y="4026138"/>
                </a:cubicBezTo>
                <a:cubicBezTo>
                  <a:pt x="3536130" y="4011576"/>
                  <a:pt x="3535198" y="4006809"/>
                  <a:pt x="3530338" y="4006809"/>
                </a:cubicBezTo>
                <a:cubicBezTo>
                  <a:pt x="3522512" y="4006809"/>
                  <a:pt x="3522231" y="4000008"/>
                  <a:pt x="3529155" y="3978011"/>
                </a:cubicBezTo>
                <a:cubicBezTo>
                  <a:pt x="3533632" y="3963785"/>
                  <a:pt x="3533304" y="3960374"/>
                  <a:pt x="3526968" y="3955240"/>
                </a:cubicBezTo>
                <a:cubicBezTo>
                  <a:pt x="3522869" y="3951920"/>
                  <a:pt x="3519516" y="3943344"/>
                  <a:pt x="3519516" y="3936183"/>
                </a:cubicBezTo>
                <a:cubicBezTo>
                  <a:pt x="3519516" y="3929024"/>
                  <a:pt x="3514596" y="3917563"/>
                  <a:pt x="3508583" y="3910715"/>
                </a:cubicBezTo>
                <a:cubicBezTo>
                  <a:pt x="3502570" y="3903868"/>
                  <a:pt x="3497651" y="3894641"/>
                  <a:pt x="3497651" y="3890210"/>
                </a:cubicBezTo>
                <a:cubicBezTo>
                  <a:pt x="3497651" y="3878020"/>
                  <a:pt x="3482873" y="3861199"/>
                  <a:pt x="3472162" y="3861199"/>
                </a:cubicBezTo>
                <a:cubicBezTo>
                  <a:pt x="3465679" y="3861199"/>
                  <a:pt x="3462668" y="3857303"/>
                  <a:pt x="3462668" y="3848911"/>
                </a:cubicBezTo>
                <a:cubicBezTo>
                  <a:pt x="3462668" y="3842153"/>
                  <a:pt x="3460700" y="3834862"/>
                  <a:pt x="3458295" y="3832711"/>
                </a:cubicBezTo>
                <a:cubicBezTo>
                  <a:pt x="3455889" y="3830559"/>
                  <a:pt x="3453922" y="3822414"/>
                  <a:pt x="3453922" y="3814611"/>
                </a:cubicBezTo>
                <a:cubicBezTo>
                  <a:pt x="3453922" y="3806808"/>
                  <a:pt x="3452191" y="3797717"/>
                  <a:pt x="3450078" y="3794409"/>
                </a:cubicBezTo>
                <a:cubicBezTo>
                  <a:pt x="3447963" y="3791101"/>
                  <a:pt x="3443875" y="3777711"/>
                  <a:pt x="3440992" y="3764654"/>
                </a:cubicBezTo>
                <a:cubicBezTo>
                  <a:pt x="3438110" y="3751597"/>
                  <a:pt x="3433937" y="3740913"/>
                  <a:pt x="3431719" y="3740913"/>
                </a:cubicBezTo>
                <a:cubicBezTo>
                  <a:pt x="3429500" y="3740913"/>
                  <a:pt x="3427684" y="3734140"/>
                  <a:pt x="3427684" y="3725861"/>
                </a:cubicBezTo>
                <a:cubicBezTo>
                  <a:pt x="3427684" y="3717583"/>
                  <a:pt x="3424364" y="3706899"/>
                  <a:pt x="3420306" y="3702120"/>
                </a:cubicBezTo>
                <a:cubicBezTo>
                  <a:pt x="3413761" y="3694412"/>
                  <a:pt x="3413294" y="3694839"/>
                  <a:pt x="3416164" y="3705901"/>
                </a:cubicBezTo>
                <a:cubicBezTo>
                  <a:pt x="3417944" y="3712758"/>
                  <a:pt x="3418110" y="3716502"/>
                  <a:pt x="3416533" y="3714219"/>
                </a:cubicBezTo>
                <a:cubicBezTo>
                  <a:pt x="3414956" y="3711935"/>
                  <a:pt x="3408725" y="3712788"/>
                  <a:pt x="3402685" y="3716112"/>
                </a:cubicBezTo>
                <a:cubicBezTo>
                  <a:pt x="3394139" y="3720816"/>
                  <a:pt x="3392198" y="3720288"/>
                  <a:pt x="3393935" y="3713735"/>
                </a:cubicBezTo>
                <a:cubicBezTo>
                  <a:pt x="3395162" y="3709103"/>
                  <a:pt x="3392479" y="3698366"/>
                  <a:pt x="3387971" y="3689876"/>
                </a:cubicBezTo>
                <a:cubicBezTo>
                  <a:pt x="3382841" y="3680212"/>
                  <a:pt x="3379715" y="3663786"/>
                  <a:pt x="3379613" y="3645950"/>
                </a:cubicBezTo>
                <a:cubicBezTo>
                  <a:pt x="3379417" y="3612135"/>
                  <a:pt x="3374880" y="3599578"/>
                  <a:pt x="3363957" y="3602624"/>
                </a:cubicBezTo>
                <a:cubicBezTo>
                  <a:pt x="3358653" y="3604103"/>
                  <a:pt x="3354165" y="3614495"/>
                  <a:pt x="3350698" y="3633318"/>
                </a:cubicBezTo>
                <a:cubicBezTo>
                  <a:pt x="3347816" y="3648971"/>
                  <a:pt x="3345264" y="3656792"/>
                  <a:pt x="3345028" y="3650699"/>
                </a:cubicBezTo>
                <a:cubicBezTo>
                  <a:pt x="3344440" y="3635538"/>
                  <a:pt x="3332715" y="3636676"/>
                  <a:pt x="3329305" y="3652225"/>
                </a:cubicBezTo>
                <a:cubicBezTo>
                  <a:pt x="3325712" y="3668622"/>
                  <a:pt x="3329813" y="3677605"/>
                  <a:pt x="3340893" y="3677605"/>
                </a:cubicBezTo>
                <a:cubicBezTo>
                  <a:pt x="3346112" y="3677605"/>
                  <a:pt x="3350736" y="3682839"/>
                  <a:pt x="3352077" y="3690266"/>
                </a:cubicBezTo>
                <a:cubicBezTo>
                  <a:pt x="3353336" y="3697231"/>
                  <a:pt x="3355857" y="3702928"/>
                  <a:pt x="3357681" y="3702928"/>
                </a:cubicBezTo>
                <a:cubicBezTo>
                  <a:pt x="3359504" y="3702928"/>
                  <a:pt x="3362178" y="3711475"/>
                  <a:pt x="3363620" y="3721921"/>
                </a:cubicBezTo>
                <a:cubicBezTo>
                  <a:pt x="3365160" y="3733060"/>
                  <a:pt x="3369002" y="3740913"/>
                  <a:pt x="3372913" y="3740913"/>
                </a:cubicBezTo>
                <a:cubicBezTo>
                  <a:pt x="3380073" y="3740913"/>
                  <a:pt x="3380926" y="3749508"/>
                  <a:pt x="3375688" y="3768853"/>
                </a:cubicBezTo>
                <a:cubicBezTo>
                  <a:pt x="3370945" y="3786368"/>
                  <a:pt x="3327107" y="3789068"/>
                  <a:pt x="3327107" y="3771846"/>
                </a:cubicBezTo>
                <a:cubicBezTo>
                  <a:pt x="3327107" y="3765561"/>
                  <a:pt x="3321806" y="3753303"/>
                  <a:pt x="3315329" y="3744607"/>
                </a:cubicBezTo>
                <a:cubicBezTo>
                  <a:pt x="3304846" y="3730535"/>
                  <a:pt x="3304392" y="3728327"/>
                  <a:pt x="3311207" y="3724541"/>
                </a:cubicBezTo>
                <a:cubicBezTo>
                  <a:pt x="3315417" y="3722201"/>
                  <a:pt x="3317867" y="3716526"/>
                  <a:pt x="3316649" y="3711929"/>
                </a:cubicBezTo>
                <a:cubicBezTo>
                  <a:pt x="3315240" y="3706616"/>
                  <a:pt x="3316740" y="3704855"/>
                  <a:pt x="3320770" y="3707093"/>
                </a:cubicBezTo>
                <a:cubicBezTo>
                  <a:pt x="3324708" y="3709281"/>
                  <a:pt x="3327107" y="3706703"/>
                  <a:pt x="3327107" y="3700282"/>
                </a:cubicBezTo>
                <a:cubicBezTo>
                  <a:pt x="3327107" y="3693867"/>
                  <a:pt x="3322133" y="3688510"/>
                  <a:pt x="3313988" y="3686151"/>
                </a:cubicBezTo>
                <a:cubicBezTo>
                  <a:pt x="3306772" y="3684062"/>
                  <a:pt x="3300870" y="3678824"/>
                  <a:pt x="3300870" y="3674511"/>
                </a:cubicBezTo>
                <a:cubicBezTo>
                  <a:pt x="3300870" y="3670198"/>
                  <a:pt x="3295555" y="3658976"/>
                  <a:pt x="3289059" y="3649571"/>
                </a:cubicBezTo>
                <a:cubicBezTo>
                  <a:pt x="3277057" y="3632197"/>
                  <a:pt x="3272152" y="3614296"/>
                  <a:pt x="3279392" y="3614296"/>
                </a:cubicBezTo>
                <a:cubicBezTo>
                  <a:pt x="3281584" y="3614296"/>
                  <a:pt x="3283312" y="3610735"/>
                  <a:pt x="3283232" y="3606383"/>
                </a:cubicBezTo>
                <a:cubicBezTo>
                  <a:pt x="3283152" y="3602030"/>
                  <a:pt x="3279168" y="3605283"/>
                  <a:pt x="3274377" y="3613610"/>
                </a:cubicBezTo>
                <a:cubicBezTo>
                  <a:pt x="3264430" y="3630902"/>
                  <a:pt x="3262685" y="3630064"/>
                  <a:pt x="3260548" y="3606968"/>
                </a:cubicBezTo>
                <a:cubicBezTo>
                  <a:pt x="3259704" y="3597841"/>
                  <a:pt x="3256227" y="3585072"/>
                  <a:pt x="3252822" y="3578594"/>
                </a:cubicBezTo>
                <a:cubicBezTo>
                  <a:pt x="3248580" y="3570523"/>
                  <a:pt x="3248452" y="3569150"/>
                  <a:pt x="3252417" y="3574234"/>
                </a:cubicBezTo>
                <a:cubicBezTo>
                  <a:pt x="3255601" y="3578314"/>
                  <a:pt x="3260918" y="3580146"/>
                  <a:pt x="3264232" y="3578304"/>
                </a:cubicBezTo>
                <a:cubicBezTo>
                  <a:pt x="3267951" y="3576238"/>
                  <a:pt x="3270426" y="3579458"/>
                  <a:pt x="3270698" y="3586713"/>
                </a:cubicBezTo>
                <a:cubicBezTo>
                  <a:pt x="3270940" y="3593178"/>
                  <a:pt x="3272955" y="3587243"/>
                  <a:pt x="3275175" y="3573523"/>
                </a:cubicBezTo>
                <a:cubicBezTo>
                  <a:pt x="3278336" y="3554003"/>
                  <a:pt x="3277792" y="3546520"/>
                  <a:pt x="3272678" y="3539117"/>
                </a:cubicBezTo>
                <a:cubicBezTo>
                  <a:pt x="3267122" y="3531072"/>
                  <a:pt x="3264510" y="3530922"/>
                  <a:pt x="3255231" y="3538110"/>
                </a:cubicBezTo>
                <a:cubicBezTo>
                  <a:pt x="3246422" y="3544936"/>
                  <a:pt x="3243037" y="3545025"/>
                  <a:pt x="3237667" y="3538572"/>
                </a:cubicBezTo>
                <a:cubicBezTo>
                  <a:pt x="3225463" y="3523909"/>
                  <a:pt x="3218426" y="3535666"/>
                  <a:pt x="3215276" y="3575977"/>
                </a:cubicBezTo>
                <a:cubicBezTo>
                  <a:pt x="3212800" y="3607649"/>
                  <a:pt x="3210861" y="3614296"/>
                  <a:pt x="3204100" y="3614296"/>
                </a:cubicBezTo>
                <a:cubicBezTo>
                  <a:pt x="3198994" y="3614296"/>
                  <a:pt x="3195919" y="3609800"/>
                  <a:pt x="3195919" y="3602335"/>
                </a:cubicBezTo>
                <a:cubicBezTo>
                  <a:pt x="3195919" y="3595757"/>
                  <a:pt x="3192107" y="3583650"/>
                  <a:pt x="3187447" y="3575429"/>
                </a:cubicBezTo>
                <a:cubicBezTo>
                  <a:pt x="3180562" y="3563282"/>
                  <a:pt x="3177492" y="3561790"/>
                  <a:pt x="3171048" y="3567461"/>
                </a:cubicBezTo>
                <a:cubicBezTo>
                  <a:pt x="3161705" y="3575686"/>
                  <a:pt x="3158183" y="3600182"/>
                  <a:pt x="3164938" y="3609962"/>
                </a:cubicBezTo>
                <a:cubicBezTo>
                  <a:pt x="3171801" y="3619898"/>
                  <a:pt x="3170760" y="3633289"/>
                  <a:pt x="3163122" y="3633289"/>
                </a:cubicBezTo>
                <a:cubicBezTo>
                  <a:pt x="3159514" y="3633289"/>
                  <a:pt x="3156563" y="3630442"/>
                  <a:pt x="3156563" y="3626962"/>
                </a:cubicBezTo>
                <a:cubicBezTo>
                  <a:pt x="3156563" y="3618894"/>
                  <a:pt x="3124818" y="3621686"/>
                  <a:pt x="3120606" y="3630123"/>
                </a:cubicBezTo>
                <a:cubicBezTo>
                  <a:pt x="3116868" y="3637611"/>
                  <a:pt x="3121487" y="3704672"/>
                  <a:pt x="3126056" y="3709259"/>
                </a:cubicBezTo>
                <a:cubicBezTo>
                  <a:pt x="3130096" y="3713313"/>
                  <a:pt x="3144041" y="3803333"/>
                  <a:pt x="3143221" y="3820049"/>
                </a:cubicBezTo>
                <a:cubicBezTo>
                  <a:pt x="3142879" y="3827013"/>
                  <a:pt x="3142831" y="3854789"/>
                  <a:pt x="3143117" y="3881775"/>
                </a:cubicBezTo>
                <a:cubicBezTo>
                  <a:pt x="3143628" y="3930201"/>
                  <a:pt x="3143491" y="3930839"/>
                  <a:pt x="3132608" y="3930839"/>
                </a:cubicBezTo>
                <a:cubicBezTo>
                  <a:pt x="3122920" y="3930839"/>
                  <a:pt x="3121580" y="3928147"/>
                  <a:pt x="3121580" y="3908681"/>
                </a:cubicBezTo>
                <a:cubicBezTo>
                  <a:pt x="3121580" y="3896494"/>
                  <a:pt x="3119831" y="3886523"/>
                  <a:pt x="3117693" y="3886523"/>
                </a:cubicBezTo>
                <a:cubicBezTo>
                  <a:pt x="3115555" y="3886523"/>
                  <a:pt x="3112514" y="3876552"/>
                  <a:pt x="3110936" y="3864365"/>
                </a:cubicBezTo>
                <a:cubicBezTo>
                  <a:pt x="3109357" y="3852178"/>
                  <a:pt x="3106436" y="3842207"/>
                  <a:pt x="3104446" y="3842207"/>
                </a:cubicBezTo>
                <a:cubicBezTo>
                  <a:pt x="3102456" y="3842207"/>
                  <a:pt x="3099843" y="3827371"/>
                  <a:pt x="3098639" y="3809238"/>
                </a:cubicBezTo>
                <a:cubicBezTo>
                  <a:pt x="3097436" y="3791105"/>
                  <a:pt x="3094234" y="3775198"/>
                  <a:pt x="3091524" y="3773890"/>
                </a:cubicBezTo>
                <a:cubicBezTo>
                  <a:pt x="3088687" y="3772521"/>
                  <a:pt x="3086596" y="3757124"/>
                  <a:pt x="3086596" y="3737594"/>
                </a:cubicBezTo>
                <a:cubicBezTo>
                  <a:pt x="3086596" y="3718939"/>
                  <a:pt x="3084596" y="3701886"/>
                  <a:pt x="3082151" y="3699699"/>
                </a:cubicBezTo>
                <a:cubicBezTo>
                  <a:pt x="3079708" y="3697512"/>
                  <a:pt x="3078840" y="3693070"/>
                  <a:pt x="3080224" y="3689829"/>
                </a:cubicBezTo>
                <a:cubicBezTo>
                  <a:pt x="3081607" y="3686588"/>
                  <a:pt x="3080656" y="3683935"/>
                  <a:pt x="3078108" y="3683935"/>
                </a:cubicBezTo>
                <a:cubicBezTo>
                  <a:pt x="3075477" y="3683935"/>
                  <a:pt x="3073478" y="3670496"/>
                  <a:pt x="3073478" y="3652809"/>
                </a:cubicBezTo>
                <a:cubicBezTo>
                  <a:pt x="3073478" y="3634097"/>
                  <a:pt x="3071369" y="3620664"/>
                  <a:pt x="3068189" y="3619131"/>
                </a:cubicBezTo>
                <a:cubicBezTo>
                  <a:pt x="3065282" y="3617728"/>
                  <a:pt x="3062584" y="3609655"/>
                  <a:pt x="3062193" y="3601193"/>
                </a:cubicBezTo>
                <a:cubicBezTo>
                  <a:pt x="3061803" y="3592731"/>
                  <a:pt x="3060036" y="3580822"/>
                  <a:pt x="3058266" y="3574728"/>
                </a:cubicBezTo>
                <a:cubicBezTo>
                  <a:pt x="3056498" y="3568635"/>
                  <a:pt x="3056158" y="3559467"/>
                  <a:pt x="3057514" y="3554356"/>
                </a:cubicBezTo>
                <a:cubicBezTo>
                  <a:pt x="3058868" y="3549245"/>
                  <a:pt x="3058250" y="3543517"/>
                  <a:pt x="3056138" y="3541627"/>
                </a:cubicBezTo>
                <a:cubicBezTo>
                  <a:pt x="3054026" y="3539738"/>
                  <a:pt x="3050926" y="3519628"/>
                  <a:pt x="3049247" y="3496938"/>
                </a:cubicBezTo>
                <a:cubicBezTo>
                  <a:pt x="3045966" y="3452577"/>
                  <a:pt x="3037781" y="3437032"/>
                  <a:pt x="3017705" y="3437032"/>
                </a:cubicBezTo>
                <a:cubicBezTo>
                  <a:pt x="3004148" y="3437032"/>
                  <a:pt x="3001872" y="3448804"/>
                  <a:pt x="3009991" y="3476935"/>
                </a:cubicBezTo>
                <a:cubicBezTo>
                  <a:pt x="3016478" y="3499410"/>
                  <a:pt x="3016397" y="3500341"/>
                  <a:pt x="3007942" y="3500341"/>
                </a:cubicBezTo>
                <a:cubicBezTo>
                  <a:pt x="3002380" y="3500341"/>
                  <a:pt x="2999138" y="3504536"/>
                  <a:pt x="2999138" y="3511736"/>
                </a:cubicBezTo>
                <a:cubicBezTo>
                  <a:pt x="2999138" y="3518004"/>
                  <a:pt x="2996925" y="3526335"/>
                  <a:pt x="2994221" y="3530249"/>
                </a:cubicBezTo>
                <a:cubicBezTo>
                  <a:pt x="2990581" y="3535519"/>
                  <a:pt x="2990581" y="3542668"/>
                  <a:pt x="2994221" y="3557784"/>
                </a:cubicBezTo>
                <a:cubicBezTo>
                  <a:pt x="3005745" y="3605645"/>
                  <a:pt x="2994002" y="3637728"/>
                  <a:pt x="2981646" y="3592138"/>
                </a:cubicBezTo>
                <a:cubicBezTo>
                  <a:pt x="2978343" y="3579951"/>
                  <a:pt x="2974233" y="3569980"/>
                  <a:pt x="2972514" y="3569980"/>
                </a:cubicBezTo>
                <a:cubicBezTo>
                  <a:pt x="2970793" y="3569980"/>
                  <a:pt x="2968015" y="3552882"/>
                  <a:pt x="2966340" y="3531984"/>
                </a:cubicBezTo>
                <a:cubicBezTo>
                  <a:pt x="2964664" y="3511085"/>
                  <a:pt x="2961519" y="3492400"/>
                  <a:pt x="2959351" y="3490460"/>
                </a:cubicBezTo>
                <a:cubicBezTo>
                  <a:pt x="2957183" y="3488520"/>
                  <a:pt x="2955409" y="3469018"/>
                  <a:pt x="2955409" y="3447123"/>
                </a:cubicBezTo>
                <a:cubicBezTo>
                  <a:pt x="2955409" y="3416502"/>
                  <a:pt x="2953405" y="3403971"/>
                  <a:pt x="2946728" y="3392826"/>
                </a:cubicBezTo>
                <a:cubicBezTo>
                  <a:pt x="2941102" y="3383435"/>
                  <a:pt x="2938925" y="3373276"/>
                  <a:pt x="2940541" y="3363958"/>
                </a:cubicBezTo>
                <a:cubicBezTo>
                  <a:pt x="2943882" y="3344684"/>
                  <a:pt x="2934299" y="3317725"/>
                  <a:pt x="2928518" y="3330135"/>
                </a:cubicBezTo>
                <a:cubicBezTo>
                  <a:pt x="2925129" y="3337412"/>
                  <a:pt x="2924581" y="3337288"/>
                  <a:pt x="2925305" y="3329407"/>
                </a:cubicBezTo>
                <a:cubicBezTo>
                  <a:pt x="2925785" y="3324185"/>
                  <a:pt x="2924596" y="3314638"/>
                  <a:pt x="2922663" y="3308194"/>
                </a:cubicBezTo>
                <a:cubicBezTo>
                  <a:pt x="2920387" y="3300601"/>
                  <a:pt x="2921177" y="3294662"/>
                  <a:pt x="2924908" y="3291324"/>
                </a:cubicBezTo>
                <a:cubicBezTo>
                  <a:pt x="2932964" y="3284116"/>
                  <a:pt x="2918867" y="3253437"/>
                  <a:pt x="2907500" y="3253437"/>
                </a:cubicBezTo>
                <a:cubicBezTo>
                  <a:pt x="2894479" y="3253437"/>
                  <a:pt x="2891108" y="3278834"/>
                  <a:pt x="2902377" y="3292044"/>
                </a:cubicBezTo>
                <a:cubicBezTo>
                  <a:pt x="2918941" y="3311461"/>
                  <a:pt x="2910064" y="3321581"/>
                  <a:pt x="2888666" y="3307676"/>
                </a:cubicBezTo>
                <a:cubicBezTo>
                  <a:pt x="2873988" y="3298139"/>
                  <a:pt x="2866652" y="3315701"/>
                  <a:pt x="2869372" y="3353858"/>
                </a:cubicBezTo>
                <a:cubicBezTo>
                  <a:pt x="2871207" y="3379599"/>
                  <a:pt x="2870569" y="3386379"/>
                  <a:pt x="2866824" y="3380956"/>
                </a:cubicBezTo>
                <a:cubicBezTo>
                  <a:pt x="2853092" y="3361076"/>
                  <a:pt x="2836282" y="3385189"/>
                  <a:pt x="2845843" y="3411053"/>
                </a:cubicBezTo>
                <a:cubicBezTo>
                  <a:pt x="2853035" y="3430512"/>
                  <a:pt x="2851394" y="3443363"/>
                  <a:pt x="2841712" y="3443363"/>
                </a:cubicBezTo>
                <a:cubicBezTo>
                  <a:pt x="2836902" y="3443363"/>
                  <a:pt x="2832967" y="3439439"/>
                  <a:pt x="2832967" y="3434642"/>
                </a:cubicBezTo>
                <a:cubicBezTo>
                  <a:pt x="2832967" y="3429845"/>
                  <a:pt x="2829865" y="3422194"/>
                  <a:pt x="2826073" y="3417638"/>
                </a:cubicBezTo>
                <a:cubicBezTo>
                  <a:pt x="2821062" y="3411617"/>
                  <a:pt x="2819944" y="3403452"/>
                  <a:pt x="2821980" y="3387738"/>
                </a:cubicBezTo>
                <a:cubicBezTo>
                  <a:pt x="2824031" y="3371916"/>
                  <a:pt x="2822766" y="3362898"/>
                  <a:pt x="2817264" y="3354095"/>
                </a:cubicBezTo>
                <a:cubicBezTo>
                  <a:pt x="2813129" y="3347481"/>
                  <a:pt x="2811336" y="3342069"/>
                  <a:pt x="2813279" y="3342069"/>
                </a:cubicBezTo>
                <a:cubicBezTo>
                  <a:pt x="2815223" y="3342069"/>
                  <a:pt x="2812891" y="3337084"/>
                  <a:pt x="2808098" y="3330990"/>
                </a:cubicBezTo>
                <a:cubicBezTo>
                  <a:pt x="2803304" y="3324897"/>
                  <a:pt x="2798045" y="3312077"/>
                  <a:pt x="2796413" y="3302501"/>
                </a:cubicBezTo>
                <a:cubicBezTo>
                  <a:pt x="2794577" y="3291741"/>
                  <a:pt x="2790552" y="3285165"/>
                  <a:pt x="2785874" y="3285284"/>
                </a:cubicBezTo>
                <a:cubicBezTo>
                  <a:pt x="2778749" y="3285465"/>
                  <a:pt x="2778754" y="3285855"/>
                  <a:pt x="2785958" y="3291929"/>
                </a:cubicBezTo>
                <a:cubicBezTo>
                  <a:pt x="2793394" y="3298200"/>
                  <a:pt x="2796910" y="3323174"/>
                  <a:pt x="2790331" y="3322979"/>
                </a:cubicBezTo>
                <a:cubicBezTo>
                  <a:pt x="2784980" y="3322821"/>
                  <a:pt x="2777557" y="3314142"/>
                  <a:pt x="2775681" y="3305853"/>
                </a:cubicBezTo>
                <a:cubicBezTo>
                  <a:pt x="2774304" y="3299772"/>
                  <a:pt x="2771665" y="3299772"/>
                  <a:pt x="2763282" y="3305853"/>
                </a:cubicBezTo>
                <a:cubicBezTo>
                  <a:pt x="2753453" y="3312984"/>
                  <a:pt x="2752721" y="3316706"/>
                  <a:pt x="2753779" y="3354086"/>
                </a:cubicBezTo>
                <a:cubicBezTo>
                  <a:pt x="2754450" y="3377814"/>
                  <a:pt x="2757397" y="3398171"/>
                  <a:pt x="2760892" y="3403232"/>
                </a:cubicBezTo>
                <a:cubicBezTo>
                  <a:pt x="2764856" y="3408971"/>
                  <a:pt x="2766580" y="3424957"/>
                  <a:pt x="2766023" y="3450840"/>
                </a:cubicBezTo>
                <a:cubicBezTo>
                  <a:pt x="2765115" y="3493128"/>
                  <a:pt x="2757353" y="3506636"/>
                  <a:pt x="2750015" y="3478697"/>
                </a:cubicBezTo>
                <a:cubicBezTo>
                  <a:pt x="2747655" y="3469710"/>
                  <a:pt x="2742724" y="3462355"/>
                  <a:pt x="2739057" y="3462355"/>
                </a:cubicBezTo>
                <a:cubicBezTo>
                  <a:pt x="2735389" y="3462355"/>
                  <a:pt x="2732389" y="3458387"/>
                  <a:pt x="2732389" y="3453537"/>
                </a:cubicBezTo>
                <a:cubicBezTo>
                  <a:pt x="2732389" y="3444483"/>
                  <a:pt x="2723344" y="3437032"/>
                  <a:pt x="2712353" y="3437032"/>
                </a:cubicBezTo>
                <a:cubicBezTo>
                  <a:pt x="2708267" y="3437032"/>
                  <a:pt x="2706152" y="3444077"/>
                  <a:pt x="2706152" y="3457689"/>
                </a:cubicBezTo>
                <a:cubicBezTo>
                  <a:pt x="2706152" y="3473038"/>
                  <a:pt x="2703623" y="3479951"/>
                  <a:pt x="2696312" y="3484595"/>
                </a:cubicBezTo>
                <a:cubicBezTo>
                  <a:pt x="2688688" y="3489438"/>
                  <a:pt x="2686788" y="3495120"/>
                  <a:pt x="2687868" y="3509837"/>
                </a:cubicBezTo>
                <a:cubicBezTo>
                  <a:pt x="2688637" y="3520283"/>
                  <a:pt x="2689620" y="3541650"/>
                  <a:pt x="2690056" y="3557318"/>
                </a:cubicBezTo>
                <a:cubicBezTo>
                  <a:pt x="2690491" y="3572988"/>
                  <a:pt x="2692544" y="3589617"/>
                  <a:pt x="2694620" y="3594273"/>
                </a:cubicBezTo>
                <a:cubicBezTo>
                  <a:pt x="2699065" y="3604246"/>
                  <a:pt x="2694360" y="3612158"/>
                  <a:pt x="2682100" y="3615329"/>
                </a:cubicBezTo>
                <a:cubicBezTo>
                  <a:pt x="2672226" y="3617883"/>
                  <a:pt x="2667680" y="3643432"/>
                  <a:pt x="2675171" y="3654278"/>
                </a:cubicBezTo>
                <a:cubicBezTo>
                  <a:pt x="2677779" y="3658054"/>
                  <a:pt x="2680146" y="3672683"/>
                  <a:pt x="2680432" y="3686784"/>
                </a:cubicBezTo>
                <a:cubicBezTo>
                  <a:pt x="2680908" y="3710451"/>
                  <a:pt x="2681163" y="3710963"/>
                  <a:pt x="2683731" y="3693432"/>
                </a:cubicBezTo>
                <a:cubicBezTo>
                  <a:pt x="2685938" y="3678378"/>
                  <a:pt x="2689133" y="3674006"/>
                  <a:pt x="2699137" y="3672350"/>
                </a:cubicBezTo>
                <a:cubicBezTo>
                  <a:pt x="2710910" y="3670401"/>
                  <a:pt x="2711590" y="3671476"/>
                  <a:pt x="2709257" y="3688362"/>
                </a:cubicBezTo>
                <a:cubicBezTo>
                  <a:pt x="2707217" y="3703131"/>
                  <a:pt x="2709128" y="3709197"/>
                  <a:pt x="2719638" y="3721312"/>
                </a:cubicBezTo>
                <a:cubicBezTo>
                  <a:pt x="2726725" y="3729479"/>
                  <a:pt x="2732182" y="3739367"/>
                  <a:pt x="2731766" y="3743285"/>
                </a:cubicBezTo>
                <a:cubicBezTo>
                  <a:pt x="2731350" y="3747203"/>
                  <a:pt x="2732566" y="3755587"/>
                  <a:pt x="2734466" y="3761914"/>
                </a:cubicBezTo>
                <a:cubicBezTo>
                  <a:pt x="2736409" y="3768377"/>
                  <a:pt x="2735991" y="3776216"/>
                  <a:pt x="2733513" y="3779804"/>
                </a:cubicBezTo>
                <a:cubicBezTo>
                  <a:pt x="2730548" y="3784097"/>
                  <a:pt x="2727529" y="3779653"/>
                  <a:pt x="2724300" y="3766243"/>
                </a:cubicBezTo>
                <a:cubicBezTo>
                  <a:pt x="2721659" y="3755272"/>
                  <a:pt x="2714863" y="3738325"/>
                  <a:pt x="2709200" y="3728581"/>
                </a:cubicBezTo>
                <a:lnTo>
                  <a:pt x="2698904" y="3710865"/>
                </a:lnTo>
                <a:lnTo>
                  <a:pt x="2694804" y="3727472"/>
                </a:lnTo>
                <a:cubicBezTo>
                  <a:pt x="2690816" y="3743619"/>
                  <a:pt x="2695578" y="3792599"/>
                  <a:pt x="2703659" y="3818561"/>
                </a:cubicBezTo>
                <a:cubicBezTo>
                  <a:pt x="2705572" y="3824706"/>
                  <a:pt x="2706116" y="3835387"/>
                  <a:pt x="2704869" y="3842295"/>
                </a:cubicBezTo>
                <a:cubicBezTo>
                  <a:pt x="2703621" y="3849204"/>
                  <a:pt x="2704382" y="3856451"/>
                  <a:pt x="2706562" y="3858401"/>
                </a:cubicBezTo>
                <a:cubicBezTo>
                  <a:pt x="2713294" y="3864424"/>
                  <a:pt x="2711151" y="3892854"/>
                  <a:pt x="2703965" y="3892854"/>
                </a:cubicBezTo>
                <a:cubicBezTo>
                  <a:pt x="2700358" y="3892854"/>
                  <a:pt x="2697406" y="3889150"/>
                  <a:pt x="2697406" y="3884624"/>
                </a:cubicBezTo>
                <a:cubicBezTo>
                  <a:pt x="2697406" y="3880097"/>
                  <a:pt x="2695225" y="3873236"/>
                  <a:pt x="2692559" y="3869377"/>
                </a:cubicBezTo>
                <a:cubicBezTo>
                  <a:pt x="2689893" y="3865517"/>
                  <a:pt x="2686903" y="3847367"/>
                  <a:pt x="2685914" y="3829043"/>
                </a:cubicBezTo>
                <a:cubicBezTo>
                  <a:pt x="2684926" y="3810719"/>
                  <a:pt x="2682458" y="3792652"/>
                  <a:pt x="2680432" y="3788895"/>
                </a:cubicBezTo>
                <a:cubicBezTo>
                  <a:pt x="2678405" y="3785138"/>
                  <a:pt x="2675339" y="3773517"/>
                  <a:pt x="2673617" y="3763071"/>
                </a:cubicBezTo>
                <a:cubicBezTo>
                  <a:pt x="2671896" y="3752626"/>
                  <a:pt x="2667953" y="3739805"/>
                  <a:pt x="2664856" y="3734582"/>
                </a:cubicBezTo>
                <a:cubicBezTo>
                  <a:pt x="2661758" y="3729359"/>
                  <a:pt x="2657917" y="3717130"/>
                  <a:pt x="2656320" y="3707405"/>
                </a:cubicBezTo>
                <a:cubicBezTo>
                  <a:pt x="2652637" y="3684989"/>
                  <a:pt x="2642017" y="3678717"/>
                  <a:pt x="2633990" y="3694220"/>
                </a:cubicBezTo>
                <a:cubicBezTo>
                  <a:pt x="2628693" y="3704451"/>
                  <a:pt x="2628722" y="3707066"/>
                  <a:pt x="2634199" y="3713122"/>
                </a:cubicBezTo>
                <a:cubicBezTo>
                  <a:pt x="2637696" y="3716988"/>
                  <a:pt x="2640557" y="3728020"/>
                  <a:pt x="2640557" y="3737638"/>
                </a:cubicBezTo>
                <a:cubicBezTo>
                  <a:pt x="2640557" y="3752464"/>
                  <a:pt x="2639560" y="3753926"/>
                  <a:pt x="2633998" y="3747244"/>
                </a:cubicBezTo>
                <a:cubicBezTo>
                  <a:pt x="2630390" y="3742909"/>
                  <a:pt x="2627438" y="3735528"/>
                  <a:pt x="2627438" y="3730840"/>
                </a:cubicBezTo>
                <a:cubicBezTo>
                  <a:pt x="2627438" y="3726153"/>
                  <a:pt x="2624695" y="3723842"/>
                  <a:pt x="2621342" y="3725705"/>
                </a:cubicBezTo>
                <a:cubicBezTo>
                  <a:pt x="2616724" y="3728271"/>
                  <a:pt x="2614499" y="3719780"/>
                  <a:pt x="2612167" y="3690686"/>
                </a:cubicBezTo>
                <a:cubicBezTo>
                  <a:pt x="2610474" y="3669564"/>
                  <a:pt x="2607314" y="3652281"/>
                  <a:pt x="2605145" y="3652281"/>
                </a:cubicBezTo>
                <a:cubicBezTo>
                  <a:pt x="2602976" y="3652281"/>
                  <a:pt x="2601158" y="3644447"/>
                  <a:pt x="2601104" y="3634871"/>
                </a:cubicBezTo>
                <a:cubicBezTo>
                  <a:pt x="2600974" y="3611715"/>
                  <a:pt x="2587069" y="3585752"/>
                  <a:pt x="2577610" y="3591006"/>
                </a:cubicBezTo>
                <a:cubicBezTo>
                  <a:pt x="2566765" y="3597032"/>
                  <a:pt x="2564271" y="3613351"/>
                  <a:pt x="2572247" y="3626110"/>
                </a:cubicBezTo>
                <a:cubicBezTo>
                  <a:pt x="2580831" y="3639841"/>
                  <a:pt x="2581612" y="3664943"/>
                  <a:pt x="2573455" y="3664943"/>
                </a:cubicBezTo>
                <a:cubicBezTo>
                  <a:pt x="2565487" y="3664943"/>
                  <a:pt x="2553099" y="3644289"/>
                  <a:pt x="2553099" y="3631003"/>
                </a:cubicBezTo>
                <a:cubicBezTo>
                  <a:pt x="2553099" y="3625072"/>
                  <a:pt x="2548671" y="3617809"/>
                  <a:pt x="2543260" y="3614862"/>
                </a:cubicBezTo>
                <a:cubicBezTo>
                  <a:pt x="2530755" y="3608056"/>
                  <a:pt x="2523216" y="3623383"/>
                  <a:pt x="2530623" y="3640554"/>
                </a:cubicBezTo>
                <a:cubicBezTo>
                  <a:pt x="2539261" y="3660579"/>
                  <a:pt x="2536826" y="3698781"/>
                  <a:pt x="2526305" y="3708293"/>
                </a:cubicBezTo>
                <a:cubicBezTo>
                  <a:pt x="2518040" y="3715766"/>
                  <a:pt x="2517311" y="3720509"/>
                  <a:pt x="2519771" y="3750816"/>
                </a:cubicBezTo>
                <a:lnTo>
                  <a:pt x="2522540" y="3784928"/>
                </a:lnTo>
                <a:lnTo>
                  <a:pt x="2509726" y="3781217"/>
                </a:lnTo>
                <a:cubicBezTo>
                  <a:pt x="2491618" y="3775974"/>
                  <a:pt x="2485001" y="3787442"/>
                  <a:pt x="2486852" y="3820858"/>
                </a:cubicBezTo>
                <a:cubicBezTo>
                  <a:pt x="2488027" y="3842062"/>
                  <a:pt x="2486874" y="3848538"/>
                  <a:pt x="2481921" y="3848538"/>
                </a:cubicBezTo>
                <a:cubicBezTo>
                  <a:pt x="2473028" y="3848538"/>
                  <a:pt x="2466210" y="3835250"/>
                  <a:pt x="2462933" y="3811532"/>
                </a:cubicBezTo>
                <a:cubicBezTo>
                  <a:pt x="2461416" y="3800547"/>
                  <a:pt x="2458645" y="3791560"/>
                  <a:pt x="2456776" y="3791560"/>
                </a:cubicBezTo>
                <a:cubicBezTo>
                  <a:pt x="2454907" y="3791560"/>
                  <a:pt x="2451266" y="3782791"/>
                  <a:pt x="2448685" y="3772074"/>
                </a:cubicBezTo>
                <a:cubicBezTo>
                  <a:pt x="2443551" y="3750749"/>
                  <a:pt x="2429132" y="3747939"/>
                  <a:pt x="2427873" y="3768017"/>
                </a:cubicBezTo>
                <a:cubicBezTo>
                  <a:pt x="2427379" y="3775892"/>
                  <a:pt x="2427778" y="3776333"/>
                  <a:pt x="2429236" y="3769526"/>
                </a:cubicBezTo>
                <a:cubicBezTo>
                  <a:pt x="2431510" y="3758919"/>
                  <a:pt x="2443776" y="3756143"/>
                  <a:pt x="2443776" y="3766237"/>
                </a:cubicBezTo>
                <a:cubicBezTo>
                  <a:pt x="2443776" y="3769719"/>
                  <a:pt x="2442301" y="3772585"/>
                  <a:pt x="2440496" y="3772608"/>
                </a:cubicBezTo>
                <a:cubicBezTo>
                  <a:pt x="2438692" y="3772627"/>
                  <a:pt x="2433773" y="3781407"/>
                  <a:pt x="2429564" y="3792113"/>
                </a:cubicBezTo>
                <a:cubicBezTo>
                  <a:pt x="2419134" y="3818643"/>
                  <a:pt x="2419508" y="3859863"/>
                  <a:pt x="2430302" y="3873416"/>
                </a:cubicBezTo>
                <a:cubicBezTo>
                  <a:pt x="2435288" y="3879676"/>
                  <a:pt x="2440996" y="3900531"/>
                  <a:pt x="2444369" y="3924805"/>
                </a:cubicBezTo>
                <a:cubicBezTo>
                  <a:pt x="2447491" y="3947274"/>
                  <a:pt x="2451793" y="3967437"/>
                  <a:pt x="2453931" y="3969610"/>
                </a:cubicBezTo>
                <a:cubicBezTo>
                  <a:pt x="2456068" y="3971784"/>
                  <a:pt x="2454718" y="3980410"/>
                  <a:pt x="2450930" y="3988781"/>
                </a:cubicBezTo>
                <a:cubicBezTo>
                  <a:pt x="2443890" y="4004334"/>
                  <a:pt x="2442745" y="4083398"/>
                  <a:pt x="2449419" y="4093060"/>
                </a:cubicBezTo>
                <a:cubicBezTo>
                  <a:pt x="2454210" y="4099996"/>
                  <a:pt x="2453085" y="4138506"/>
                  <a:pt x="2447957" y="4143094"/>
                </a:cubicBezTo>
                <a:cubicBezTo>
                  <a:pt x="2441139" y="4149195"/>
                  <a:pt x="2430657" y="4133852"/>
                  <a:pt x="2430657" y="4117769"/>
                </a:cubicBezTo>
                <a:cubicBezTo>
                  <a:pt x="2430657" y="4094995"/>
                  <a:pt x="2421562" y="4063787"/>
                  <a:pt x="2414924" y="4063787"/>
                </a:cubicBezTo>
                <a:cubicBezTo>
                  <a:pt x="2411552" y="4063787"/>
                  <a:pt x="2408547" y="4060938"/>
                  <a:pt x="2408246" y="4057456"/>
                </a:cubicBezTo>
                <a:cubicBezTo>
                  <a:pt x="2407945" y="4053974"/>
                  <a:pt x="2407207" y="4048276"/>
                  <a:pt x="2406606" y="4044794"/>
                </a:cubicBezTo>
                <a:cubicBezTo>
                  <a:pt x="2406005" y="4041312"/>
                  <a:pt x="2405267" y="4017301"/>
                  <a:pt x="2404966" y="3991434"/>
                </a:cubicBezTo>
                <a:cubicBezTo>
                  <a:pt x="2404557" y="3956255"/>
                  <a:pt x="2402534" y="3941674"/>
                  <a:pt x="2396933" y="3933567"/>
                </a:cubicBezTo>
                <a:cubicBezTo>
                  <a:pt x="2392816" y="3927605"/>
                  <a:pt x="2389152" y="3919568"/>
                  <a:pt x="2388791" y="3915705"/>
                </a:cubicBezTo>
                <a:cubicBezTo>
                  <a:pt x="2388431" y="3911842"/>
                  <a:pt x="2386709" y="3884465"/>
                  <a:pt x="2384965" y="3854869"/>
                </a:cubicBezTo>
                <a:cubicBezTo>
                  <a:pt x="2381682" y="3799164"/>
                  <a:pt x="2376003" y="3782877"/>
                  <a:pt x="2358125" y="3777893"/>
                </a:cubicBezTo>
                <a:cubicBezTo>
                  <a:pt x="2353578" y="3776624"/>
                  <a:pt x="2349153" y="3769923"/>
                  <a:pt x="2348290" y="3762998"/>
                </a:cubicBezTo>
                <a:cubicBezTo>
                  <a:pt x="2346031" y="3744853"/>
                  <a:pt x="2340915" y="3739100"/>
                  <a:pt x="2331066" y="3743626"/>
                </a:cubicBezTo>
                <a:cubicBezTo>
                  <a:pt x="2323601" y="3747056"/>
                  <a:pt x="2322418" y="3753375"/>
                  <a:pt x="2322362" y="3790153"/>
                </a:cubicBezTo>
                <a:cubicBezTo>
                  <a:pt x="2322327" y="3813559"/>
                  <a:pt x="2323776" y="3835560"/>
                  <a:pt x="2325585" y="3839042"/>
                </a:cubicBezTo>
                <a:cubicBezTo>
                  <a:pt x="2330367" y="3848252"/>
                  <a:pt x="2334803" y="3904455"/>
                  <a:pt x="2331015" y="3907844"/>
                </a:cubicBezTo>
                <a:cubicBezTo>
                  <a:pt x="2325179" y="3913065"/>
                  <a:pt x="2314097" y="3896350"/>
                  <a:pt x="2310583" y="3877027"/>
                </a:cubicBezTo>
                <a:cubicBezTo>
                  <a:pt x="2308684" y="3866581"/>
                  <a:pt x="2307525" y="3841244"/>
                  <a:pt x="2308008" y="3820722"/>
                </a:cubicBezTo>
                <a:cubicBezTo>
                  <a:pt x="2308911" y="3782312"/>
                  <a:pt x="2305309" y="3772864"/>
                  <a:pt x="2289689" y="3772664"/>
                </a:cubicBezTo>
                <a:cubicBezTo>
                  <a:pt x="2281272" y="3772557"/>
                  <a:pt x="2267066" y="3813894"/>
                  <a:pt x="2271750" y="3824865"/>
                </a:cubicBezTo>
                <a:cubicBezTo>
                  <a:pt x="2273403" y="3828737"/>
                  <a:pt x="2272480" y="3829620"/>
                  <a:pt x="2269535" y="3826984"/>
                </a:cubicBezTo>
                <a:cubicBezTo>
                  <a:pt x="2266543" y="3824308"/>
                  <a:pt x="2264486" y="3826489"/>
                  <a:pt x="2264486" y="3832337"/>
                </a:cubicBezTo>
                <a:cubicBezTo>
                  <a:pt x="2264486" y="3837766"/>
                  <a:pt x="2262362" y="3842207"/>
                  <a:pt x="2259765" y="3842207"/>
                </a:cubicBezTo>
                <a:cubicBezTo>
                  <a:pt x="2256796" y="3842207"/>
                  <a:pt x="2256114" y="3835164"/>
                  <a:pt x="2257927" y="3823214"/>
                </a:cubicBezTo>
                <a:cubicBezTo>
                  <a:pt x="2259826" y="3810697"/>
                  <a:pt x="2259092" y="3804222"/>
                  <a:pt x="2255775" y="3804222"/>
                </a:cubicBezTo>
                <a:cubicBezTo>
                  <a:pt x="2253007" y="3804222"/>
                  <a:pt x="2247538" y="3799582"/>
                  <a:pt x="2243620" y="3793911"/>
                </a:cubicBezTo>
                <a:cubicBezTo>
                  <a:pt x="2237039" y="3784383"/>
                  <a:pt x="2237259" y="3782707"/>
                  <a:pt x="2246518" y="3771854"/>
                </a:cubicBezTo>
                <a:cubicBezTo>
                  <a:pt x="2255048" y="3761853"/>
                  <a:pt x="2256154" y="3756142"/>
                  <a:pt x="2253959" y="3733428"/>
                </a:cubicBezTo>
                <a:cubicBezTo>
                  <a:pt x="2252542" y="3718753"/>
                  <a:pt x="2249411" y="3703894"/>
                  <a:pt x="2247002" y="3700406"/>
                </a:cubicBezTo>
                <a:cubicBezTo>
                  <a:pt x="2244592" y="3696919"/>
                  <a:pt x="2242621" y="3689474"/>
                  <a:pt x="2242621" y="3683863"/>
                </a:cubicBezTo>
                <a:cubicBezTo>
                  <a:pt x="2242621" y="3678252"/>
                  <a:pt x="2238686" y="3667546"/>
                  <a:pt x="2233875" y="3660071"/>
                </a:cubicBezTo>
                <a:cubicBezTo>
                  <a:pt x="2229065" y="3652596"/>
                  <a:pt x="2225130" y="3640663"/>
                  <a:pt x="2225130" y="3633553"/>
                </a:cubicBezTo>
                <a:cubicBezTo>
                  <a:pt x="2225130" y="3626444"/>
                  <a:pt x="2223654" y="3620376"/>
                  <a:pt x="2221850" y="3620071"/>
                </a:cubicBezTo>
                <a:cubicBezTo>
                  <a:pt x="2220046" y="3619765"/>
                  <a:pt x="2211683" y="3619052"/>
                  <a:pt x="2203265" y="3618488"/>
                </a:cubicBezTo>
                <a:cubicBezTo>
                  <a:pt x="2188217" y="3617479"/>
                  <a:pt x="2187981" y="3617853"/>
                  <a:pt x="2189200" y="3640708"/>
                </a:cubicBezTo>
                <a:cubicBezTo>
                  <a:pt x="2190210" y="3659648"/>
                  <a:pt x="2188734" y="3664739"/>
                  <a:pt x="2181231" y="3668186"/>
                </a:cubicBezTo>
                <a:cubicBezTo>
                  <a:pt x="2175294" y="3670914"/>
                  <a:pt x="2172929" y="3675839"/>
                  <a:pt x="2174574" y="3682047"/>
                </a:cubicBezTo>
                <a:cubicBezTo>
                  <a:pt x="2176448" y="3689115"/>
                  <a:pt x="2175143" y="3690574"/>
                  <a:pt x="2169669" y="3687533"/>
                </a:cubicBezTo>
                <a:cubicBezTo>
                  <a:pt x="2163315" y="3684003"/>
                  <a:pt x="2163466" y="3685395"/>
                  <a:pt x="2170689" y="3696951"/>
                </a:cubicBezTo>
                <a:cubicBezTo>
                  <a:pt x="2177398" y="3707683"/>
                  <a:pt x="2182591" y="3709846"/>
                  <a:pt x="2195588" y="3707322"/>
                </a:cubicBezTo>
                <a:cubicBezTo>
                  <a:pt x="2211612" y="3704211"/>
                  <a:pt x="2212011" y="3704626"/>
                  <a:pt x="2212011" y="3724422"/>
                </a:cubicBezTo>
                <a:cubicBezTo>
                  <a:pt x="2212011" y="3735582"/>
                  <a:pt x="2214256" y="3747962"/>
                  <a:pt x="2216999" y="3751934"/>
                </a:cubicBezTo>
                <a:cubicBezTo>
                  <a:pt x="2223416" y="3761224"/>
                  <a:pt x="2224997" y="3835911"/>
                  <a:pt x="2218775" y="3835779"/>
                </a:cubicBezTo>
                <a:cubicBezTo>
                  <a:pt x="2208830" y="3835568"/>
                  <a:pt x="2204344" y="3825044"/>
                  <a:pt x="2201276" y="3794726"/>
                </a:cubicBezTo>
                <a:cubicBezTo>
                  <a:pt x="2197020" y="3752657"/>
                  <a:pt x="2193267" y="3746638"/>
                  <a:pt x="2176875" y="3755596"/>
                </a:cubicBezTo>
                <a:cubicBezTo>
                  <a:pt x="2161020" y="3764261"/>
                  <a:pt x="2155873" y="3758069"/>
                  <a:pt x="2138525" y="3709464"/>
                </a:cubicBezTo>
                <a:cubicBezTo>
                  <a:pt x="2123766" y="3668115"/>
                  <a:pt x="2115171" y="3658627"/>
                  <a:pt x="2105352" y="3672844"/>
                </a:cubicBezTo>
                <a:cubicBezTo>
                  <a:pt x="2098301" y="3683051"/>
                  <a:pt x="2099961" y="3702928"/>
                  <a:pt x="2107864" y="3702928"/>
                </a:cubicBezTo>
                <a:cubicBezTo>
                  <a:pt x="2110196" y="3702928"/>
                  <a:pt x="2111495" y="3713164"/>
                  <a:pt x="2110750" y="3725675"/>
                </a:cubicBezTo>
                <a:cubicBezTo>
                  <a:pt x="2109802" y="3741608"/>
                  <a:pt x="2111666" y="3750826"/>
                  <a:pt x="2116974" y="3756445"/>
                </a:cubicBezTo>
                <a:cubicBezTo>
                  <a:pt x="2121142" y="3760857"/>
                  <a:pt x="2124552" y="3770563"/>
                  <a:pt x="2124552" y="3778014"/>
                </a:cubicBezTo>
                <a:cubicBezTo>
                  <a:pt x="2124552" y="3788826"/>
                  <a:pt x="2121921" y="3791560"/>
                  <a:pt x="2111517" y="3791560"/>
                </a:cubicBezTo>
                <a:cubicBezTo>
                  <a:pt x="2101338" y="3791560"/>
                  <a:pt x="2097893" y="3794952"/>
                  <a:pt x="2095798" y="3807039"/>
                </a:cubicBezTo>
                <a:cubicBezTo>
                  <a:pt x="2094322" y="3815551"/>
                  <a:pt x="2089857" y="3823768"/>
                  <a:pt x="2085876" y="3825297"/>
                </a:cubicBezTo>
                <a:cubicBezTo>
                  <a:pt x="2080764" y="3827259"/>
                  <a:pt x="2081441" y="3828292"/>
                  <a:pt x="2088181" y="3828811"/>
                </a:cubicBezTo>
                <a:cubicBezTo>
                  <a:pt x="2093433" y="3829215"/>
                  <a:pt x="2098918" y="3834985"/>
                  <a:pt x="2100377" y="3841641"/>
                </a:cubicBezTo>
                <a:cubicBezTo>
                  <a:pt x="2101836" y="3848293"/>
                  <a:pt x="2107979" y="3858432"/>
                  <a:pt x="2114029" y="3864171"/>
                </a:cubicBezTo>
                <a:cubicBezTo>
                  <a:pt x="2123352" y="3873014"/>
                  <a:pt x="2124827" y="3878655"/>
                  <a:pt x="2123698" y="3901140"/>
                </a:cubicBezTo>
                <a:cubicBezTo>
                  <a:pt x="2122193" y="3931115"/>
                  <a:pt x="2110223" y="3939232"/>
                  <a:pt x="2107910" y="3911846"/>
                </a:cubicBezTo>
                <a:cubicBezTo>
                  <a:pt x="2104476" y="3871189"/>
                  <a:pt x="2098711" y="3858131"/>
                  <a:pt x="2080582" y="3849939"/>
                </a:cubicBezTo>
                <a:cubicBezTo>
                  <a:pt x="2061553" y="3841341"/>
                  <a:pt x="2054585" y="3843688"/>
                  <a:pt x="2054585" y="3858695"/>
                </a:cubicBezTo>
                <a:cubicBezTo>
                  <a:pt x="2054585" y="3866014"/>
                  <a:pt x="2051196" y="3867184"/>
                  <a:pt x="2039326" y="3863960"/>
                </a:cubicBezTo>
                <a:cubicBezTo>
                  <a:pt x="2027534" y="3860757"/>
                  <a:pt x="2023454" y="3862131"/>
                  <a:pt x="2021367" y="3870003"/>
                </a:cubicBezTo>
                <a:cubicBezTo>
                  <a:pt x="2017577" y="3884301"/>
                  <a:pt x="2006483" y="3882736"/>
                  <a:pt x="2006483" y="3867904"/>
                </a:cubicBezTo>
                <a:cubicBezTo>
                  <a:pt x="2006483" y="3861146"/>
                  <a:pt x="2004483" y="3853826"/>
                  <a:pt x="2002040" y="3851640"/>
                </a:cubicBezTo>
                <a:cubicBezTo>
                  <a:pt x="1999595" y="3849452"/>
                  <a:pt x="1998824" y="3844783"/>
                  <a:pt x="2000327" y="3841264"/>
                </a:cubicBezTo>
                <a:cubicBezTo>
                  <a:pt x="2001829" y="3837744"/>
                  <a:pt x="1998909" y="3830657"/>
                  <a:pt x="1993839" y="3825515"/>
                </a:cubicBezTo>
                <a:cubicBezTo>
                  <a:pt x="1987608" y="3819197"/>
                  <a:pt x="1984619" y="3809349"/>
                  <a:pt x="1984619" y="3795142"/>
                </a:cubicBezTo>
                <a:cubicBezTo>
                  <a:pt x="1984619" y="3769202"/>
                  <a:pt x="1974654" y="3754565"/>
                  <a:pt x="1964941" y="3766237"/>
                </a:cubicBezTo>
                <a:cubicBezTo>
                  <a:pt x="1961333" y="3770571"/>
                  <a:pt x="1958381" y="3778042"/>
                  <a:pt x="1958381" y="3782839"/>
                </a:cubicBezTo>
                <a:cubicBezTo>
                  <a:pt x="1958381" y="3787636"/>
                  <a:pt x="1955430" y="3791560"/>
                  <a:pt x="1951822" y="3791560"/>
                </a:cubicBezTo>
                <a:cubicBezTo>
                  <a:pt x="1948214" y="3791560"/>
                  <a:pt x="1945262" y="3788711"/>
                  <a:pt x="1945262" y="3785229"/>
                </a:cubicBezTo>
                <a:cubicBezTo>
                  <a:pt x="1945262" y="3781747"/>
                  <a:pt x="1939359" y="3778898"/>
                  <a:pt x="1932144" y="3778898"/>
                </a:cubicBezTo>
                <a:cubicBezTo>
                  <a:pt x="1921186" y="3778898"/>
                  <a:pt x="1919025" y="3776378"/>
                  <a:pt x="1919025" y="3763599"/>
                </a:cubicBezTo>
                <a:cubicBezTo>
                  <a:pt x="1919025" y="3755184"/>
                  <a:pt x="1921033" y="3747330"/>
                  <a:pt x="1923488" y="3746145"/>
                </a:cubicBezTo>
                <a:cubicBezTo>
                  <a:pt x="1930205" y="3742904"/>
                  <a:pt x="1918350" y="3709947"/>
                  <a:pt x="1908872" y="3705513"/>
                </a:cubicBezTo>
                <a:cubicBezTo>
                  <a:pt x="1899063" y="3700925"/>
                  <a:pt x="1884041" y="3719355"/>
                  <a:pt x="1884041" y="3735980"/>
                </a:cubicBezTo>
                <a:cubicBezTo>
                  <a:pt x="1884041" y="3742633"/>
                  <a:pt x="1886078" y="3753587"/>
                  <a:pt x="1888568" y="3760322"/>
                </a:cubicBezTo>
                <a:cubicBezTo>
                  <a:pt x="1893887" y="3774711"/>
                  <a:pt x="1885030" y="3777798"/>
                  <a:pt x="1875988" y="3764707"/>
                </a:cubicBezTo>
                <a:cubicBezTo>
                  <a:pt x="1871664" y="3758447"/>
                  <a:pt x="1869719" y="3758769"/>
                  <a:pt x="1866434" y="3766290"/>
                </a:cubicBezTo>
                <a:cubicBezTo>
                  <a:pt x="1861190" y="3778299"/>
                  <a:pt x="1860967" y="3797891"/>
                  <a:pt x="1866075" y="3797891"/>
                </a:cubicBezTo>
                <a:cubicBezTo>
                  <a:pt x="1868220" y="3797891"/>
                  <a:pt x="1871209" y="3805013"/>
                  <a:pt x="1872718" y="3813718"/>
                </a:cubicBezTo>
                <a:cubicBezTo>
                  <a:pt x="1874227" y="3822423"/>
                  <a:pt x="1877392" y="3829545"/>
                  <a:pt x="1879752" y="3829545"/>
                </a:cubicBezTo>
                <a:cubicBezTo>
                  <a:pt x="1882111" y="3829545"/>
                  <a:pt x="1884041" y="3836499"/>
                  <a:pt x="1884041" y="3844998"/>
                </a:cubicBezTo>
                <a:cubicBezTo>
                  <a:pt x="1884041" y="3853498"/>
                  <a:pt x="1886113" y="3862306"/>
                  <a:pt x="1888645" y="3864572"/>
                </a:cubicBezTo>
                <a:cubicBezTo>
                  <a:pt x="1891177" y="3866837"/>
                  <a:pt x="1892520" y="3871854"/>
                  <a:pt x="1891630" y="3875720"/>
                </a:cubicBezTo>
                <a:cubicBezTo>
                  <a:pt x="1889035" y="3886993"/>
                  <a:pt x="1902591" y="3905515"/>
                  <a:pt x="1913437" y="3905515"/>
                </a:cubicBezTo>
                <a:cubicBezTo>
                  <a:pt x="1919375" y="3905515"/>
                  <a:pt x="1923398" y="3909350"/>
                  <a:pt x="1923398" y="3915012"/>
                </a:cubicBezTo>
                <a:cubicBezTo>
                  <a:pt x="1923398" y="3920235"/>
                  <a:pt x="1925365" y="3924508"/>
                  <a:pt x="1927771" y="3924508"/>
                </a:cubicBezTo>
                <a:cubicBezTo>
                  <a:pt x="1930176" y="3924508"/>
                  <a:pt x="1932144" y="3930106"/>
                  <a:pt x="1932144" y="3936947"/>
                </a:cubicBezTo>
                <a:cubicBezTo>
                  <a:pt x="1932144" y="3943788"/>
                  <a:pt x="1936079" y="3952436"/>
                  <a:pt x="1940889" y="3956162"/>
                </a:cubicBezTo>
                <a:cubicBezTo>
                  <a:pt x="1954852" y="3966980"/>
                  <a:pt x="1951574" y="3977299"/>
                  <a:pt x="1935640" y="3972686"/>
                </a:cubicBezTo>
                <a:cubicBezTo>
                  <a:pt x="1927944" y="3970457"/>
                  <a:pt x="1920564" y="3966474"/>
                  <a:pt x="1919242" y="3963834"/>
                </a:cubicBezTo>
                <a:cubicBezTo>
                  <a:pt x="1917920" y="3961195"/>
                  <a:pt x="1911339" y="3953967"/>
                  <a:pt x="1904617" y="3947772"/>
                </a:cubicBezTo>
                <a:cubicBezTo>
                  <a:pt x="1897896" y="3941576"/>
                  <a:pt x="1890509" y="3929320"/>
                  <a:pt x="1888202" y="3920535"/>
                </a:cubicBezTo>
                <a:cubicBezTo>
                  <a:pt x="1883345" y="3902041"/>
                  <a:pt x="1873609" y="3886523"/>
                  <a:pt x="1866862" y="3886523"/>
                </a:cubicBezTo>
                <a:cubicBezTo>
                  <a:pt x="1864285" y="3886523"/>
                  <a:pt x="1862177" y="3881029"/>
                  <a:pt x="1862177" y="3874314"/>
                </a:cubicBezTo>
                <a:cubicBezTo>
                  <a:pt x="1862177" y="3867598"/>
                  <a:pt x="1859607" y="3858339"/>
                  <a:pt x="1856466" y="3853739"/>
                </a:cubicBezTo>
                <a:cubicBezTo>
                  <a:pt x="1853325" y="3849137"/>
                  <a:pt x="1849451" y="3840387"/>
                  <a:pt x="1847857" y="3834293"/>
                </a:cubicBezTo>
                <a:cubicBezTo>
                  <a:pt x="1844203" y="3820320"/>
                  <a:pt x="1827822" y="3819806"/>
                  <a:pt x="1824179" y="3833550"/>
                </a:cubicBezTo>
                <a:cubicBezTo>
                  <a:pt x="1822673" y="3839234"/>
                  <a:pt x="1823855" y="3849482"/>
                  <a:pt x="1826806" y="3856324"/>
                </a:cubicBezTo>
                <a:cubicBezTo>
                  <a:pt x="1829757" y="3863165"/>
                  <a:pt x="1830945" y="3870540"/>
                  <a:pt x="1829445" y="3872712"/>
                </a:cubicBezTo>
                <a:cubicBezTo>
                  <a:pt x="1827945" y="3874883"/>
                  <a:pt x="1825077" y="3872816"/>
                  <a:pt x="1823072" y="3868119"/>
                </a:cubicBezTo>
                <a:cubicBezTo>
                  <a:pt x="1818209" y="3856728"/>
                  <a:pt x="1809702" y="3865026"/>
                  <a:pt x="1809702" y="3881158"/>
                </a:cubicBezTo>
                <a:cubicBezTo>
                  <a:pt x="1809702" y="3888715"/>
                  <a:pt x="1813317" y="3895408"/>
                  <a:pt x="1818447" y="3897350"/>
                </a:cubicBezTo>
                <a:cubicBezTo>
                  <a:pt x="1824168" y="3899516"/>
                  <a:pt x="1827193" y="3905986"/>
                  <a:pt x="1827193" y="3916052"/>
                </a:cubicBezTo>
                <a:cubicBezTo>
                  <a:pt x="1827193" y="3932239"/>
                  <a:pt x="1846127" y="3962493"/>
                  <a:pt x="1856256" y="3962493"/>
                </a:cubicBezTo>
                <a:cubicBezTo>
                  <a:pt x="1859512" y="3962493"/>
                  <a:pt x="1862177" y="3968191"/>
                  <a:pt x="1862177" y="3975155"/>
                </a:cubicBezTo>
                <a:cubicBezTo>
                  <a:pt x="1862177" y="3984267"/>
                  <a:pt x="1859262" y="3987817"/>
                  <a:pt x="1851780" y="3987817"/>
                </a:cubicBezTo>
                <a:cubicBezTo>
                  <a:pt x="1846061" y="3987817"/>
                  <a:pt x="1838933" y="3992090"/>
                  <a:pt x="1835939" y="3997313"/>
                </a:cubicBezTo>
                <a:cubicBezTo>
                  <a:pt x="1832945" y="4002536"/>
                  <a:pt x="1828768" y="4006809"/>
                  <a:pt x="1826658" y="4006809"/>
                </a:cubicBezTo>
                <a:cubicBezTo>
                  <a:pt x="1824547" y="4006809"/>
                  <a:pt x="1822820" y="4002536"/>
                  <a:pt x="1822820" y="3997313"/>
                </a:cubicBezTo>
                <a:cubicBezTo>
                  <a:pt x="1822820" y="3992090"/>
                  <a:pt x="1820853" y="3987817"/>
                  <a:pt x="1818447" y="3987817"/>
                </a:cubicBezTo>
                <a:cubicBezTo>
                  <a:pt x="1816042" y="3987817"/>
                  <a:pt x="1814075" y="3983167"/>
                  <a:pt x="1814075" y="3977485"/>
                </a:cubicBezTo>
                <a:cubicBezTo>
                  <a:pt x="1814075" y="3964980"/>
                  <a:pt x="1797850" y="3925247"/>
                  <a:pt x="1786969" y="3911104"/>
                </a:cubicBezTo>
                <a:cubicBezTo>
                  <a:pt x="1782636" y="3905473"/>
                  <a:pt x="1779091" y="3894814"/>
                  <a:pt x="1779091" y="3887418"/>
                </a:cubicBezTo>
                <a:cubicBezTo>
                  <a:pt x="1779091" y="3875266"/>
                  <a:pt x="1765017" y="3844344"/>
                  <a:pt x="1741945" y="3805804"/>
                </a:cubicBezTo>
                <a:cubicBezTo>
                  <a:pt x="1737256" y="3797970"/>
                  <a:pt x="1729920" y="3791560"/>
                  <a:pt x="1725644" y="3791560"/>
                </a:cubicBezTo>
                <a:cubicBezTo>
                  <a:pt x="1721369" y="3791560"/>
                  <a:pt x="1717870" y="3787082"/>
                  <a:pt x="1717870" y="3781609"/>
                </a:cubicBezTo>
                <a:cubicBezTo>
                  <a:pt x="1717870" y="3769873"/>
                  <a:pt x="1697380" y="3717614"/>
                  <a:pt x="1690111" y="3710809"/>
                </a:cubicBezTo>
                <a:cubicBezTo>
                  <a:pt x="1687340" y="3708215"/>
                  <a:pt x="1682895" y="3700396"/>
                  <a:pt x="1680232" y="3693432"/>
                </a:cubicBezTo>
                <a:cubicBezTo>
                  <a:pt x="1677569" y="3686468"/>
                  <a:pt x="1671979" y="3679799"/>
                  <a:pt x="1667809" y="3678612"/>
                </a:cubicBezTo>
                <a:cubicBezTo>
                  <a:pt x="1659247" y="3676176"/>
                  <a:pt x="1643530" y="3655329"/>
                  <a:pt x="1643530" y="3646410"/>
                </a:cubicBezTo>
                <a:cubicBezTo>
                  <a:pt x="1643530" y="3643181"/>
                  <a:pt x="1638611" y="3634936"/>
                  <a:pt x="1632598" y="3628089"/>
                </a:cubicBezTo>
                <a:cubicBezTo>
                  <a:pt x="1626078" y="3620663"/>
                  <a:pt x="1621666" y="3609167"/>
                  <a:pt x="1621666" y="3599604"/>
                </a:cubicBezTo>
                <a:cubicBezTo>
                  <a:pt x="1621666" y="3587944"/>
                  <a:pt x="1617908" y="3580855"/>
                  <a:pt x="1607892" y="3573621"/>
                </a:cubicBezTo>
                <a:cubicBezTo>
                  <a:pt x="1592334" y="3562385"/>
                  <a:pt x="1582310" y="3568877"/>
                  <a:pt x="1582310" y="3590188"/>
                </a:cubicBezTo>
                <a:cubicBezTo>
                  <a:pt x="1582310" y="3608936"/>
                  <a:pt x="1563990" y="3602336"/>
                  <a:pt x="1556968" y="3581059"/>
                </a:cubicBezTo>
                <a:cubicBezTo>
                  <a:pt x="1553808" y="3571483"/>
                  <a:pt x="1549853" y="3563286"/>
                  <a:pt x="1548180" y="3562841"/>
                </a:cubicBezTo>
                <a:cubicBezTo>
                  <a:pt x="1534416" y="3559184"/>
                  <a:pt x="1525461" y="3559990"/>
                  <a:pt x="1525461" y="3564887"/>
                </a:cubicBezTo>
                <a:cubicBezTo>
                  <a:pt x="1525461" y="3568100"/>
                  <a:pt x="1523850" y="3569285"/>
                  <a:pt x="1521880" y="3567523"/>
                </a:cubicBezTo>
                <a:cubicBezTo>
                  <a:pt x="1515780" y="3562065"/>
                  <a:pt x="1521675" y="3600788"/>
                  <a:pt x="1528124" y="3608537"/>
                </a:cubicBezTo>
                <a:cubicBezTo>
                  <a:pt x="1531470" y="3612557"/>
                  <a:pt x="1534207" y="3621363"/>
                  <a:pt x="1534207" y="3628104"/>
                </a:cubicBezTo>
                <a:cubicBezTo>
                  <a:pt x="1534207" y="3634846"/>
                  <a:pt x="1540440" y="3651589"/>
                  <a:pt x="1548057" y="3665312"/>
                </a:cubicBezTo>
                <a:cubicBezTo>
                  <a:pt x="1555674" y="3679035"/>
                  <a:pt x="1562260" y="3695249"/>
                  <a:pt x="1562692" y="3701343"/>
                </a:cubicBezTo>
                <a:cubicBezTo>
                  <a:pt x="1563458" y="3712152"/>
                  <a:pt x="1570563" y="3739304"/>
                  <a:pt x="1578407" y="3761403"/>
                </a:cubicBezTo>
                <a:cubicBezTo>
                  <a:pt x="1580554" y="3767449"/>
                  <a:pt x="1582310" y="3778174"/>
                  <a:pt x="1582310" y="3785236"/>
                </a:cubicBezTo>
                <a:cubicBezTo>
                  <a:pt x="1582310" y="3792808"/>
                  <a:pt x="1587872" y="3802974"/>
                  <a:pt x="1595866" y="3810012"/>
                </a:cubicBezTo>
                <a:lnTo>
                  <a:pt x="1609422" y="3821947"/>
                </a:lnTo>
                <a:lnTo>
                  <a:pt x="1599783" y="3835903"/>
                </a:lnTo>
                <a:cubicBezTo>
                  <a:pt x="1592444" y="3846528"/>
                  <a:pt x="1590770" y="3854389"/>
                  <a:pt x="1592769" y="3868858"/>
                </a:cubicBezTo>
                <a:cubicBezTo>
                  <a:pt x="1594782" y="3883425"/>
                  <a:pt x="1593985" y="3887076"/>
                  <a:pt x="1589357" y="3884504"/>
                </a:cubicBezTo>
                <a:cubicBezTo>
                  <a:pt x="1584420" y="3881763"/>
                  <a:pt x="1584200" y="3884530"/>
                  <a:pt x="1588146" y="3899664"/>
                </a:cubicBezTo>
                <a:cubicBezTo>
                  <a:pt x="1591360" y="3911992"/>
                  <a:pt x="1596026" y="3918177"/>
                  <a:pt x="1602110" y="3918177"/>
                </a:cubicBezTo>
                <a:cubicBezTo>
                  <a:pt x="1615135" y="3918177"/>
                  <a:pt x="1626341" y="3931870"/>
                  <a:pt x="1628191" y="3950044"/>
                </a:cubicBezTo>
                <a:cubicBezTo>
                  <a:pt x="1629067" y="3958632"/>
                  <a:pt x="1631165" y="3976342"/>
                  <a:pt x="1632855" y="3989399"/>
                </a:cubicBezTo>
                <a:cubicBezTo>
                  <a:pt x="1634574" y="4002674"/>
                  <a:pt x="1634178" y="4013140"/>
                  <a:pt x="1631957" y="4013140"/>
                </a:cubicBezTo>
                <a:cubicBezTo>
                  <a:pt x="1622428" y="4013140"/>
                  <a:pt x="1608547" y="3992280"/>
                  <a:pt x="1608547" y="3977962"/>
                </a:cubicBezTo>
                <a:cubicBezTo>
                  <a:pt x="1608547" y="3969454"/>
                  <a:pt x="1606463" y="3962493"/>
                  <a:pt x="1603916" y="3962493"/>
                </a:cubicBezTo>
                <a:cubicBezTo>
                  <a:pt x="1601369" y="3962493"/>
                  <a:pt x="1600693" y="3959196"/>
                  <a:pt x="1602413" y="3955165"/>
                </a:cubicBezTo>
                <a:cubicBezTo>
                  <a:pt x="1604547" y="3950166"/>
                  <a:pt x="1602608" y="3948948"/>
                  <a:pt x="1596313" y="3951331"/>
                </a:cubicBezTo>
                <a:cubicBezTo>
                  <a:pt x="1589579" y="3953881"/>
                  <a:pt x="1585069" y="3950297"/>
                  <a:pt x="1579635" y="3938084"/>
                </a:cubicBezTo>
                <a:cubicBezTo>
                  <a:pt x="1575539" y="3928876"/>
                  <a:pt x="1569545" y="3919064"/>
                  <a:pt x="1566316" y="3916280"/>
                </a:cubicBezTo>
                <a:cubicBezTo>
                  <a:pt x="1563087" y="3913495"/>
                  <a:pt x="1560382" y="3903524"/>
                  <a:pt x="1560307" y="3894122"/>
                </a:cubicBezTo>
                <a:cubicBezTo>
                  <a:pt x="1560115" y="3870440"/>
                  <a:pt x="1542195" y="3842024"/>
                  <a:pt x="1530293" y="3846530"/>
                </a:cubicBezTo>
                <a:cubicBezTo>
                  <a:pt x="1517387" y="3851416"/>
                  <a:pt x="1518670" y="3838281"/>
                  <a:pt x="1532819" y="3820661"/>
                </a:cubicBezTo>
                <a:cubicBezTo>
                  <a:pt x="1544538" y="3806067"/>
                  <a:pt x="1544542" y="3806029"/>
                  <a:pt x="1536987" y="3782979"/>
                </a:cubicBezTo>
                <a:cubicBezTo>
                  <a:pt x="1530753" y="3763960"/>
                  <a:pt x="1527108" y="3759906"/>
                  <a:pt x="1516242" y="3759906"/>
                </a:cubicBezTo>
                <a:cubicBezTo>
                  <a:pt x="1503186" y="3759906"/>
                  <a:pt x="1503088" y="3759648"/>
                  <a:pt x="1505885" y="3732637"/>
                </a:cubicBezTo>
                <a:cubicBezTo>
                  <a:pt x="1509108" y="3701524"/>
                  <a:pt x="1501545" y="3686337"/>
                  <a:pt x="1486312" y="3693337"/>
                </a:cubicBezTo>
                <a:cubicBezTo>
                  <a:pt x="1477958" y="3697175"/>
                  <a:pt x="1451344" y="3676788"/>
                  <a:pt x="1447478" y="3663589"/>
                </a:cubicBezTo>
                <a:cubicBezTo>
                  <a:pt x="1446676" y="3660852"/>
                  <a:pt x="1443232" y="3658612"/>
                  <a:pt x="1439825" y="3658612"/>
                </a:cubicBezTo>
                <a:cubicBezTo>
                  <a:pt x="1429673" y="3658612"/>
                  <a:pt x="1432795" y="3646096"/>
                  <a:pt x="1444562" y="3639619"/>
                </a:cubicBezTo>
                <a:cubicBezTo>
                  <a:pt x="1450575" y="3636310"/>
                  <a:pt x="1455495" y="3629090"/>
                  <a:pt x="1455495" y="3623575"/>
                </a:cubicBezTo>
                <a:cubicBezTo>
                  <a:pt x="1455495" y="3617656"/>
                  <a:pt x="1457734" y="3615176"/>
                  <a:pt x="1460961" y="3617522"/>
                </a:cubicBezTo>
                <a:cubicBezTo>
                  <a:pt x="1463968" y="3619706"/>
                  <a:pt x="1460312" y="3613464"/>
                  <a:pt x="1452837" y="3603651"/>
                </a:cubicBezTo>
                <a:cubicBezTo>
                  <a:pt x="1442928" y="3590641"/>
                  <a:pt x="1438581" y="3578327"/>
                  <a:pt x="1436789" y="3558195"/>
                </a:cubicBezTo>
                <a:cubicBezTo>
                  <a:pt x="1433074" y="3516449"/>
                  <a:pt x="1404079" y="3477046"/>
                  <a:pt x="1396928" y="3504024"/>
                </a:cubicBezTo>
                <a:cubicBezTo>
                  <a:pt x="1392375" y="3521202"/>
                  <a:pt x="1393960" y="3531540"/>
                  <a:pt x="1403198" y="3544914"/>
                </a:cubicBezTo>
                <a:cubicBezTo>
                  <a:pt x="1410061" y="3554850"/>
                  <a:pt x="1412379" y="3567442"/>
                  <a:pt x="1413240" y="3599452"/>
                </a:cubicBezTo>
                <a:cubicBezTo>
                  <a:pt x="1414062" y="3630005"/>
                  <a:pt x="1416340" y="3643168"/>
                  <a:pt x="1421808" y="3648957"/>
                </a:cubicBezTo>
                <a:cubicBezTo>
                  <a:pt x="1429750" y="3657364"/>
                  <a:pt x="1431902" y="3671274"/>
                  <a:pt x="1425263" y="3671274"/>
                </a:cubicBezTo>
                <a:cubicBezTo>
                  <a:pt x="1423045" y="3671274"/>
                  <a:pt x="1422690" y="3679020"/>
                  <a:pt x="1424464" y="3688684"/>
                </a:cubicBezTo>
                <a:cubicBezTo>
                  <a:pt x="1426515" y="3699859"/>
                  <a:pt x="1431077" y="3706818"/>
                  <a:pt x="1437204" y="3708117"/>
                </a:cubicBezTo>
                <a:cubicBezTo>
                  <a:pt x="1444851" y="3709737"/>
                  <a:pt x="1446749" y="3714383"/>
                  <a:pt x="1446749" y="3731484"/>
                </a:cubicBezTo>
                <a:cubicBezTo>
                  <a:pt x="1446749" y="3743223"/>
                  <a:pt x="1448948" y="3754796"/>
                  <a:pt x="1451637" y="3757202"/>
                </a:cubicBezTo>
                <a:cubicBezTo>
                  <a:pt x="1454723" y="3759963"/>
                  <a:pt x="1455559" y="3771776"/>
                  <a:pt x="1453905" y="3789250"/>
                </a:cubicBezTo>
                <a:cubicBezTo>
                  <a:pt x="1451711" y="3812432"/>
                  <a:pt x="1452692" y="3818195"/>
                  <a:pt x="1459949" y="3824758"/>
                </a:cubicBezTo>
                <a:cubicBezTo>
                  <a:pt x="1464715" y="3829066"/>
                  <a:pt x="1468613" y="3835830"/>
                  <a:pt x="1468613" y="3839789"/>
                </a:cubicBezTo>
                <a:cubicBezTo>
                  <a:pt x="1468613" y="3843748"/>
                  <a:pt x="1471702" y="3850699"/>
                  <a:pt x="1475477" y="3855234"/>
                </a:cubicBezTo>
                <a:cubicBezTo>
                  <a:pt x="1479252" y="3859769"/>
                  <a:pt x="1481517" y="3868037"/>
                  <a:pt x="1480511" y="3873606"/>
                </a:cubicBezTo>
                <a:cubicBezTo>
                  <a:pt x="1478594" y="3884222"/>
                  <a:pt x="1486874" y="3899185"/>
                  <a:pt x="1494666" y="3899185"/>
                </a:cubicBezTo>
                <a:cubicBezTo>
                  <a:pt x="1497173" y="3899185"/>
                  <a:pt x="1499224" y="3909090"/>
                  <a:pt x="1499224" y="3921197"/>
                </a:cubicBezTo>
                <a:cubicBezTo>
                  <a:pt x="1499224" y="3937382"/>
                  <a:pt x="1501973" y="3945817"/>
                  <a:pt x="1509610" y="3953061"/>
                </a:cubicBezTo>
                <a:cubicBezTo>
                  <a:pt x="1519932" y="3962853"/>
                  <a:pt x="1524025" y="3990773"/>
                  <a:pt x="1516169" y="3997802"/>
                </a:cubicBezTo>
                <a:cubicBezTo>
                  <a:pt x="1514065" y="3999685"/>
                  <a:pt x="1512343" y="3998208"/>
                  <a:pt x="1512343" y="3994521"/>
                </a:cubicBezTo>
                <a:cubicBezTo>
                  <a:pt x="1512343" y="3990833"/>
                  <a:pt x="1509604" y="3987817"/>
                  <a:pt x="1506257" y="3987817"/>
                </a:cubicBezTo>
                <a:cubicBezTo>
                  <a:pt x="1502911" y="3987817"/>
                  <a:pt x="1499039" y="3981284"/>
                  <a:pt x="1497656" y="3973300"/>
                </a:cubicBezTo>
                <a:cubicBezTo>
                  <a:pt x="1496096" y="3964303"/>
                  <a:pt x="1488706" y="3954673"/>
                  <a:pt x="1478220" y="3947976"/>
                </a:cubicBezTo>
                <a:cubicBezTo>
                  <a:pt x="1456305" y="3933979"/>
                  <a:pt x="1452330" y="3934348"/>
                  <a:pt x="1448741" y="3950719"/>
                </a:cubicBezTo>
                <a:cubicBezTo>
                  <a:pt x="1446440" y="3961216"/>
                  <a:pt x="1449383" y="3969058"/>
                  <a:pt x="1461808" y="3985538"/>
                </a:cubicBezTo>
                <a:cubicBezTo>
                  <a:pt x="1470629" y="3997237"/>
                  <a:pt x="1479463" y="4006809"/>
                  <a:pt x="1481440" y="4006809"/>
                </a:cubicBezTo>
                <a:cubicBezTo>
                  <a:pt x="1487212" y="4006809"/>
                  <a:pt x="1493425" y="4021174"/>
                  <a:pt x="1496501" y="4041629"/>
                </a:cubicBezTo>
                <a:cubicBezTo>
                  <a:pt x="1499066" y="4058676"/>
                  <a:pt x="1498736" y="4059475"/>
                  <a:pt x="1493287" y="4049433"/>
                </a:cubicBezTo>
                <a:cubicBezTo>
                  <a:pt x="1482027" y="4028678"/>
                  <a:pt x="1472986" y="4042419"/>
                  <a:pt x="1472986" y="4080292"/>
                </a:cubicBezTo>
                <a:cubicBezTo>
                  <a:pt x="1472986" y="4117150"/>
                  <a:pt x="1471933" y="4118339"/>
                  <a:pt x="1442104" y="4115143"/>
                </a:cubicBezTo>
                <a:cubicBezTo>
                  <a:pt x="1435256" y="4114409"/>
                  <a:pt x="1426158" y="4120305"/>
                  <a:pt x="1418702" y="4130309"/>
                </a:cubicBezTo>
                <a:lnTo>
                  <a:pt x="1406504" y="4146676"/>
                </a:lnTo>
                <a:lnTo>
                  <a:pt x="1417881" y="4160828"/>
                </a:lnTo>
                <a:cubicBezTo>
                  <a:pt x="1424138" y="4168612"/>
                  <a:pt x="1429257" y="4177765"/>
                  <a:pt x="1429257" y="4181169"/>
                </a:cubicBezTo>
                <a:cubicBezTo>
                  <a:pt x="1429257" y="4184573"/>
                  <a:pt x="1433193" y="4190917"/>
                  <a:pt x="1438003" y="4195266"/>
                </a:cubicBezTo>
                <a:cubicBezTo>
                  <a:pt x="1447662" y="4204000"/>
                  <a:pt x="1449888" y="4222114"/>
                  <a:pt x="1441283" y="4221961"/>
                </a:cubicBezTo>
                <a:cubicBezTo>
                  <a:pt x="1432591" y="4221807"/>
                  <a:pt x="1426304" y="4213680"/>
                  <a:pt x="1422992" y="4198318"/>
                </a:cubicBezTo>
                <a:cubicBezTo>
                  <a:pt x="1421198" y="4189993"/>
                  <a:pt x="1416410" y="4184073"/>
                  <a:pt x="1411471" y="4184073"/>
                </a:cubicBezTo>
                <a:cubicBezTo>
                  <a:pt x="1406287" y="4184073"/>
                  <a:pt x="1403020" y="4179722"/>
                  <a:pt x="1403020" y="4172819"/>
                </a:cubicBezTo>
                <a:cubicBezTo>
                  <a:pt x="1403020" y="4161295"/>
                  <a:pt x="1385964" y="4135643"/>
                  <a:pt x="1380062" y="4138288"/>
                </a:cubicBezTo>
                <a:cubicBezTo>
                  <a:pt x="1378258" y="4139096"/>
                  <a:pt x="1376782" y="4135484"/>
                  <a:pt x="1376782" y="4130261"/>
                </a:cubicBezTo>
                <a:cubicBezTo>
                  <a:pt x="1376782" y="4125038"/>
                  <a:pt x="1373179" y="4120765"/>
                  <a:pt x="1368775" y="4120765"/>
                </a:cubicBezTo>
                <a:cubicBezTo>
                  <a:pt x="1356373" y="4120765"/>
                  <a:pt x="1348483" y="4094119"/>
                  <a:pt x="1354046" y="4071017"/>
                </a:cubicBezTo>
                <a:cubicBezTo>
                  <a:pt x="1357615" y="4056193"/>
                  <a:pt x="1357295" y="4050278"/>
                  <a:pt x="1352620" y="4044661"/>
                </a:cubicBezTo>
                <a:cubicBezTo>
                  <a:pt x="1342683" y="4032721"/>
                  <a:pt x="1331004" y="4040005"/>
                  <a:pt x="1329483" y="4059093"/>
                </a:cubicBezTo>
                <a:cubicBezTo>
                  <a:pt x="1328273" y="4074272"/>
                  <a:pt x="1324663" y="4078966"/>
                  <a:pt x="1315264" y="4077582"/>
                </a:cubicBezTo>
                <a:cubicBezTo>
                  <a:pt x="1310380" y="4076864"/>
                  <a:pt x="1316632" y="4114170"/>
                  <a:pt x="1322597" y="4121336"/>
                </a:cubicBezTo>
                <a:cubicBezTo>
                  <a:pt x="1325942" y="4125357"/>
                  <a:pt x="1328680" y="4133646"/>
                  <a:pt x="1328680" y="4139757"/>
                </a:cubicBezTo>
                <a:cubicBezTo>
                  <a:pt x="1328680" y="4145869"/>
                  <a:pt x="1331631" y="4154415"/>
                  <a:pt x="1335239" y="4158750"/>
                </a:cubicBezTo>
                <a:cubicBezTo>
                  <a:pt x="1338847" y="4163085"/>
                  <a:pt x="1341799" y="4173405"/>
                  <a:pt x="1341799" y="4181683"/>
                </a:cubicBezTo>
                <a:cubicBezTo>
                  <a:pt x="1341799" y="4189961"/>
                  <a:pt x="1343766" y="4196735"/>
                  <a:pt x="1346172" y="4196735"/>
                </a:cubicBezTo>
                <a:cubicBezTo>
                  <a:pt x="1348577" y="4196735"/>
                  <a:pt x="1350544" y="4201008"/>
                  <a:pt x="1350544" y="4206232"/>
                </a:cubicBezTo>
                <a:cubicBezTo>
                  <a:pt x="1350544" y="4211454"/>
                  <a:pt x="1352242" y="4215728"/>
                  <a:pt x="1354316" y="4215728"/>
                </a:cubicBezTo>
                <a:cubicBezTo>
                  <a:pt x="1359967" y="4215728"/>
                  <a:pt x="1364711" y="4286383"/>
                  <a:pt x="1359560" y="4293840"/>
                </a:cubicBezTo>
                <a:cubicBezTo>
                  <a:pt x="1356667" y="4298027"/>
                  <a:pt x="1354165" y="4296068"/>
                  <a:pt x="1352111" y="4288008"/>
                </a:cubicBezTo>
                <a:cubicBezTo>
                  <a:pt x="1350410" y="4281333"/>
                  <a:pt x="1346409" y="4273593"/>
                  <a:pt x="1343221" y="4270808"/>
                </a:cubicBezTo>
                <a:cubicBezTo>
                  <a:pt x="1340034" y="4268023"/>
                  <a:pt x="1337426" y="4260357"/>
                  <a:pt x="1337426" y="4253772"/>
                </a:cubicBezTo>
                <a:cubicBezTo>
                  <a:pt x="1337426" y="4247186"/>
                  <a:pt x="1335458" y="4240037"/>
                  <a:pt x="1333053" y="4237886"/>
                </a:cubicBezTo>
                <a:cubicBezTo>
                  <a:pt x="1330648" y="4235734"/>
                  <a:pt x="1328680" y="4228841"/>
                  <a:pt x="1328680" y="4222568"/>
                </a:cubicBezTo>
                <a:cubicBezTo>
                  <a:pt x="1328680" y="4216296"/>
                  <a:pt x="1323647" y="4200428"/>
                  <a:pt x="1317496" y="4187305"/>
                </a:cubicBezTo>
                <a:cubicBezTo>
                  <a:pt x="1311345" y="4174183"/>
                  <a:pt x="1307348" y="4159541"/>
                  <a:pt x="1308613" y="4154767"/>
                </a:cubicBezTo>
                <a:cubicBezTo>
                  <a:pt x="1309878" y="4149994"/>
                  <a:pt x="1309150" y="4146088"/>
                  <a:pt x="1306994" y="4146088"/>
                </a:cubicBezTo>
                <a:cubicBezTo>
                  <a:pt x="1304839" y="4146088"/>
                  <a:pt x="1299602" y="4134692"/>
                  <a:pt x="1295358" y="4120765"/>
                </a:cubicBezTo>
                <a:cubicBezTo>
                  <a:pt x="1291113" y="4106837"/>
                  <a:pt x="1286051" y="4095441"/>
                  <a:pt x="1284109" y="4095441"/>
                </a:cubicBezTo>
                <a:cubicBezTo>
                  <a:pt x="1282167" y="4095441"/>
                  <a:pt x="1280578" y="4091517"/>
                  <a:pt x="1280578" y="4086720"/>
                </a:cubicBezTo>
                <a:cubicBezTo>
                  <a:pt x="1280578" y="4081923"/>
                  <a:pt x="1277627" y="4074453"/>
                  <a:pt x="1274018" y="4070118"/>
                </a:cubicBezTo>
                <a:cubicBezTo>
                  <a:pt x="1270410" y="4065783"/>
                  <a:pt x="1267425" y="4054751"/>
                  <a:pt x="1267383" y="4045602"/>
                </a:cubicBezTo>
                <a:cubicBezTo>
                  <a:pt x="1267307" y="4028781"/>
                  <a:pt x="1254172" y="4006148"/>
                  <a:pt x="1240129" y="3998638"/>
                </a:cubicBezTo>
                <a:cubicBezTo>
                  <a:pt x="1235919" y="3996387"/>
                  <a:pt x="1232476" y="3988961"/>
                  <a:pt x="1232476" y="3982137"/>
                </a:cubicBezTo>
                <a:cubicBezTo>
                  <a:pt x="1232476" y="3962494"/>
                  <a:pt x="1220354" y="3949831"/>
                  <a:pt x="1201553" y="3949831"/>
                </a:cubicBezTo>
                <a:cubicBezTo>
                  <a:pt x="1183145" y="3949831"/>
                  <a:pt x="1179938" y="3942097"/>
                  <a:pt x="1191004" y="3924394"/>
                </a:cubicBezTo>
                <a:cubicBezTo>
                  <a:pt x="1196019" y="3916371"/>
                  <a:pt x="1196776" y="3907769"/>
                  <a:pt x="1194112" y="3889076"/>
                </a:cubicBezTo>
                <a:cubicBezTo>
                  <a:pt x="1191174" y="3868470"/>
                  <a:pt x="1188620" y="3864032"/>
                  <a:pt x="1178736" y="3862362"/>
                </a:cubicBezTo>
                <a:cubicBezTo>
                  <a:pt x="1167843" y="3860521"/>
                  <a:pt x="1166882" y="3862153"/>
                  <a:pt x="1166882" y="3882485"/>
                </a:cubicBezTo>
                <a:cubicBezTo>
                  <a:pt x="1166882" y="3894654"/>
                  <a:pt x="1169833" y="3908885"/>
                  <a:pt x="1173441" y="3914107"/>
                </a:cubicBezTo>
                <a:cubicBezTo>
                  <a:pt x="1181913" y="3926373"/>
                  <a:pt x="1181753" y="3928302"/>
                  <a:pt x="1170962" y="3943924"/>
                </a:cubicBezTo>
                <a:cubicBezTo>
                  <a:pt x="1163777" y="3954326"/>
                  <a:pt x="1162990" y="3958870"/>
                  <a:pt x="1167124" y="3966082"/>
                </a:cubicBezTo>
                <a:cubicBezTo>
                  <a:pt x="1169985" y="3971072"/>
                  <a:pt x="1175922" y="3975155"/>
                  <a:pt x="1180319" y="3975155"/>
                </a:cubicBezTo>
                <a:cubicBezTo>
                  <a:pt x="1184715" y="3975155"/>
                  <a:pt x="1189885" y="3978721"/>
                  <a:pt x="1191809" y="3983079"/>
                </a:cubicBezTo>
                <a:cubicBezTo>
                  <a:pt x="1193732" y="3987437"/>
                  <a:pt x="1200405" y="3994799"/>
                  <a:pt x="1206636" y="3999437"/>
                </a:cubicBezTo>
                <a:cubicBezTo>
                  <a:pt x="1215472" y="4006015"/>
                  <a:pt x="1218100" y="4012974"/>
                  <a:pt x="1218569" y="4031037"/>
                </a:cubicBezTo>
                <a:cubicBezTo>
                  <a:pt x="1218899" y="4043777"/>
                  <a:pt x="1221215" y="4055188"/>
                  <a:pt x="1223715" y="4056394"/>
                </a:cubicBezTo>
                <a:cubicBezTo>
                  <a:pt x="1226214" y="4057600"/>
                  <a:pt x="1231175" y="4062809"/>
                  <a:pt x="1234740" y="4067970"/>
                </a:cubicBezTo>
                <a:cubicBezTo>
                  <a:pt x="1240530" y="4076353"/>
                  <a:pt x="1241690" y="4084387"/>
                  <a:pt x="1243044" y="4125505"/>
                </a:cubicBezTo>
                <a:cubicBezTo>
                  <a:pt x="1243268" y="4132318"/>
                  <a:pt x="1240234" y="4136578"/>
                  <a:pt x="1235153" y="4136583"/>
                </a:cubicBezTo>
                <a:cubicBezTo>
                  <a:pt x="1223754" y="4136596"/>
                  <a:pt x="1215032" y="4157179"/>
                  <a:pt x="1223274" y="4164622"/>
                </a:cubicBezTo>
                <a:cubicBezTo>
                  <a:pt x="1233075" y="4173473"/>
                  <a:pt x="1225614" y="4192124"/>
                  <a:pt x="1214344" y="4186944"/>
                </a:cubicBezTo>
                <a:cubicBezTo>
                  <a:pt x="1206748" y="4183454"/>
                  <a:pt x="1205459" y="4184665"/>
                  <a:pt x="1207713" y="4193168"/>
                </a:cubicBezTo>
                <a:cubicBezTo>
                  <a:pt x="1209359" y="4199378"/>
                  <a:pt x="1208731" y="4202131"/>
                  <a:pt x="1206188" y="4199856"/>
                </a:cubicBezTo>
                <a:cubicBezTo>
                  <a:pt x="1203811" y="4197729"/>
                  <a:pt x="1201865" y="4200711"/>
                  <a:pt x="1201865" y="4206484"/>
                </a:cubicBezTo>
                <a:cubicBezTo>
                  <a:pt x="1201865" y="4219051"/>
                  <a:pt x="1226414" y="4253713"/>
                  <a:pt x="1235316" y="4253713"/>
                </a:cubicBezTo>
                <a:cubicBezTo>
                  <a:pt x="1238775" y="4253713"/>
                  <a:pt x="1241285" y="4257274"/>
                  <a:pt x="1240895" y="4261626"/>
                </a:cubicBezTo>
                <a:cubicBezTo>
                  <a:pt x="1239252" y="4279944"/>
                  <a:pt x="1241824" y="4285367"/>
                  <a:pt x="1252153" y="4285367"/>
                </a:cubicBezTo>
                <a:cubicBezTo>
                  <a:pt x="1259084" y="4285367"/>
                  <a:pt x="1263086" y="4288938"/>
                  <a:pt x="1263086" y="4295120"/>
                </a:cubicBezTo>
                <a:cubicBezTo>
                  <a:pt x="1263086" y="4302596"/>
                  <a:pt x="1258748" y="4304541"/>
                  <a:pt x="1244501" y="4303451"/>
                </a:cubicBezTo>
                <a:cubicBezTo>
                  <a:pt x="1223712" y="4301861"/>
                  <a:pt x="1210611" y="4292883"/>
                  <a:pt x="1210611" y="4280227"/>
                </a:cubicBezTo>
                <a:cubicBezTo>
                  <a:pt x="1210611" y="4275593"/>
                  <a:pt x="1207641" y="4267502"/>
                  <a:pt x="1204011" y="4262246"/>
                </a:cubicBezTo>
                <a:cubicBezTo>
                  <a:pt x="1200382" y="4256991"/>
                  <a:pt x="1198357" y="4250477"/>
                  <a:pt x="1199513" y="4247770"/>
                </a:cubicBezTo>
                <a:cubicBezTo>
                  <a:pt x="1200669" y="4245063"/>
                  <a:pt x="1192991" y="4229251"/>
                  <a:pt x="1182452" y="4212632"/>
                </a:cubicBezTo>
                <a:cubicBezTo>
                  <a:pt x="1165571" y="4186013"/>
                  <a:pt x="1161818" y="4182951"/>
                  <a:pt x="1150918" y="4186912"/>
                </a:cubicBezTo>
                <a:cubicBezTo>
                  <a:pt x="1144113" y="4189385"/>
                  <a:pt x="1137080" y="4194744"/>
                  <a:pt x="1135289" y="4198820"/>
                </a:cubicBezTo>
                <a:cubicBezTo>
                  <a:pt x="1129071" y="4212971"/>
                  <a:pt x="1131844" y="4240278"/>
                  <a:pt x="1140378" y="4248933"/>
                </a:cubicBezTo>
                <a:cubicBezTo>
                  <a:pt x="1145042" y="4253662"/>
                  <a:pt x="1149578" y="4265309"/>
                  <a:pt x="1150457" y="4274815"/>
                </a:cubicBezTo>
                <a:cubicBezTo>
                  <a:pt x="1151337" y="4284321"/>
                  <a:pt x="1155392" y="4297739"/>
                  <a:pt x="1159469" y="4304632"/>
                </a:cubicBezTo>
                <a:cubicBezTo>
                  <a:pt x="1163546" y="4311526"/>
                  <a:pt x="1166882" y="4321153"/>
                  <a:pt x="1166882" y="4326027"/>
                </a:cubicBezTo>
                <a:cubicBezTo>
                  <a:pt x="1166882" y="4330901"/>
                  <a:pt x="1172786" y="4342080"/>
                  <a:pt x="1180000" y="4350870"/>
                </a:cubicBezTo>
                <a:cubicBezTo>
                  <a:pt x="1187216" y="4359659"/>
                  <a:pt x="1193119" y="4369015"/>
                  <a:pt x="1193119" y="4371661"/>
                </a:cubicBezTo>
                <a:cubicBezTo>
                  <a:pt x="1193119" y="4374307"/>
                  <a:pt x="1198254" y="4384231"/>
                  <a:pt x="1204529" y="4393713"/>
                </a:cubicBezTo>
                <a:cubicBezTo>
                  <a:pt x="1215886" y="4410876"/>
                  <a:pt x="1215312" y="4428613"/>
                  <a:pt x="1203609" y="4422111"/>
                </a:cubicBezTo>
                <a:cubicBezTo>
                  <a:pt x="1200245" y="4420242"/>
                  <a:pt x="1197492" y="4421472"/>
                  <a:pt x="1197492" y="4424845"/>
                </a:cubicBezTo>
                <a:cubicBezTo>
                  <a:pt x="1197492" y="4432023"/>
                  <a:pt x="1181420" y="4433200"/>
                  <a:pt x="1178586" y="4426228"/>
                </a:cubicBezTo>
                <a:cubicBezTo>
                  <a:pt x="1177525" y="4423618"/>
                  <a:pt x="1175285" y="4412222"/>
                  <a:pt x="1173608" y="4400905"/>
                </a:cubicBezTo>
                <a:cubicBezTo>
                  <a:pt x="1171931" y="4389589"/>
                  <a:pt x="1169196" y="4380330"/>
                  <a:pt x="1167529" y="4380330"/>
                </a:cubicBezTo>
                <a:cubicBezTo>
                  <a:pt x="1165862" y="4380330"/>
                  <a:pt x="1160820" y="4370440"/>
                  <a:pt x="1156323" y="4358354"/>
                </a:cubicBezTo>
                <a:cubicBezTo>
                  <a:pt x="1151827" y="4346267"/>
                  <a:pt x="1146459" y="4337888"/>
                  <a:pt x="1144396" y="4339735"/>
                </a:cubicBezTo>
                <a:cubicBezTo>
                  <a:pt x="1142333" y="4341581"/>
                  <a:pt x="1140644" y="4340248"/>
                  <a:pt x="1140644" y="4336772"/>
                </a:cubicBezTo>
                <a:cubicBezTo>
                  <a:pt x="1140644" y="4333295"/>
                  <a:pt x="1132281" y="4330990"/>
                  <a:pt x="1122060" y="4331650"/>
                </a:cubicBezTo>
                <a:cubicBezTo>
                  <a:pt x="1108087" y="4332551"/>
                  <a:pt x="1103474" y="4330492"/>
                  <a:pt x="1103474" y="4323352"/>
                </a:cubicBezTo>
                <a:cubicBezTo>
                  <a:pt x="1103474" y="4317790"/>
                  <a:pt x="1108272" y="4313052"/>
                  <a:pt x="1115054" y="4311915"/>
                </a:cubicBezTo>
                <a:cubicBezTo>
                  <a:pt x="1128371" y="4309683"/>
                  <a:pt x="1134241" y="4289732"/>
                  <a:pt x="1124887" y="4278494"/>
                </a:cubicBezTo>
                <a:cubicBezTo>
                  <a:pt x="1121528" y="4274458"/>
                  <a:pt x="1118779" y="4267231"/>
                  <a:pt x="1118779" y="4262434"/>
                </a:cubicBezTo>
                <a:cubicBezTo>
                  <a:pt x="1118779" y="4257638"/>
                  <a:pt x="1116812" y="4253713"/>
                  <a:pt x="1114407" y="4253713"/>
                </a:cubicBezTo>
                <a:cubicBezTo>
                  <a:pt x="1112001" y="4253713"/>
                  <a:pt x="1110034" y="4249745"/>
                  <a:pt x="1110034" y="4244894"/>
                </a:cubicBezTo>
                <a:cubicBezTo>
                  <a:pt x="1110034" y="4240043"/>
                  <a:pt x="1106980" y="4234379"/>
                  <a:pt x="1103247" y="4232305"/>
                </a:cubicBezTo>
                <a:cubicBezTo>
                  <a:pt x="1098848" y="4229860"/>
                  <a:pt x="1097550" y="4231086"/>
                  <a:pt x="1099558" y="4235790"/>
                </a:cubicBezTo>
                <a:cubicBezTo>
                  <a:pt x="1101683" y="4240769"/>
                  <a:pt x="1099562" y="4241874"/>
                  <a:pt x="1092793" y="4239312"/>
                </a:cubicBezTo>
                <a:cubicBezTo>
                  <a:pt x="1084258" y="4236081"/>
                  <a:pt x="1083326" y="4237437"/>
                  <a:pt x="1085867" y="4249394"/>
                </a:cubicBezTo>
                <a:cubicBezTo>
                  <a:pt x="1089276" y="4265439"/>
                  <a:pt x="1089254" y="4268861"/>
                  <a:pt x="1085559" y="4296446"/>
                </a:cubicBezTo>
                <a:cubicBezTo>
                  <a:pt x="1084044" y="4307763"/>
                  <a:pt x="1081284" y="4317021"/>
                  <a:pt x="1079427" y="4317021"/>
                </a:cubicBezTo>
                <a:cubicBezTo>
                  <a:pt x="1066480" y="4317021"/>
                  <a:pt x="1026948" y="4271870"/>
                  <a:pt x="1026948" y="4257083"/>
                </a:cubicBezTo>
                <a:cubicBezTo>
                  <a:pt x="1026948" y="4251523"/>
                  <a:pt x="1023504" y="4244929"/>
                  <a:pt x="1019295" y="4242429"/>
                </a:cubicBezTo>
                <a:cubicBezTo>
                  <a:pt x="1015087" y="4239930"/>
                  <a:pt x="1011367" y="4235037"/>
                  <a:pt x="1011029" y="4231555"/>
                </a:cubicBezTo>
                <a:cubicBezTo>
                  <a:pt x="1010691" y="4228073"/>
                  <a:pt x="1009059" y="4215966"/>
                  <a:pt x="1007402" y="4204648"/>
                </a:cubicBezTo>
                <a:cubicBezTo>
                  <a:pt x="1005630" y="4192550"/>
                  <a:pt x="1006141" y="4184073"/>
                  <a:pt x="1008641" y="4184073"/>
                </a:cubicBezTo>
                <a:cubicBezTo>
                  <a:pt x="1017991" y="4184073"/>
                  <a:pt x="1017850" y="4163144"/>
                  <a:pt x="1008391" y="4147050"/>
                </a:cubicBezTo>
                <a:cubicBezTo>
                  <a:pt x="1001455" y="4135249"/>
                  <a:pt x="995116" y="4130833"/>
                  <a:pt x="987053" y="4132187"/>
                </a:cubicBezTo>
                <a:cubicBezTo>
                  <a:pt x="976259" y="4133999"/>
                  <a:pt x="975609" y="4132580"/>
                  <a:pt x="976052" y="4108153"/>
                </a:cubicBezTo>
                <a:cubicBezTo>
                  <a:pt x="976310" y="4093877"/>
                  <a:pt x="974249" y="4080161"/>
                  <a:pt x="971471" y="4077676"/>
                </a:cubicBezTo>
                <a:cubicBezTo>
                  <a:pt x="968693" y="4075190"/>
                  <a:pt x="965067" y="4065351"/>
                  <a:pt x="963413" y="4055810"/>
                </a:cubicBezTo>
                <a:cubicBezTo>
                  <a:pt x="961760" y="4046270"/>
                  <a:pt x="959132" y="4038463"/>
                  <a:pt x="957575" y="4038463"/>
                </a:cubicBezTo>
                <a:cubicBezTo>
                  <a:pt x="956018" y="4038463"/>
                  <a:pt x="952070" y="4029721"/>
                  <a:pt x="948803" y="4019035"/>
                </a:cubicBezTo>
                <a:cubicBezTo>
                  <a:pt x="945536" y="4008350"/>
                  <a:pt x="938168" y="3992810"/>
                  <a:pt x="932430" y="3984503"/>
                </a:cubicBezTo>
                <a:cubicBezTo>
                  <a:pt x="926693" y="3976196"/>
                  <a:pt x="922028" y="3965709"/>
                  <a:pt x="922065" y="3961198"/>
                </a:cubicBezTo>
                <a:cubicBezTo>
                  <a:pt x="922113" y="3955348"/>
                  <a:pt x="923347" y="3955719"/>
                  <a:pt x="926371" y="3962493"/>
                </a:cubicBezTo>
                <a:cubicBezTo>
                  <a:pt x="928702" y="3967716"/>
                  <a:pt x="930640" y="3968777"/>
                  <a:pt x="930677" y="3964851"/>
                </a:cubicBezTo>
                <a:cubicBezTo>
                  <a:pt x="930712" y="3960925"/>
                  <a:pt x="927792" y="3954166"/>
                  <a:pt x="924185" y="3949831"/>
                </a:cubicBezTo>
                <a:cubicBezTo>
                  <a:pt x="920577" y="3945497"/>
                  <a:pt x="917625" y="3937043"/>
                  <a:pt x="917625" y="3931045"/>
                </a:cubicBezTo>
                <a:cubicBezTo>
                  <a:pt x="917625" y="3925047"/>
                  <a:pt x="913690" y="3914983"/>
                  <a:pt x="908879" y="3908681"/>
                </a:cubicBezTo>
                <a:cubicBezTo>
                  <a:pt x="903383" y="3901480"/>
                  <a:pt x="900133" y="3889182"/>
                  <a:pt x="900133" y="3875582"/>
                </a:cubicBezTo>
                <a:cubicBezTo>
                  <a:pt x="900133" y="3858345"/>
                  <a:pt x="896574" y="3849317"/>
                  <a:pt x="882642" y="3831209"/>
                </a:cubicBezTo>
                <a:cubicBezTo>
                  <a:pt x="868169" y="3812400"/>
                  <a:pt x="865150" y="3804400"/>
                  <a:pt x="865150" y="3784868"/>
                </a:cubicBezTo>
                <a:cubicBezTo>
                  <a:pt x="865150" y="3769724"/>
                  <a:pt x="862798" y="3759954"/>
                  <a:pt x="858591" y="3757617"/>
                </a:cubicBezTo>
                <a:cubicBezTo>
                  <a:pt x="853801" y="3754956"/>
                  <a:pt x="852031" y="3744046"/>
                  <a:pt x="852031" y="3717196"/>
                </a:cubicBezTo>
                <a:cubicBezTo>
                  <a:pt x="852031" y="3688253"/>
                  <a:pt x="850168" y="3678109"/>
                  <a:pt x="843285" y="3669577"/>
                </a:cubicBezTo>
                <a:cubicBezTo>
                  <a:pt x="838475" y="3663615"/>
                  <a:pt x="834539" y="3654266"/>
                  <a:pt x="834539" y="3648804"/>
                </a:cubicBezTo>
                <a:cubicBezTo>
                  <a:pt x="834539" y="3643341"/>
                  <a:pt x="832856" y="3640378"/>
                  <a:pt x="830798" y="3642220"/>
                </a:cubicBezTo>
                <a:cubicBezTo>
                  <a:pt x="828740" y="3644061"/>
                  <a:pt x="827979" y="3638584"/>
                  <a:pt x="829106" y="3630048"/>
                </a:cubicBezTo>
                <a:cubicBezTo>
                  <a:pt x="834347" y="3590360"/>
                  <a:pt x="815210" y="3564788"/>
                  <a:pt x="803657" y="3596041"/>
                </a:cubicBezTo>
                <a:cubicBezTo>
                  <a:pt x="798876" y="3608974"/>
                  <a:pt x="797959" y="3608378"/>
                  <a:pt x="777265" y="3578868"/>
                </a:cubicBezTo>
                <a:cubicBezTo>
                  <a:pt x="765474" y="3562055"/>
                  <a:pt x="755827" y="3544630"/>
                  <a:pt x="755827" y="3540146"/>
                </a:cubicBezTo>
                <a:cubicBezTo>
                  <a:pt x="755827" y="3535663"/>
                  <a:pt x="753859" y="3531995"/>
                  <a:pt x="751454" y="3531995"/>
                </a:cubicBezTo>
                <a:cubicBezTo>
                  <a:pt x="749049" y="3531995"/>
                  <a:pt x="747081" y="3524872"/>
                  <a:pt x="747081" y="3516168"/>
                </a:cubicBezTo>
                <a:cubicBezTo>
                  <a:pt x="747081" y="3497574"/>
                  <a:pt x="748340" y="3497095"/>
                  <a:pt x="762326" y="3510362"/>
                </a:cubicBezTo>
                <a:cubicBezTo>
                  <a:pt x="778495" y="3525700"/>
                  <a:pt x="791643" y="3516911"/>
                  <a:pt x="789966" y="3491886"/>
                </a:cubicBezTo>
                <a:cubicBezTo>
                  <a:pt x="788864" y="3475439"/>
                  <a:pt x="786080" y="3470767"/>
                  <a:pt x="774412" y="3465794"/>
                </a:cubicBezTo>
                <a:cubicBezTo>
                  <a:pt x="763726" y="3461240"/>
                  <a:pt x="760200" y="3456135"/>
                  <a:pt x="760200" y="3445219"/>
                </a:cubicBezTo>
                <a:cubicBezTo>
                  <a:pt x="760200" y="3437234"/>
                  <a:pt x="762819" y="3430701"/>
                  <a:pt x="766020" y="3430701"/>
                </a:cubicBezTo>
                <a:cubicBezTo>
                  <a:pt x="769221" y="3430701"/>
                  <a:pt x="774526" y="3423437"/>
                  <a:pt x="777808" y="3414557"/>
                </a:cubicBezTo>
                <a:cubicBezTo>
                  <a:pt x="783331" y="3399618"/>
                  <a:pt x="782853" y="3397265"/>
                  <a:pt x="771392" y="3383009"/>
                </a:cubicBezTo>
                <a:cubicBezTo>
                  <a:pt x="761301" y="3370454"/>
                  <a:pt x="759990" y="3365890"/>
                  <a:pt x="764313" y="3358350"/>
                </a:cubicBezTo>
                <a:cubicBezTo>
                  <a:pt x="767230" y="3353261"/>
                  <a:pt x="768974" y="3342530"/>
                  <a:pt x="768188" y="3334504"/>
                </a:cubicBezTo>
                <a:cubicBezTo>
                  <a:pt x="766066" y="3312831"/>
                  <a:pt x="745481" y="3313854"/>
                  <a:pt x="743360" y="3335738"/>
                </a:cubicBezTo>
                <a:cubicBezTo>
                  <a:pt x="741520" y="3354721"/>
                  <a:pt x="735798" y="3360835"/>
                  <a:pt x="719750" y="3360965"/>
                </a:cubicBezTo>
                <a:cubicBezTo>
                  <a:pt x="709951" y="3361044"/>
                  <a:pt x="707725" y="3363908"/>
                  <a:pt x="707725" y="3376437"/>
                </a:cubicBezTo>
                <a:cubicBezTo>
                  <a:pt x="707725" y="3393857"/>
                  <a:pt x="718119" y="3411709"/>
                  <a:pt x="728262" y="3411709"/>
                </a:cubicBezTo>
                <a:cubicBezTo>
                  <a:pt x="733538" y="3411709"/>
                  <a:pt x="734445" y="3416127"/>
                  <a:pt x="732322" y="3431493"/>
                </a:cubicBezTo>
                <a:cubicBezTo>
                  <a:pt x="730819" y="3442374"/>
                  <a:pt x="729589" y="3453769"/>
                  <a:pt x="729589" y="3456816"/>
                </a:cubicBezTo>
                <a:cubicBezTo>
                  <a:pt x="729589" y="3459863"/>
                  <a:pt x="725810" y="3462355"/>
                  <a:pt x="721191" y="3462355"/>
                </a:cubicBezTo>
                <a:cubicBezTo>
                  <a:pt x="715415" y="3462355"/>
                  <a:pt x="711893" y="3456425"/>
                  <a:pt x="709911" y="3443363"/>
                </a:cubicBezTo>
                <a:cubicBezTo>
                  <a:pt x="708327" y="3432917"/>
                  <a:pt x="705432" y="3424370"/>
                  <a:pt x="703479" y="3424370"/>
                </a:cubicBezTo>
                <a:cubicBezTo>
                  <a:pt x="701525" y="3424370"/>
                  <a:pt x="698777" y="3417736"/>
                  <a:pt x="697371" y="3409629"/>
                </a:cubicBezTo>
                <a:cubicBezTo>
                  <a:pt x="694864" y="3395169"/>
                  <a:pt x="674734" y="3376173"/>
                  <a:pt x="671316" y="3385041"/>
                </a:cubicBezTo>
                <a:cubicBezTo>
                  <a:pt x="666955" y="3396354"/>
                  <a:pt x="664197" y="3424370"/>
                  <a:pt x="667444" y="3424370"/>
                </a:cubicBezTo>
                <a:cubicBezTo>
                  <a:pt x="669431" y="3424370"/>
                  <a:pt x="674531" y="3435766"/>
                  <a:pt x="678776" y="3449694"/>
                </a:cubicBezTo>
                <a:cubicBezTo>
                  <a:pt x="683020" y="3463622"/>
                  <a:pt x="688092" y="3475017"/>
                  <a:pt x="690046" y="3475017"/>
                </a:cubicBezTo>
                <a:cubicBezTo>
                  <a:pt x="691999" y="3475017"/>
                  <a:pt x="694933" y="3490487"/>
                  <a:pt x="696565" y="3509394"/>
                </a:cubicBezTo>
                <a:cubicBezTo>
                  <a:pt x="698196" y="3528301"/>
                  <a:pt x="702359" y="3547168"/>
                  <a:pt x="705815" y="3551320"/>
                </a:cubicBezTo>
                <a:cubicBezTo>
                  <a:pt x="716194" y="3563791"/>
                  <a:pt x="713062" y="3571842"/>
                  <a:pt x="699374" y="3567879"/>
                </a:cubicBezTo>
                <a:cubicBezTo>
                  <a:pt x="690482" y="3565304"/>
                  <a:pt x="685915" y="3566972"/>
                  <a:pt x="684206" y="3573418"/>
                </a:cubicBezTo>
                <a:cubicBezTo>
                  <a:pt x="682862" y="3578492"/>
                  <a:pt x="676913" y="3582642"/>
                  <a:pt x="670986" y="3582642"/>
                </a:cubicBezTo>
                <a:cubicBezTo>
                  <a:pt x="655359" y="3582642"/>
                  <a:pt x="651685" y="3560461"/>
                  <a:pt x="664136" y="3541275"/>
                </a:cubicBezTo>
                <a:cubicBezTo>
                  <a:pt x="669477" y="3533043"/>
                  <a:pt x="672781" y="3522286"/>
                  <a:pt x="671478" y="3517368"/>
                </a:cubicBezTo>
                <a:cubicBezTo>
                  <a:pt x="668773" y="3507163"/>
                  <a:pt x="650877" y="3498485"/>
                  <a:pt x="650877" y="3507379"/>
                </a:cubicBezTo>
                <a:cubicBezTo>
                  <a:pt x="650877" y="3510598"/>
                  <a:pt x="642514" y="3512469"/>
                  <a:pt x="632292" y="3511535"/>
                </a:cubicBezTo>
                <a:cubicBezTo>
                  <a:pt x="615743" y="3510023"/>
                  <a:pt x="613548" y="3511455"/>
                  <a:pt x="612262" y="3524603"/>
                </a:cubicBezTo>
                <a:cubicBezTo>
                  <a:pt x="611467" y="3532725"/>
                  <a:pt x="613547" y="3544121"/>
                  <a:pt x="616883" y="3549927"/>
                </a:cubicBezTo>
                <a:cubicBezTo>
                  <a:pt x="641170" y="3592201"/>
                  <a:pt x="630436" y="3620939"/>
                  <a:pt x="604596" y="3582818"/>
                </a:cubicBezTo>
                <a:cubicBezTo>
                  <a:pt x="596294" y="3570568"/>
                  <a:pt x="587264" y="3563869"/>
                  <a:pt x="578723" y="3563624"/>
                </a:cubicBezTo>
                <a:cubicBezTo>
                  <a:pt x="557396" y="3563010"/>
                  <a:pt x="550299" y="3550762"/>
                  <a:pt x="550299" y="3514565"/>
                </a:cubicBezTo>
                <a:cubicBezTo>
                  <a:pt x="550299" y="3492083"/>
                  <a:pt x="548369" y="3481630"/>
                  <a:pt x="543740" y="3479059"/>
                </a:cubicBezTo>
                <a:cubicBezTo>
                  <a:pt x="540132" y="3477054"/>
                  <a:pt x="537180" y="3468203"/>
                  <a:pt x="537180" y="3459388"/>
                </a:cubicBezTo>
                <a:cubicBezTo>
                  <a:pt x="537180" y="3450575"/>
                  <a:pt x="535213" y="3443363"/>
                  <a:pt x="532807" y="3443363"/>
                </a:cubicBezTo>
                <a:cubicBezTo>
                  <a:pt x="530402" y="3443363"/>
                  <a:pt x="528435" y="3438313"/>
                  <a:pt x="528435" y="3432141"/>
                </a:cubicBezTo>
                <a:cubicBezTo>
                  <a:pt x="528435" y="3425969"/>
                  <a:pt x="520563" y="3411076"/>
                  <a:pt x="510943" y="3399047"/>
                </a:cubicBezTo>
                <a:cubicBezTo>
                  <a:pt x="501322" y="3387017"/>
                  <a:pt x="493451" y="3372475"/>
                  <a:pt x="493451" y="3366729"/>
                </a:cubicBezTo>
                <a:cubicBezTo>
                  <a:pt x="493451" y="3360983"/>
                  <a:pt x="490540" y="3352784"/>
                  <a:pt x="486983" y="3348509"/>
                </a:cubicBezTo>
                <a:cubicBezTo>
                  <a:pt x="478571" y="3338403"/>
                  <a:pt x="467214" y="3305262"/>
                  <a:pt x="467214" y="3290823"/>
                </a:cubicBezTo>
                <a:cubicBezTo>
                  <a:pt x="467214" y="3284600"/>
                  <a:pt x="465214" y="3277718"/>
                  <a:pt x="462770" y="3275532"/>
                </a:cubicBezTo>
                <a:cubicBezTo>
                  <a:pt x="460325" y="3273344"/>
                  <a:pt x="459294" y="3269284"/>
                  <a:pt x="460480" y="3266508"/>
                </a:cubicBezTo>
                <a:cubicBezTo>
                  <a:pt x="461665" y="3263732"/>
                  <a:pt x="458715" y="3256326"/>
                  <a:pt x="453925" y="3250050"/>
                </a:cubicBezTo>
                <a:cubicBezTo>
                  <a:pt x="449136" y="3243774"/>
                  <a:pt x="443990" y="3227531"/>
                  <a:pt x="442490" y="3213955"/>
                </a:cubicBezTo>
                <a:cubicBezTo>
                  <a:pt x="440714" y="3197875"/>
                  <a:pt x="436164" y="3185855"/>
                  <a:pt x="429437" y="3179475"/>
                </a:cubicBezTo>
                <a:cubicBezTo>
                  <a:pt x="420386" y="3170889"/>
                  <a:pt x="419111" y="3164737"/>
                  <a:pt x="419111" y="3129631"/>
                </a:cubicBezTo>
                <a:cubicBezTo>
                  <a:pt x="419111" y="3107604"/>
                  <a:pt x="417144" y="3087821"/>
                  <a:pt x="414739" y="3085670"/>
                </a:cubicBezTo>
                <a:cubicBezTo>
                  <a:pt x="408725" y="3080289"/>
                  <a:pt x="409222" y="3058788"/>
                  <a:pt x="415429" y="3055792"/>
                </a:cubicBezTo>
                <a:cubicBezTo>
                  <a:pt x="426207" y="3050591"/>
                  <a:pt x="414493" y="3021857"/>
                  <a:pt x="393008" y="3000795"/>
                </a:cubicBezTo>
                <a:cubicBezTo>
                  <a:pt x="371303" y="2979517"/>
                  <a:pt x="371009" y="2978788"/>
                  <a:pt x="371009" y="2946175"/>
                </a:cubicBezTo>
                <a:cubicBezTo>
                  <a:pt x="371009" y="2924518"/>
                  <a:pt x="368748" y="2910404"/>
                  <a:pt x="364450" y="2905240"/>
                </a:cubicBezTo>
                <a:cubicBezTo>
                  <a:pt x="360842" y="2900905"/>
                  <a:pt x="357891" y="2889161"/>
                  <a:pt x="357891" y="2879142"/>
                </a:cubicBezTo>
                <a:cubicBezTo>
                  <a:pt x="357891" y="2869122"/>
                  <a:pt x="355792" y="2860924"/>
                  <a:pt x="353227" y="2860924"/>
                </a:cubicBezTo>
                <a:cubicBezTo>
                  <a:pt x="350663" y="2860924"/>
                  <a:pt x="349186" y="2853090"/>
                  <a:pt x="349948" y="2843514"/>
                </a:cubicBezTo>
                <a:cubicBezTo>
                  <a:pt x="350917" y="2831312"/>
                  <a:pt x="348082" y="2821877"/>
                  <a:pt x="340471" y="2811971"/>
                </a:cubicBezTo>
                <a:cubicBezTo>
                  <a:pt x="331901" y="2800818"/>
                  <a:pt x="329719" y="2792140"/>
                  <a:pt x="330125" y="2770820"/>
                </a:cubicBezTo>
                <a:cubicBezTo>
                  <a:pt x="330408" y="2755961"/>
                  <a:pt x="329391" y="2742379"/>
                  <a:pt x="327866" y="2740638"/>
                </a:cubicBezTo>
                <a:cubicBezTo>
                  <a:pt x="321736" y="2733639"/>
                  <a:pt x="305415" y="2675988"/>
                  <a:pt x="305415" y="2661333"/>
                </a:cubicBezTo>
                <a:cubicBezTo>
                  <a:pt x="305415" y="2652721"/>
                  <a:pt x="303448" y="2645675"/>
                  <a:pt x="301042" y="2645675"/>
                </a:cubicBezTo>
                <a:cubicBezTo>
                  <a:pt x="298637" y="2645675"/>
                  <a:pt x="296670" y="2630543"/>
                  <a:pt x="296670" y="2612049"/>
                </a:cubicBezTo>
                <a:cubicBezTo>
                  <a:pt x="296670" y="2585923"/>
                  <a:pt x="294475" y="2575017"/>
                  <a:pt x="286831" y="2563152"/>
                </a:cubicBezTo>
                <a:cubicBezTo>
                  <a:pt x="281419" y="2554752"/>
                  <a:pt x="276629" y="2543532"/>
                  <a:pt x="276187" y="2538217"/>
                </a:cubicBezTo>
                <a:cubicBezTo>
                  <a:pt x="271291" y="2479416"/>
                  <a:pt x="268063" y="2457746"/>
                  <a:pt x="263140" y="2450618"/>
                </a:cubicBezTo>
                <a:cubicBezTo>
                  <a:pt x="259935" y="2445979"/>
                  <a:pt x="257313" y="2438113"/>
                  <a:pt x="257313" y="2433139"/>
                </a:cubicBezTo>
                <a:cubicBezTo>
                  <a:pt x="257313" y="2428164"/>
                  <a:pt x="255346" y="2424095"/>
                  <a:pt x="252940" y="2424095"/>
                </a:cubicBezTo>
                <a:cubicBezTo>
                  <a:pt x="250535" y="2424095"/>
                  <a:pt x="248567" y="2411275"/>
                  <a:pt x="248567" y="2395606"/>
                </a:cubicBezTo>
                <a:cubicBezTo>
                  <a:pt x="248567" y="2378998"/>
                  <a:pt x="246549" y="2367117"/>
                  <a:pt x="243727" y="2367117"/>
                </a:cubicBezTo>
                <a:cubicBezTo>
                  <a:pt x="241064" y="2367117"/>
                  <a:pt x="239948" y="2363111"/>
                  <a:pt x="241245" y="2358215"/>
                </a:cubicBezTo>
                <a:cubicBezTo>
                  <a:pt x="242543" y="2353320"/>
                  <a:pt x="239802" y="2344332"/>
                  <a:pt x="235154" y="2338242"/>
                </a:cubicBezTo>
                <a:cubicBezTo>
                  <a:pt x="230238" y="2331802"/>
                  <a:pt x="226703" y="2318900"/>
                  <a:pt x="226703" y="2307402"/>
                </a:cubicBezTo>
                <a:cubicBezTo>
                  <a:pt x="226703" y="2296529"/>
                  <a:pt x="223914" y="2281868"/>
                  <a:pt x="220505" y="2274822"/>
                </a:cubicBezTo>
                <a:cubicBezTo>
                  <a:pt x="217096" y="2267776"/>
                  <a:pt x="212969" y="2250762"/>
                  <a:pt x="211334" y="2237011"/>
                </a:cubicBezTo>
                <a:cubicBezTo>
                  <a:pt x="207643" y="2205980"/>
                  <a:pt x="199565" y="2177191"/>
                  <a:pt x="194546" y="2177191"/>
                </a:cubicBezTo>
                <a:cubicBezTo>
                  <a:pt x="192465" y="2177191"/>
                  <a:pt x="191567" y="2167220"/>
                  <a:pt x="192550" y="2155033"/>
                </a:cubicBezTo>
                <a:cubicBezTo>
                  <a:pt x="193532" y="2142846"/>
                  <a:pt x="192764" y="2132875"/>
                  <a:pt x="190841" y="2132875"/>
                </a:cubicBezTo>
                <a:cubicBezTo>
                  <a:pt x="188919" y="2132875"/>
                  <a:pt x="187346" y="2127178"/>
                  <a:pt x="187346" y="2120214"/>
                </a:cubicBezTo>
                <a:cubicBezTo>
                  <a:pt x="187346" y="2113250"/>
                  <a:pt x="185468" y="2107552"/>
                  <a:pt x="183172" y="2107552"/>
                </a:cubicBezTo>
                <a:cubicBezTo>
                  <a:pt x="180875" y="2107552"/>
                  <a:pt x="177705" y="2097581"/>
                  <a:pt x="176125" y="2085394"/>
                </a:cubicBezTo>
                <a:cubicBezTo>
                  <a:pt x="174546" y="2073207"/>
                  <a:pt x="171506" y="2063236"/>
                  <a:pt x="169368" y="2063236"/>
                </a:cubicBezTo>
                <a:cubicBezTo>
                  <a:pt x="167231" y="2063236"/>
                  <a:pt x="165482" y="2057449"/>
                  <a:pt x="165482" y="2050375"/>
                </a:cubicBezTo>
                <a:cubicBezTo>
                  <a:pt x="165482" y="2043302"/>
                  <a:pt x="162530" y="2035875"/>
                  <a:pt x="158923" y="2033872"/>
                </a:cubicBezTo>
                <a:cubicBezTo>
                  <a:pt x="155295" y="2031855"/>
                  <a:pt x="152363" y="2022455"/>
                  <a:pt x="152363" y="2012836"/>
                </a:cubicBezTo>
                <a:cubicBezTo>
                  <a:pt x="152363" y="1991912"/>
                  <a:pt x="134460" y="1961942"/>
                  <a:pt x="121961" y="1961942"/>
                </a:cubicBezTo>
                <a:cubicBezTo>
                  <a:pt x="117036" y="1961942"/>
                  <a:pt x="113007" y="1957906"/>
                  <a:pt x="113007" y="1952973"/>
                </a:cubicBezTo>
                <a:cubicBezTo>
                  <a:pt x="113007" y="1948041"/>
                  <a:pt x="110685" y="1942885"/>
                  <a:pt x="107847" y="1941515"/>
                </a:cubicBezTo>
                <a:cubicBezTo>
                  <a:pt x="105009" y="1940146"/>
                  <a:pt x="103936" y="1934314"/>
                  <a:pt x="105462" y="1928555"/>
                </a:cubicBezTo>
                <a:cubicBezTo>
                  <a:pt x="107799" y="1919740"/>
                  <a:pt x="110403" y="1919178"/>
                  <a:pt x="121932" y="1924997"/>
                </a:cubicBezTo>
                <a:cubicBezTo>
                  <a:pt x="133186" y="1930676"/>
                  <a:pt x="136908" y="1930053"/>
                  <a:pt x="142816" y="1921499"/>
                </a:cubicBezTo>
                <a:cubicBezTo>
                  <a:pt x="148733" y="1912932"/>
                  <a:pt x="149053" y="1908883"/>
                  <a:pt x="144625" y="1898617"/>
                </a:cubicBezTo>
                <a:cubicBezTo>
                  <a:pt x="141666" y="1891757"/>
                  <a:pt x="139244" y="1879553"/>
                  <a:pt x="139244" y="1871497"/>
                </a:cubicBezTo>
                <a:cubicBezTo>
                  <a:pt x="139244" y="1863442"/>
                  <a:pt x="137428" y="1854144"/>
                  <a:pt x="135208" y="1850836"/>
                </a:cubicBezTo>
                <a:cubicBezTo>
                  <a:pt x="132989" y="1847528"/>
                  <a:pt x="129144" y="1817757"/>
                  <a:pt x="126665" y="1784678"/>
                </a:cubicBezTo>
                <a:cubicBezTo>
                  <a:pt x="122307" y="1726528"/>
                  <a:pt x="113812" y="1670914"/>
                  <a:pt x="108293" y="1664392"/>
                </a:cubicBezTo>
                <a:cubicBezTo>
                  <a:pt x="106819" y="1662651"/>
                  <a:pt x="104420" y="1650289"/>
                  <a:pt x="102962" y="1636921"/>
                </a:cubicBezTo>
                <a:cubicBezTo>
                  <a:pt x="101504" y="1623553"/>
                  <a:pt x="97787" y="1608213"/>
                  <a:pt x="94702" y="1602831"/>
                </a:cubicBezTo>
                <a:cubicBezTo>
                  <a:pt x="86626" y="1588743"/>
                  <a:pt x="89567" y="1460643"/>
                  <a:pt x="98128" y="1453577"/>
                </a:cubicBezTo>
                <a:cubicBezTo>
                  <a:pt x="101501" y="1450792"/>
                  <a:pt x="104261" y="1438989"/>
                  <a:pt x="104261" y="1427347"/>
                </a:cubicBezTo>
                <a:cubicBezTo>
                  <a:pt x="104261" y="1414373"/>
                  <a:pt x="106800" y="1404771"/>
                  <a:pt x="110821" y="1402538"/>
                </a:cubicBezTo>
                <a:cubicBezTo>
                  <a:pt x="114428" y="1400533"/>
                  <a:pt x="117380" y="1393455"/>
                  <a:pt x="117380" y="1386808"/>
                </a:cubicBezTo>
                <a:cubicBezTo>
                  <a:pt x="117380" y="1380161"/>
                  <a:pt x="120331" y="1371177"/>
                  <a:pt x="123939" y="1366842"/>
                </a:cubicBezTo>
                <a:cubicBezTo>
                  <a:pt x="127547" y="1362507"/>
                  <a:pt x="130498" y="1351111"/>
                  <a:pt x="130498" y="1341518"/>
                </a:cubicBezTo>
                <a:cubicBezTo>
                  <a:pt x="130498" y="1318073"/>
                  <a:pt x="137674" y="1310914"/>
                  <a:pt x="163457" y="1308631"/>
                </a:cubicBezTo>
                <a:cubicBezTo>
                  <a:pt x="194631" y="1305871"/>
                  <a:pt x="202426" y="1293646"/>
                  <a:pt x="198730" y="1253312"/>
                </a:cubicBezTo>
                <a:cubicBezTo>
                  <a:pt x="196229" y="1226013"/>
                  <a:pt x="197082" y="1219880"/>
                  <a:pt x="204698" y="1210441"/>
                </a:cubicBezTo>
                <a:cubicBezTo>
                  <a:pt x="209585" y="1204382"/>
                  <a:pt x="213584" y="1196282"/>
                  <a:pt x="213584" y="1192440"/>
                </a:cubicBezTo>
                <a:cubicBezTo>
                  <a:pt x="213584" y="1188597"/>
                  <a:pt x="218504" y="1178763"/>
                  <a:pt x="224517" y="1170585"/>
                </a:cubicBezTo>
                <a:cubicBezTo>
                  <a:pt x="230529" y="1162407"/>
                  <a:pt x="235449" y="1150864"/>
                  <a:pt x="235449" y="1144933"/>
                </a:cubicBezTo>
                <a:cubicBezTo>
                  <a:pt x="235449" y="1139003"/>
                  <a:pt x="238400" y="1130604"/>
                  <a:pt x="242008" y="1126269"/>
                </a:cubicBezTo>
                <a:cubicBezTo>
                  <a:pt x="245616" y="1121934"/>
                  <a:pt x="248567" y="1114463"/>
                  <a:pt x="248567" y="1109667"/>
                </a:cubicBezTo>
                <a:cubicBezTo>
                  <a:pt x="248567" y="1104871"/>
                  <a:pt x="250358" y="1100946"/>
                  <a:pt x="252548" y="1100946"/>
                </a:cubicBezTo>
                <a:cubicBezTo>
                  <a:pt x="254737" y="1100946"/>
                  <a:pt x="257922" y="1076730"/>
                  <a:pt x="259624" y="1047134"/>
                </a:cubicBezTo>
                <a:cubicBezTo>
                  <a:pt x="261327" y="1017537"/>
                  <a:pt x="264456" y="993321"/>
                  <a:pt x="266576" y="993321"/>
                </a:cubicBezTo>
                <a:cubicBezTo>
                  <a:pt x="268697" y="993321"/>
                  <a:pt x="270432" y="989682"/>
                  <a:pt x="270432" y="985235"/>
                </a:cubicBezTo>
                <a:cubicBezTo>
                  <a:pt x="270432" y="976465"/>
                  <a:pt x="295092" y="942674"/>
                  <a:pt x="301492" y="942674"/>
                </a:cubicBezTo>
                <a:cubicBezTo>
                  <a:pt x="303650" y="942674"/>
                  <a:pt x="305415" y="939703"/>
                  <a:pt x="305415" y="936072"/>
                </a:cubicBezTo>
                <a:cubicBezTo>
                  <a:pt x="305415" y="932441"/>
                  <a:pt x="314270" y="915764"/>
                  <a:pt x="325094" y="899013"/>
                </a:cubicBezTo>
                <a:cubicBezTo>
                  <a:pt x="335917" y="882262"/>
                  <a:pt x="344772" y="866574"/>
                  <a:pt x="344772" y="864151"/>
                </a:cubicBezTo>
                <a:cubicBezTo>
                  <a:pt x="344772" y="858916"/>
                  <a:pt x="373017" y="816057"/>
                  <a:pt x="376468" y="816057"/>
                </a:cubicBezTo>
                <a:cubicBezTo>
                  <a:pt x="379972" y="816057"/>
                  <a:pt x="405993" y="782255"/>
                  <a:pt x="405993" y="777703"/>
                </a:cubicBezTo>
                <a:cubicBezTo>
                  <a:pt x="405993" y="766887"/>
                  <a:pt x="458830" y="695771"/>
                  <a:pt x="466866" y="695771"/>
                </a:cubicBezTo>
                <a:cubicBezTo>
                  <a:pt x="471868" y="695771"/>
                  <a:pt x="475959" y="693114"/>
                  <a:pt x="475959" y="689867"/>
                </a:cubicBezTo>
                <a:cubicBezTo>
                  <a:pt x="475959" y="686619"/>
                  <a:pt x="480295" y="681970"/>
                  <a:pt x="485595" y="679535"/>
                </a:cubicBezTo>
                <a:cubicBezTo>
                  <a:pt x="490894" y="677100"/>
                  <a:pt x="497922" y="671210"/>
                  <a:pt x="501212" y="666447"/>
                </a:cubicBezTo>
                <a:cubicBezTo>
                  <a:pt x="504503" y="661683"/>
                  <a:pt x="513941" y="657786"/>
                  <a:pt x="522188" y="657786"/>
                </a:cubicBezTo>
                <a:cubicBezTo>
                  <a:pt x="530434" y="657786"/>
                  <a:pt x="537180" y="654937"/>
                  <a:pt x="537180" y="651455"/>
                </a:cubicBezTo>
                <a:cubicBezTo>
                  <a:pt x="537180" y="647973"/>
                  <a:pt x="541824" y="645124"/>
                  <a:pt x="547500" y="645124"/>
                </a:cubicBezTo>
                <a:cubicBezTo>
                  <a:pt x="553404" y="645124"/>
                  <a:pt x="561334" y="638350"/>
                  <a:pt x="566030" y="629297"/>
                </a:cubicBezTo>
                <a:cubicBezTo>
                  <a:pt x="570545" y="620592"/>
                  <a:pt x="577568" y="613470"/>
                  <a:pt x="581636" y="613470"/>
                </a:cubicBezTo>
                <a:cubicBezTo>
                  <a:pt x="585703" y="613470"/>
                  <a:pt x="591983" y="609196"/>
                  <a:pt x="595590" y="603974"/>
                </a:cubicBezTo>
                <a:cubicBezTo>
                  <a:pt x="599198" y="598750"/>
                  <a:pt x="603469" y="594477"/>
                  <a:pt x="605081" y="594477"/>
                </a:cubicBezTo>
                <a:cubicBezTo>
                  <a:pt x="606693" y="594477"/>
                  <a:pt x="614213" y="590263"/>
                  <a:pt x="621792" y="585112"/>
                </a:cubicBezTo>
                <a:cubicBezTo>
                  <a:pt x="638495" y="573760"/>
                  <a:pt x="692969" y="562678"/>
                  <a:pt x="758458" y="557307"/>
                </a:cubicBezTo>
                <a:cubicBezTo>
                  <a:pt x="805917" y="553416"/>
                  <a:pt x="817472" y="548216"/>
                  <a:pt x="827104" y="526420"/>
                </a:cubicBezTo>
                <a:cubicBezTo>
                  <a:pt x="829027" y="522068"/>
                  <a:pt x="833087" y="518507"/>
                  <a:pt x="836125" y="518507"/>
                </a:cubicBezTo>
                <a:cubicBezTo>
                  <a:pt x="839163" y="518507"/>
                  <a:pt x="847305" y="509960"/>
                  <a:pt x="854218" y="499514"/>
                </a:cubicBezTo>
                <a:cubicBezTo>
                  <a:pt x="861130" y="489068"/>
                  <a:pt x="870238" y="480522"/>
                  <a:pt x="874456" y="480522"/>
                </a:cubicBezTo>
                <a:cubicBezTo>
                  <a:pt x="878674" y="480522"/>
                  <a:pt x="883342" y="477673"/>
                  <a:pt x="884828" y="474191"/>
                </a:cubicBezTo>
                <a:cubicBezTo>
                  <a:pt x="886314" y="470709"/>
                  <a:pt x="891186" y="467860"/>
                  <a:pt x="895654" y="467860"/>
                </a:cubicBezTo>
                <a:cubicBezTo>
                  <a:pt x="900121" y="467860"/>
                  <a:pt x="907745" y="460026"/>
                  <a:pt x="912594" y="450450"/>
                </a:cubicBezTo>
                <a:cubicBezTo>
                  <a:pt x="919668" y="436483"/>
                  <a:pt x="922507" y="434605"/>
                  <a:pt x="926952" y="440954"/>
                </a:cubicBezTo>
                <a:cubicBezTo>
                  <a:pt x="930000" y="445306"/>
                  <a:pt x="935794" y="448867"/>
                  <a:pt x="939829" y="448867"/>
                </a:cubicBezTo>
                <a:cubicBezTo>
                  <a:pt x="943863" y="448867"/>
                  <a:pt x="949567" y="453057"/>
                  <a:pt x="952502" y="458179"/>
                </a:cubicBezTo>
                <a:cubicBezTo>
                  <a:pt x="956617" y="465356"/>
                  <a:pt x="967169" y="467169"/>
                  <a:pt x="998543" y="466092"/>
                </a:cubicBezTo>
                <a:cubicBezTo>
                  <a:pt x="1020929" y="465323"/>
                  <a:pt x="1038330" y="466831"/>
                  <a:pt x="1037211" y="469443"/>
                </a:cubicBezTo>
                <a:cubicBezTo>
                  <a:pt x="1036093" y="472054"/>
                  <a:pt x="1038362" y="474191"/>
                  <a:pt x="1042254" y="474191"/>
                </a:cubicBezTo>
                <a:cubicBezTo>
                  <a:pt x="1046145" y="474191"/>
                  <a:pt x="1048113" y="471342"/>
                  <a:pt x="1046626" y="467860"/>
                </a:cubicBezTo>
                <a:cubicBezTo>
                  <a:pt x="1041127" y="454979"/>
                  <a:pt x="1051925" y="462057"/>
                  <a:pt x="1061114" y="477356"/>
                </a:cubicBezTo>
                <a:cubicBezTo>
                  <a:pt x="1072567" y="496426"/>
                  <a:pt x="1083781" y="497803"/>
                  <a:pt x="1086902" y="480522"/>
                </a:cubicBezTo>
                <a:cubicBezTo>
                  <a:pt x="1090408" y="461111"/>
                  <a:pt x="1104109" y="464970"/>
                  <a:pt x="1109378" y="486853"/>
                </a:cubicBezTo>
                <a:cubicBezTo>
                  <a:pt x="1111894" y="497298"/>
                  <a:pt x="1116022" y="505845"/>
                  <a:pt x="1118552" y="505845"/>
                </a:cubicBezTo>
                <a:cubicBezTo>
                  <a:pt x="1121082" y="505845"/>
                  <a:pt x="1123152" y="510248"/>
                  <a:pt x="1123152" y="515629"/>
                </a:cubicBezTo>
                <a:cubicBezTo>
                  <a:pt x="1123152" y="521011"/>
                  <a:pt x="1128072" y="532536"/>
                  <a:pt x="1134085" y="541240"/>
                </a:cubicBezTo>
                <a:cubicBezTo>
                  <a:pt x="1140098" y="549945"/>
                  <a:pt x="1145017" y="561211"/>
                  <a:pt x="1145017" y="566276"/>
                </a:cubicBezTo>
                <a:cubicBezTo>
                  <a:pt x="1145017" y="571340"/>
                  <a:pt x="1146985" y="575485"/>
                  <a:pt x="1149390" y="575485"/>
                </a:cubicBezTo>
                <a:cubicBezTo>
                  <a:pt x="1151796" y="575485"/>
                  <a:pt x="1153763" y="579488"/>
                  <a:pt x="1153763" y="584382"/>
                </a:cubicBezTo>
                <a:cubicBezTo>
                  <a:pt x="1153763" y="591870"/>
                  <a:pt x="1176828" y="638301"/>
                  <a:pt x="1187659" y="652617"/>
                </a:cubicBezTo>
                <a:cubicBezTo>
                  <a:pt x="1218661" y="693591"/>
                  <a:pt x="1254340" y="745441"/>
                  <a:pt x="1254340" y="749518"/>
                </a:cubicBezTo>
                <a:cubicBezTo>
                  <a:pt x="1254340" y="757171"/>
                  <a:pt x="1280568" y="789876"/>
                  <a:pt x="1290288" y="794342"/>
                </a:cubicBezTo>
                <a:cubicBezTo>
                  <a:pt x="1295629" y="796796"/>
                  <a:pt x="1301342" y="793539"/>
                  <a:pt x="1306344" y="785189"/>
                </a:cubicBezTo>
                <a:cubicBezTo>
                  <a:pt x="1310616" y="778060"/>
                  <a:pt x="1321893" y="770425"/>
                  <a:pt x="1331406" y="768222"/>
                </a:cubicBezTo>
                <a:cubicBezTo>
                  <a:pt x="1346576" y="764711"/>
                  <a:pt x="1349748" y="766237"/>
                  <a:pt x="1357220" y="780642"/>
                </a:cubicBezTo>
                <a:cubicBezTo>
                  <a:pt x="1361906" y="789674"/>
                  <a:pt x="1368224" y="797065"/>
                  <a:pt x="1371260" y="797065"/>
                </a:cubicBezTo>
                <a:cubicBezTo>
                  <a:pt x="1374297" y="797065"/>
                  <a:pt x="1376782" y="802321"/>
                  <a:pt x="1376782" y="808745"/>
                </a:cubicBezTo>
                <a:cubicBezTo>
                  <a:pt x="1376782" y="821451"/>
                  <a:pt x="1389677" y="841380"/>
                  <a:pt x="1397898" y="841380"/>
                </a:cubicBezTo>
                <a:cubicBezTo>
                  <a:pt x="1400715" y="841380"/>
                  <a:pt x="1403266" y="847079"/>
                  <a:pt x="1403566" y="854042"/>
                </a:cubicBezTo>
                <a:cubicBezTo>
                  <a:pt x="1404643" y="878986"/>
                  <a:pt x="1405317" y="881243"/>
                  <a:pt x="1413767" y="888172"/>
                </a:cubicBezTo>
                <a:cubicBezTo>
                  <a:pt x="1427980" y="899827"/>
                  <a:pt x="1432763" y="908218"/>
                  <a:pt x="1434326" y="924237"/>
                </a:cubicBezTo>
                <a:cubicBezTo>
                  <a:pt x="1436019" y="941586"/>
                  <a:pt x="1450406" y="945523"/>
                  <a:pt x="1455432" y="930013"/>
                </a:cubicBezTo>
                <a:cubicBezTo>
                  <a:pt x="1457124" y="924790"/>
                  <a:pt x="1460937" y="913785"/>
                  <a:pt x="1463906" y="905557"/>
                </a:cubicBezTo>
                <a:cubicBezTo>
                  <a:pt x="1468658" y="892389"/>
                  <a:pt x="1467954" y="888558"/>
                  <a:pt x="1458027" y="873556"/>
                </a:cubicBezTo>
                <a:cubicBezTo>
                  <a:pt x="1451824" y="864183"/>
                  <a:pt x="1446749" y="851685"/>
                  <a:pt x="1446749" y="845782"/>
                </a:cubicBezTo>
                <a:cubicBezTo>
                  <a:pt x="1446749" y="839879"/>
                  <a:pt x="1444912" y="835050"/>
                  <a:pt x="1442667" y="835050"/>
                </a:cubicBezTo>
                <a:cubicBezTo>
                  <a:pt x="1440421" y="835050"/>
                  <a:pt x="1437961" y="827215"/>
                  <a:pt x="1437200" y="817640"/>
                </a:cubicBezTo>
                <a:cubicBezTo>
                  <a:pt x="1436198" y="805025"/>
                  <a:pt x="1433036" y="799659"/>
                  <a:pt x="1425722" y="798159"/>
                </a:cubicBezTo>
                <a:cubicBezTo>
                  <a:pt x="1412003" y="795343"/>
                  <a:pt x="1414880" y="778695"/>
                  <a:pt x="1431370" y="765466"/>
                </a:cubicBezTo>
                <a:cubicBezTo>
                  <a:pt x="1439248" y="759147"/>
                  <a:pt x="1445995" y="747031"/>
                  <a:pt x="1448402" y="734883"/>
                </a:cubicBezTo>
                <a:cubicBezTo>
                  <a:pt x="1451293" y="720285"/>
                  <a:pt x="1454974" y="714763"/>
                  <a:pt x="1461812" y="714763"/>
                </a:cubicBezTo>
                <a:cubicBezTo>
                  <a:pt x="1466996" y="714763"/>
                  <a:pt x="1473107" y="712136"/>
                  <a:pt x="1475392" y="708925"/>
                </a:cubicBezTo>
                <a:cubicBezTo>
                  <a:pt x="1477677" y="705714"/>
                  <a:pt x="1486459" y="701250"/>
                  <a:pt x="1494907" y="699006"/>
                </a:cubicBezTo>
                <a:cubicBezTo>
                  <a:pt x="1507788" y="695584"/>
                  <a:pt x="1511972" y="697549"/>
                  <a:pt x="1520814" y="711175"/>
                </a:cubicBezTo>
                <a:cubicBezTo>
                  <a:pt x="1531470" y="727595"/>
                  <a:pt x="1542953" y="732741"/>
                  <a:pt x="1542953" y="721094"/>
                </a:cubicBezTo>
                <a:cubicBezTo>
                  <a:pt x="1542953" y="717612"/>
                  <a:pt x="1545305" y="714763"/>
                  <a:pt x="1548180" y="714763"/>
                </a:cubicBezTo>
                <a:cubicBezTo>
                  <a:pt x="1551055" y="714763"/>
                  <a:pt x="1558868" y="707189"/>
                  <a:pt x="1565543" y="697931"/>
                </a:cubicBezTo>
                <a:cubicBezTo>
                  <a:pt x="1576313" y="682993"/>
                  <a:pt x="1578004" y="682326"/>
                  <a:pt x="1580569" y="692004"/>
                </a:cubicBezTo>
                <a:cubicBezTo>
                  <a:pt x="1582158" y="698002"/>
                  <a:pt x="1581490" y="709167"/>
                  <a:pt x="1579083" y="716815"/>
                </a:cubicBezTo>
                <a:cubicBezTo>
                  <a:pt x="1573971" y="733059"/>
                  <a:pt x="1582935" y="749854"/>
                  <a:pt x="1593565" y="743948"/>
                </a:cubicBezTo>
                <a:cubicBezTo>
                  <a:pt x="1602131" y="739190"/>
                  <a:pt x="1607148" y="719364"/>
                  <a:pt x="1600588" y="716198"/>
                </a:cubicBezTo>
                <a:cubicBezTo>
                  <a:pt x="1592584" y="712335"/>
                  <a:pt x="1594497" y="690789"/>
                  <a:pt x="1604075" y="676922"/>
                </a:cubicBezTo>
                <a:cubicBezTo>
                  <a:pt x="1608831" y="670037"/>
                  <a:pt x="1611648" y="660354"/>
                  <a:pt x="1610336" y="655404"/>
                </a:cubicBezTo>
                <a:cubicBezTo>
                  <a:pt x="1606241" y="639955"/>
                  <a:pt x="1616711" y="637515"/>
                  <a:pt x="1627075" y="651503"/>
                </a:cubicBezTo>
                <a:cubicBezTo>
                  <a:pt x="1635408" y="662749"/>
                  <a:pt x="1640251" y="664207"/>
                  <a:pt x="1657724" y="660732"/>
                </a:cubicBezTo>
                <a:cubicBezTo>
                  <a:pt x="1673801" y="657535"/>
                  <a:pt x="1679028" y="658688"/>
                  <a:pt x="1680927" y="665854"/>
                </a:cubicBezTo>
                <a:cubicBezTo>
                  <a:pt x="1682551" y="671980"/>
                  <a:pt x="1693005" y="676530"/>
                  <a:pt x="1711891" y="679332"/>
                </a:cubicBezTo>
                <a:cubicBezTo>
                  <a:pt x="1730763" y="682131"/>
                  <a:pt x="1746175" y="688836"/>
                  <a:pt x="1757474" y="699162"/>
                </a:cubicBezTo>
                <a:cubicBezTo>
                  <a:pt x="1766863" y="707743"/>
                  <a:pt x="1777535" y="714763"/>
                  <a:pt x="1781191" y="714763"/>
                </a:cubicBezTo>
                <a:cubicBezTo>
                  <a:pt x="1784846" y="714763"/>
                  <a:pt x="1787837" y="717333"/>
                  <a:pt x="1787837" y="720473"/>
                </a:cubicBezTo>
                <a:cubicBezTo>
                  <a:pt x="1787837" y="723614"/>
                  <a:pt x="1795170" y="731694"/>
                  <a:pt x="1804133" y="738427"/>
                </a:cubicBezTo>
                <a:cubicBezTo>
                  <a:pt x="1816070" y="747395"/>
                  <a:pt x="1821182" y="756003"/>
                  <a:pt x="1823246" y="770607"/>
                </a:cubicBezTo>
                <a:cubicBezTo>
                  <a:pt x="1826969" y="796962"/>
                  <a:pt x="1843835" y="817162"/>
                  <a:pt x="1854936" y="808560"/>
                </a:cubicBezTo>
                <a:cubicBezTo>
                  <a:pt x="1861330" y="803606"/>
                  <a:pt x="1865591" y="805762"/>
                  <a:pt x="1874886" y="818655"/>
                </a:cubicBezTo>
                <a:cubicBezTo>
                  <a:pt x="1881387" y="827672"/>
                  <a:pt x="1888197" y="835050"/>
                  <a:pt x="1890018" y="835050"/>
                </a:cubicBezTo>
                <a:cubicBezTo>
                  <a:pt x="1891839" y="835050"/>
                  <a:pt x="1907144" y="855209"/>
                  <a:pt x="1924029" y="879848"/>
                </a:cubicBezTo>
                <a:cubicBezTo>
                  <a:pt x="1947915" y="914705"/>
                  <a:pt x="1958287" y="925437"/>
                  <a:pt x="1970767" y="928208"/>
                </a:cubicBezTo>
                <a:cubicBezTo>
                  <a:pt x="1979588" y="930167"/>
                  <a:pt x="1989240" y="934542"/>
                  <a:pt x="1992216" y="937930"/>
                </a:cubicBezTo>
                <a:cubicBezTo>
                  <a:pt x="1995191" y="941318"/>
                  <a:pt x="2000741" y="942361"/>
                  <a:pt x="2004549" y="940246"/>
                </a:cubicBezTo>
                <a:cubicBezTo>
                  <a:pt x="2014139" y="934918"/>
                  <a:pt x="2010854" y="908587"/>
                  <a:pt x="2000233" y="905653"/>
                </a:cubicBezTo>
                <a:cubicBezTo>
                  <a:pt x="1990506" y="902967"/>
                  <a:pt x="1980246" y="889704"/>
                  <a:pt x="1980246" y="879818"/>
                </a:cubicBezTo>
                <a:cubicBezTo>
                  <a:pt x="1980246" y="871202"/>
                  <a:pt x="1982879" y="871305"/>
                  <a:pt x="2000661" y="880614"/>
                </a:cubicBezTo>
                <a:cubicBezTo>
                  <a:pt x="2014087" y="887642"/>
                  <a:pt x="2016093" y="886867"/>
                  <a:pt x="2028302" y="869933"/>
                </a:cubicBezTo>
                <a:cubicBezTo>
                  <a:pt x="2035543" y="859890"/>
                  <a:pt x="2041467" y="845084"/>
                  <a:pt x="2041467" y="837031"/>
                </a:cubicBezTo>
                <a:cubicBezTo>
                  <a:pt x="2041467" y="828236"/>
                  <a:pt x="2044086" y="822388"/>
                  <a:pt x="2048027" y="822388"/>
                </a:cubicBezTo>
                <a:cubicBezTo>
                  <a:pt x="2051634" y="822388"/>
                  <a:pt x="2054585" y="825256"/>
                  <a:pt x="2054585" y="828761"/>
                </a:cubicBezTo>
                <a:cubicBezTo>
                  <a:pt x="2054585" y="832265"/>
                  <a:pt x="2059386" y="841176"/>
                  <a:pt x="2065253" y="848562"/>
                </a:cubicBezTo>
                <a:cubicBezTo>
                  <a:pt x="2075061" y="860908"/>
                  <a:pt x="2075402" y="863133"/>
                  <a:pt x="2069492" y="876195"/>
                </a:cubicBezTo>
                <a:cubicBezTo>
                  <a:pt x="2063387" y="889682"/>
                  <a:pt x="2063842" y="890935"/>
                  <a:pt x="2078502" y="901007"/>
                </a:cubicBezTo>
                <a:cubicBezTo>
                  <a:pt x="2086994" y="906841"/>
                  <a:pt x="2093942" y="914329"/>
                  <a:pt x="2093942" y="917648"/>
                </a:cubicBezTo>
                <a:cubicBezTo>
                  <a:pt x="2093942" y="920967"/>
                  <a:pt x="2096894" y="923682"/>
                  <a:pt x="2100502" y="923682"/>
                </a:cubicBezTo>
                <a:cubicBezTo>
                  <a:pt x="2107463" y="923682"/>
                  <a:pt x="2109052" y="934932"/>
                  <a:pt x="2103714" y="946427"/>
                </a:cubicBezTo>
                <a:cubicBezTo>
                  <a:pt x="2101947" y="950232"/>
                  <a:pt x="2093992" y="955179"/>
                  <a:pt x="2086036" y="957421"/>
                </a:cubicBezTo>
                <a:cubicBezTo>
                  <a:pt x="2067913" y="962528"/>
                  <a:pt x="2058351" y="975401"/>
                  <a:pt x="2063661" y="987546"/>
                </a:cubicBezTo>
                <a:cubicBezTo>
                  <a:pt x="2065812" y="992464"/>
                  <a:pt x="2067600" y="1010810"/>
                  <a:pt x="2067637" y="1028317"/>
                </a:cubicBezTo>
                <a:cubicBezTo>
                  <a:pt x="2067710" y="1062723"/>
                  <a:pt x="2077159" y="1081953"/>
                  <a:pt x="2093992" y="1081953"/>
                </a:cubicBezTo>
                <a:cubicBezTo>
                  <a:pt x="2100657" y="1081953"/>
                  <a:pt x="2102688" y="1086209"/>
                  <a:pt x="2102688" y="1100171"/>
                </a:cubicBezTo>
                <a:cubicBezTo>
                  <a:pt x="2102688" y="1125740"/>
                  <a:pt x="2113772" y="1138266"/>
                  <a:pt x="2123679" y="1123892"/>
                </a:cubicBezTo>
                <a:cubicBezTo>
                  <a:pt x="2129457" y="1115507"/>
                  <a:pt x="2130863" y="1103709"/>
                  <a:pt x="2129992" y="1070902"/>
                </a:cubicBezTo>
                <a:cubicBezTo>
                  <a:pt x="2129377" y="1047689"/>
                  <a:pt x="2126917" y="1025866"/>
                  <a:pt x="2124526" y="1022405"/>
                </a:cubicBezTo>
                <a:cubicBezTo>
                  <a:pt x="2118039" y="1013013"/>
                  <a:pt x="2119278" y="989624"/>
                  <a:pt x="2126739" y="980659"/>
                </a:cubicBezTo>
                <a:cubicBezTo>
                  <a:pt x="2134268" y="971613"/>
                  <a:pt x="2135439" y="951668"/>
                  <a:pt x="2128791" y="945720"/>
                </a:cubicBezTo>
                <a:cubicBezTo>
                  <a:pt x="2126210" y="943411"/>
                  <a:pt x="2125453" y="932663"/>
                  <a:pt x="2127020" y="920573"/>
                </a:cubicBezTo>
                <a:cubicBezTo>
                  <a:pt x="2128525" y="908960"/>
                  <a:pt x="2128387" y="893215"/>
                  <a:pt x="2126714" y="885583"/>
                </a:cubicBezTo>
                <a:cubicBezTo>
                  <a:pt x="2124232" y="874263"/>
                  <a:pt x="2121368" y="872374"/>
                  <a:pt x="2111163" y="875329"/>
                </a:cubicBezTo>
                <a:cubicBezTo>
                  <a:pt x="2098619" y="878962"/>
                  <a:pt x="2089911" y="871058"/>
                  <a:pt x="2098244" y="863602"/>
                </a:cubicBezTo>
                <a:cubicBezTo>
                  <a:pt x="2103992" y="858459"/>
                  <a:pt x="2104054" y="822388"/>
                  <a:pt x="2098315" y="822388"/>
                </a:cubicBezTo>
                <a:cubicBezTo>
                  <a:pt x="2095910" y="822388"/>
                  <a:pt x="2093942" y="813841"/>
                  <a:pt x="2093942" y="803395"/>
                </a:cubicBezTo>
                <a:cubicBezTo>
                  <a:pt x="2093942" y="792950"/>
                  <a:pt x="2096066" y="784403"/>
                  <a:pt x="2098662" y="784403"/>
                </a:cubicBezTo>
                <a:cubicBezTo>
                  <a:pt x="2101561" y="784403"/>
                  <a:pt x="2102341" y="777537"/>
                  <a:pt x="2100683" y="766608"/>
                </a:cubicBezTo>
                <a:cubicBezTo>
                  <a:pt x="2098503" y="752236"/>
                  <a:pt x="2099907" y="747417"/>
                  <a:pt x="2107989" y="741548"/>
                </a:cubicBezTo>
                <a:cubicBezTo>
                  <a:pt x="2113491" y="737553"/>
                  <a:pt x="2122912" y="733452"/>
                  <a:pt x="2128925" y="732437"/>
                </a:cubicBezTo>
                <a:cubicBezTo>
                  <a:pt x="2137207" y="731038"/>
                  <a:pt x="2140193" y="726370"/>
                  <a:pt x="2141241" y="713181"/>
                </a:cubicBezTo>
                <a:cubicBezTo>
                  <a:pt x="2142339" y="699367"/>
                  <a:pt x="2144882" y="695771"/>
                  <a:pt x="2153554" y="695771"/>
                </a:cubicBezTo>
                <a:cubicBezTo>
                  <a:pt x="2159566" y="695771"/>
                  <a:pt x="2167904" y="693121"/>
                  <a:pt x="2172084" y="689882"/>
                </a:cubicBezTo>
                <a:cubicBezTo>
                  <a:pt x="2176573" y="686404"/>
                  <a:pt x="2182266" y="686302"/>
                  <a:pt x="2185988" y="689631"/>
                </a:cubicBezTo>
                <a:cubicBezTo>
                  <a:pt x="2191250" y="694341"/>
                  <a:pt x="2190851" y="696845"/>
                  <a:pt x="2183565" y="704816"/>
                </a:cubicBezTo>
                <a:cubicBezTo>
                  <a:pt x="2176968" y="712034"/>
                  <a:pt x="2176450" y="714410"/>
                  <a:pt x="2181442" y="714562"/>
                </a:cubicBezTo>
                <a:cubicBezTo>
                  <a:pt x="2185072" y="714673"/>
                  <a:pt x="2190395" y="709309"/>
                  <a:pt x="2193271" y="702641"/>
                </a:cubicBezTo>
                <a:cubicBezTo>
                  <a:pt x="2199199" y="688899"/>
                  <a:pt x="2194453" y="679849"/>
                  <a:pt x="2179214" y="675840"/>
                </a:cubicBezTo>
                <a:cubicBezTo>
                  <a:pt x="2174404" y="674574"/>
                  <a:pt x="2168526" y="667145"/>
                  <a:pt x="2166151" y="659332"/>
                </a:cubicBezTo>
                <a:cubicBezTo>
                  <a:pt x="2163777" y="651517"/>
                  <a:pt x="2160334" y="645124"/>
                  <a:pt x="2158499" y="645124"/>
                </a:cubicBezTo>
                <a:cubicBezTo>
                  <a:pt x="2156664" y="645124"/>
                  <a:pt x="2155163" y="640851"/>
                  <a:pt x="2155163" y="635628"/>
                </a:cubicBezTo>
                <a:cubicBezTo>
                  <a:pt x="2155163" y="620205"/>
                  <a:pt x="2172160" y="624706"/>
                  <a:pt x="2184048" y="643278"/>
                </a:cubicBezTo>
                <a:cubicBezTo>
                  <a:pt x="2192775" y="656910"/>
                  <a:pt x="2196541" y="659049"/>
                  <a:pt x="2202425" y="653711"/>
                </a:cubicBezTo>
                <a:cubicBezTo>
                  <a:pt x="2213231" y="643905"/>
                  <a:pt x="2213663" y="624496"/>
                  <a:pt x="2203453" y="607453"/>
                </a:cubicBezTo>
                <a:cubicBezTo>
                  <a:pt x="2193012" y="590025"/>
                  <a:pt x="2192102" y="581815"/>
                  <a:pt x="2200610" y="581815"/>
                </a:cubicBezTo>
                <a:cubicBezTo>
                  <a:pt x="2203961" y="581815"/>
                  <a:pt x="2207897" y="577309"/>
                  <a:pt x="2209356" y="571802"/>
                </a:cubicBezTo>
                <a:cubicBezTo>
                  <a:pt x="2213448" y="556366"/>
                  <a:pt x="2212502" y="537499"/>
                  <a:pt x="2207638" y="537499"/>
                </a:cubicBezTo>
                <a:cubicBezTo>
                  <a:pt x="2200214" y="537499"/>
                  <a:pt x="2202808" y="521779"/>
                  <a:pt x="2211777" y="512421"/>
                </a:cubicBezTo>
                <a:cubicBezTo>
                  <a:pt x="2216458" y="507535"/>
                  <a:pt x="2219456" y="501589"/>
                  <a:pt x="2218439" y="499207"/>
                </a:cubicBezTo>
                <a:cubicBezTo>
                  <a:pt x="2215330" y="491923"/>
                  <a:pt x="2230901" y="475843"/>
                  <a:pt x="2245369" y="471396"/>
                </a:cubicBezTo>
                <a:cubicBezTo>
                  <a:pt x="2257458" y="467681"/>
                  <a:pt x="2259373" y="469060"/>
                  <a:pt x="2261834" y="483257"/>
                </a:cubicBezTo>
                <a:cubicBezTo>
                  <a:pt x="2265391" y="503772"/>
                  <a:pt x="2285196" y="512691"/>
                  <a:pt x="2292979" y="497282"/>
                </a:cubicBezTo>
                <a:cubicBezTo>
                  <a:pt x="2301499" y="480415"/>
                  <a:pt x="2331129" y="488021"/>
                  <a:pt x="2323798" y="505194"/>
                </a:cubicBezTo>
                <a:cubicBezTo>
                  <a:pt x="2318982" y="516475"/>
                  <a:pt x="2325564" y="537499"/>
                  <a:pt x="2333912" y="537499"/>
                </a:cubicBezTo>
                <a:cubicBezTo>
                  <a:pt x="2338100" y="537499"/>
                  <a:pt x="2345347" y="533317"/>
                  <a:pt x="2350016" y="528204"/>
                </a:cubicBezTo>
                <a:cubicBezTo>
                  <a:pt x="2354684" y="523092"/>
                  <a:pt x="2362932" y="518819"/>
                  <a:pt x="2368343" y="518708"/>
                </a:cubicBezTo>
                <a:cubicBezTo>
                  <a:pt x="2373754" y="518597"/>
                  <a:pt x="2378182" y="515658"/>
                  <a:pt x="2378182" y="512176"/>
                </a:cubicBezTo>
                <a:cubicBezTo>
                  <a:pt x="2378182" y="508694"/>
                  <a:pt x="2381133" y="505845"/>
                  <a:pt x="2384742" y="505845"/>
                </a:cubicBezTo>
                <a:cubicBezTo>
                  <a:pt x="2388349" y="505845"/>
                  <a:pt x="2391301" y="502996"/>
                  <a:pt x="2391301" y="499514"/>
                </a:cubicBezTo>
                <a:cubicBezTo>
                  <a:pt x="2391301" y="496032"/>
                  <a:pt x="2394252" y="493183"/>
                  <a:pt x="2397860" y="493183"/>
                </a:cubicBezTo>
                <a:cubicBezTo>
                  <a:pt x="2401468" y="493183"/>
                  <a:pt x="2404419" y="498713"/>
                  <a:pt x="2404419" y="505472"/>
                </a:cubicBezTo>
                <a:cubicBezTo>
                  <a:pt x="2404419" y="520955"/>
                  <a:pt x="2410752" y="526800"/>
                  <a:pt x="2421950" y="521654"/>
                </a:cubicBezTo>
                <a:cubicBezTo>
                  <a:pt x="2427501" y="519104"/>
                  <a:pt x="2430657" y="512070"/>
                  <a:pt x="2430657" y="502253"/>
                </a:cubicBezTo>
                <a:cubicBezTo>
                  <a:pt x="2430657" y="486471"/>
                  <a:pt x="2441550" y="480348"/>
                  <a:pt x="2444767" y="494323"/>
                </a:cubicBezTo>
                <a:cubicBezTo>
                  <a:pt x="2447125" y="504566"/>
                  <a:pt x="2460800" y="496112"/>
                  <a:pt x="2464298" y="482248"/>
                </a:cubicBezTo>
                <a:cubicBezTo>
                  <a:pt x="2465855" y="476076"/>
                  <a:pt x="2470730" y="464231"/>
                  <a:pt x="2475130" y="455927"/>
                </a:cubicBezTo>
                <a:cubicBezTo>
                  <a:pt x="2484828" y="437629"/>
                  <a:pt x="2485486" y="418123"/>
                  <a:pt x="2476573" y="413172"/>
                </a:cubicBezTo>
                <a:cubicBezTo>
                  <a:pt x="2472509" y="410914"/>
                  <a:pt x="2470013" y="401279"/>
                  <a:pt x="2470013" y="387848"/>
                </a:cubicBezTo>
                <a:cubicBezTo>
                  <a:pt x="2470013" y="374418"/>
                  <a:pt x="2467518" y="364782"/>
                  <a:pt x="2463454" y="362525"/>
                </a:cubicBezTo>
                <a:cubicBezTo>
                  <a:pt x="2459846" y="360520"/>
                  <a:pt x="2456910" y="351351"/>
                  <a:pt x="2456929" y="342148"/>
                </a:cubicBezTo>
                <a:cubicBezTo>
                  <a:pt x="2456968" y="323282"/>
                  <a:pt x="2472032" y="309588"/>
                  <a:pt x="2492750" y="309588"/>
                </a:cubicBezTo>
                <a:cubicBezTo>
                  <a:pt x="2499486" y="309588"/>
                  <a:pt x="2504997" y="306740"/>
                  <a:pt x="2504997" y="303258"/>
                </a:cubicBezTo>
                <a:cubicBezTo>
                  <a:pt x="2504997" y="292419"/>
                  <a:pt x="2515749" y="296317"/>
                  <a:pt x="2521291" y="309165"/>
                </a:cubicBezTo>
                <a:cubicBezTo>
                  <a:pt x="2525702" y="319390"/>
                  <a:pt x="2525335" y="321779"/>
                  <a:pt x="2519063" y="323689"/>
                </a:cubicBezTo>
                <a:cubicBezTo>
                  <a:pt x="2514934" y="324947"/>
                  <a:pt x="2522027" y="326405"/>
                  <a:pt x="2534825" y="326930"/>
                </a:cubicBezTo>
                <a:cubicBezTo>
                  <a:pt x="2556889" y="327835"/>
                  <a:pt x="2558327" y="326919"/>
                  <a:pt x="2562584" y="309240"/>
                </a:cubicBezTo>
                <a:cubicBezTo>
                  <a:pt x="2567794" y="287603"/>
                  <a:pt x="2576900" y="285569"/>
                  <a:pt x="2596446" y="301675"/>
                </a:cubicBezTo>
                <a:cubicBezTo>
                  <a:pt x="2605015" y="308735"/>
                  <a:pt x="2609902" y="317785"/>
                  <a:pt x="2609919" y="326625"/>
                </a:cubicBezTo>
                <a:cubicBezTo>
                  <a:pt x="2609955" y="344221"/>
                  <a:pt x="2615370" y="349022"/>
                  <a:pt x="2629424" y="343915"/>
                </a:cubicBezTo>
                <a:cubicBezTo>
                  <a:pt x="2639222" y="340356"/>
                  <a:pt x="2640558" y="336562"/>
                  <a:pt x="2640558" y="312290"/>
                </a:cubicBezTo>
                <a:cubicBezTo>
                  <a:pt x="2640558" y="291190"/>
                  <a:pt x="2642612" y="283118"/>
                  <a:pt x="2649304" y="277934"/>
                </a:cubicBezTo>
                <a:cubicBezTo>
                  <a:pt x="2654568" y="273855"/>
                  <a:pt x="2658050" y="264678"/>
                  <a:pt x="2658050" y="254876"/>
                </a:cubicBezTo>
                <a:cubicBezTo>
                  <a:pt x="2658050" y="242441"/>
                  <a:pt x="2659730" y="239528"/>
                  <a:pt x="2665163" y="242546"/>
                </a:cubicBezTo>
                <a:cubicBezTo>
                  <a:pt x="2669075" y="244720"/>
                  <a:pt x="2674979" y="243252"/>
                  <a:pt x="2678281" y="239283"/>
                </a:cubicBezTo>
                <a:cubicBezTo>
                  <a:pt x="2685187" y="230987"/>
                  <a:pt x="2686456" y="201964"/>
                  <a:pt x="2679914" y="201964"/>
                </a:cubicBezTo>
                <a:cubicBezTo>
                  <a:pt x="2673155" y="201964"/>
                  <a:pt x="2674745" y="182076"/>
                  <a:pt x="2682494" y="169679"/>
                </a:cubicBezTo>
                <a:cubicBezTo>
                  <a:pt x="2693070" y="152761"/>
                  <a:pt x="2686712" y="132325"/>
                  <a:pt x="2670873" y="132325"/>
                </a:cubicBezTo>
                <a:cubicBezTo>
                  <a:pt x="2653920" y="132325"/>
                  <a:pt x="2654096" y="117239"/>
                  <a:pt x="2671168" y="107001"/>
                </a:cubicBezTo>
                <a:cubicBezTo>
                  <a:pt x="2678758" y="102450"/>
                  <a:pt x="2684287" y="94411"/>
                  <a:pt x="2684287" y="87927"/>
                </a:cubicBezTo>
                <a:cubicBezTo>
                  <a:pt x="2684287" y="81252"/>
                  <a:pt x="2688709" y="75113"/>
                  <a:pt x="2695219" y="72747"/>
                </a:cubicBezTo>
                <a:cubicBezTo>
                  <a:pt x="2701232" y="70562"/>
                  <a:pt x="2706152" y="66375"/>
                  <a:pt x="2706152" y="63442"/>
                </a:cubicBezTo>
                <a:cubicBezTo>
                  <a:pt x="2706152" y="55417"/>
                  <a:pt x="2727018" y="62811"/>
                  <a:pt x="2732792" y="72882"/>
                </a:cubicBezTo>
                <a:cubicBezTo>
                  <a:pt x="2735565" y="77719"/>
                  <a:pt x="2742301" y="81678"/>
                  <a:pt x="2747762" y="81678"/>
                </a:cubicBezTo>
                <a:cubicBezTo>
                  <a:pt x="2753223" y="81678"/>
                  <a:pt x="2758824" y="85951"/>
                  <a:pt x="2760208" y="91174"/>
                </a:cubicBezTo>
                <a:cubicBezTo>
                  <a:pt x="2761593" y="96397"/>
                  <a:pt x="2767707" y="100670"/>
                  <a:pt x="2773795" y="100670"/>
                </a:cubicBezTo>
                <a:cubicBezTo>
                  <a:pt x="2782006" y="100670"/>
                  <a:pt x="2784864" y="103991"/>
                  <a:pt x="2784864" y="113531"/>
                </a:cubicBezTo>
                <a:cubicBezTo>
                  <a:pt x="2784864" y="128974"/>
                  <a:pt x="2796460" y="136816"/>
                  <a:pt x="2806176" y="127943"/>
                </a:cubicBezTo>
                <a:cubicBezTo>
                  <a:pt x="2811009" y="123529"/>
                  <a:pt x="2812755" y="114385"/>
                  <a:pt x="2811807" y="98446"/>
                </a:cubicBezTo>
                <a:cubicBezTo>
                  <a:pt x="2810957" y="84169"/>
                  <a:pt x="2812343" y="75347"/>
                  <a:pt x="2815434" y="75347"/>
                </a:cubicBezTo>
                <a:cubicBezTo>
                  <a:pt x="2818242" y="75347"/>
                  <a:pt x="2819352" y="70399"/>
                  <a:pt x="2817964" y="64068"/>
                </a:cubicBezTo>
                <a:cubicBezTo>
                  <a:pt x="2816160" y="55840"/>
                  <a:pt x="2818843" y="50959"/>
                  <a:pt x="2827881" y="46020"/>
                </a:cubicBezTo>
                <a:cubicBezTo>
                  <a:pt x="2843570" y="37446"/>
                  <a:pt x="2867950" y="42245"/>
                  <a:pt x="2867950" y="53908"/>
                </a:cubicBezTo>
                <a:cubicBezTo>
                  <a:pt x="2867950" y="58735"/>
                  <a:pt x="2869918" y="62685"/>
                  <a:pt x="2872323" y="62685"/>
                </a:cubicBezTo>
                <a:cubicBezTo>
                  <a:pt x="2874727" y="62685"/>
                  <a:pt x="2876696" y="66869"/>
                  <a:pt x="2876696" y="71983"/>
                </a:cubicBezTo>
                <a:cubicBezTo>
                  <a:pt x="2876696" y="77575"/>
                  <a:pt x="2879265" y="79852"/>
                  <a:pt x="2883143" y="77698"/>
                </a:cubicBezTo>
                <a:cubicBezTo>
                  <a:pt x="2891144" y="73253"/>
                  <a:pt x="2915481" y="100222"/>
                  <a:pt x="2915810" y="113898"/>
                </a:cubicBezTo>
                <a:cubicBezTo>
                  <a:pt x="2915943" y="119433"/>
                  <a:pt x="2911039" y="127267"/>
                  <a:pt x="2904913" y="131308"/>
                </a:cubicBezTo>
                <a:cubicBezTo>
                  <a:pt x="2890838" y="140594"/>
                  <a:pt x="2889815" y="140513"/>
                  <a:pt x="2889815" y="130128"/>
                </a:cubicBezTo>
                <a:cubicBezTo>
                  <a:pt x="2889815" y="118102"/>
                  <a:pt x="2873609" y="92441"/>
                  <a:pt x="2868756" y="96783"/>
                </a:cubicBezTo>
                <a:cubicBezTo>
                  <a:pt x="2866540" y="98767"/>
                  <a:pt x="2863494" y="111537"/>
                  <a:pt x="2861989" y="125162"/>
                </a:cubicBezTo>
                <a:cubicBezTo>
                  <a:pt x="2860485" y="138787"/>
                  <a:pt x="2856291" y="151581"/>
                  <a:pt x="2852669" y="153593"/>
                </a:cubicBezTo>
                <a:cubicBezTo>
                  <a:pt x="2840741" y="160220"/>
                  <a:pt x="2847175" y="202394"/>
                  <a:pt x="2864473" y="230956"/>
                </a:cubicBezTo>
                <a:cubicBezTo>
                  <a:pt x="2868859" y="238196"/>
                  <a:pt x="2874926" y="256521"/>
                  <a:pt x="2877958" y="271677"/>
                </a:cubicBezTo>
                <a:cubicBezTo>
                  <a:pt x="2881774" y="290765"/>
                  <a:pt x="2887467" y="302627"/>
                  <a:pt x="2896480" y="310278"/>
                </a:cubicBezTo>
                <a:cubicBezTo>
                  <a:pt x="2914313" y="325416"/>
                  <a:pt x="2921265" y="324529"/>
                  <a:pt x="2930626" y="305922"/>
                </a:cubicBezTo>
                <a:cubicBezTo>
                  <a:pt x="2940093" y="287102"/>
                  <a:pt x="2934487" y="271603"/>
                  <a:pt x="2918213" y="271603"/>
                </a:cubicBezTo>
                <a:cubicBezTo>
                  <a:pt x="2911656" y="271603"/>
                  <a:pt x="2907437" y="266805"/>
                  <a:pt x="2905690" y="257359"/>
                </a:cubicBezTo>
                <a:cubicBezTo>
                  <a:pt x="2901610" y="235322"/>
                  <a:pt x="2902186" y="233618"/>
                  <a:pt x="2913711" y="233618"/>
                </a:cubicBezTo>
                <a:cubicBezTo>
                  <a:pt x="2927050" y="233618"/>
                  <a:pt x="2933170" y="217887"/>
                  <a:pt x="2930337" y="190885"/>
                </a:cubicBezTo>
                <a:cubicBezTo>
                  <a:pt x="2928712" y="175393"/>
                  <a:pt x="2929806" y="170310"/>
                  <a:pt x="2934767" y="170310"/>
                </a:cubicBezTo>
                <a:cubicBezTo>
                  <a:pt x="2943173" y="170310"/>
                  <a:pt x="2947395" y="185709"/>
                  <a:pt x="2941378" y="194420"/>
                </a:cubicBezTo>
                <a:cubicBezTo>
                  <a:pt x="2938159" y="199081"/>
                  <a:pt x="2941598" y="202390"/>
                  <a:pt x="2952827" y="205440"/>
                </a:cubicBezTo>
                <a:cubicBezTo>
                  <a:pt x="2965084" y="208769"/>
                  <a:pt x="2970901" y="207145"/>
                  <a:pt x="2977447" y="198569"/>
                </a:cubicBezTo>
                <a:cubicBezTo>
                  <a:pt x="2991133" y="180640"/>
                  <a:pt x="2988109" y="159934"/>
                  <a:pt x="2967852" y="132854"/>
                </a:cubicBezTo>
                <a:cubicBezTo>
                  <a:pt x="2949478" y="108292"/>
                  <a:pt x="2946932" y="88008"/>
                  <a:pt x="2962222" y="88008"/>
                </a:cubicBezTo>
                <a:cubicBezTo>
                  <a:pt x="2970062" y="88008"/>
                  <a:pt x="2985645" y="64023"/>
                  <a:pt x="2985873" y="51606"/>
                </a:cubicBezTo>
                <a:cubicBezTo>
                  <a:pt x="2985960" y="46899"/>
                  <a:pt x="2991929" y="43693"/>
                  <a:pt x="3000606" y="43693"/>
                </a:cubicBezTo>
                <a:cubicBezTo>
                  <a:pt x="3012139" y="43693"/>
                  <a:pt x="3018546" y="49098"/>
                  <a:pt x="3031196" y="69498"/>
                </a:cubicBezTo>
                <a:cubicBezTo>
                  <a:pt x="3045443" y="92473"/>
                  <a:pt x="3047919" y="94259"/>
                  <a:pt x="3053778" y="85778"/>
                </a:cubicBezTo>
                <a:cubicBezTo>
                  <a:pt x="3061714" y="74289"/>
                  <a:pt x="3062205" y="61561"/>
                  <a:pt x="3055111" y="51289"/>
                </a:cubicBezTo>
                <a:cubicBezTo>
                  <a:pt x="3051030" y="45381"/>
                  <a:pt x="3051090" y="41934"/>
                  <a:pt x="3055383" y="35779"/>
                </a:cubicBezTo>
                <a:cubicBezTo>
                  <a:pt x="3059803" y="29442"/>
                  <a:pt x="3061685" y="29872"/>
                  <a:pt x="3064829" y="37931"/>
                </a:cubicBezTo>
                <a:cubicBezTo>
                  <a:pt x="3073651" y="60547"/>
                  <a:pt x="3085007" y="75367"/>
                  <a:pt x="3095119" y="77459"/>
                </a:cubicBezTo>
                <a:cubicBezTo>
                  <a:pt x="3110739" y="80691"/>
                  <a:pt x="3116466" y="97029"/>
                  <a:pt x="3107184" y="111877"/>
                </a:cubicBezTo>
                <a:cubicBezTo>
                  <a:pt x="3099011" y="124950"/>
                  <a:pt x="3097138" y="144986"/>
                  <a:pt x="3104088" y="144986"/>
                </a:cubicBezTo>
                <a:cubicBezTo>
                  <a:pt x="3106492" y="144986"/>
                  <a:pt x="3108461" y="151941"/>
                  <a:pt x="3108461" y="160439"/>
                </a:cubicBezTo>
                <a:cubicBezTo>
                  <a:pt x="3108461" y="168939"/>
                  <a:pt x="3110429" y="177654"/>
                  <a:pt x="3112834" y="179806"/>
                </a:cubicBezTo>
                <a:cubicBezTo>
                  <a:pt x="3115238" y="181958"/>
                  <a:pt x="3117207" y="193663"/>
                  <a:pt x="3117207" y="205817"/>
                </a:cubicBezTo>
                <a:cubicBezTo>
                  <a:pt x="3117207" y="222318"/>
                  <a:pt x="3120918" y="233447"/>
                  <a:pt x="3131860" y="249759"/>
                </a:cubicBezTo>
                <a:cubicBezTo>
                  <a:pt x="3139920" y="261774"/>
                  <a:pt x="3149007" y="271603"/>
                  <a:pt x="3152055" y="271603"/>
                </a:cubicBezTo>
                <a:cubicBezTo>
                  <a:pt x="3155102" y="271603"/>
                  <a:pt x="3164319" y="280150"/>
                  <a:pt x="3172536" y="290596"/>
                </a:cubicBezTo>
                <a:cubicBezTo>
                  <a:pt x="3188581" y="310992"/>
                  <a:pt x="3207725" y="315576"/>
                  <a:pt x="3211850" y="300011"/>
                </a:cubicBezTo>
                <a:cubicBezTo>
                  <a:pt x="3213246" y="294744"/>
                  <a:pt x="3211890" y="286077"/>
                  <a:pt x="3208838" y="280750"/>
                </a:cubicBezTo>
                <a:cubicBezTo>
                  <a:pt x="3201373" y="267728"/>
                  <a:pt x="3210491" y="252182"/>
                  <a:pt x="3218659" y="264006"/>
                </a:cubicBezTo>
                <a:cubicBezTo>
                  <a:pt x="3224862" y="272988"/>
                  <a:pt x="3249230" y="274134"/>
                  <a:pt x="3255173" y="265724"/>
                </a:cubicBezTo>
                <a:cubicBezTo>
                  <a:pt x="3257458" y="262490"/>
                  <a:pt x="3266214" y="258929"/>
                  <a:pt x="3274632" y="257810"/>
                </a:cubicBezTo>
                <a:cubicBezTo>
                  <a:pt x="3287659" y="256079"/>
                  <a:pt x="3290142" y="253185"/>
                  <a:pt x="3291320" y="238366"/>
                </a:cubicBezTo>
                <a:cubicBezTo>
                  <a:pt x="3292306" y="225960"/>
                  <a:pt x="3295174" y="220957"/>
                  <a:pt x="3301297" y="220957"/>
                </a:cubicBezTo>
                <a:cubicBezTo>
                  <a:pt x="3311988" y="220957"/>
                  <a:pt x="3316952" y="203956"/>
                  <a:pt x="3310575" y="189177"/>
                </a:cubicBezTo>
                <a:cubicBezTo>
                  <a:pt x="3306477" y="179673"/>
                  <a:pt x="3307719" y="177506"/>
                  <a:pt x="3319179" y="174188"/>
                </a:cubicBezTo>
                <a:cubicBezTo>
                  <a:pt x="3350857" y="165016"/>
                  <a:pt x="3375209" y="178300"/>
                  <a:pt x="3375209" y="204754"/>
                </a:cubicBezTo>
                <a:cubicBezTo>
                  <a:pt x="3375209" y="212452"/>
                  <a:pt x="3380128" y="225440"/>
                  <a:pt x="3386141" y="233618"/>
                </a:cubicBezTo>
                <a:cubicBezTo>
                  <a:pt x="3392154" y="241796"/>
                  <a:pt x="3397074" y="253213"/>
                  <a:pt x="3397074" y="258990"/>
                </a:cubicBezTo>
                <a:cubicBezTo>
                  <a:pt x="3397074" y="274893"/>
                  <a:pt x="3401750" y="278399"/>
                  <a:pt x="3408988" y="267922"/>
                </a:cubicBezTo>
                <a:cubicBezTo>
                  <a:pt x="3415535" y="258440"/>
                  <a:pt x="3432760" y="261354"/>
                  <a:pt x="3435701" y="272440"/>
                </a:cubicBezTo>
                <a:cubicBezTo>
                  <a:pt x="3436503" y="275462"/>
                  <a:pt x="3441799" y="277934"/>
                  <a:pt x="3447468" y="277934"/>
                </a:cubicBezTo>
                <a:cubicBezTo>
                  <a:pt x="3453139" y="277934"/>
                  <a:pt x="3458994" y="280783"/>
                  <a:pt x="3460481" y="284265"/>
                </a:cubicBezTo>
                <a:cubicBezTo>
                  <a:pt x="3461968" y="287747"/>
                  <a:pt x="3467993" y="290596"/>
                  <a:pt x="3473871" y="290596"/>
                </a:cubicBezTo>
                <a:cubicBezTo>
                  <a:pt x="3482160" y="290596"/>
                  <a:pt x="3486258" y="284916"/>
                  <a:pt x="3492137" y="265273"/>
                </a:cubicBezTo>
                <a:cubicBezTo>
                  <a:pt x="3496304" y="251345"/>
                  <a:pt x="3501176" y="239949"/>
                  <a:pt x="3502962" y="239949"/>
                </a:cubicBezTo>
                <a:cubicBezTo>
                  <a:pt x="3504748" y="239949"/>
                  <a:pt x="3503904" y="232623"/>
                  <a:pt x="3501086" y="223668"/>
                </a:cubicBezTo>
                <a:cubicBezTo>
                  <a:pt x="3497521" y="212342"/>
                  <a:pt x="3497370" y="206081"/>
                  <a:pt x="3500590" y="203093"/>
                </a:cubicBezTo>
                <a:cubicBezTo>
                  <a:pt x="3509297" y="195013"/>
                  <a:pt x="3511914" y="170548"/>
                  <a:pt x="3504512" y="166435"/>
                </a:cubicBezTo>
                <a:cubicBezTo>
                  <a:pt x="3500738" y="164339"/>
                  <a:pt x="3497651" y="156156"/>
                  <a:pt x="3497651" y="148250"/>
                </a:cubicBezTo>
                <a:cubicBezTo>
                  <a:pt x="3497651" y="140344"/>
                  <a:pt x="3494700" y="130329"/>
                  <a:pt x="3491091" y="125994"/>
                </a:cubicBezTo>
                <a:cubicBezTo>
                  <a:pt x="3487483" y="121659"/>
                  <a:pt x="3484532" y="111508"/>
                  <a:pt x="3484532" y="103434"/>
                </a:cubicBezTo>
                <a:cubicBezTo>
                  <a:pt x="3484532" y="95361"/>
                  <a:pt x="3482565" y="86995"/>
                  <a:pt x="3480160" y="84843"/>
                </a:cubicBezTo>
                <a:cubicBezTo>
                  <a:pt x="3477754" y="82691"/>
                  <a:pt x="3475787" y="65734"/>
                  <a:pt x="3475787" y="47161"/>
                </a:cubicBezTo>
                <a:cubicBezTo>
                  <a:pt x="3475787" y="22209"/>
                  <a:pt x="3477593" y="12390"/>
                  <a:pt x="3482704" y="9550"/>
                </a:cubicBezTo>
                <a:cubicBezTo>
                  <a:pt x="3487246" y="7027"/>
                  <a:pt x="3489200" y="5620"/>
                  <a:pt x="3491456" y="6650"/>
                </a:cubicBezTo>
                <a:close/>
                <a:moveTo>
                  <a:pt x="3226906" y="1812"/>
                </a:moveTo>
                <a:cubicBezTo>
                  <a:pt x="3239673" y="-1245"/>
                  <a:pt x="3244752" y="962"/>
                  <a:pt x="3254236" y="13687"/>
                </a:cubicBezTo>
                <a:cubicBezTo>
                  <a:pt x="3260643" y="22284"/>
                  <a:pt x="3265886" y="31224"/>
                  <a:pt x="3265886" y="33553"/>
                </a:cubicBezTo>
                <a:cubicBezTo>
                  <a:pt x="3265886" y="35882"/>
                  <a:pt x="3260213" y="45816"/>
                  <a:pt x="3253280" y="55628"/>
                </a:cubicBezTo>
                <a:cubicBezTo>
                  <a:pt x="3237852" y="77461"/>
                  <a:pt x="3214386" y="85952"/>
                  <a:pt x="3207342" y="72250"/>
                </a:cubicBezTo>
                <a:cubicBezTo>
                  <a:pt x="3202496" y="62824"/>
                  <a:pt x="3163632" y="56671"/>
                  <a:pt x="3158240" y="64477"/>
                </a:cubicBezTo>
                <a:cubicBezTo>
                  <a:pt x="3156779" y="66593"/>
                  <a:pt x="3155075" y="77738"/>
                  <a:pt x="3154454" y="89245"/>
                </a:cubicBezTo>
                <a:cubicBezTo>
                  <a:pt x="3153386" y="109054"/>
                  <a:pt x="3144752" y="119445"/>
                  <a:pt x="3137765" y="109330"/>
                </a:cubicBezTo>
                <a:cubicBezTo>
                  <a:pt x="3133071" y="102536"/>
                  <a:pt x="3134120" y="81678"/>
                  <a:pt x="3139154" y="81678"/>
                </a:cubicBezTo>
                <a:cubicBezTo>
                  <a:pt x="3141720" y="81678"/>
                  <a:pt x="3142451" y="74986"/>
                  <a:pt x="3140877" y="65909"/>
                </a:cubicBezTo>
                <a:cubicBezTo>
                  <a:pt x="3138806" y="53957"/>
                  <a:pt x="3140109" y="49249"/>
                  <a:pt x="3146260" y="46455"/>
                </a:cubicBezTo>
                <a:cubicBezTo>
                  <a:pt x="3150724" y="44427"/>
                  <a:pt x="3157793" y="40127"/>
                  <a:pt x="3161969" y="36900"/>
                </a:cubicBezTo>
                <a:cubicBezTo>
                  <a:pt x="3166146" y="33671"/>
                  <a:pt x="3172542" y="31031"/>
                  <a:pt x="3176182" y="31031"/>
                </a:cubicBezTo>
                <a:cubicBezTo>
                  <a:pt x="3179885" y="31031"/>
                  <a:pt x="3182801" y="25454"/>
                  <a:pt x="3182801" y="18369"/>
                </a:cubicBezTo>
                <a:cubicBezTo>
                  <a:pt x="3182801" y="8319"/>
                  <a:pt x="3185731" y="5693"/>
                  <a:pt x="3197012" y="5637"/>
                </a:cubicBezTo>
                <a:cubicBezTo>
                  <a:pt x="3204829" y="5599"/>
                  <a:pt x="3218281" y="3878"/>
                  <a:pt x="3226906" y="1812"/>
                </a:cubicBezTo>
                <a:close/>
                <a:moveTo>
                  <a:pt x="3353505" y="1044"/>
                </a:moveTo>
                <a:cubicBezTo>
                  <a:pt x="3365314" y="-3635"/>
                  <a:pt x="3365622" y="6767"/>
                  <a:pt x="3364731" y="45612"/>
                </a:cubicBezTo>
                <a:cubicBezTo>
                  <a:pt x="3364148" y="71042"/>
                  <a:pt x="3362215" y="95257"/>
                  <a:pt x="3360436" y="99424"/>
                </a:cubicBezTo>
                <a:cubicBezTo>
                  <a:pt x="3356504" y="108635"/>
                  <a:pt x="3346119" y="109352"/>
                  <a:pt x="3342412" y="100670"/>
                </a:cubicBezTo>
                <a:cubicBezTo>
                  <a:pt x="3340926" y="97188"/>
                  <a:pt x="3335147" y="94339"/>
                  <a:pt x="3329571" y="94339"/>
                </a:cubicBezTo>
                <a:cubicBezTo>
                  <a:pt x="3323994" y="94339"/>
                  <a:pt x="3316982" y="90066"/>
                  <a:pt x="3313988" y="84843"/>
                </a:cubicBezTo>
                <a:cubicBezTo>
                  <a:pt x="3310993" y="79620"/>
                  <a:pt x="3304850" y="75347"/>
                  <a:pt x="3300334" y="75347"/>
                </a:cubicBezTo>
                <a:cubicBezTo>
                  <a:pt x="3295819" y="75347"/>
                  <a:pt x="3292124" y="73173"/>
                  <a:pt x="3292124" y="70517"/>
                </a:cubicBezTo>
                <a:cubicBezTo>
                  <a:pt x="3292124" y="67861"/>
                  <a:pt x="3287696" y="62875"/>
                  <a:pt x="3282285" y="59438"/>
                </a:cubicBezTo>
                <a:cubicBezTo>
                  <a:pt x="3264498" y="48141"/>
                  <a:pt x="3270499" y="34725"/>
                  <a:pt x="3296497" y="27663"/>
                </a:cubicBezTo>
                <a:cubicBezTo>
                  <a:pt x="3309725" y="24071"/>
                  <a:pt x="3328167" y="16237"/>
                  <a:pt x="3337481" y="10254"/>
                </a:cubicBezTo>
                <a:cubicBezTo>
                  <a:pt x="3344354" y="5839"/>
                  <a:pt x="3349568" y="2604"/>
                  <a:pt x="3353505" y="1044"/>
                </a:cubicBezTo>
                <a:close/>
              </a:path>
            </a:pathLst>
          </a:custGeom>
        </p:spPr>
        <p:txBody>
          <a:bodyPr wrap="square">
            <a:noAutofit/>
          </a:bodyPr>
          <a:lstStyle/>
          <a:p>
            <a:endParaRPr lang="en-IN"/>
          </a:p>
        </p:txBody>
      </p:sp>
      <p:sp>
        <p:nvSpPr>
          <p:cNvPr id="7" name="Picture Placeholder 6">
            <a:extLst>
              <a:ext uri="{FF2B5EF4-FFF2-40B4-BE49-F238E27FC236}">
                <a16:creationId xmlns:a16="http://schemas.microsoft.com/office/drawing/2014/main" id="{3E86913D-F332-4783-9B12-4EF51C2AF0E0}"/>
              </a:ext>
            </a:extLst>
          </p:cNvPr>
          <p:cNvSpPr>
            <a:spLocks noGrp="1"/>
          </p:cNvSpPr>
          <p:nvPr>
            <p:ph type="pic" sz="quarter" idx="15"/>
          </p:nvPr>
        </p:nvSpPr>
        <p:spPr>
          <a:xfrm>
            <a:off x="8123441" y="1405755"/>
            <a:ext cx="3030631" cy="3017293"/>
          </a:xfrm>
          <a:custGeom>
            <a:avLst/>
            <a:gdLst>
              <a:gd name="connsiteX0" fmla="*/ 1260900 w 4545947"/>
              <a:gd name="connsiteY0" fmla="*/ 4513278 h 4525940"/>
              <a:gd name="connsiteX1" fmla="*/ 1267459 w 4545947"/>
              <a:gd name="connsiteY1" fmla="*/ 4519609 h 4525940"/>
              <a:gd name="connsiteX2" fmla="*/ 1260900 w 4545947"/>
              <a:gd name="connsiteY2" fmla="*/ 4525940 h 4525940"/>
              <a:gd name="connsiteX3" fmla="*/ 1254340 w 4545947"/>
              <a:gd name="connsiteY3" fmla="*/ 4519609 h 4525940"/>
              <a:gd name="connsiteX4" fmla="*/ 1260900 w 4545947"/>
              <a:gd name="connsiteY4" fmla="*/ 4513278 h 4525940"/>
              <a:gd name="connsiteX5" fmla="*/ 1096915 w 4545947"/>
              <a:gd name="connsiteY5" fmla="*/ 4392992 h 4525940"/>
              <a:gd name="connsiteX6" fmla="*/ 1101288 w 4545947"/>
              <a:gd name="connsiteY6" fmla="*/ 4402488 h 4525940"/>
              <a:gd name="connsiteX7" fmla="*/ 1096915 w 4545947"/>
              <a:gd name="connsiteY7" fmla="*/ 4411984 h 4525940"/>
              <a:gd name="connsiteX8" fmla="*/ 1092542 w 4545947"/>
              <a:gd name="connsiteY8" fmla="*/ 4402488 h 4525940"/>
              <a:gd name="connsiteX9" fmla="*/ 1096915 w 4545947"/>
              <a:gd name="connsiteY9" fmla="*/ 4392992 h 4525940"/>
              <a:gd name="connsiteX10" fmla="*/ 3812502 w 4545947"/>
              <a:gd name="connsiteY10" fmla="*/ 4386661 h 4525940"/>
              <a:gd name="connsiteX11" fmla="*/ 3816875 w 4545947"/>
              <a:gd name="connsiteY11" fmla="*/ 4392992 h 4525940"/>
              <a:gd name="connsiteX12" fmla="*/ 3812502 w 4545947"/>
              <a:gd name="connsiteY12" fmla="*/ 4399322 h 4525940"/>
              <a:gd name="connsiteX13" fmla="*/ 3808129 w 4545947"/>
              <a:gd name="connsiteY13" fmla="*/ 4392992 h 4525940"/>
              <a:gd name="connsiteX14" fmla="*/ 3812502 w 4545947"/>
              <a:gd name="connsiteY14" fmla="*/ 4386661 h 4525940"/>
              <a:gd name="connsiteX15" fmla="*/ 972287 w 4545947"/>
              <a:gd name="connsiteY15" fmla="*/ 4355006 h 4525940"/>
              <a:gd name="connsiteX16" fmla="*/ 978846 w 4545947"/>
              <a:gd name="connsiteY16" fmla="*/ 4364503 h 4525940"/>
              <a:gd name="connsiteX17" fmla="*/ 972287 w 4545947"/>
              <a:gd name="connsiteY17" fmla="*/ 4373999 h 4525940"/>
              <a:gd name="connsiteX18" fmla="*/ 965727 w 4545947"/>
              <a:gd name="connsiteY18" fmla="*/ 4364503 h 4525940"/>
              <a:gd name="connsiteX19" fmla="*/ 972287 w 4545947"/>
              <a:gd name="connsiteY19" fmla="*/ 4355006 h 4525940"/>
              <a:gd name="connsiteX20" fmla="*/ 3695599 w 4545947"/>
              <a:gd name="connsiteY20" fmla="*/ 4285367 h 4525940"/>
              <a:gd name="connsiteX21" fmla="*/ 3704795 w 4545947"/>
              <a:gd name="connsiteY21" fmla="*/ 4299611 h 4525940"/>
              <a:gd name="connsiteX22" fmla="*/ 3703751 w 4545947"/>
              <a:gd name="connsiteY22" fmla="*/ 4355006 h 4525940"/>
              <a:gd name="connsiteX23" fmla="*/ 3697362 w 4545947"/>
              <a:gd name="connsiteY23" fmla="*/ 4334431 h 4525940"/>
              <a:gd name="connsiteX24" fmla="*/ 3691906 w 4545947"/>
              <a:gd name="connsiteY24" fmla="*/ 4299611 h 4525940"/>
              <a:gd name="connsiteX25" fmla="*/ 3695599 w 4545947"/>
              <a:gd name="connsiteY25" fmla="*/ 4285367 h 4525940"/>
              <a:gd name="connsiteX26" fmla="*/ 3791489 w 4545947"/>
              <a:gd name="connsiteY26" fmla="*/ 4247982 h 4525940"/>
              <a:gd name="connsiteX27" fmla="*/ 3797678 w 4545947"/>
              <a:gd name="connsiteY27" fmla="*/ 4254863 h 4525940"/>
              <a:gd name="connsiteX28" fmla="*/ 3802997 w 4545947"/>
              <a:gd name="connsiteY28" fmla="*/ 4279809 h 4525940"/>
              <a:gd name="connsiteX29" fmla="*/ 3793855 w 4545947"/>
              <a:gd name="connsiteY29" fmla="*/ 4273261 h 4525940"/>
              <a:gd name="connsiteX30" fmla="*/ 3791489 w 4545947"/>
              <a:gd name="connsiteY30" fmla="*/ 4247982 h 4525940"/>
              <a:gd name="connsiteX31" fmla="*/ 932930 w 4545947"/>
              <a:gd name="connsiteY31" fmla="*/ 4222058 h 4525940"/>
              <a:gd name="connsiteX32" fmla="*/ 939490 w 4545947"/>
              <a:gd name="connsiteY32" fmla="*/ 4234720 h 4525940"/>
              <a:gd name="connsiteX33" fmla="*/ 932930 w 4545947"/>
              <a:gd name="connsiteY33" fmla="*/ 4247382 h 4525940"/>
              <a:gd name="connsiteX34" fmla="*/ 926371 w 4545947"/>
              <a:gd name="connsiteY34" fmla="*/ 4234720 h 4525940"/>
              <a:gd name="connsiteX35" fmla="*/ 932930 w 4545947"/>
              <a:gd name="connsiteY35" fmla="*/ 4222058 h 4525940"/>
              <a:gd name="connsiteX36" fmla="*/ 1267119 w 4545947"/>
              <a:gd name="connsiteY36" fmla="*/ 4212536 h 4525940"/>
              <a:gd name="connsiteX37" fmla="*/ 1271832 w 4545947"/>
              <a:gd name="connsiteY37" fmla="*/ 4222432 h 4525940"/>
              <a:gd name="connsiteX38" fmla="*/ 1259340 w 4545947"/>
              <a:gd name="connsiteY38" fmla="*/ 4222753 h 4525940"/>
              <a:gd name="connsiteX39" fmla="*/ 1258247 w 4545947"/>
              <a:gd name="connsiteY39" fmla="*/ 4212980 h 4525940"/>
              <a:gd name="connsiteX40" fmla="*/ 1267119 w 4545947"/>
              <a:gd name="connsiteY40" fmla="*/ 4212536 h 4525940"/>
              <a:gd name="connsiteX41" fmla="*/ 3606974 w 4545947"/>
              <a:gd name="connsiteY41" fmla="*/ 4158750 h 4525940"/>
              <a:gd name="connsiteX42" fmla="*/ 3611347 w 4545947"/>
              <a:gd name="connsiteY42" fmla="*/ 4165081 h 4525940"/>
              <a:gd name="connsiteX43" fmla="*/ 3606974 w 4545947"/>
              <a:gd name="connsiteY43" fmla="*/ 4171411 h 4525940"/>
              <a:gd name="connsiteX44" fmla="*/ 3602601 w 4545947"/>
              <a:gd name="connsiteY44" fmla="*/ 4165081 h 4525940"/>
              <a:gd name="connsiteX45" fmla="*/ 3606974 w 4545947"/>
              <a:gd name="connsiteY45" fmla="*/ 4158750 h 4525940"/>
              <a:gd name="connsiteX46" fmla="*/ 1253971 w 4545947"/>
              <a:gd name="connsiteY46" fmla="*/ 4155079 h 4525940"/>
              <a:gd name="connsiteX47" fmla="*/ 1263086 w 4545947"/>
              <a:gd name="connsiteY47" fmla="*/ 4181282 h 4525940"/>
              <a:gd name="connsiteX48" fmla="*/ 1254814 w 4545947"/>
              <a:gd name="connsiteY48" fmla="*/ 4203066 h 4525940"/>
              <a:gd name="connsiteX49" fmla="*/ 1243753 w 4545947"/>
              <a:gd name="connsiteY49" fmla="*/ 4186974 h 4525940"/>
              <a:gd name="connsiteX50" fmla="*/ 1247618 w 4545947"/>
              <a:gd name="connsiteY50" fmla="*/ 4161246 h 4525940"/>
              <a:gd name="connsiteX51" fmla="*/ 1253971 w 4545947"/>
              <a:gd name="connsiteY51" fmla="*/ 4155079 h 4525940"/>
              <a:gd name="connsiteX52" fmla="*/ 2452780 w 4545947"/>
              <a:gd name="connsiteY52" fmla="*/ 4146088 h 4525940"/>
              <a:gd name="connsiteX53" fmla="*/ 2456895 w 4545947"/>
              <a:gd name="connsiteY53" fmla="*/ 4155585 h 4525940"/>
              <a:gd name="connsiteX54" fmla="*/ 2446810 w 4545947"/>
              <a:gd name="connsiteY54" fmla="*/ 4161032 h 4525940"/>
              <a:gd name="connsiteX55" fmla="*/ 2452780 w 4545947"/>
              <a:gd name="connsiteY55" fmla="*/ 4146088 h 4525940"/>
              <a:gd name="connsiteX56" fmla="*/ 3700993 w 4545947"/>
              <a:gd name="connsiteY56" fmla="*/ 4127095 h 4525940"/>
              <a:gd name="connsiteX57" fmla="*/ 3707552 w 4545947"/>
              <a:gd name="connsiteY57" fmla="*/ 4136592 h 4525940"/>
              <a:gd name="connsiteX58" fmla="*/ 3697347 w 4545947"/>
              <a:gd name="connsiteY58" fmla="*/ 4141867 h 4525940"/>
              <a:gd name="connsiteX59" fmla="*/ 3700993 w 4545947"/>
              <a:gd name="connsiteY59" fmla="*/ 4127095 h 4525940"/>
              <a:gd name="connsiteX60" fmla="*/ 879089 w 4545947"/>
              <a:gd name="connsiteY60" fmla="*/ 4115046 h 4525940"/>
              <a:gd name="connsiteX61" fmla="*/ 887014 w 4545947"/>
              <a:gd name="connsiteY61" fmla="*/ 4127095 h 4525940"/>
              <a:gd name="connsiteX62" fmla="*/ 877084 w 4545947"/>
              <a:gd name="connsiteY62" fmla="*/ 4132845 h 4525940"/>
              <a:gd name="connsiteX63" fmla="*/ 871875 w 4545947"/>
              <a:gd name="connsiteY63" fmla="*/ 4120376 h 4525940"/>
              <a:gd name="connsiteX64" fmla="*/ 879089 w 4545947"/>
              <a:gd name="connsiteY64" fmla="*/ 4115046 h 4525940"/>
              <a:gd name="connsiteX65" fmla="*/ 1862177 w 4545947"/>
              <a:gd name="connsiteY65" fmla="*/ 4108103 h 4525940"/>
              <a:gd name="connsiteX66" fmla="*/ 1866550 w 4545947"/>
              <a:gd name="connsiteY66" fmla="*/ 4114434 h 4525940"/>
              <a:gd name="connsiteX67" fmla="*/ 1862177 w 4545947"/>
              <a:gd name="connsiteY67" fmla="*/ 4120765 h 4525940"/>
              <a:gd name="connsiteX68" fmla="*/ 1857804 w 4545947"/>
              <a:gd name="connsiteY68" fmla="*/ 4114434 h 4525940"/>
              <a:gd name="connsiteX69" fmla="*/ 1862177 w 4545947"/>
              <a:gd name="connsiteY69" fmla="*/ 4108103 h 4525940"/>
              <a:gd name="connsiteX70" fmla="*/ 1183790 w 4545947"/>
              <a:gd name="connsiteY70" fmla="*/ 4089207 h 4525940"/>
              <a:gd name="connsiteX71" fmla="*/ 1177152 w 4545947"/>
              <a:gd name="connsiteY71" fmla="*/ 4126770 h 4525940"/>
              <a:gd name="connsiteX72" fmla="*/ 1180982 w 4545947"/>
              <a:gd name="connsiteY72" fmla="*/ 4116926 h 4525940"/>
              <a:gd name="connsiteX73" fmla="*/ 1184868 w 4545947"/>
              <a:gd name="connsiteY73" fmla="*/ 4094865 h 4525940"/>
              <a:gd name="connsiteX74" fmla="*/ 1183790 w 4545947"/>
              <a:gd name="connsiteY74" fmla="*/ 4089207 h 4525940"/>
              <a:gd name="connsiteX75" fmla="*/ 1852771 w 4545947"/>
              <a:gd name="connsiteY75" fmla="*/ 4080379 h 4525940"/>
              <a:gd name="connsiteX76" fmla="*/ 1859380 w 4545947"/>
              <a:gd name="connsiteY76" fmla="*/ 4080841 h 4525940"/>
              <a:gd name="connsiteX77" fmla="*/ 1858062 w 4545947"/>
              <a:gd name="connsiteY77" fmla="*/ 4095441 h 4525940"/>
              <a:gd name="connsiteX78" fmla="*/ 1851431 w 4545947"/>
              <a:gd name="connsiteY78" fmla="*/ 4089548 h 4525940"/>
              <a:gd name="connsiteX79" fmla="*/ 1852771 w 4545947"/>
              <a:gd name="connsiteY79" fmla="*/ 4080379 h 4525940"/>
              <a:gd name="connsiteX80" fmla="*/ 3747913 w 4545947"/>
              <a:gd name="connsiteY80" fmla="*/ 4076860 h 4525940"/>
              <a:gd name="connsiteX81" fmla="*/ 3759152 w 4545947"/>
              <a:gd name="connsiteY81" fmla="*/ 4084046 h 4525940"/>
              <a:gd name="connsiteX82" fmla="*/ 3756383 w 4545947"/>
              <a:gd name="connsiteY82" fmla="*/ 4108103 h 4525940"/>
              <a:gd name="connsiteX83" fmla="*/ 3745450 w 4545947"/>
              <a:gd name="connsiteY83" fmla="*/ 4103882 h 4525940"/>
              <a:gd name="connsiteX84" fmla="*/ 3742535 w 4545947"/>
              <a:gd name="connsiteY84" fmla="*/ 4088055 h 4525940"/>
              <a:gd name="connsiteX85" fmla="*/ 3747913 w 4545947"/>
              <a:gd name="connsiteY85" fmla="*/ 4076860 h 4525940"/>
              <a:gd name="connsiteX86" fmla="*/ 1114457 w 4545947"/>
              <a:gd name="connsiteY86" fmla="*/ 4072746 h 4525940"/>
              <a:gd name="connsiteX87" fmla="*/ 1107340 w 4545947"/>
              <a:gd name="connsiteY87" fmla="*/ 4105307 h 4525940"/>
              <a:gd name="connsiteX88" fmla="*/ 1117549 w 4545947"/>
              <a:gd name="connsiteY88" fmla="*/ 4113700 h 4525940"/>
              <a:gd name="connsiteX89" fmla="*/ 1117687 w 4545947"/>
              <a:gd name="connsiteY89" fmla="*/ 4110070 h 4525940"/>
              <a:gd name="connsiteX90" fmla="*/ 1115500 w 4545947"/>
              <a:gd name="connsiteY90" fmla="*/ 4074720 h 4525940"/>
              <a:gd name="connsiteX91" fmla="*/ 1114457 w 4545947"/>
              <a:gd name="connsiteY91" fmla="*/ 4072746 h 4525940"/>
              <a:gd name="connsiteX92" fmla="*/ 2356317 w 4545947"/>
              <a:gd name="connsiteY92" fmla="*/ 4044794 h 4525940"/>
              <a:gd name="connsiteX93" fmla="*/ 2360690 w 4545947"/>
              <a:gd name="connsiteY93" fmla="*/ 4050752 h 4525940"/>
              <a:gd name="connsiteX94" fmla="*/ 2356317 w 4545947"/>
              <a:gd name="connsiteY94" fmla="*/ 4060622 h 4525940"/>
              <a:gd name="connsiteX95" fmla="*/ 2351944 w 4545947"/>
              <a:gd name="connsiteY95" fmla="*/ 4054664 h 4525940"/>
              <a:gd name="connsiteX96" fmla="*/ 2356317 w 4545947"/>
              <a:gd name="connsiteY96" fmla="*/ 4044794 h 4525940"/>
              <a:gd name="connsiteX97" fmla="*/ 1890281 w 4545947"/>
              <a:gd name="connsiteY97" fmla="*/ 4038463 h 4525940"/>
              <a:gd name="connsiteX98" fmla="*/ 1903064 w 4545947"/>
              <a:gd name="connsiteY98" fmla="*/ 4057456 h 4525940"/>
              <a:gd name="connsiteX99" fmla="*/ 1908851 w 4545947"/>
              <a:gd name="connsiteY99" fmla="*/ 4075870 h 4525940"/>
              <a:gd name="connsiteX100" fmla="*/ 1896075 w 4545947"/>
              <a:gd name="connsiteY100" fmla="*/ 4064790 h 4525940"/>
              <a:gd name="connsiteX101" fmla="*/ 1890281 w 4545947"/>
              <a:gd name="connsiteY101" fmla="*/ 4038463 h 4525940"/>
              <a:gd name="connsiteX102" fmla="*/ 1534930 w 4545947"/>
              <a:gd name="connsiteY102" fmla="*/ 4031057 h 4525940"/>
              <a:gd name="connsiteX103" fmla="*/ 1547326 w 4545947"/>
              <a:gd name="connsiteY103" fmla="*/ 4034071 h 4525940"/>
              <a:gd name="connsiteX104" fmla="*/ 1556559 w 4545947"/>
              <a:gd name="connsiteY104" fmla="*/ 4057456 h 4525940"/>
              <a:gd name="connsiteX105" fmla="*/ 1556072 w 4545947"/>
              <a:gd name="connsiteY105" fmla="*/ 4082779 h 4525940"/>
              <a:gd name="connsiteX106" fmla="*/ 1569191 w 4545947"/>
              <a:gd name="connsiteY106" fmla="*/ 4122875 h 4525940"/>
              <a:gd name="connsiteX107" fmla="*/ 1577937 w 4545947"/>
              <a:gd name="connsiteY107" fmla="*/ 4146088 h 4525940"/>
              <a:gd name="connsiteX108" fmla="*/ 1586682 w 4545947"/>
              <a:gd name="connsiteY108" fmla="*/ 4168537 h 4525940"/>
              <a:gd name="connsiteX109" fmla="*/ 1593242 w 4545947"/>
              <a:gd name="connsiteY109" fmla="*/ 4180031 h 4525940"/>
              <a:gd name="connsiteX110" fmla="*/ 1596521 w 4545947"/>
              <a:gd name="connsiteY110" fmla="*/ 4203041 h 4525940"/>
              <a:gd name="connsiteX111" fmla="*/ 1561308 w 4545947"/>
              <a:gd name="connsiteY111" fmla="*/ 4157141 h 4525940"/>
              <a:gd name="connsiteX112" fmla="*/ 1521156 w 4545947"/>
              <a:gd name="connsiteY112" fmla="*/ 4087528 h 4525940"/>
              <a:gd name="connsiteX113" fmla="*/ 1535320 w 4545947"/>
              <a:gd name="connsiteY113" fmla="*/ 4090693 h 4525940"/>
              <a:gd name="connsiteX114" fmla="*/ 1540362 w 4545947"/>
              <a:gd name="connsiteY114" fmla="*/ 4074041 h 4525940"/>
              <a:gd name="connsiteX115" fmla="*/ 1538885 w 4545947"/>
              <a:gd name="connsiteY115" fmla="*/ 4042703 h 4525940"/>
              <a:gd name="connsiteX116" fmla="*/ 1534930 w 4545947"/>
              <a:gd name="connsiteY116" fmla="*/ 4031057 h 4525940"/>
              <a:gd name="connsiteX117" fmla="*/ 843613 w 4545947"/>
              <a:gd name="connsiteY117" fmla="*/ 4027015 h 4525940"/>
              <a:gd name="connsiteX118" fmla="*/ 848314 w 4545947"/>
              <a:gd name="connsiteY118" fmla="*/ 4035298 h 4525940"/>
              <a:gd name="connsiteX119" fmla="*/ 843613 w 4545947"/>
              <a:gd name="connsiteY119" fmla="*/ 4043581 h 4525940"/>
              <a:gd name="connsiteX120" fmla="*/ 838912 w 4545947"/>
              <a:gd name="connsiteY120" fmla="*/ 4035298 h 4525940"/>
              <a:gd name="connsiteX121" fmla="*/ 843613 w 4545947"/>
              <a:gd name="connsiteY121" fmla="*/ 4027015 h 4525940"/>
              <a:gd name="connsiteX122" fmla="*/ 2342527 w 4545947"/>
              <a:gd name="connsiteY122" fmla="*/ 4008437 h 4525940"/>
              <a:gd name="connsiteX123" fmla="*/ 2347571 w 4545947"/>
              <a:gd name="connsiteY123" fmla="*/ 4015778 h 4525940"/>
              <a:gd name="connsiteX124" fmla="*/ 2340648 w 4545947"/>
              <a:gd name="connsiteY124" fmla="*/ 4025802 h 4525940"/>
              <a:gd name="connsiteX125" fmla="*/ 2335455 w 4545947"/>
              <a:gd name="connsiteY125" fmla="*/ 4018284 h 4525940"/>
              <a:gd name="connsiteX126" fmla="*/ 2342527 w 4545947"/>
              <a:gd name="connsiteY126" fmla="*/ 4008437 h 4525940"/>
              <a:gd name="connsiteX127" fmla="*/ 3724941 w 4545947"/>
              <a:gd name="connsiteY127" fmla="*/ 4000570 h 4525940"/>
              <a:gd name="connsiteX128" fmla="*/ 3742535 w 4545947"/>
              <a:gd name="connsiteY128" fmla="*/ 4019019 h 4525940"/>
              <a:gd name="connsiteX129" fmla="*/ 3724767 w 4545947"/>
              <a:gd name="connsiteY129" fmla="*/ 4015823 h 4525940"/>
              <a:gd name="connsiteX130" fmla="*/ 3724941 w 4545947"/>
              <a:gd name="connsiteY130" fmla="*/ 4000570 h 4525940"/>
              <a:gd name="connsiteX131" fmla="*/ 1367217 w 4545947"/>
              <a:gd name="connsiteY131" fmla="*/ 3939176 h 4525940"/>
              <a:gd name="connsiteX132" fmla="*/ 1375598 w 4545947"/>
              <a:gd name="connsiteY132" fmla="*/ 3939675 h 4525940"/>
              <a:gd name="connsiteX133" fmla="*/ 1369858 w 4545947"/>
              <a:gd name="connsiteY133" fmla="*/ 3943001 h 4525940"/>
              <a:gd name="connsiteX134" fmla="*/ 1367216 w 4545947"/>
              <a:gd name="connsiteY134" fmla="*/ 3939176 h 4525940"/>
              <a:gd name="connsiteX135" fmla="*/ 1367217 w 4545947"/>
              <a:gd name="connsiteY135" fmla="*/ 3939176 h 4525940"/>
              <a:gd name="connsiteX136" fmla="*/ 1367216 w 4545947"/>
              <a:gd name="connsiteY136" fmla="*/ 3939176 h 4525940"/>
              <a:gd name="connsiteX137" fmla="*/ 2495323 w 4545947"/>
              <a:gd name="connsiteY137" fmla="*/ 3937371 h 4525940"/>
              <a:gd name="connsiteX138" fmla="*/ 2506090 w 4545947"/>
              <a:gd name="connsiteY138" fmla="*/ 3945983 h 4525940"/>
              <a:gd name="connsiteX139" fmla="*/ 2508860 w 4545947"/>
              <a:gd name="connsiteY139" fmla="*/ 3987817 h 4525940"/>
              <a:gd name="connsiteX140" fmla="*/ 2506067 w 4545947"/>
              <a:gd name="connsiteY140" fmla="*/ 4003644 h 4525940"/>
              <a:gd name="connsiteX141" fmla="*/ 2494768 w 4545947"/>
              <a:gd name="connsiteY141" fmla="*/ 4014723 h 4525940"/>
              <a:gd name="connsiteX142" fmla="*/ 2495323 w 4545947"/>
              <a:gd name="connsiteY142" fmla="*/ 3937371 h 4525940"/>
              <a:gd name="connsiteX143" fmla="*/ 3895920 w 4545947"/>
              <a:gd name="connsiteY143" fmla="*/ 3935463 h 4525940"/>
              <a:gd name="connsiteX144" fmla="*/ 3899960 w 4545947"/>
              <a:gd name="connsiteY144" fmla="*/ 3959837 h 4525940"/>
              <a:gd name="connsiteX145" fmla="*/ 3911406 w 4545947"/>
              <a:gd name="connsiteY145" fmla="*/ 3989307 h 4525940"/>
              <a:gd name="connsiteX146" fmla="*/ 3930692 w 4545947"/>
              <a:gd name="connsiteY146" fmla="*/ 3982841 h 4525940"/>
              <a:gd name="connsiteX147" fmla="*/ 3949909 w 4545947"/>
              <a:gd name="connsiteY147" fmla="*/ 3984943 h 4525940"/>
              <a:gd name="connsiteX148" fmla="*/ 3939464 w 4545947"/>
              <a:gd name="connsiteY148" fmla="*/ 4010043 h 4525940"/>
              <a:gd name="connsiteX149" fmla="*/ 3929769 w 4545947"/>
              <a:gd name="connsiteY149" fmla="*/ 4024499 h 4525940"/>
              <a:gd name="connsiteX150" fmla="*/ 3933346 w 4545947"/>
              <a:gd name="connsiteY150" fmla="*/ 4049881 h 4525940"/>
              <a:gd name="connsiteX151" fmla="*/ 3940956 w 4545947"/>
              <a:gd name="connsiteY151" fmla="*/ 4120846 h 4525940"/>
              <a:gd name="connsiteX152" fmla="*/ 3929478 w 4545947"/>
              <a:gd name="connsiteY152" fmla="*/ 4120056 h 4525940"/>
              <a:gd name="connsiteX153" fmla="*/ 3921825 w 4545947"/>
              <a:gd name="connsiteY153" fmla="*/ 4086004 h 4525940"/>
              <a:gd name="connsiteX154" fmla="*/ 3917386 w 4545947"/>
              <a:gd name="connsiteY154" fmla="*/ 4054232 h 4525940"/>
              <a:gd name="connsiteX155" fmla="*/ 3906676 w 4545947"/>
              <a:gd name="connsiteY155" fmla="*/ 4028534 h 4525940"/>
              <a:gd name="connsiteX156" fmla="*/ 3891911 w 4545947"/>
              <a:gd name="connsiteY156" fmla="*/ 4006809 h 4525940"/>
              <a:gd name="connsiteX157" fmla="*/ 3885345 w 4545947"/>
              <a:gd name="connsiteY157" fmla="*/ 3953575 h 4525940"/>
              <a:gd name="connsiteX158" fmla="*/ 3895920 w 4545947"/>
              <a:gd name="connsiteY158" fmla="*/ 3935463 h 4525940"/>
              <a:gd name="connsiteX159" fmla="*/ 2337188 w 4545947"/>
              <a:gd name="connsiteY159" fmla="*/ 3930839 h 4525940"/>
              <a:gd name="connsiteX160" fmla="*/ 2342396 w 4545947"/>
              <a:gd name="connsiteY160" fmla="*/ 3947761 h 4525940"/>
              <a:gd name="connsiteX161" fmla="*/ 2327982 w 4545947"/>
              <a:gd name="connsiteY161" fmla="*/ 3956568 h 4525940"/>
              <a:gd name="connsiteX162" fmla="*/ 2337188 w 4545947"/>
              <a:gd name="connsiteY162" fmla="*/ 3930839 h 4525940"/>
              <a:gd name="connsiteX163" fmla="*/ 2224989 w 4545947"/>
              <a:gd name="connsiteY163" fmla="*/ 3912997 h 4525940"/>
              <a:gd name="connsiteX164" fmla="*/ 2230083 w 4545947"/>
              <a:gd name="connsiteY164" fmla="*/ 3916486 h 4525940"/>
              <a:gd name="connsiteX165" fmla="*/ 2225735 w 4545947"/>
              <a:gd name="connsiteY165" fmla="*/ 3943501 h 4525940"/>
              <a:gd name="connsiteX166" fmla="*/ 2218895 w 4545947"/>
              <a:gd name="connsiteY166" fmla="*/ 3932946 h 4525940"/>
              <a:gd name="connsiteX167" fmla="*/ 2224989 w 4545947"/>
              <a:gd name="connsiteY167" fmla="*/ 3912997 h 4525940"/>
              <a:gd name="connsiteX168" fmla="*/ 1388112 w 4545947"/>
              <a:gd name="connsiteY168" fmla="*/ 3908577 h 4525940"/>
              <a:gd name="connsiteX169" fmla="*/ 1380454 w 4545947"/>
              <a:gd name="connsiteY169" fmla="*/ 3917982 h 4525940"/>
              <a:gd name="connsiteX170" fmla="*/ 1363663 w 4545947"/>
              <a:gd name="connsiteY170" fmla="*/ 3924107 h 4525940"/>
              <a:gd name="connsiteX171" fmla="*/ 1349452 w 4545947"/>
              <a:gd name="connsiteY171" fmla="*/ 3919359 h 4525940"/>
              <a:gd name="connsiteX172" fmla="*/ 1335239 w 4545947"/>
              <a:gd name="connsiteY172" fmla="*/ 3936885 h 4525940"/>
              <a:gd name="connsiteX173" fmla="*/ 1346172 w 4545947"/>
              <a:gd name="connsiteY173" fmla="*/ 3956132 h 4525940"/>
              <a:gd name="connsiteX174" fmla="*/ 1361141 w 4545947"/>
              <a:gd name="connsiteY174" fmla="*/ 3983244 h 4525940"/>
              <a:gd name="connsiteX175" fmla="*/ 1390289 w 4545947"/>
              <a:gd name="connsiteY175" fmla="*/ 3999733 h 4525940"/>
              <a:gd name="connsiteX176" fmla="*/ 1400728 w 4545947"/>
              <a:gd name="connsiteY176" fmla="*/ 4011262 h 4525940"/>
              <a:gd name="connsiteX177" fmla="*/ 1410270 w 4545947"/>
              <a:gd name="connsiteY177" fmla="*/ 4087809 h 4525940"/>
              <a:gd name="connsiteX178" fmla="*/ 1426873 w 4545947"/>
              <a:gd name="connsiteY178" fmla="*/ 4091597 h 4525940"/>
              <a:gd name="connsiteX179" fmla="*/ 1435407 w 4545947"/>
              <a:gd name="connsiteY179" fmla="*/ 4088151 h 4525940"/>
              <a:gd name="connsiteX180" fmla="*/ 1458399 w 4545947"/>
              <a:gd name="connsiteY180" fmla="*/ 4085520 h 4525940"/>
              <a:gd name="connsiteX181" fmla="*/ 1456075 w 4545947"/>
              <a:gd name="connsiteY181" fmla="*/ 4068426 h 4525940"/>
              <a:gd name="connsiteX182" fmla="*/ 1451122 w 4545947"/>
              <a:gd name="connsiteY182" fmla="*/ 4049797 h 4525940"/>
              <a:gd name="connsiteX183" fmla="*/ 1442376 w 4545947"/>
              <a:gd name="connsiteY183" fmla="*/ 4027499 h 4525940"/>
              <a:gd name="connsiteX184" fmla="*/ 1433630 w 4545947"/>
              <a:gd name="connsiteY184" fmla="*/ 4008506 h 4525940"/>
              <a:gd name="connsiteX185" fmla="*/ 1425108 w 4545947"/>
              <a:gd name="connsiteY185" fmla="*/ 3989791 h 4525940"/>
              <a:gd name="connsiteX186" fmla="*/ 1418520 w 4545947"/>
              <a:gd name="connsiteY186" fmla="*/ 3974698 h 4525940"/>
              <a:gd name="connsiteX187" fmla="*/ 1397617 w 4545947"/>
              <a:gd name="connsiteY187" fmla="*/ 3915240 h 4525940"/>
              <a:gd name="connsiteX188" fmla="*/ 1388112 w 4545947"/>
              <a:gd name="connsiteY188" fmla="*/ 3908577 h 4525940"/>
              <a:gd name="connsiteX189" fmla="*/ 523559 w 4545947"/>
              <a:gd name="connsiteY189" fmla="*/ 3899185 h 4525940"/>
              <a:gd name="connsiteX190" fmla="*/ 543663 w 4545947"/>
              <a:gd name="connsiteY190" fmla="*/ 3937349 h 4525940"/>
              <a:gd name="connsiteX191" fmla="*/ 526248 w 4545947"/>
              <a:gd name="connsiteY191" fmla="*/ 3930839 h 4525940"/>
              <a:gd name="connsiteX192" fmla="*/ 519394 w 4545947"/>
              <a:gd name="connsiteY192" fmla="*/ 3918177 h 4525940"/>
              <a:gd name="connsiteX193" fmla="*/ 515316 w 4545947"/>
              <a:gd name="connsiteY193" fmla="*/ 3908681 h 4525940"/>
              <a:gd name="connsiteX194" fmla="*/ 523559 w 4545947"/>
              <a:gd name="connsiteY194" fmla="*/ 3899185 h 4525940"/>
              <a:gd name="connsiteX195" fmla="*/ 4105488 w 4545947"/>
              <a:gd name="connsiteY195" fmla="*/ 3892854 h 4525940"/>
              <a:gd name="connsiteX196" fmla="*/ 4109861 w 4545947"/>
              <a:gd name="connsiteY196" fmla="*/ 3899185 h 4525940"/>
              <a:gd name="connsiteX197" fmla="*/ 4105488 w 4545947"/>
              <a:gd name="connsiteY197" fmla="*/ 3905515 h 4525940"/>
              <a:gd name="connsiteX198" fmla="*/ 4101115 w 4545947"/>
              <a:gd name="connsiteY198" fmla="*/ 3899185 h 4525940"/>
              <a:gd name="connsiteX199" fmla="*/ 4105488 w 4545947"/>
              <a:gd name="connsiteY199" fmla="*/ 3892854 h 4525940"/>
              <a:gd name="connsiteX200" fmla="*/ 2909492 w 4545947"/>
              <a:gd name="connsiteY200" fmla="*/ 3892854 h 4525940"/>
              <a:gd name="connsiteX201" fmla="*/ 2916052 w 4545947"/>
              <a:gd name="connsiteY201" fmla="*/ 3908681 h 4525940"/>
              <a:gd name="connsiteX202" fmla="*/ 2909492 w 4545947"/>
              <a:gd name="connsiteY202" fmla="*/ 3924508 h 4525940"/>
              <a:gd name="connsiteX203" fmla="*/ 2902933 w 4545947"/>
              <a:gd name="connsiteY203" fmla="*/ 3908681 h 4525940"/>
              <a:gd name="connsiteX204" fmla="*/ 2909492 w 4545947"/>
              <a:gd name="connsiteY204" fmla="*/ 3892854 h 4525940"/>
              <a:gd name="connsiteX205" fmla="*/ 2655863 w 4545947"/>
              <a:gd name="connsiteY205" fmla="*/ 3892854 h 4525940"/>
              <a:gd name="connsiteX206" fmla="*/ 2662423 w 4545947"/>
              <a:gd name="connsiteY206" fmla="*/ 3898811 h 4525940"/>
              <a:gd name="connsiteX207" fmla="*/ 2652101 w 4545947"/>
              <a:gd name="connsiteY207" fmla="*/ 3907454 h 4525940"/>
              <a:gd name="connsiteX208" fmla="*/ 2655863 w 4545947"/>
              <a:gd name="connsiteY208" fmla="*/ 3892854 h 4525940"/>
              <a:gd name="connsiteX209" fmla="*/ 2015126 w 4545947"/>
              <a:gd name="connsiteY209" fmla="*/ 3890471 h 4525940"/>
              <a:gd name="connsiteX210" fmla="*/ 2024850 w 4545947"/>
              <a:gd name="connsiteY210" fmla="*/ 3891588 h 4525940"/>
              <a:gd name="connsiteX211" fmla="*/ 2042341 w 4545947"/>
              <a:gd name="connsiteY211" fmla="*/ 3899185 h 4525940"/>
              <a:gd name="connsiteX212" fmla="*/ 2054585 w 4545947"/>
              <a:gd name="connsiteY212" fmla="*/ 3909307 h 4525940"/>
              <a:gd name="connsiteX213" fmla="*/ 2071849 w 4545947"/>
              <a:gd name="connsiteY213" fmla="*/ 3968824 h 4525940"/>
              <a:gd name="connsiteX214" fmla="*/ 2091632 w 4545947"/>
              <a:gd name="connsiteY214" fmla="*/ 4018461 h 4525940"/>
              <a:gd name="connsiteX215" fmla="*/ 2093696 w 4545947"/>
              <a:gd name="connsiteY215" fmla="*/ 4051792 h 4525940"/>
              <a:gd name="connsiteX216" fmla="*/ 2096463 w 4545947"/>
              <a:gd name="connsiteY216" fmla="*/ 4068015 h 4525940"/>
              <a:gd name="connsiteX217" fmla="*/ 2100916 w 4545947"/>
              <a:gd name="connsiteY217" fmla="*/ 4106782 h 4525940"/>
              <a:gd name="connsiteX218" fmla="*/ 2106951 w 4545947"/>
              <a:gd name="connsiteY218" fmla="*/ 4150489 h 4525940"/>
              <a:gd name="connsiteX219" fmla="*/ 2115806 w 4545947"/>
              <a:gd name="connsiteY219" fmla="*/ 4170504 h 4525940"/>
              <a:gd name="connsiteX220" fmla="*/ 2120728 w 4545947"/>
              <a:gd name="connsiteY220" fmla="*/ 4188665 h 4525940"/>
              <a:gd name="connsiteX221" fmla="*/ 2116702 w 4545947"/>
              <a:gd name="connsiteY221" fmla="*/ 4240650 h 4525940"/>
              <a:gd name="connsiteX222" fmla="*/ 2103781 w 4545947"/>
              <a:gd name="connsiteY222" fmla="*/ 4234523 h 4525940"/>
              <a:gd name="connsiteX223" fmla="*/ 2103781 w 4545947"/>
              <a:gd name="connsiteY223" fmla="*/ 4234523 h 4525940"/>
              <a:gd name="connsiteX224" fmla="*/ 2093194 w 4545947"/>
              <a:gd name="connsiteY224" fmla="*/ 4217514 h 4525940"/>
              <a:gd name="connsiteX225" fmla="*/ 2091953 w 4545947"/>
              <a:gd name="connsiteY225" fmla="*/ 4196119 h 4525940"/>
              <a:gd name="connsiteX226" fmla="*/ 2062695 w 4545947"/>
              <a:gd name="connsiteY226" fmla="*/ 4151056 h 4525940"/>
              <a:gd name="connsiteX227" fmla="*/ 2063875 w 4545947"/>
              <a:gd name="connsiteY227" fmla="*/ 4119655 h 4525940"/>
              <a:gd name="connsiteX228" fmla="*/ 2063743 w 4545947"/>
              <a:gd name="connsiteY228" fmla="*/ 4053303 h 4525940"/>
              <a:gd name="connsiteX229" fmla="*/ 2054756 w 4545947"/>
              <a:gd name="connsiteY229" fmla="*/ 4006601 h 4525940"/>
              <a:gd name="connsiteX230" fmla="*/ 2048334 w 4545947"/>
              <a:gd name="connsiteY230" fmla="*/ 3977186 h 4525940"/>
              <a:gd name="connsiteX231" fmla="*/ 2036846 w 4545947"/>
              <a:gd name="connsiteY231" fmla="*/ 3946341 h 4525940"/>
              <a:gd name="connsiteX232" fmla="*/ 2028348 w 4545947"/>
              <a:gd name="connsiteY232" fmla="*/ 3927674 h 4525940"/>
              <a:gd name="connsiteX233" fmla="*/ 2019499 w 4545947"/>
              <a:gd name="connsiteY233" fmla="*/ 3908546 h 4525940"/>
              <a:gd name="connsiteX234" fmla="*/ 2015126 w 4545947"/>
              <a:gd name="connsiteY234" fmla="*/ 3890471 h 4525940"/>
              <a:gd name="connsiteX235" fmla="*/ 3762359 w 4545947"/>
              <a:gd name="connsiteY235" fmla="*/ 3882921 h 4525940"/>
              <a:gd name="connsiteX236" fmla="*/ 3771539 w 4545947"/>
              <a:gd name="connsiteY236" fmla="*/ 3895761 h 4525940"/>
              <a:gd name="connsiteX237" fmla="*/ 3763380 w 4545947"/>
              <a:gd name="connsiteY237" fmla="*/ 3918177 h 4525940"/>
              <a:gd name="connsiteX238" fmla="*/ 3756456 w 4545947"/>
              <a:gd name="connsiteY238" fmla="*/ 3901256 h 4525940"/>
              <a:gd name="connsiteX239" fmla="*/ 3762359 w 4545947"/>
              <a:gd name="connsiteY239" fmla="*/ 3882921 h 4525940"/>
              <a:gd name="connsiteX240" fmla="*/ 4054105 w 4545947"/>
              <a:gd name="connsiteY240" fmla="*/ 3868673 h 4525940"/>
              <a:gd name="connsiteX241" fmla="*/ 4064349 w 4545947"/>
              <a:gd name="connsiteY241" fmla="*/ 3897845 h 4525940"/>
              <a:gd name="connsiteX242" fmla="*/ 4062113 w 4545947"/>
              <a:gd name="connsiteY242" fmla="*/ 3927356 h 4525940"/>
              <a:gd name="connsiteX243" fmla="*/ 4047496 w 4545947"/>
              <a:gd name="connsiteY243" fmla="*/ 3917089 h 4525940"/>
              <a:gd name="connsiteX244" fmla="*/ 4039894 w 4545947"/>
              <a:gd name="connsiteY244" fmla="*/ 3886523 h 4525940"/>
              <a:gd name="connsiteX245" fmla="*/ 4044267 w 4545947"/>
              <a:gd name="connsiteY245" fmla="*/ 3876586 h 4525940"/>
              <a:gd name="connsiteX246" fmla="*/ 4054105 w 4545947"/>
              <a:gd name="connsiteY246" fmla="*/ 3868673 h 4525940"/>
              <a:gd name="connsiteX247" fmla="*/ 2218103 w 4545947"/>
              <a:gd name="connsiteY247" fmla="*/ 3867530 h 4525940"/>
              <a:gd name="connsiteX248" fmla="*/ 2226711 w 4545947"/>
              <a:gd name="connsiteY248" fmla="*/ 3877027 h 4525940"/>
              <a:gd name="connsiteX249" fmla="*/ 2220619 w 4545947"/>
              <a:gd name="connsiteY249" fmla="*/ 3886523 h 4525940"/>
              <a:gd name="connsiteX250" fmla="*/ 2212011 w 4545947"/>
              <a:gd name="connsiteY250" fmla="*/ 3877027 h 4525940"/>
              <a:gd name="connsiteX251" fmla="*/ 2218103 w 4545947"/>
              <a:gd name="connsiteY251" fmla="*/ 3867530 h 4525940"/>
              <a:gd name="connsiteX252" fmla="*/ 1971688 w 4545947"/>
              <a:gd name="connsiteY252" fmla="*/ 3857866 h 4525940"/>
              <a:gd name="connsiteX253" fmla="*/ 1986087 w 4545947"/>
              <a:gd name="connsiteY253" fmla="*/ 3910735 h 4525940"/>
              <a:gd name="connsiteX254" fmla="*/ 1988610 w 4545947"/>
              <a:gd name="connsiteY254" fmla="*/ 3927333 h 4525940"/>
              <a:gd name="connsiteX255" fmla="*/ 1993364 w 4545947"/>
              <a:gd name="connsiteY255" fmla="*/ 3952596 h 4525940"/>
              <a:gd name="connsiteX256" fmla="*/ 1999487 w 4545947"/>
              <a:gd name="connsiteY256" fmla="*/ 3980960 h 4525940"/>
              <a:gd name="connsiteX257" fmla="*/ 2005609 w 4545947"/>
              <a:gd name="connsiteY257" fmla="*/ 4011042 h 4525940"/>
              <a:gd name="connsiteX258" fmla="*/ 2009731 w 4545947"/>
              <a:gd name="connsiteY258" fmla="*/ 4037699 h 4525940"/>
              <a:gd name="connsiteX259" fmla="*/ 2016619 w 4545947"/>
              <a:gd name="connsiteY259" fmla="*/ 4062204 h 4525940"/>
              <a:gd name="connsiteX260" fmla="*/ 2002084 w 4545947"/>
              <a:gd name="connsiteY260" fmla="*/ 4070047 h 4525940"/>
              <a:gd name="connsiteX261" fmla="*/ 1998475 w 4545947"/>
              <a:gd name="connsiteY261" fmla="*/ 4049471 h 4525940"/>
              <a:gd name="connsiteX262" fmla="*/ 1980092 w 4545947"/>
              <a:gd name="connsiteY262" fmla="*/ 4013140 h 4525940"/>
              <a:gd name="connsiteX263" fmla="*/ 1971500 w 4545947"/>
              <a:gd name="connsiteY263" fmla="*/ 4003644 h 4525940"/>
              <a:gd name="connsiteX264" fmla="*/ 1975873 w 4545947"/>
              <a:gd name="connsiteY264" fmla="*/ 3994147 h 4525940"/>
              <a:gd name="connsiteX265" fmla="*/ 1976112 w 4545947"/>
              <a:gd name="connsiteY265" fmla="*/ 3967769 h 4525940"/>
              <a:gd name="connsiteX266" fmla="*/ 1971688 w 4545947"/>
              <a:gd name="connsiteY266" fmla="*/ 3857866 h 4525940"/>
              <a:gd name="connsiteX267" fmla="*/ 502197 w 4545947"/>
              <a:gd name="connsiteY267" fmla="*/ 3851703 h 4525940"/>
              <a:gd name="connsiteX268" fmla="*/ 506570 w 4545947"/>
              <a:gd name="connsiteY268" fmla="*/ 3857660 h 4525940"/>
              <a:gd name="connsiteX269" fmla="*/ 502197 w 4545947"/>
              <a:gd name="connsiteY269" fmla="*/ 3867530 h 4525940"/>
              <a:gd name="connsiteX270" fmla="*/ 497824 w 4545947"/>
              <a:gd name="connsiteY270" fmla="*/ 3861573 h 4525940"/>
              <a:gd name="connsiteX271" fmla="*/ 502197 w 4545947"/>
              <a:gd name="connsiteY271" fmla="*/ 3851703 h 4525940"/>
              <a:gd name="connsiteX272" fmla="*/ 2255504 w 4545947"/>
              <a:gd name="connsiteY272" fmla="*/ 3849289 h 4525940"/>
              <a:gd name="connsiteX273" fmla="*/ 2260113 w 4545947"/>
              <a:gd name="connsiteY273" fmla="*/ 3867157 h 4525940"/>
              <a:gd name="connsiteX274" fmla="*/ 2245726 w 4545947"/>
              <a:gd name="connsiteY274" fmla="*/ 3881626 h 4525940"/>
              <a:gd name="connsiteX275" fmla="*/ 2244530 w 4545947"/>
              <a:gd name="connsiteY275" fmla="*/ 3859617 h 4525940"/>
              <a:gd name="connsiteX276" fmla="*/ 2255504 w 4545947"/>
              <a:gd name="connsiteY276" fmla="*/ 3849289 h 4525940"/>
              <a:gd name="connsiteX277" fmla="*/ 3417010 w 4545947"/>
              <a:gd name="connsiteY277" fmla="*/ 3829545 h 4525940"/>
              <a:gd name="connsiteX278" fmla="*/ 3423312 w 4545947"/>
              <a:gd name="connsiteY278" fmla="*/ 3839042 h 4525940"/>
              <a:gd name="connsiteX279" fmla="*/ 3408853 w 4545947"/>
              <a:gd name="connsiteY279" fmla="*/ 3844489 h 4525940"/>
              <a:gd name="connsiteX280" fmla="*/ 3417010 w 4545947"/>
              <a:gd name="connsiteY280" fmla="*/ 3829545 h 4525940"/>
              <a:gd name="connsiteX281" fmla="*/ 2738431 w 4545947"/>
              <a:gd name="connsiteY281" fmla="*/ 3824454 h 4525940"/>
              <a:gd name="connsiteX282" fmla="*/ 2750318 w 4545947"/>
              <a:gd name="connsiteY282" fmla="*/ 3826407 h 4525940"/>
              <a:gd name="connsiteX283" fmla="*/ 2765687 w 4545947"/>
              <a:gd name="connsiteY283" fmla="*/ 3831867 h 4525940"/>
              <a:gd name="connsiteX284" fmla="*/ 2769047 w 4545947"/>
              <a:gd name="connsiteY284" fmla="*/ 3865187 h 4525940"/>
              <a:gd name="connsiteX285" fmla="*/ 2760550 w 4545947"/>
              <a:gd name="connsiteY285" fmla="*/ 3900807 h 4525940"/>
              <a:gd name="connsiteX286" fmla="*/ 2747649 w 4545947"/>
              <a:gd name="connsiteY286" fmla="*/ 3896820 h 4525940"/>
              <a:gd name="connsiteX287" fmla="*/ 2744287 w 4545947"/>
              <a:gd name="connsiteY287" fmla="*/ 3867530 h 4525940"/>
              <a:gd name="connsiteX288" fmla="*/ 2738958 w 4545947"/>
              <a:gd name="connsiteY288" fmla="*/ 3833582 h 4525940"/>
              <a:gd name="connsiteX289" fmla="*/ 2738431 w 4545947"/>
              <a:gd name="connsiteY289" fmla="*/ 3824454 h 4525940"/>
              <a:gd name="connsiteX290" fmla="*/ 1314629 w 4545947"/>
              <a:gd name="connsiteY290" fmla="*/ 3823496 h 4525940"/>
              <a:gd name="connsiteX291" fmla="*/ 1304002 w 4545947"/>
              <a:gd name="connsiteY291" fmla="*/ 3832791 h 4525940"/>
              <a:gd name="connsiteX292" fmla="*/ 1306949 w 4545947"/>
              <a:gd name="connsiteY292" fmla="*/ 3851937 h 4525940"/>
              <a:gd name="connsiteX293" fmla="*/ 1311067 w 4545947"/>
              <a:gd name="connsiteY293" fmla="*/ 3841880 h 4525940"/>
              <a:gd name="connsiteX294" fmla="*/ 1317140 w 4545947"/>
              <a:gd name="connsiteY294" fmla="*/ 3830926 h 4525940"/>
              <a:gd name="connsiteX295" fmla="*/ 1326103 w 4545947"/>
              <a:gd name="connsiteY295" fmla="*/ 3828631 h 4525940"/>
              <a:gd name="connsiteX296" fmla="*/ 1314629 w 4545947"/>
              <a:gd name="connsiteY296" fmla="*/ 3823496 h 4525940"/>
              <a:gd name="connsiteX297" fmla="*/ 3892163 w 4545947"/>
              <a:gd name="connsiteY297" fmla="*/ 3819903 h 4525940"/>
              <a:gd name="connsiteX298" fmla="*/ 3911267 w 4545947"/>
              <a:gd name="connsiteY298" fmla="*/ 3821285 h 4525940"/>
              <a:gd name="connsiteX299" fmla="*/ 3924522 w 4545947"/>
              <a:gd name="connsiteY299" fmla="*/ 3853537 h 4525940"/>
              <a:gd name="connsiteX300" fmla="*/ 3917443 w 4545947"/>
              <a:gd name="connsiteY300" fmla="*/ 3880192 h 4525940"/>
              <a:gd name="connsiteX301" fmla="*/ 3908706 w 4545947"/>
              <a:gd name="connsiteY301" fmla="*/ 3864893 h 4525940"/>
              <a:gd name="connsiteX302" fmla="*/ 3896680 w 4545947"/>
              <a:gd name="connsiteY302" fmla="*/ 3836855 h 4525940"/>
              <a:gd name="connsiteX303" fmla="*/ 3892163 w 4545947"/>
              <a:gd name="connsiteY303" fmla="*/ 3819903 h 4525940"/>
              <a:gd name="connsiteX304" fmla="*/ 1959090 w 4545947"/>
              <a:gd name="connsiteY304" fmla="*/ 3812273 h 4525940"/>
              <a:gd name="connsiteX305" fmla="*/ 1968903 w 4545947"/>
              <a:gd name="connsiteY305" fmla="*/ 3825000 h 4525940"/>
              <a:gd name="connsiteX306" fmla="*/ 1968122 w 4545947"/>
              <a:gd name="connsiteY306" fmla="*/ 3843299 h 4525940"/>
              <a:gd name="connsiteX307" fmla="*/ 1962236 w 4545947"/>
              <a:gd name="connsiteY307" fmla="*/ 3845056 h 4525940"/>
              <a:gd name="connsiteX308" fmla="*/ 1962236 w 4545947"/>
              <a:gd name="connsiteY308" fmla="*/ 3834293 h 4525940"/>
              <a:gd name="connsiteX309" fmla="*/ 1958381 w 4545947"/>
              <a:gd name="connsiteY309" fmla="*/ 3829545 h 4525940"/>
              <a:gd name="connsiteX310" fmla="*/ 1954008 w 4545947"/>
              <a:gd name="connsiteY310" fmla="*/ 3819521 h 4525940"/>
              <a:gd name="connsiteX311" fmla="*/ 1959090 w 4545947"/>
              <a:gd name="connsiteY311" fmla="*/ 3812273 h 4525940"/>
              <a:gd name="connsiteX312" fmla="*/ 486892 w 4545947"/>
              <a:gd name="connsiteY312" fmla="*/ 3810553 h 4525940"/>
              <a:gd name="connsiteX313" fmla="*/ 493451 w 4545947"/>
              <a:gd name="connsiteY313" fmla="*/ 3820049 h 4525940"/>
              <a:gd name="connsiteX314" fmla="*/ 486892 w 4545947"/>
              <a:gd name="connsiteY314" fmla="*/ 3829545 h 4525940"/>
              <a:gd name="connsiteX315" fmla="*/ 480332 w 4545947"/>
              <a:gd name="connsiteY315" fmla="*/ 3820049 h 4525940"/>
              <a:gd name="connsiteX316" fmla="*/ 486892 w 4545947"/>
              <a:gd name="connsiteY316" fmla="*/ 3810553 h 4525940"/>
              <a:gd name="connsiteX317" fmla="*/ 4113305 w 4545947"/>
              <a:gd name="connsiteY317" fmla="*/ 3809050 h 4525940"/>
              <a:gd name="connsiteX318" fmla="*/ 4110156 w 4545947"/>
              <a:gd name="connsiteY318" fmla="*/ 3823215 h 4525940"/>
              <a:gd name="connsiteX319" fmla="*/ 4098927 w 4545947"/>
              <a:gd name="connsiteY319" fmla="*/ 3835877 h 4525940"/>
              <a:gd name="connsiteX320" fmla="*/ 4087996 w 4545947"/>
              <a:gd name="connsiteY320" fmla="*/ 3830284 h 4525940"/>
              <a:gd name="connsiteX321" fmla="*/ 4098000 w 4545947"/>
              <a:gd name="connsiteY321" fmla="*/ 3809260 h 4525940"/>
              <a:gd name="connsiteX322" fmla="*/ 4113305 w 4545947"/>
              <a:gd name="connsiteY322" fmla="*/ 3809050 h 4525940"/>
              <a:gd name="connsiteX323" fmla="*/ 2043084 w 4545947"/>
              <a:gd name="connsiteY323" fmla="*/ 3794750 h 4525940"/>
              <a:gd name="connsiteX324" fmla="*/ 2041467 w 4545947"/>
              <a:gd name="connsiteY324" fmla="*/ 3801376 h 4525940"/>
              <a:gd name="connsiteX325" fmla="*/ 2045840 w 4545947"/>
              <a:gd name="connsiteY325" fmla="*/ 3807387 h 4525940"/>
              <a:gd name="connsiteX326" fmla="*/ 2050212 w 4545947"/>
              <a:gd name="connsiteY326" fmla="*/ 3810179 h 4525940"/>
              <a:gd name="connsiteX327" fmla="*/ 2054585 w 4545947"/>
              <a:gd name="connsiteY327" fmla="*/ 3816883 h 4525940"/>
              <a:gd name="connsiteX328" fmla="*/ 2058958 w 4545947"/>
              <a:gd name="connsiteY328" fmla="*/ 3812075 h 4525940"/>
              <a:gd name="connsiteX329" fmla="*/ 2050212 w 4545947"/>
              <a:gd name="connsiteY329" fmla="*/ 3799360 h 4525940"/>
              <a:gd name="connsiteX330" fmla="*/ 2043084 w 4545947"/>
              <a:gd name="connsiteY330" fmla="*/ 3794750 h 4525940"/>
              <a:gd name="connsiteX331" fmla="*/ 1790937 w 4545947"/>
              <a:gd name="connsiteY331" fmla="*/ 3787564 h 4525940"/>
              <a:gd name="connsiteX332" fmla="*/ 1789378 w 4545947"/>
              <a:gd name="connsiteY332" fmla="*/ 3795919 h 4525940"/>
              <a:gd name="connsiteX333" fmla="*/ 1779916 w 4545947"/>
              <a:gd name="connsiteY333" fmla="*/ 3812965 h 4525940"/>
              <a:gd name="connsiteX334" fmla="*/ 1781278 w 4545947"/>
              <a:gd name="connsiteY334" fmla="*/ 3814873 h 4525940"/>
              <a:gd name="connsiteX335" fmla="*/ 1790740 w 4545947"/>
              <a:gd name="connsiteY335" fmla="*/ 3797826 h 4525940"/>
              <a:gd name="connsiteX336" fmla="*/ 1790937 w 4545947"/>
              <a:gd name="connsiteY336" fmla="*/ 3787564 h 4525940"/>
              <a:gd name="connsiteX337" fmla="*/ 2023582 w 4545947"/>
              <a:gd name="connsiteY337" fmla="*/ 3786360 h 4525940"/>
              <a:gd name="connsiteX338" fmla="*/ 2017887 w 4545947"/>
              <a:gd name="connsiteY338" fmla="*/ 3793139 h 4525940"/>
              <a:gd name="connsiteX339" fmla="*/ 2016323 w 4545947"/>
              <a:gd name="connsiteY339" fmla="*/ 3808973 h 4525940"/>
              <a:gd name="connsiteX340" fmla="*/ 2023354 w 4545947"/>
              <a:gd name="connsiteY340" fmla="*/ 3794649 h 4525940"/>
              <a:gd name="connsiteX341" fmla="*/ 2023582 w 4545947"/>
              <a:gd name="connsiteY341" fmla="*/ 3786360 h 4525940"/>
              <a:gd name="connsiteX342" fmla="*/ 2013093 w 4545947"/>
              <a:gd name="connsiteY342" fmla="*/ 3774587 h 4525940"/>
              <a:gd name="connsiteX343" fmla="*/ 2003926 w 4545947"/>
              <a:gd name="connsiteY343" fmla="*/ 3785302 h 4525940"/>
              <a:gd name="connsiteX344" fmla="*/ 2005238 w 4545947"/>
              <a:gd name="connsiteY344" fmla="*/ 3787201 h 4525940"/>
              <a:gd name="connsiteX345" fmla="*/ 2014405 w 4545947"/>
              <a:gd name="connsiteY345" fmla="*/ 3776486 h 4525940"/>
              <a:gd name="connsiteX346" fmla="*/ 2013093 w 4545947"/>
              <a:gd name="connsiteY346" fmla="*/ 3774587 h 4525940"/>
              <a:gd name="connsiteX347" fmla="*/ 2633998 w 4545947"/>
              <a:gd name="connsiteY347" fmla="*/ 3759906 h 4525940"/>
              <a:gd name="connsiteX348" fmla="*/ 2640558 w 4545947"/>
              <a:gd name="connsiteY348" fmla="*/ 3769402 h 4525940"/>
              <a:gd name="connsiteX349" fmla="*/ 2633998 w 4545947"/>
              <a:gd name="connsiteY349" fmla="*/ 3778898 h 4525940"/>
              <a:gd name="connsiteX350" fmla="*/ 2627439 w 4545947"/>
              <a:gd name="connsiteY350" fmla="*/ 3769402 h 4525940"/>
              <a:gd name="connsiteX351" fmla="*/ 2633998 w 4545947"/>
              <a:gd name="connsiteY351" fmla="*/ 3759906 h 4525940"/>
              <a:gd name="connsiteX352" fmla="*/ 4107673 w 4545947"/>
              <a:gd name="connsiteY352" fmla="*/ 3751286 h 4525940"/>
              <a:gd name="connsiteX353" fmla="*/ 4111580 w 4545947"/>
              <a:gd name="connsiteY353" fmla="*/ 3768885 h 4525940"/>
              <a:gd name="connsiteX354" fmla="*/ 4101115 w 4545947"/>
              <a:gd name="connsiteY354" fmla="*/ 3763270 h 4525940"/>
              <a:gd name="connsiteX355" fmla="*/ 4107673 w 4545947"/>
              <a:gd name="connsiteY355" fmla="*/ 3751286 h 4525940"/>
              <a:gd name="connsiteX356" fmla="*/ 1769471 w 4545947"/>
              <a:gd name="connsiteY356" fmla="*/ 3740913 h 4525940"/>
              <a:gd name="connsiteX357" fmla="*/ 1766156 w 4545947"/>
              <a:gd name="connsiteY357" fmla="*/ 3773065 h 4525940"/>
              <a:gd name="connsiteX358" fmla="*/ 1779275 w 4545947"/>
              <a:gd name="connsiteY358" fmla="*/ 3778756 h 4525940"/>
              <a:gd name="connsiteX359" fmla="*/ 1787837 w 4545947"/>
              <a:gd name="connsiteY359" fmla="*/ 3764115 h 4525940"/>
              <a:gd name="connsiteX360" fmla="*/ 1769471 w 4545947"/>
              <a:gd name="connsiteY360" fmla="*/ 3740913 h 4525940"/>
              <a:gd name="connsiteX361" fmla="*/ 2273182 w 4545947"/>
              <a:gd name="connsiteY361" fmla="*/ 3737793 h 4525940"/>
              <a:gd name="connsiteX362" fmla="*/ 2268859 w 4545947"/>
              <a:gd name="connsiteY362" fmla="*/ 3747618 h 4525940"/>
              <a:gd name="connsiteX363" fmla="*/ 2274901 w 4545947"/>
              <a:gd name="connsiteY363" fmla="*/ 3743750 h 4525940"/>
              <a:gd name="connsiteX364" fmla="*/ 2273182 w 4545947"/>
              <a:gd name="connsiteY364" fmla="*/ 3737793 h 4525940"/>
              <a:gd name="connsiteX365" fmla="*/ 2067015 w 4545947"/>
              <a:gd name="connsiteY365" fmla="*/ 3729938 h 4525940"/>
              <a:gd name="connsiteX366" fmla="*/ 2060477 w 4545947"/>
              <a:gd name="connsiteY366" fmla="*/ 3736003 h 4525940"/>
              <a:gd name="connsiteX367" fmla="*/ 2067999 w 4545947"/>
              <a:gd name="connsiteY367" fmla="*/ 3772567 h 4525940"/>
              <a:gd name="connsiteX368" fmla="*/ 2076450 w 4545947"/>
              <a:gd name="connsiteY368" fmla="*/ 3778898 h 4525940"/>
              <a:gd name="connsiteX369" fmla="*/ 2091750 w 4545947"/>
              <a:gd name="connsiteY369" fmla="*/ 3777750 h 4525940"/>
              <a:gd name="connsiteX370" fmla="*/ 2089569 w 4545947"/>
              <a:gd name="connsiteY370" fmla="*/ 3741890 h 4525940"/>
              <a:gd name="connsiteX371" fmla="*/ 2072951 w 4545947"/>
              <a:gd name="connsiteY371" fmla="*/ 3732937 h 4525940"/>
              <a:gd name="connsiteX372" fmla="*/ 2067015 w 4545947"/>
              <a:gd name="connsiteY372" fmla="*/ 3729938 h 4525940"/>
              <a:gd name="connsiteX373" fmla="*/ 1479546 w 4545947"/>
              <a:gd name="connsiteY373" fmla="*/ 3728251 h 4525940"/>
              <a:gd name="connsiteX374" fmla="*/ 1486105 w 4545947"/>
              <a:gd name="connsiteY374" fmla="*/ 3737748 h 4525940"/>
              <a:gd name="connsiteX375" fmla="*/ 1479546 w 4545947"/>
              <a:gd name="connsiteY375" fmla="*/ 3747244 h 4525940"/>
              <a:gd name="connsiteX376" fmla="*/ 1472986 w 4545947"/>
              <a:gd name="connsiteY376" fmla="*/ 3737748 h 4525940"/>
              <a:gd name="connsiteX377" fmla="*/ 1479546 w 4545947"/>
              <a:gd name="connsiteY377" fmla="*/ 3728251 h 4525940"/>
              <a:gd name="connsiteX378" fmla="*/ 2608904 w 4545947"/>
              <a:gd name="connsiteY378" fmla="*/ 3725099 h 4525940"/>
              <a:gd name="connsiteX379" fmla="*/ 2607432 w 4545947"/>
              <a:gd name="connsiteY379" fmla="*/ 3734424 h 4525940"/>
              <a:gd name="connsiteX380" fmla="*/ 2597518 w 4545947"/>
              <a:gd name="connsiteY380" fmla="*/ 3735200 h 4525940"/>
              <a:gd name="connsiteX381" fmla="*/ 2599274 w 4545947"/>
              <a:gd name="connsiteY381" fmla="*/ 3725818 h 4525940"/>
              <a:gd name="connsiteX382" fmla="*/ 2608904 w 4545947"/>
              <a:gd name="connsiteY382" fmla="*/ 3725099 h 4525940"/>
              <a:gd name="connsiteX383" fmla="*/ 2581523 w 4545947"/>
              <a:gd name="connsiteY383" fmla="*/ 3714641 h 4525940"/>
              <a:gd name="connsiteX384" fmla="*/ 2587244 w 4545947"/>
              <a:gd name="connsiteY384" fmla="*/ 3721446 h 4525940"/>
              <a:gd name="connsiteX385" fmla="*/ 2581523 w 4545947"/>
              <a:gd name="connsiteY385" fmla="*/ 3728251 h 4525940"/>
              <a:gd name="connsiteX386" fmla="*/ 2575802 w 4545947"/>
              <a:gd name="connsiteY386" fmla="*/ 3721446 h 4525940"/>
              <a:gd name="connsiteX387" fmla="*/ 2581523 w 4545947"/>
              <a:gd name="connsiteY387" fmla="*/ 3714641 h 4525940"/>
              <a:gd name="connsiteX388" fmla="*/ 1636912 w 4545947"/>
              <a:gd name="connsiteY388" fmla="*/ 3707003 h 4525940"/>
              <a:gd name="connsiteX389" fmla="*/ 1641308 w 4545947"/>
              <a:gd name="connsiteY389" fmla="*/ 3709343 h 4525940"/>
              <a:gd name="connsiteX390" fmla="*/ 1649617 w 4545947"/>
              <a:gd name="connsiteY390" fmla="*/ 3721661 h 4525940"/>
              <a:gd name="connsiteX391" fmla="*/ 1666924 w 4545947"/>
              <a:gd name="connsiteY391" fmla="*/ 3745404 h 4525940"/>
              <a:gd name="connsiteX392" fmla="*/ 1682439 w 4545947"/>
              <a:gd name="connsiteY392" fmla="*/ 3775146 h 4525940"/>
              <a:gd name="connsiteX393" fmla="*/ 1691633 w 4545947"/>
              <a:gd name="connsiteY393" fmla="*/ 3798355 h 4525940"/>
              <a:gd name="connsiteX394" fmla="*/ 1707406 w 4545947"/>
              <a:gd name="connsiteY394" fmla="*/ 3829545 h 4525940"/>
              <a:gd name="connsiteX395" fmla="*/ 1705845 w 4545947"/>
              <a:gd name="connsiteY395" fmla="*/ 3849700 h 4525940"/>
              <a:gd name="connsiteX396" fmla="*/ 1692422 w 4545947"/>
              <a:gd name="connsiteY396" fmla="*/ 3865948 h 4525940"/>
              <a:gd name="connsiteX397" fmla="*/ 1670861 w 4545947"/>
              <a:gd name="connsiteY397" fmla="*/ 3868731 h 4525940"/>
              <a:gd name="connsiteX398" fmla="*/ 1656649 w 4545947"/>
              <a:gd name="connsiteY398" fmla="*/ 3850875 h 4525940"/>
              <a:gd name="connsiteX399" fmla="*/ 1648997 w 4545947"/>
              <a:gd name="connsiteY399" fmla="*/ 3835823 h 4525940"/>
              <a:gd name="connsiteX400" fmla="*/ 1646810 w 4545947"/>
              <a:gd name="connsiteY400" fmla="*/ 3825485 h 4525940"/>
              <a:gd name="connsiteX401" fmla="*/ 1652276 w 4545947"/>
              <a:gd name="connsiteY401" fmla="*/ 3810800 h 4525940"/>
              <a:gd name="connsiteX402" fmla="*/ 1632598 w 4545947"/>
              <a:gd name="connsiteY402" fmla="*/ 3791898 h 4525940"/>
              <a:gd name="connsiteX403" fmla="*/ 1617293 w 4545947"/>
              <a:gd name="connsiteY403" fmla="*/ 3788754 h 4525940"/>
              <a:gd name="connsiteX404" fmla="*/ 1626485 w 4545947"/>
              <a:gd name="connsiteY404" fmla="*/ 3770295 h 4525940"/>
              <a:gd name="connsiteX405" fmla="*/ 1632758 w 4545947"/>
              <a:gd name="connsiteY405" fmla="*/ 3735953 h 4525940"/>
              <a:gd name="connsiteX406" fmla="*/ 1636912 w 4545947"/>
              <a:gd name="connsiteY406" fmla="*/ 3707003 h 4525940"/>
              <a:gd name="connsiteX407" fmla="*/ 777691 w 4545947"/>
              <a:gd name="connsiteY407" fmla="*/ 3702928 h 4525940"/>
              <a:gd name="connsiteX408" fmla="*/ 786437 w 4545947"/>
              <a:gd name="connsiteY408" fmla="*/ 3715590 h 4525940"/>
              <a:gd name="connsiteX409" fmla="*/ 774193 w 4545947"/>
              <a:gd name="connsiteY409" fmla="*/ 3720654 h 4525940"/>
              <a:gd name="connsiteX410" fmla="*/ 777691 w 4545947"/>
              <a:gd name="connsiteY410" fmla="*/ 3702928 h 4525940"/>
              <a:gd name="connsiteX411" fmla="*/ 2265717 w 4545947"/>
              <a:gd name="connsiteY411" fmla="*/ 3690468 h 4525940"/>
              <a:gd name="connsiteX412" fmla="*/ 2265579 w 4545947"/>
              <a:gd name="connsiteY412" fmla="*/ 3699080 h 4525940"/>
              <a:gd name="connsiteX413" fmla="*/ 2273577 w 4545947"/>
              <a:gd name="connsiteY413" fmla="*/ 3716288 h 4525940"/>
              <a:gd name="connsiteX414" fmla="*/ 2276176 w 4545947"/>
              <a:gd name="connsiteY414" fmla="*/ 3716964 h 4525940"/>
              <a:gd name="connsiteX415" fmla="*/ 2275968 w 4545947"/>
              <a:gd name="connsiteY415" fmla="*/ 3699554 h 4525940"/>
              <a:gd name="connsiteX416" fmla="*/ 2265717 w 4545947"/>
              <a:gd name="connsiteY416" fmla="*/ 3690468 h 4525940"/>
              <a:gd name="connsiteX417" fmla="*/ 4393541 w 4545947"/>
              <a:gd name="connsiteY417" fmla="*/ 3685390 h 4525940"/>
              <a:gd name="connsiteX418" fmla="*/ 4405396 w 4545947"/>
              <a:gd name="connsiteY418" fmla="*/ 3698051 h 4525940"/>
              <a:gd name="connsiteX419" fmla="*/ 4406971 w 4545947"/>
              <a:gd name="connsiteY419" fmla="*/ 3759714 h 4525940"/>
              <a:gd name="connsiteX420" fmla="*/ 4415127 w 4545947"/>
              <a:gd name="connsiteY420" fmla="*/ 3786745 h 4525940"/>
              <a:gd name="connsiteX421" fmla="*/ 4401479 w 4545947"/>
              <a:gd name="connsiteY421" fmla="*/ 3806464 h 4525940"/>
              <a:gd name="connsiteX422" fmla="*/ 4398473 w 4545947"/>
              <a:gd name="connsiteY422" fmla="*/ 3784626 h 4525940"/>
              <a:gd name="connsiteX423" fmla="*/ 4391914 w 4545947"/>
              <a:gd name="connsiteY423" fmla="*/ 3757645 h 4525940"/>
              <a:gd name="connsiteX424" fmla="*/ 4385355 w 4545947"/>
              <a:gd name="connsiteY424" fmla="*/ 3728704 h 4525940"/>
              <a:gd name="connsiteX425" fmla="*/ 4378795 w 4545947"/>
              <a:gd name="connsiteY425" fmla="*/ 3709259 h 4525940"/>
              <a:gd name="connsiteX426" fmla="*/ 4372303 w 4545947"/>
              <a:gd name="connsiteY426" fmla="*/ 3704511 h 4525940"/>
              <a:gd name="connsiteX427" fmla="*/ 4393541 w 4545947"/>
              <a:gd name="connsiteY427" fmla="*/ 3685390 h 4525940"/>
              <a:gd name="connsiteX428" fmla="*/ 444041 w 4545947"/>
              <a:gd name="connsiteY428" fmla="*/ 3678411 h 4525940"/>
              <a:gd name="connsiteX429" fmla="*/ 453220 w 4545947"/>
              <a:gd name="connsiteY429" fmla="*/ 3685202 h 4525940"/>
              <a:gd name="connsiteX430" fmla="*/ 449722 w 4545947"/>
              <a:gd name="connsiteY430" fmla="*/ 3709259 h 4525940"/>
              <a:gd name="connsiteX431" fmla="*/ 440976 w 4545947"/>
              <a:gd name="connsiteY431" fmla="*/ 3693432 h 4525940"/>
              <a:gd name="connsiteX432" fmla="*/ 444041 w 4545947"/>
              <a:gd name="connsiteY432" fmla="*/ 3678411 h 4525940"/>
              <a:gd name="connsiteX433" fmla="*/ 4470885 w 4545947"/>
              <a:gd name="connsiteY433" fmla="*/ 3671274 h 4525940"/>
              <a:gd name="connsiteX434" fmla="*/ 4472813 w 4545947"/>
              <a:gd name="connsiteY434" fmla="*/ 3677605 h 4525940"/>
              <a:gd name="connsiteX435" fmla="*/ 4468182 w 4545947"/>
              <a:gd name="connsiteY435" fmla="*/ 3683935 h 4525940"/>
              <a:gd name="connsiteX436" fmla="*/ 4466253 w 4545947"/>
              <a:gd name="connsiteY436" fmla="*/ 3677605 h 4525940"/>
              <a:gd name="connsiteX437" fmla="*/ 4470885 w 4545947"/>
              <a:gd name="connsiteY437" fmla="*/ 3671274 h 4525940"/>
              <a:gd name="connsiteX438" fmla="*/ 4171728 w 4545947"/>
              <a:gd name="connsiteY438" fmla="*/ 3669684 h 4525940"/>
              <a:gd name="connsiteX439" fmla="*/ 4194226 w 4545947"/>
              <a:gd name="connsiteY439" fmla="*/ 3722097 h 4525940"/>
              <a:gd name="connsiteX440" fmla="*/ 4198412 w 4545947"/>
              <a:gd name="connsiteY440" fmla="*/ 3740901 h 4525940"/>
              <a:gd name="connsiteX441" fmla="*/ 4201692 w 4545947"/>
              <a:gd name="connsiteY441" fmla="*/ 3750410 h 4525940"/>
              <a:gd name="connsiteX442" fmla="*/ 4195132 w 4545947"/>
              <a:gd name="connsiteY442" fmla="*/ 3759906 h 4525940"/>
              <a:gd name="connsiteX443" fmla="*/ 4188573 w 4545947"/>
              <a:gd name="connsiteY443" fmla="*/ 3750410 h 4525940"/>
              <a:gd name="connsiteX444" fmla="*/ 4183725 w 4545947"/>
              <a:gd name="connsiteY444" fmla="*/ 3740913 h 4525940"/>
              <a:gd name="connsiteX445" fmla="*/ 4181714 w 4545947"/>
              <a:gd name="connsiteY445" fmla="*/ 3724559 h 4525940"/>
              <a:gd name="connsiteX446" fmla="*/ 4176068 w 4545947"/>
              <a:gd name="connsiteY446" fmla="*/ 3704994 h 4525940"/>
              <a:gd name="connsiteX447" fmla="*/ 4165810 w 4545947"/>
              <a:gd name="connsiteY447" fmla="*/ 3684278 h 4525940"/>
              <a:gd name="connsiteX448" fmla="*/ 4171728 w 4545947"/>
              <a:gd name="connsiteY448" fmla="*/ 3669684 h 4525940"/>
              <a:gd name="connsiteX449" fmla="*/ 3781533 w 4545947"/>
              <a:gd name="connsiteY449" fmla="*/ 3666259 h 4525940"/>
              <a:gd name="connsiteX450" fmla="*/ 3772184 w 4545947"/>
              <a:gd name="connsiteY450" fmla="*/ 3676181 h 4525940"/>
              <a:gd name="connsiteX451" fmla="*/ 3767900 w 4545947"/>
              <a:gd name="connsiteY451" fmla="*/ 3703257 h 4525940"/>
              <a:gd name="connsiteX452" fmla="*/ 3770849 w 4545947"/>
              <a:gd name="connsiteY452" fmla="*/ 3722178 h 4525940"/>
              <a:gd name="connsiteX453" fmla="*/ 3772888 w 4545947"/>
              <a:gd name="connsiteY453" fmla="*/ 3728251 h 4525940"/>
              <a:gd name="connsiteX454" fmla="*/ 3777518 w 4545947"/>
              <a:gd name="connsiteY454" fmla="*/ 3735634 h 4525940"/>
              <a:gd name="connsiteX455" fmla="*/ 3797197 w 4545947"/>
              <a:gd name="connsiteY455" fmla="*/ 3763763 h 4525940"/>
              <a:gd name="connsiteX456" fmla="*/ 3802839 w 4545947"/>
              <a:gd name="connsiteY456" fmla="*/ 3743591 h 4525940"/>
              <a:gd name="connsiteX457" fmla="*/ 3789493 w 4545947"/>
              <a:gd name="connsiteY457" fmla="*/ 3668785 h 4525940"/>
              <a:gd name="connsiteX458" fmla="*/ 3781533 w 4545947"/>
              <a:gd name="connsiteY458" fmla="*/ 3666259 h 4525940"/>
              <a:gd name="connsiteX459" fmla="*/ 440976 w 4545947"/>
              <a:gd name="connsiteY459" fmla="*/ 3652281 h 4525940"/>
              <a:gd name="connsiteX460" fmla="*/ 445349 w 4545947"/>
              <a:gd name="connsiteY460" fmla="*/ 3658238 h 4525940"/>
              <a:gd name="connsiteX461" fmla="*/ 440976 w 4545947"/>
              <a:gd name="connsiteY461" fmla="*/ 3668109 h 4525940"/>
              <a:gd name="connsiteX462" fmla="*/ 436603 w 4545947"/>
              <a:gd name="connsiteY462" fmla="*/ 3662151 h 4525940"/>
              <a:gd name="connsiteX463" fmla="*/ 440976 w 4545947"/>
              <a:gd name="connsiteY463" fmla="*/ 3652281 h 4525940"/>
              <a:gd name="connsiteX464" fmla="*/ 3171373 w 4545947"/>
              <a:gd name="connsiteY464" fmla="*/ 3641045 h 4525940"/>
              <a:gd name="connsiteX465" fmla="*/ 3181007 w 4545947"/>
              <a:gd name="connsiteY465" fmla="*/ 3687671 h 4525940"/>
              <a:gd name="connsiteX466" fmla="*/ 3187158 w 4545947"/>
              <a:gd name="connsiteY466" fmla="*/ 3730762 h 4525940"/>
              <a:gd name="connsiteX467" fmla="*/ 3183347 w 4545947"/>
              <a:gd name="connsiteY467" fmla="*/ 3759906 h 4525940"/>
              <a:gd name="connsiteX468" fmla="*/ 3172415 w 4545947"/>
              <a:gd name="connsiteY468" fmla="*/ 3740122 h 4525940"/>
              <a:gd name="connsiteX469" fmla="*/ 3169682 w 4545947"/>
              <a:gd name="connsiteY469" fmla="*/ 3702136 h 4525940"/>
              <a:gd name="connsiteX470" fmla="*/ 3165309 w 4545947"/>
              <a:gd name="connsiteY470" fmla="*/ 3683935 h 4525940"/>
              <a:gd name="connsiteX471" fmla="*/ 3165690 w 4545947"/>
              <a:gd name="connsiteY471" fmla="*/ 3642444 h 4525940"/>
              <a:gd name="connsiteX472" fmla="*/ 3171373 w 4545947"/>
              <a:gd name="connsiteY472" fmla="*/ 3641045 h 4525940"/>
              <a:gd name="connsiteX473" fmla="*/ 4333348 w 4545947"/>
              <a:gd name="connsiteY473" fmla="*/ 3639619 h 4525940"/>
              <a:gd name="connsiteX474" fmla="*/ 4337253 w 4545947"/>
              <a:gd name="connsiteY474" fmla="*/ 3655447 h 4525940"/>
              <a:gd name="connsiteX475" fmla="*/ 4326564 w 4545947"/>
              <a:gd name="connsiteY475" fmla="*/ 3665514 h 4525940"/>
              <a:gd name="connsiteX476" fmla="*/ 4333348 w 4545947"/>
              <a:gd name="connsiteY476" fmla="*/ 3639619 h 4525940"/>
              <a:gd name="connsiteX477" fmla="*/ 3189618 w 4545947"/>
              <a:gd name="connsiteY477" fmla="*/ 3639619 h 4525940"/>
              <a:gd name="connsiteX478" fmla="*/ 3191547 w 4545947"/>
              <a:gd name="connsiteY478" fmla="*/ 3645950 h 4525940"/>
              <a:gd name="connsiteX479" fmla="*/ 3186916 w 4545947"/>
              <a:gd name="connsiteY479" fmla="*/ 3652281 h 4525940"/>
              <a:gd name="connsiteX480" fmla="*/ 3184987 w 4545947"/>
              <a:gd name="connsiteY480" fmla="*/ 3645950 h 4525940"/>
              <a:gd name="connsiteX481" fmla="*/ 3189618 w 4545947"/>
              <a:gd name="connsiteY481" fmla="*/ 3639619 h 4525940"/>
              <a:gd name="connsiteX482" fmla="*/ 682150 w 4545947"/>
              <a:gd name="connsiteY482" fmla="*/ 3636920 h 4525940"/>
              <a:gd name="connsiteX483" fmla="*/ 700310 w 4545947"/>
              <a:gd name="connsiteY483" fmla="*/ 3638085 h 4525940"/>
              <a:gd name="connsiteX484" fmla="*/ 715615 w 4545947"/>
              <a:gd name="connsiteY484" fmla="*/ 3654597 h 4525940"/>
              <a:gd name="connsiteX485" fmla="*/ 688710 w 4545947"/>
              <a:gd name="connsiteY485" fmla="*/ 3654982 h 4525940"/>
              <a:gd name="connsiteX486" fmla="*/ 682150 w 4545947"/>
              <a:gd name="connsiteY486" fmla="*/ 3636920 h 4525940"/>
              <a:gd name="connsiteX487" fmla="*/ 1590882 w 4545947"/>
              <a:gd name="connsiteY487" fmla="*/ 3636609 h 4525940"/>
              <a:gd name="connsiteX488" fmla="*/ 1604107 w 4545947"/>
              <a:gd name="connsiteY488" fmla="*/ 3653864 h 4525940"/>
              <a:gd name="connsiteX489" fmla="*/ 1593415 w 4545947"/>
              <a:gd name="connsiteY489" fmla="*/ 3650082 h 4525940"/>
              <a:gd name="connsiteX490" fmla="*/ 1590882 w 4545947"/>
              <a:gd name="connsiteY490" fmla="*/ 3636609 h 4525940"/>
              <a:gd name="connsiteX491" fmla="*/ 4351611 w 4545947"/>
              <a:gd name="connsiteY491" fmla="*/ 3620852 h 4525940"/>
              <a:gd name="connsiteX492" fmla="*/ 4353385 w 4545947"/>
              <a:gd name="connsiteY492" fmla="*/ 3628541 h 4525940"/>
              <a:gd name="connsiteX493" fmla="*/ 4363301 w 4545947"/>
              <a:gd name="connsiteY493" fmla="*/ 3639620 h 4525940"/>
              <a:gd name="connsiteX494" fmla="*/ 4372776 w 4545947"/>
              <a:gd name="connsiteY494" fmla="*/ 3671956 h 4525940"/>
              <a:gd name="connsiteX495" fmla="*/ 4370269 w 4545947"/>
              <a:gd name="connsiteY495" fmla="*/ 3673264 h 4525940"/>
              <a:gd name="connsiteX496" fmla="*/ 4360839 w 4545947"/>
              <a:gd name="connsiteY496" fmla="*/ 3655351 h 4525940"/>
              <a:gd name="connsiteX497" fmla="*/ 4350879 w 4545947"/>
              <a:gd name="connsiteY497" fmla="*/ 3628828 h 4525940"/>
              <a:gd name="connsiteX498" fmla="*/ 4351611 w 4545947"/>
              <a:gd name="connsiteY498" fmla="*/ 3620852 h 4525940"/>
              <a:gd name="connsiteX499" fmla="*/ 1737013 w 4545947"/>
              <a:gd name="connsiteY499" fmla="*/ 3614296 h 4525940"/>
              <a:gd name="connsiteX500" fmla="*/ 1726616 w 4545947"/>
              <a:gd name="connsiteY500" fmla="*/ 3629068 h 4525940"/>
              <a:gd name="connsiteX501" fmla="*/ 1751414 w 4545947"/>
              <a:gd name="connsiteY501" fmla="*/ 3642608 h 4525940"/>
              <a:gd name="connsiteX502" fmla="*/ 1737013 w 4545947"/>
              <a:gd name="connsiteY502" fmla="*/ 3614296 h 4525940"/>
              <a:gd name="connsiteX503" fmla="*/ 807126 w 4545947"/>
              <a:gd name="connsiteY503" fmla="*/ 3610806 h 4525940"/>
              <a:gd name="connsiteX504" fmla="*/ 805224 w 4545947"/>
              <a:gd name="connsiteY504" fmla="*/ 3621284 h 4525940"/>
              <a:gd name="connsiteX505" fmla="*/ 797792 w 4545947"/>
              <a:gd name="connsiteY505" fmla="*/ 3621616 h 4525940"/>
              <a:gd name="connsiteX506" fmla="*/ 799775 w 4545947"/>
              <a:gd name="connsiteY506" fmla="*/ 3610934 h 4525940"/>
              <a:gd name="connsiteX507" fmla="*/ 807126 w 4545947"/>
              <a:gd name="connsiteY507" fmla="*/ 3610806 h 4525940"/>
              <a:gd name="connsiteX508" fmla="*/ 2205452 w 4545947"/>
              <a:gd name="connsiteY508" fmla="*/ 3601634 h 4525940"/>
              <a:gd name="connsiteX509" fmla="*/ 2198892 w 4545947"/>
              <a:gd name="connsiteY509" fmla="*/ 3607965 h 4525940"/>
              <a:gd name="connsiteX510" fmla="*/ 2205452 w 4545947"/>
              <a:gd name="connsiteY510" fmla="*/ 3614296 h 4525940"/>
              <a:gd name="connsiteX511" fmla="*/ 2212011 w 4545947"/>
              <a:gd name="connsiteY511" fmla="*/ 3607965 h 4525940"/>
              <a:gd name="connsiteX512" fmla="*/ 2205452 w 4545947"/>
              <a:gd name="connsiteY512" fmla="*/ 3601634 h 4525940"/>
              <a:gd name="connsiteX513" fmla="*/ 2052748 w 4545947"/>
              <a:gd name="connsiteY513" fmla="*/ 3583925 h 4525940"/>
              <a:gd name="connsiteX514" fmla="*/ 2050662 w 4545947"/>
              <a:gd name="connsiteY514" fmla="*/ 3643478 h 4525940"/>
              <a:gd name="connsiteX515" fmla="*/ 2072077 w 4545947"/>
              <a:gd name="connsiteY515" fmla="*/ 3648742 h 4525940"/>
              <a:gd name="connsiteX516" fmla="*/ 2077017 w 4545947"/>
              <a:gd name="connsiteY516" fmla="*/ 3643293 h 4525940"/>
              <a:gd name="connsiteX517" fmla="*/ 2079985 w 4545947"/>
              <a:gd name="connsiteY517" fmla="*/ 3642083 h 4525940"/>
              <a:gd name="connsiteX518" fmla="*/ 2069928 w 4545947"/>
              <a:gd name="connsiteY518" fmla="*/ 3609249 h 4525940"/>
              <a:gd name="connsiteX519" fmla="*/ 2052748 w 4545947"/>
              <a:gd name="connsiteY519" fmla="*/ 3583925 h 4525940"/>
              <a:gd name="connsiteX520" fmla="*/ 2102688 w 4545947"/>
              <a:gd name="connsiteY520" fmla="*/ 3582642 h 4525940"/>
              <a:gd name="connsiteX521" fmla="*/ 2091367 w 4545947"/>
              <a:gd name="connsiteY521" fmla="*/ 3617476 h 4525940"/>
              <a:gd name="connsiteX522" fmla="*/ 2102688 w 4545947"/>
              <a:gd name="connsiteY522" fmla="*/ 3633289 h 4525940"/>
              <a:gd name="connsiteX523" fmla="*/ 2114008 w 4545947"/>
              <a:gd name="connsiteY523" fmla="*/ 3617476 h 4525940"/>
              <a:gd name="connsiteX524" fmla="*/ 2102688 w 4545947"/>
              <a:gd name="connsiteY524" fmla="*/ 3582642 h 4525940"/>
              <a:gd name="connsiteX525" fmla="*/ 2147146 w 4545947"/>
              <a:gd name="connsiteY525" fmla="*/ 3571020 h 4525940"/>
              <a:gd name="connsiteX526" fmla="*/ 2137738 w 4545947"/>
              <a:gd name="connsiteY526" fmla="*/ 3608493 h 4525940"/>
              <a:gd name="connsiteX527" fmla="*/ 2152797 w 4545947"/>
              <a:gd name="connsiteY527" fmla="*/ 3638304 h 4525940"/>
              <a:gd name="connsiteX528" fmla="*/ 2161723 w 4545947"/>
              <a:gd name="connsiteY528" fmla="*/ 3608655 h 4525940"/>
              <a:gd name="connsiteX529" fmla="*/ 2153945 w 4545947"/>
              <a:gd name="connsiteY529" fmla="*/ 3573836 h 4525940"/>
              <a:gd name="connsiteX530" fmla="*/ 2147146 w 4545947"/>
              <a:gd name="connsiteY530" fmla="*/ 3571020 h 4525940"/>
              <a:gd name="connsiteX531" fmla="*/ 1798001 w 4545947"/>
              <a:gd name="connsiteY531" fmla="*/ 3564738 h 4525940"/>
              <a:gd name="connsiteX532" fmla="*/ 1804404 w 4545947"/>
              <a:gd name="connsiteY532" fmla="*/ 3690298 h 4525940"/>
              <a:gd name="connsiteX533" fmla="*/ 1825007 w 4545947"/>
              <a:gd name="connsiteY533" fmla="*/ 3705989 h 4525940"/>
              <a:gd name="connsiteX534" fmla="*/ 1854833 w 4545947"/>
              <a:gd name="connsiteY534" fmla="*/ 3708350 h 4525940"/>
              <a:gd name="connsiteX535" fmla="*/ 1852022 w 4545947"/>
              <a:gd name="connsiteY535" fmla="*/ 3687323 h 4525940"/>
              <a:gd name="connsiteX536" fmla="*/ 1844685 w 4545947"/>
              <a:gd name="connsiteY536" fmla="*/ 3667656 h 4525940"/>
              <a:gd name="connsiteX537" fmla="*/ 1839844 w 4545947"/>
              <a:gd name="connsiteY537" fmla="*/ 3658612 h 4525940"/>
              <a:gd name="connsiteX538" fmla="*/ 1837584 w 4545947"/>
              <a:gd name="connsiteY538" fmla="*/ 3648876 h 4525940"/>
              <a:gd name="connsiteX539" fmla="*/ 1834195 w 4545947"/>
              <a:gd name="connsiteY539" fmla="*/ 3635824 h 4525940"/>
              <a:gd name="connsiteX540" fmla="*/ 1825589 w 4545947"/>
              <a:gd name="connsiteY540" fmla="*/ 3608642 h 4525940"/>
              <a:gd name="connsiteX541" fmla="*/ 1798001 w 4545947"/>
              <a:gd name="connsiteY541" fmla="*/ 3564738 h 4525940"/>
              <a:gd name="connsiteX542" fmla="*/ 4146521 w 4545947"/>
              <a:gd name="connsiteY542" fmla="*/ 3557318 h 4525940"/>
              <a:gd name="connsiteX543" fmla="*/ 4155093 w 4545947"/>
              <a:gd name="connsiteY543" fmla="*/ 3571287 h 4525940"/>
              <a:gd name="connsiteX544" fmla="*/ 4148124 w 4545947"/>
              <a:gd name="connsiteY544" fmla="*/ 3584178 h 4525940"/>
              <a:gd name="connsiteX545" fmla="*/ 4146521 w 4545947"/>
              <a:gd name="connsiteY545" fmla="*/ 3557318 h 4525940"/>
              <a:gd name="connsiteX546" fmla="*/ 1509191 w 4545947"/>
              <a:gd name="connsiteY546" fmla="*/ 3547053 h 4525940"/>
              <a:gd name="connsiteX547" fmla="*/ 1508315 w 4545947"/>
              <a:gd name="connsiteY547" fmla="*/ 3553625 h 4525940"/>
              <a:gd name="connsiteX548" fmla="*/ 1510612 w 4545947"/>
              <a:gd name="connsiteY548" fmla="*/ 3561935 h 4525940"/>
              <a:gd name="connsiteX549" fmla="*/ 1510957 w 4545947"/>
              <a:gd name="connsiteY549" fmla="*/ 3549800 h 4525940"/>
              <a:gd name="connsiteX550" fmla="*/ 1510957 w 4545947"/>
              <a:gd name="connsiteY550" fmla="*/ 3549800 h 4525940"/>
              <a:gd name="connsiteX551" fmla="*/ 1509191 w 4545947"/>
              <a:gd name="connsiteY551" fmla="*/ 3547053 h 4525940"/>
              <a:gd name="connsiteX552" fmla="*/ 4384535 w 4545947"/>
              <a:gd name="connsiteY552" fmla="*/ 3546663 h 4525940"/>
              <a:gd name="connsiteX553" fmla="*/ 4387177 w 4545947"/>
              <a:gd name="connsiteY553" fmla="*/ 3550488 h 4525940"/>
              <a:gd name="connsiteX554" fmla="*/ 4392916 w 4545947"/>
              <a:gd name="connsiteY554" fmla="*/ 3547163 h 4525940"/>
              <a:gd name="connsiteX555" fmla="*/ 4392916 w 4545947"/>
              <a:gd name="connsiteY555" fmla="*/ 3547162 h 4525940"/>
              <a:gd name="connsiteX556" fmla="*/ 4384535 w 4545947"/>
              <a:gd name="connsiteY556" fmla="*/ 3546663 h 4525940"/>
              <a:gd name="connsiteX557" fmla="*/ 2522488 w 4545947"/>
              <a:gd name="connsiteY557" fmla="*/ 3535161 h 4525940"/>
              <a:gd name="connsiteX558" fmla="*/ 2512028 w 4545947"/>
              <a:gd name="connsiteY558" fmla="*/ 3569062 h 4525940"/>
              <a:gd name="connsiteX559" fmla="*/ 2537303 w 4545947"/>
              <a:gd name="connsiteY559" fmla="*/ 3568397 h 4525940"/>
              <a:gd name="connsiteX560" fmla="*/ 2522488 w 4545947"/>
              <a:gd name="connsiteY560" fmla="*/ 3535161 h 4525940"/>
              <a:gd name="connsiteX561" fmla="*/ 4512472 w 4545947"/>
              <a:gd name="connsiteY561" fmla="*/ 3529100 h 4525940"/>
              <a:gd name="connsiteX562" fmla="*/ 4509725 w 4545947"/>
              <a:gd name="connsiteY562" fmla="*/ 3538326 h 4525940"/>
              <a:gd name="connsiteX563" fmla="*/ 4505654 w 4545947"/>
              <a:gd name="connsiteY563" fmla="*/ 3531892 h 4525940"/>
              <a:gd name="connsiteX564" fmla="*/ 4512472 w 4545947"/>
              <a:gd name="connsiteY564" fmla="*/ 3529100 h 4525940"/>
              <a:gd name="connsiteX565" fmla="*/ 1784685 w 4545947"/>
              <a:gd name="connsiteY565" fmla="*/ 3528061 h 4525940"/>
              <a:gd name="connsiteX566" fmla="*/ 1786451 w 4545947"/>
              <a:gd name="connsiteY566" fmla="*/ 3530808 h 4525940"/>
              <a:gd name="connsiteX567" fmla="*/ 1786106 w 4545947"/>
              <a:gd name="connsiteY567" fmla="*/ 3542942 h 4525940"/>
              <a:gd name="connsiteX568" fmla="*/ 1783809 w 4545947"/>
              <a:gd name="connsiteY568" fmla="*/ 3534633 h 4525940"/>
              <a:gd name="connsiteX569" fmla="*/ 1784685 w 4545947"/>
              <a:gd name="connsiteY569" fmla="*/ 3528061 h 4525940"/>
              <a:gd name="connsiteX570" fmla="*/ 2708921 w 4545947"/>
              <a:gd name="connsiteY570" fmla="*/ 3527919 h 4525940"/>
              <a:gd name="connsiteX571" fmla="*/ 2719644 w 4545947"/>
              <a:gd name="connsiteY571" fmla="*/ 3532655 h 4525940"/>
              <a:gd name="connsiteX572" fmla="*/ 2712711 w 4545947"/>
              <a:gd name="connsiteY572" fmla="*/ 3550987 h 4525940"/>
              <a:gd name="connsiteX573" fmla="*/ 2701779 w 4545947"/>
              <a:gd name="connsiteY573" fmla="*/ 3541293 h 4525940"/>
              <a:gd name="connsiteX574" fmla="*/ 2708921 w 4545947"/>
              <a:gd name="connsiteY574" fmla="*/ 3527919 h 4525940"/>
              <a:gd name="connsiteX575" fmla="*/ 4454649 w 4545947"/>
              <a:gd name="connsiteY575" fmla="*/ 3527292 h 4525940"/>
              <a:gd name="connsiteX576" fmla="*/ 4459694 w 4545947"/>
              <a:gd name="connsiteY576" fmla="*/ 3534633 h 4525940"/>
              <a:gd name="connsiteX577" fmla="*/ 4452770 w 4545947"/>
              <a:gd name="connsiteY577" fmla="*/ 3544657 h 4525940"/>
              <a:gd name="connsiteX578" fmla="*/ 4447578 w 4545947"/>
              <a:gd name="connsiteY578" fmla="*/ 3537139 h 4525940"/>
              <a:gd name="connsiteX579" fmla="*/ 4454649 w 4545947"/>
              <a:gd name="connsiteY579" fmla="*/ 3527292 h 4525940"/>
              <a:gd name="connsiteX580" fmla="*/ 4330693 w 4545947"/>
              <a:gd name="connsiteY580" fmla="*/ 3513002 h 4525940"/>
              <a:gd name="connsiteX581" fmla="*/ 4337253 w 4545947"/>
              <a:gd name="connsiteY581" fmla="*/ 3522872 h 4525940"/>
              <a:gd name="connsiteX582" fmla="*/ 4341625 w 4545947"/>
              <a:gd name="connsiteY582" fmla="*/ 3528830 h 4525940"/>
              <a:gd name="connsiteX583" fmla="*/ 4345998 w 4545947"/>
              <a:gd name="connsiteY583" fmla="*/ 3531621 h 4525940"/>
              <a:gd name="connsiteX584" fmla="*/ 4331787 w 4545947"/>
              <a:gd name="connsiteY584" fmla="*/ 3533962 h 4525940"/>
              <a:gd name="connsiteX585" fmla="*/ 4330693 w 4545947"/>
              <a:gd name="connsiteY585" fmla="*/ 3513002 h 4525940"/>
              <a:gd name="connsiteX586" fmla="*/ 1781278 w 4545947"/>
              <a:gd name="connsiteY586" fmla="*/ 3513002 h 4525940"/>
              <a:gd name="connsiteX587" fmla="*/ 1770345 w 4545947"/>
              <a:gd name="connsiteY587" fmla="*/ 3522499 h 4525940"/>
              <a:gd name="connsiteX588" fmla="*/ 1770345 w 4545947"/>
              <a:gd name="connsiteY588" fmla="*/ 3541491 h 4525940"/>
              <a:gd name="connsiteX589" fmla="*/ 1781278 w 4545947"/>
              <a:gd name="connsiteY589" fmla="*/ 3550987 h 4525940"/>
              <a:gd name="connsiteX590" fmla="*/ 1792210 w 4545947"/>
              <a:gd name="connsiteY590" fmla="*/ 3541491 h 4525940"/>
              <a:gd name="connsiteX591" fmla="*/ 1792210 w 4545947"/>
              <a:gd name="connsiteY591" fmla="*/ 3522499 h 4525940"/>
              <a:gd name="connsiteX592" fmla="*/ 1781278 w 4545947"/>
              <a:gd name="connsiteY592" fmla="*/ 3513002 h 4525940"/>
              <a:gd name="connsiteX593" fmla="*/ 2765727 w 4545947"/>
              <a:gd name="connsiteY593" fmla="*/ 3506671 h 4525940"/>
              <a:gd name="connsiteX594" fmla="*/ 2771915 w 4545947"/>
              <a:gd name="connsiteY594" fmla="*/ 3549820 h 4525940"/>
              <a:gd name="connsiteX595" fmla="*/ 2777517 w 4545947"/>
              <a:gd name="connsiteY595" fmla="*/ 3587805 h 4525940"/>
              <a:gd name="connsiteX596" fmla="*/ 2777592 w 4545947"/>
              <a:gd name="connsiteY596" fmla="*/ 3645950 h 4525940"/>
              <a:gd name="connsiteX597" fmla="*/ 2767140 w 4545947"/>
              <a:gd name="connsiteY597" fmla="*/ 3632658 h 4525940"/>
              <a:gd name="connsiteX598" fmla="*/ 2750756 w 4545947"/>
              <a:gd name="connsiteY598" fmla="*/ 3622540 h 4525940"/>
              <a:gd name="connsiteX599" fmla="*/ 2733789 w 4545947"/>
              <a:gd name="connsiteY599" fmla="*/ 3615257 h 4525940"/>
              <a:gd name="connsiteX600" fmla="*/ 2734887 w 4545947"/>
              <a:gd name="connsiteY600" fmla="*/ 3595303 h 4525940"/>
              <a:gd name="connsiteX601" fmla="*/ 2757753 w 4545947"/>
              <a:gd name="connsiteY601" fmla="*/ 3540827 h 4525940"/>
              <a:gd name="connsiteX602" fmla="*/ 2765727 w 4545947"/>
              <a:gd name="connsiteY602" fmla="*/ 3506671 h 4525940"/>
              <a:gd name="connsiteX603" fmla="*/ 740522 w 4545947"/>
              <a:gd name="connsiteY603" fmla="*/ 3475017 h 4525940"/>
              <a:gd name="connsiteX604" fmla="*/ 747081 w 4545947"/>
              <a:gd name="connsiteY604" fmla="*/ 3484514 h 4525940"/>
              <a:gd name="connsiteX605" fmla="*/ 740522 w 4545947"/>
              <a:gd name="connsiteY605" fmla="*/ 3494010 h 4525940"/>
              <a:gd name="connsiteX606" fmla="*/ 733962 w 4545947"/>
              <a:gd name="connsiteY606" fmla="*/ 3484514 h 4525940"/>
              <a:gd name="connsiteX607" fmla="*/ 740522 w 4545947"/>
              <a:gd name="connsiteY607" fmla="*/ 3475017 h 4525940"/>
              <a:gd name="connsiteX608" fmla="*/ 2881943 w 4545947"/>
              <a:gd name="connsiteY608" fmla="*/ 3462355 h 4525940"/>
              <a:gd name="connsiteX609" fmla="*/ 2878636 w 4545947"/>
              <a:gd name="connsiteY609" fmla="*/ 3495324 h 4525940"/>
              <a:gd name="connsiteX610" fmla="*/ 2869346 w 4545947"/>
              <a:gd name="connsiteY610" fmla="*/ 3523011 h 4525940"/>
              <a:gd name="connsiteX611" fmla="*/ 2885957 w 4545947"/>
              <a:gd name="connsiteY611" fmla="*/ 3557318 h 4525940"/>
              <a:gd name="connsiteX612" fmla="*/ 2892001 w 4545947"/>
              <a:gd name="connsiteY612" fmla="*/ 3550987 h 4525940"/>
              <a:gd name="connsiteX613" fmla="*/ 2898525 w 4545947"/>
              <a:gd name="connsiteY613" fmla="*/ 3544657 h 4525940"/>
              <a:gd name="connsiteX614" fmla="*/ 2906022 w 4545947"/>
              <a:gd name="connsiteY614" fmla="*/ 3571563 h 4525940"/>
              <a:gd name="connsiteX615" fmla="*/ 2895961 w 4545947"/>
              <a:gd name="connsiteY615" fmla="*/ 3600666 h 4525940"/>
              <a:gd name="connsiteX616" fmla="*/ 2883473 w 4545947"/>
              <a:gd name="connsiteY616" fmla="*/ 3608579 h 4525940"/>
              <a:gd name="connsiteX617" fmla="*/ 2866193 w 4545947"/>
              <a:gd name="connsiteY617" fmla="*/ 3600603 h 4525940"/>
              <a:gd name="connsiteX618" fmla="*/ 2861950 w 4545947"/>
              <a:gd name="connsiteY618" fmla="*/ 3581332 h 4525940"/>
              <a:gd name="connsiteX619" fmla="*/ 2859095 w 4545947"/>
              <a:gd name="connsiteY619" fmla="*/ 3566625 h 4525940"/>
              <a:gd name="connsiteX620" fmla="*/ 2855607 w 4545947"/>
              <a:gd name="connsiteY620" fmla="*/ 3535822 h 4525940"/>
              <a:gd name="connsiteX621" fmla="*/ 2845247 w 4545947"/>
              <a:gd name="connsiteY621" fmla="*/ 3503796 h 4525940"/>
              <a:gd name="connsiteX622" fmla="*/ 2838518 w 4545947"/>
              <a:gd name="connsiteY622" fmla="*/ 3479481 h 4525940"/>
              <a:gd name="connsiteX623" fmla="*/ 2844567 w 4545947"/>
              <a:gd name="connsiteY623" fmla="*/ 3463500 h 4525940"/>
              <a:gd name="connsiteX624" fmla="*/ 2854296 w 4545947"/>
              <a:gd name="connsiteY624" fmla="*/ 3469672 h 4525940"/>
              <a:gd name="connsiteX625" fmla="*/ 2868715 w 4545947"/>
              <a:gd name="connsiteY625" fmla="*/ 3470111 h 4525940"/>
              <a:gd name="connsiteX626" fmla="*/ 2881943 w 4545947"/>
              <a:gd name="connsiteY626" fmla="*/ 3462355 h 4525940"/>
              <a:gd name="connsiteX627" fmla="*/ 3212720 w 4545947"/>
              <a:gd name="connsiteY627" fmla="*/ 3424461 h 4525940"/>
              <a:gd name="connsiteX628" fmla="*/ 3204212 w 4545947"/>
              <a:gd name="connsiteY628" fmla="*/ 3429702 h 4525940"/>
              <a:gd name="connsiteX629" fmla="*/ 3191529 w 4545947"/>
              <a:gd name="connsiteY629" fmla="*/ 3430662 h 4525940"/>
              <a:gd name="connsiteX630" fmla="*/ 3172515 w 4545947"/>
              <a:gd name="connsiteY630" fmla="*/ 3443537 h 4525940"/>
              <a:gd name="connsiteX631" fmla="*/ 3184563 w 4545947"/>
              <a:gd name="connsiteY631" fmla="*/ 3508254 h 4525940"/>
              <a:gd name="connsiteX632" fmla="*/ 3208164 w 4545947"/>
              <a:gd name="connsiteY632" fmla="*/ 3511736 h 4525940"/>
              <a:gd name="connsiteX633" fmla="*/ 3209038 w 4545947"/>
              <a:gd name="connsiteY633" fmla="*/ 3481348 h 4525940"/>
              <a:gd name="connsiteX634" fmla="*/ 3213411 w 4545947"/>
              <a:gd name="connsiteY634" fmla="*/ 3460521 h 4525940"/>
              <a:gd name="connsiteX635" fmla="*/ 3217851 w 4545947"/>
              <a:gd name="connsiteY635" fmla="*/ 3430701 h 4525940"/>
              <a:gd name="connsiteX636" fmla="*/ 3212720 w 4545947"/>
              <a:gd name="connsiteY636" fmla="*/ 3424461 h 4525940"/>
              <a:gd name="connsiteX637" fmla="*/ 4431270 w 4545947"/>
              <a:gd name="connsiteY637" fmla="*/ 3405378 h 4525940"/>
              <a:gd name="connsiteX638" fmla="*/ 4442203 w 4545947"/>
              <a:gd name="connsiteY638" fmla="*/ 3417522 h 4525940"/>
              <a:gd name="connsiteX639" fmla="*/ 4444857 w 4545947"/>
              <a:gd name="connsiteY639" fmla="*/ 3439680 h 4525940"/>
              <a:gd name="connsiteX640" fmla="*/ 4430057 w 4545947"/>
              <a:gd name="connsiteY640" fmla="*/ 3439839 h 4525940"/>
              <a:gd name="connsiteX641" fmla="*/ 4431270 w 4545947"/>
              <a:gd name="connsiteY641" fmla="*/ 3405378 h 4525940"/>
              <a:gd name="connsiteX642" fmla="*/ 549890 w 4545947"/>
              <a:gd name="connsiteY642" fmla="*/ 3399047 h 4525940"/>
              <a:gd name="connsiteX643" fmla="*/ 548842 w 4545947"/>
              <a:gd name="connsiteY643" fmla="*/ 3426481 h 4525940"/>
              <a:gd name="connsiteX644" fmla="*/ 558681 w 4545947"/>
              <a:gd name="connsiteY644" fmla="*/ 3429967 h 4525940"/>
              <a:gd name="connsiteX645" fmla="*/ 557546 w 4545947"/>
              <a:gd name="connsiteY645" fmla="*/ 3426224 h 4525940"/>
              <a:gd name="connsiteX646" fmla="*/ 551671 w 4545947"/>
              <a:gd name="connsiteY646" fmla="*/ 3411132 h 4525940"/>
              <a:gd name="connsiteX647" fmla="*/ 549890 w 4545947"/>
              <a:gd name="connsiteY647" fmla="*/ 3399047 h 4525940"/>
              <a:gd name="connsiteX648" fmla="*/ 4493782 w 4545947"/>
              <a:gd name="connsiteY648" fmla="*/ 3361062 h 4525940"/>
              <a:gd name="connsiteX649" fmla="*/ 4515201 w 4545947"/>
              <a:gd name="connsiteY649" fmla="*/ 3429955 h 4525940"/>
              <a:gd name="connsiteX650" fmla="*/ 4510617 w 4545947"/>
              <a:gd name="connsiteY650" fmla="*/ 3475017 h 4525940"/>
              <a:gd name="connsiteX651" fmla="*/ 4503423 w 4545947"/>
              <a:gd name="connsiteY651" fmla="*/ 3459717 h 4525940"/>
              <a:gd name="connsiteX652" fmla="*/ 4499676 w 4545947"/>
              <a:gd name="connsiteY652" fmla="*/ 3442307 h 4525940"/>
              <a:gd name="connsiteX653" fmla="*/ 4493782 w 4545947"/>
              <a:gd name="connsiteY653" fmla="*/ 3361062 h 4525940"/>
              <a:gd name="connsiteX654" fmla="*/ 2909492 w 4545947"/>
              <a:gd name="connsiteY654" fmla="*/ 3361062 h 4525940"/>
              <a:gd name="connsiteX655" fmla="*/ 2916052 w 4545947"/>
              <a:gd name="connsiteY655" fmla="*/ 3376889 h 4525940"/>
              <a:gd name="connsiteX656" fmla="*/ 2914958 w 4545947"/>
              <a:gd name="connsiteY656" fmla="*/ 3392216 h 4525940"/>
              <a:gd name="connsiteX657" fmla="*/ 2908399 w 4545947"/>
              <a:gd name="connsiteY657" fmla="*/ 3388523 h 4525940"/>
              <a:gd name="connsiteX658" fmla="*/ 2909492 w 4545947"/>
              <a:gd name="connsiteY658" fmla="*/ 3361062 h 4525940"/>
              <a:gd name="connsiteX659" fmla="*/ 4276032 w 4545947"/>
              <a:gd name="connsiteY659" fmla="*/ 3354731 h 4525940"/>
              <a:gd name="connsiteX660" fmla="*/ 4265567 w 4545947"/>
              <a:gd name="connsiteY660" fmla="*/ 3364745 h 4525940"/>
              <a:gd name="connsiteX661" fmla="*/ 4267117 w 4545947"/>
              <a:gd name="connsiteY661" fmla="*/ 3405378 h 4525940"/>
              <a:gd name="connsiteX662" fmla="*/ 4276032 w 4545947"/>
              <a:gd name="connsiteY662" fmla="*/ 3430701 h 4525940"/>
              <a:gd name="connsiteX663" fmla="*/ 4302037 w 4545947"/>
              <a:gd name="connsiteY663" fmla="*/ 3446933 h 4525940"/>
              <a:gd name="connsiteX664" fmla="*/ 4293369 w 4545947"/>
              <a:gd name="connsiteY664" fmla="*/ 3411709 h 4525940"/>
              <a:gd name="connsiteX665" fmla="*/ 4289150 w 4545947"/>
              <a:gd name="connsiteY665" fmla="*/ 3393234 h 4525940"/>
              <a:gd name="connsiteX666" fmla="*/ 4276032 w 4545947"/>
              <a:gd name="connsiteY666" fmla="*/ 3354731 h 4525940"/>
              <a:gd name="connsiteX667" fmla="*/ 2669069 w 4545947"/>
              <a:gd name="connsiteY667" fmla="*/ 3336073 h 4525940"/>
              <a:gd name="connsiteX668" fmla="*/ 2661312 w 4545947"/>
              <a:gd name="connsiteY668" fmla="*/ 3343652 h 4525940"/>
              <a:gd name="connsiteX669" fmla="*/ 2652411 w 4545947"/>
              <a:gd name="connsiteY669" fmla="*/ 3343129 h 4525940"/>
              <a:gd name="connsiteX670" fmla="*/ 2636395 w 4545947"/>
              <a:gd name="connsiteY670" fmla="*/ 3338808 h 4525940"/>
              <a:gd name="connsiteX671" fmla="*/ 2627439 w 4545947"/>
              <a:gd name="connsiteY671" fmla="*/ 3373095 h 4525940"/>
              <a:gd name="connsiteX672" fmla="*/ 2630354 w 4545947"/>
              <a:gd name="connsiteY672" fmla="*/ 3407488 h 4525940"/>
              <a:gd name="connsiteX673" fmla="*/ 2652210 w 4545947"/>
              <a:gd name="connsiteY673" fmla="*/ 3403795 h 4525940"/>
              <a:gd name="connsiteX674" fmla="*/ 2655748 w 4545947"/>
              <a:gd name="connsiteY674" fmla="*/ 3386385 h 4525940"/>
              <a:gd name="connsiteX675" fmla="*/ 2665384 w 4545947"/>
              <a:gd name="connsiteY675" fmla="*/ 3374926 h 4525940"/>
              <a:gd name="connsiteX676" fmla="*/ 2679914 w 4545947"/>
              <a:gd name="connsiteY676" fmla="*/ 3345235 h 4525940"/>
              <a:gd name="connsiteX677" fmla="*/ 2669069 w 4545947"/>
              <a:gd name="connsiteY677" fmla="*/ 3336073 h 4525940"/>
              <a:gd name="connsiteX678" fmla="*/ 587549 w 4545947"/>
              <a:gd name="connsiteY678" fmla="*/ 3300251 h 4525940"/>
              <a:gd name="connsiteX679" fmla="*/ 574278 w 4545947"/>
              <a:gd name="connsiteY679" fmla="*/ 3300379 h 4525940"/>
              <a:gd name="connsiteX680" fmla="*/ 564236 w 4545947"/>
              <a:gd name="connsiteY680" fmla="*/ 3321715 h 4525940"/>
              <a:gd name="connsiteX681" fmla="*/ 575444 w 4545947"/>
              <a:gd name="connsiteY681" fmla="*/ 3340927 h 4525940"/>
              <a:gd name="connsiteX682" fmla="*/ 585283 w 4545947"/>
              <a:gd name="connsiteY682" fmla="*/ 3354654 h 4525940"/>
              <a:gd name="connsiteX683" fmla="*/ 606273 w 4545947"/>
              <a:gd name="connsiteY683" fmla="*/ 3378788 h 4525940"/>
              <a:gd name="connsiteX684" fmla="*/ 601264 w 4545947"/>
              <a:gd name="connsiteY684" fmla="*/ 3348772 h 4525940"/>
              <a:gd name="connsiteX685" fmla="*/ 590611 w 4545947"/>
              <a:gd name="connsiteY685" fmla="*/ 3322956 h 4525940"/>
              <a:gd name="connsiteX686" fmla="*/ 587549 w 4545947"/>
              <a:gd name="connsiteY686" fmla="*/ 3300251 h 4525940"/>
              <a:gd name="connsiteX687" fmla="*/ 4154664 w 4545947"/>
              <a:gd name="connsiteY687" fmla="*/ 3279903 h 4525940"/>
              <a:gd name="connsiteX688" fmla="*/ 4148160 w 4545947"/>
              <a:gd name="connsiteY688" fmla="*/ 3310449 h 4525940"/>
              <a:gd name="connsiteX689" fmla="*/ 4154873 w 4545947"/>
              <a:gd name="connsiteY689" fmla="*/ 3347448 h 4525940"/>
              <a:gd name="connsiteX690" fmla="*/ 4157387 w 4545947"/>
              <a:gd name="connsiteY690" fmla="*/ 3373723 h 4525940"/>
              <a:gd name="connsiteX691" fmla="*/ 4162336 w 4545947"/>
              <a:gd name="connsiteY691" fmla="*/ 3393890 h 4525940"/>
              <a:gd name="connsiteX692" fmla="*/ 4171844 w 4545947"/>
              <a:gd name="connsiteY692" fmla="*/ 3428710 h 4525940"/>
              <a:gd name="connsiteX693" fmla="*/ 4190840 w 4545947"/>
              <a:gd name="connsiteY693" fmla="*/ 3430334 h 4525940"/>
              <a:gd name="connsiteX694" fmla="*/ 4184264 w 4545947"/>
              <a:gd name="connsiteY694" fmla="*/ 3354731 h 4525940"/>
              <a:gd name="connsiteX695" fmla="*/ 4178032 w 4545947"/>
              <a:gd name="connsiteY695" fmla="*/ 3338904 h 4525940"/>
              <a:gd name="connsiteX696" fmla="*/ 4168795 w 4545947"/>
              <a:gd name="connsiteY696" fmla="*/ 3323077 h 4525940"/>
              <a:gd name="connsiteX697" fmla="*/ 4163412 w 4545947"/>
              <a:gd name="connsiteY697" fmla="*/ 3302505 h 4525940"/>
              <a:gd name="connsiteX698" fmla="*/ 4154664 w 4545947"/>
              <a:gd name="connsiteY698" fmla="*/ 3279903 h 4525940"/>
              <a:gd name="connsiteX699" fmla="*/ 3384462 w 4545947"/>
              <a:gd name="connsiteY699" fmla="*/ 3266400 h 4525940"/>
              <a:gd name="connsiteX700" fmla="*/ 3379525 w 4545947"/>
              <a:gd name="connsiteY700" fmla="*/ 3272430 h 4525940"/>
              <a:gd name="connsiteX701" fmla="*/ 3379925 w 4545947"/>
              <a:gd name="connsiteY701" fmla="*/ 3355951 h 4525940"/>
              <a:gd name="connsiteX702" fmla="*/ 3385390 w 4545947"/>
              <a:gd name="connsiteY702" fmla="*/ 3380219 h 4525940"/>
              <a:gd name="connsiteX703" fmla="*/ 3373548 w 4545947"/>
              <a:gd name="connsiteY703" fmla="*/ 3404295 h 4525940"/>
              <a:gd name="connsiteX704" fmla="*/ 3363543 w 4545947"/>
              <a:gd name="connsiteY704" fmla="*/ 3438014 h 4525940"/>
              <a:gd name="connsiteX705" fmla="*/ 3377229 w 4545947"/>
              <a:gd name="connsiteY705" fmla="*/ 3482289 h 4525940"/>
              <a:gd name="connsiteX706" fmla="*/ 3388329 w 4545947"/>
              <a:gd name="connsiteY706" fmla="*/ 3506757 h 4525940"/>
              <a:gd name="connsiteX707" fmla="*/ 3392701 w 4545947"/>
              <a:gd name="connsiteY707" fmla="*/ 3522499 h 4525940"/>
              <a:gd name="connsiteX708" fmla="*/ 3397074 w 4545947"/>
              <a:gd name="connsiteY708" fmla="*/ 3538273 h 4525940"/>
              <a:gd name="connsiteX709" fmla="*/ 3405820 w 4545947"/>
              <a:gd name="connsiteY709" fmla="*/ 3554153 h 4525940"/>
              <a:gd name="connsiteX710" fmla="*/ 3414566 w 4545947"/>
              <a:gd name="connsiteY710" fmla="*/ 3570407 h 4525940"/>
              <a:gd name="connsiteX711" fmla="*/ 3418939 w 4545947"/>
              <a:gd name="connsiteY711" fmla="*/ 3582642 h 4525940"/>
              <a:gd name="connsiteX712" fmla="*/ 3423312 w 4545947"/>
              <a:gd name="connsiteY712" fmla="*/ 3597414 h 4525940"/>
              <a:gd name="connsiteX713" fmla="*/ 3426227 w 4545947"/>
              <a:gd name="connsiteY713" fmla="*/ 3616406 h 4525940"/>
              <a:gd name="connsiteX714" fmla="*/ 3446895 w 4545947"/>
              <a:gd name="connsiteY714" fmla="*/ 3610613 h 4525940"/>
              <a:gd name="connsiteX715" fmla="*/ 3445741 w 4545947"/>
              <a:gd name="connsiteY715" fmla="*/ 3569980 h 4525940"/>
              <a:gd name="connsiteX716" fmla="*/ 3438964 w 4545947"/>
              <a:gd name="connsiteY716" fmla="*/ 3531995 h 4525940"/>
              <a:gd name="connsiteX717" fmla="*/ 3432296 w 4545947"/>
              <a:gd name="connsiteY717" fmla="*/ 3494010 h 4525940"/>
              <a:gd name="connsiteX718" fmla="*/ 3425497 w 4545947"/>
              <a:gd name="connsiteY718" fmla="*/ 3443363 h 4525940"/>
              <a:gd name="connsiteX719" fmla="*/ 3418484 w 4545947"/>
              <a:gd name="connsiteY719" fmla="*/ 3392716 h 4525940"/>
              <a:gd name="connsiteX720" fmla="*/ 3414566 w 4545947"/>
              <a:gd name="connsiteY720" fmla="*/ 3374498 h 4525940"/>
              <a:gd name="connsiteX721" fmla="*/ 3408222 w 4545947"/>
              <a:gd name="connsiteY721" fmla="*/ 3348660 h 4525940"/>
              <a:gd name="connsiteX722" fmla="*/ 3400570 w 4545947"/>
              <a:gd name="connsiteY722" fmla="*/ 3308969 h 4525940"/>
              <a:gd name="connsiteX723" fmla="*/ 3391484 w 4545947"/>
              <a:gd name="connsiteY723" fmla="*/ 3269917 h 4525940"/>
              <a:gd name="connsiteX724" fmla="*/ 3384462 w 4545947"/>
              <a:gd name="connsiteY724" fmla="*/ 3266400 h 4525940"/>
              <a:gd name="connsiteX725" fmla="*/ 3348864 w 4545947"/>
              <a:gd name="connsiteY725" fmla="*/ 3248793 h 4525940"/>
              <a:gd name="connsiteX726" fmla="*/ 3339131 w 4545947"/>
              <a:gd name="connsiteY726" fmla="*/ 3252124 h 4525940"/>
              <a:gd name="connsiteX727" fmla="*/ 3346508 w 4545947"/>
              <a:gd name="connsiteY727" fmla="*/ 3297753 h 4525940"/>
              <a:gd name="connsiteX728" fmla="*/ 3356934 w 4545947"/>
              <a:gd name="connsiteY728" fmla="*/ 3289624 h 4525940"/>
              <a:gd name="connsiteX729" fmla="*/ 3348864 w 4545947"/>
              <a:gd name="connsiteY729" fmla="*/ 3248793 h 4525940"/>
              <a:gd name="connsiteX730" fmla="*/ 313287 w 4545947"/>
              <a:gd name="connsiteY730" fmla="*/ 3234445 h 4525940"/>
              <a:gd name="connsiteX731" fmla="*/ 305415 w 4545947"/>
              <a:gd name="connsiteY731" fmla="*/ 3256085 h 4525940"/>
              <a:gd name="connsiteX732" fmla="*/ 318534 w 4545947"/>
              <a:gd name="connsiteY732" fmla="*/ 3297753 h 4525940"/>
              <a:gd name="connsiteX733" fmla="*/ 328998 w 4545947"/>
              <a:gd name="connsiteY733" fmla="*/ 3287739 h 4525940"/>
              <a:gd name="connsiteX734" fmla="*/ 313287 w 4545947"/>
              <a:gd name="connsiteY734" fmla="*/ 3234445 h 4525940"/>
              <a:gd name="connsiteX735" fmla="*/ 4380392 w 4545947"/>
              <a:gd name="connsiteY735" fmla="*/ 3159521 h 4525940"/>
              <a:gd name="connsiteX736" fmla="*/ 4371629 w 4545947"/>
              <a:gd name="connsiteY736" fmla="*/ 3212287 h 4525940"/>
              <a:gd name="connsiteX737" fmla="*/ 4377095 w 4545947"/>
              <a:gd name="connsiteY737" fmla="*/ 3265043 h 4525940"/>
              <a:gd name="connsiteX738" fmla="*/ 4380982 w 4545947"/>
              <a:gd name="connsiteY738" fmla="*/ 3275924 h 4525940"/>
              <a:gd name="connsiteX739" fmla="*/ 4396210 w 4545947"/>
              <a:gd name="connsiteY739" fmla="*/ 3266447 h 4525940"/>
              <a:gd name="connsiteX740" fmla="*/ 4395554 w 4545947"/>
              <a:gd name="connsiteY740" fmla="*/ 3164378 h 4525940"/>
              <a:gd name="connsiteX741" fmla="*/ 4380392 w 4545947"/>
              <a:gd name="connsiteY741" fmla="*/ 3159521 h 4525940"/>
              <a:gd name="connsiteX742" fmla="*/ 608431 w 4545947"/>
              <a:gd name="connsiteY742" fmla="*/ 3076110 h 4525940"/>
              <a:gd name="connsiteX743" fmla="*/ 602272 w 4545947"/>
              <a:gd name="connsiteY743" fmla="*/ 3083464 h 4525940"/>
              <a:gd name="connsiteX744" fmla="*/ 603005 w 4545947"/>
              <a:gd name="connsiteY744" fmla="*/ 3130192 h 4525940"/>
              <a:gd name="connsiteX745" fmla="*/ 605816 w 4545947"/>
              <a:gd name="connsiteY745" fmla="*/ 3141644 h 4525940"/>
              <a:gd name="connsiteX746" fmla="*/ 621984 w 4545947"/>
              <a:gd name="connsiteY746" fmla="*/ 3177467 h 4525940"/>
              <a:gd name="connsiteX747" fmla="*/ 639944 w 4545947"/>
              <a:gd name="connsiteY747" fmla="*/ 3205956 h 4525940"/>
              <a:gd name="connsiteX748" fmla="*/ 626855 w 4545947"/>
              <a:gd name="connsiteY748" fmla="*/ 3208107 h 4525940"/>
              <a:gd name="connsiteX749" fmla="*/ 601711 w 4545947"/>
              <a:gd name="connsiteY749" fmla="*/ 3189354 h 4525940"/>
              <a:gd name="connsiteX750" fmla="*/ 589378 w 4545947"/>
              <a:gd name="connsiteY750" fmla="*/ 3174540 h 4525940"/>
              <a:gd name="connsiteX751" fmla="*/ 585043 w 4545947"/>
              <a:gd name="connsiteY751" fmla="*/ 3165981 h 4525940"/>
              <a:gd name="connsiteX752" fmla="*/ 577206 w 4545947"/>
              <a:gd name="connsiteY752" fmla="*/ 3154710 h 4525940"/>
              <a:gd name="connsiteX753" fmla="*/ 575492 w 4545947"/>
              <a:gd name="connsiteY753" fmla="*/ 3142456 h 4525940"/>
              <a:gd name="connsiteX754" fmla="*/ 581420 w 4545947"/>
              <a:gd name="connsiteY754" fmla="*/ 3126820 h 4525940"/>
              <a:gd name="connsiteX755" fmla="*/ 574489 w 4545947"/>
              <a:gd name="connsiteY755" fmla="*/ 3102739 h 4525940"/>
              <a:gd name="connsiteX756" fmla="*/ 556997 w 4545947"/>
              <a:gd name="connsiteY756" fmla="*/ 3109463 h 4525940"/>
              <a:gd name="connsiteX757" fmla="*/ 556129 w 4545947"/>
              <a:gd name="connsiteY757" fmla="*/ 3135846 h 4525940"/>
              <a:gd name="connsiteX758" fmla="*/ 560000 w 4545947"/>
              <a:gd name="connsiteY758" fmla="*/ 3151929 h 4525940"/>
              <a:gd name="connsiteX759" fmla="*/ 563838 w 4545947"/>
              <a:gd name="connsiteY759" fmla="*/ 3181366 h 4525940"/>
              <a:gd name="connsiteX760" fmla="*/ 574180 w 4545947"/>
              <a:gd name="connsiteY760" fmla="*/ 3202392 h 4525940"/>
              <a:gd name="connsiteX761" fmla="*/ 600152 w 4545947"/>
              <a:gd name="connsiteY761" fmla="*/ 3246045 h 4525940"/>
              <a:gd name="connsiteX762" fmla="*/ 601046 w 4545947"/>
              <a:gd name="connsiteY762" fmla="*/ 3251855 h 4525940"/>
              <a:gd name="connsiteX763" fmla="*/ 603100 w 4545947"/>
              <a:gd name="connsiteY763" fmla="*/ 3266099 h 4525940"/>
              <a:gd name="connsiteX764" fmla="*/ 609854 w 4545947"/>
              <a:gd name="connsiteY764" fmla="*/ 3283509 h 4525940"/>
              <a:gd name="connsiteX765" fmla="*/ 617032 w 4545947"/>
              <a:gd name="connsiteY765" fmla="*/ 3308832 h 4525940"/>
              <a:gd name="connsiteX766" fmla="*/ 617946 w 4545947"/>
              <a:gd name="connsiteY766" fmla="*/ 3316746 h 4525940"/>
              <a:gd name="connsiteX767" fmla="*/ 623970 w 4545947"/>
              <a:gd name="connsiteY767" fmla="*/ 3328567 h 4525940"/>
              <a:gd name="connsiteX768" fmla="*/ 633385 w 4545947"/>
              <a:gd name="connsiteY768" fmla="*/ 3352836 h 4525940"/>
              <a:gd name="connsiteX769" fmla="*/ 658577 w 4545947"/>
              <a:gd name="connsiteY769" fmla="*/ 3369716 h 4525940"/>
              <a:gd name="connsiteX770" fmla="*/ 671077 w 4545947"/>
              <a:gd name="connsiteY770" fmla="*/ 3350809 h 4525940"/>
              <a:gd name="connsiteX771" fmla="*/ 690819 w 4545947"/>
              <a:gd name="connsiteY771" fmla="*/ 3346003 h 4525940"/>
              <a:gd name="connsiteX772" fmla="*/ 704860 w 4545947"/>
              <a:gd name="connsiteY772" fmla="*/ 3315662 h 4525940"/>
              <a:gd name="connsiteX773" fmla="*/ 683069 w 4545947"/>
              <a:gd name="connsiteY773" fmla="*/ 3313581 h 4525940"/>
              <a:gd name="connsiteX774" fmla="*/ 648396 w 4545947"/>
              <a:gd name="connsiteY774" fmla="*/ 3281551 h 4525940"/>
              <a:gd name="connsiteX775" fmla="*/ 638964 w 4545947"/>
              <a:gd name="connsiteY775" fmla="*/ 3252310 h 4525940"/>
              <a:gd name="connsiteX776" fmla="*/ 636844 w 4545947"/>
              <a:gd name="connsiteY776" fmla="*/ 3230703 h 4525940"/>
              <a:gd name="connsiteX777" fmla="*/ 644091 w 4545947"/>
              <a:gd name="connsiteY777" fmla="*/ 3233414 h 4525940"/>
              <a:gd name="connsiteX778" fmla="*/ 653357 w 4545947"/>
              <a:gd name="connsiteY778" fmla="*/ 3247106 h 4525940"/>
              <a:gd name="connsiteX779" fmla="*/ 659622 w 4545947"/>
              <a:gd name="connsiteY779" fmla="*/ 3255622 h 4525940"/>
              <a:gd name="connsiteX780" fmla="*/ 668613 w 4545947"/>
              <a:gd name="connsiteY780" fmla="*/ 3275916 h 4525940"/>
              <a:gd name="connsiteX781" fmla="*/ 686690 w 4545947"/>
              <a:gd name="connsiteY781" fmla="*/ 3279479 h 4525940"/>
              <a:gd name="connsiteX782" fmla="*/ 698996 w 4545947"/>
              <a:gd name="connsiteY782" fmla="*/ 3278800 h 4525940"/>
              <a:gd name="connsiteX783" fmla="*/ 718657 w 4545947"/>
              <a:gd name="connsiteY783" fmla="*/ 3266012 h 4525940"/>
              <a:gd name="connsiteX784" fmla="*/ 702258 w 4545947"/>
              <a:gd name="connsiteY784" fmla="*/ 3248307 h 4525940"/>
              <a:gd name="connsiteX785" fmla="*/ 685860 w 4545947"/>
              <a:gd name="connsiteY785" fmla="*/ 3218686 h 4525940"/>
              <a:gd name="connsiteX786" fmla="*/ 671132 w 4545947"/>
              <a:gd name="connsiteY786" fmla="*/ 3168421 h 4525940"/>
              <a:gd name="connsiteX787" fmla="*/ 649936 w 4545947"/>
              <a:gd name="connsiteY787" fmla="*/ 3145813 h 4525940"/>
              <a:gd name="connsiteX788" fmla="*/ 623889 w 4545947"/>
              <a:gd name="connsiteY788" fmla="*/ 3101236 h 4525940"/>
              <a:gd name="connsiteX789" fmla="*/ 608431 w 4545947"/>
              <a:gd name="connsiteY789" fmla="*/ 3076110 h 4525940"/>
              <a:gd name="connsiteX790" fmla="*/ 299116 w 4545947"/>
              <a:gd name="connsiteY790" fmla="*/ 2844933 h 4525940"/>
              <a:gd name="connsiteX791" fmla="*/ 305415 w 4545947"/>
              <a:gd name="connsiteY791" fmla="*/ 2859317 h 4525940"/>
              <a:gd name="connsiteX792" fmla="*/ 312354 w 4545947"/>
              <a:gd name="connsiteY792" fmla="*/ 2885111 h 4525940"/>
              <a:gd name="connsiteX793" fmla="*/ 314006 w 4545947"/>
              <a:gd name="connsiteY793" fmla="*/ 2908678 h 4525940"/>
              <a:gd name="connsiteX794" fmla="*/ 303161 w 4545947"/>
              <a:gd name="connsiteY794" fmla="*/ 2917902 h 4525940"/>
              <a:gd name="connsiteX795" fmla="*/ 295229 w 4545947"/>
              <a:gd name="connsiteY795" fmla="*/ 2926867 h 4525940"/>
              <a:gd name="connsiteX796" fmla="*/ 301032 w 4545947"/>
              <a:gd name="connsiteY796" fmla="*/ 3016030 h 4525940"/>
              <a:gd name="connsiteX797" fmla="*/ 307082 w 4545947"/>
              <a:gd name="connsiteY797" fmla="*/ 3039770 h 4525940"/>
              <a:gd name="connsiteX798" fmla="*/ 314244 w 4545947"/>
              <a:gd name="connsiteY798" fmla="*/ 3057181 h 4525940"/>
              <a:gd name="connsiteX799" fmla="*/ 311975 w 4545947"/>
              <a:gd name="connsiteY799" fmla="*/ 3120489 h 4525940"/>
              <a:gd name="connsiteX800" fmla="*/ 314431 w 4545947"/>
              <a:gd name="connsiteY800" fmla="*/ 3160411 h 4525940"/>
              <a:gd name="connsiteX801" fmla="*/ 322659 w 4545947"/>
              <a:gd name="connsiteY801" fmla="*/ 3172228 h 4525940"/>
              <a:gd name="connsiteX802" fmla="*/ 333101 w 4545947"/>
              <a:gd name="connsiteY802" fmla="*/ 3196459 h 4525940"/>
              <a:gd name="connsiteX803" fmla="*/ 351673 w 4545947"/>
              <a:gd name="connsiteY803" fmla="*/ 3244221 h 4525940"/>
              <a:gd name="connsiteX804" fmla="*/ 357674 w 4545947"/>
              <a:gd name="connsiteY804" fmla="*/ 3270391 h 4525940"/>
              <a:gd name="connsiteX805" fmla="*/ 360077 w 4545947"/>
              <a:gd name="connsiteY805" fmla="*/ 3300043 h 4525940"/>
              <a:gd name="connsiteX806" fmla="*/ 362263 w 4545947"/>
              <a:gd name="connsiteY806" fmla="*/ 3345235 h 4525940"/>
              <a:gd name="connsiteX807" fmla="*/ 371009 w 4545947"/>
              <a:gd name="connsiteY807" fmla="*/ 3371539 h 4525940"/>
              <a:gd name="connsiteX808" fmla="*/ 359940 w 4545947"/>
              <a:gd name="connsiteY808" fmla="*/ 3386385 h 4525940"/>
              <a:gd name="connsiteX809" fmla="*/ 348358 w 4545947"/>
              <a:gd name="connsiteY809" fmla="*/ 3410274 h 4525940"/>
              <a:gd name="connsiteX810" fmla="*/ 353518 w 4545947"/>
              <a:gd name="connsiteY810" fmla="*/ 3431779 h 4525940"/>
              <a:gd name="connsiteX811" fmla="*/ 366316 w 4545947"/>
              <a:gd name="connsiteY811" fmla="*/ 3457788 h 4525940"/>
              <a:gd name="connsiteX812" fmla="*/ 388501 w 4545947"/>
              <a:gd name="connsiteY812" fmla="*/ 3503581 h 4525940"/>
              <a:gd name="connsiteX813" fmla="*/ 397247 w 4545947"/>
              <a:gd name="connsiteY813" fmla="*/ 3519333 h 4525940"/>
              <a:gd name="connsiteX814" fmla="*/ 405993 w 4545947"/>
              <a:gd name="connsiteY814" fmla="*/ 3538971 h 4525940"/>
              <a:gd name="connsiteX815" fmla="*/ 416925 w 4545947"/>
              <a:gd name="connsiteY815" fmla="*/ 3572583 h 4525940"/>
              <a:gd name="connsiteX816" fmla="*/ 400289 w 4545947"/>
              <a:gd name="connsiteY816" fmla="*/ 3581960 h 4525940"/>
              <a:gd name="connsiteX817" fmla="*/ 374258 w 4545947"/>
              <a:gd name="connsiteY817" fmla="*/ 3529946 h 4525940"/>
              <a:gd name="connsiteX818" fmla="*/ 357004 w 4545947"/>
              <a:gd name="connsiteY818" fmla="*/ 3495233 h 4525940"/>
              <a:gd name="connsiteX819" fmla="*/ 349145 w 4545947"/>
              <a:gd name="connsiteY819" fmla="*/ 3472244 h 4525940"/>
              <a:gd name="connsiteX820" fmla="*/ 333840 w 4545947"/>
              <a:gd name="connsiteY820" fmla="*/ 3440626 h 4525940"/>
              <a:gd name="connsiteX821" fmla="*/ 318534 w 4545947"/>
              <a:gd name="connsiteY821" fmla="*/ 3411084 h 4525940"/>
              <a:gd name="connsiteX822" fmla="*/ 307602 w 4545947"/>
              <a:gd name="connsiteY822" fmla="*/ 3383774 h 4525940"/>
              <a:gd name="connsiteX823" fmla="*/ 296670 w 4545947"/>
              <a:gd name="connsiteY823" fmla="*/ 3361833 h 4525940"/>
              <a:gd name="connsiteX824" fmla="*/ 291204 w 4545947"/>
              <a:gd name="connsiteY824" fmla="*/ 3341156 h 4525940"/>
              <a:gd name="connsiteX825" fmla="*/ 291204 w 4545947"/>
              <a:gd name="connsiteY825" fmla="*/ 3324887 h 4525940"/>
              <a:gd name="connsiteX826" fmla="*/ 292297 w 4545947"/>
              <a:gd name="connsiteY826" fmla="*/ 3288257 h 4525940"/>
              <a:gd name="connsiteX827" fmla="*/ 287924 w 4545947"/>
              <a:gd name="connsiteY827" fmla="*/ 3268298 h 4525940"/>
              <a:gd name="connsiteX828" fmla="*/ 279316 w 4545947"/>
              <a:gd name="connsiteY828" fmla="*/ 3248993 h 4525940"/>
              <a:gd name="connsiteX829" fmla="*/ 271663 w 4545947"/>
              <a:gd name="connsiteY829" fmla="*/ 3209582 h 4525940"/>
              <a:gd name="connsiteX830" fmla="*/ 255824 w 4545947"/>
              <a:gd name="connsiteY830" fmla="*/ 3151135 h 4525940"/>
              <a:gd name="connsiteX831" fmla="*/ 240519 w 4545947"/>
              <a:gd name="connsiteY831" fmla="*/ 3114065 h 4525940"/>
              <a:gd name="connsiteX832" fmla="*/ 275363 w 4545947"/>
              <a:gd name="connsiteY832" fmla="*/ 3076636 h 4525940"/>
              <a:gd name="connsiteX833" fmla="*/ 287016 w 4545947"/>
              <a:gd name="connsiteY833" fmla="*/ 3068260 h 4525940"/>
              <a:gd name="connsiteX834" fmla="*/ 271736 w 4545947"/>
              <a:gd name="connsiteY834" fmla="*/ 3019134 h 4525940"/>
              <a:gd name="connsiteX835" fmla="*/ 248567 w 4545947"/>
              <a:gd name="connsiteY835" fmla="*/ 2993872 h 4525940"/>
              <a:gd name="connsiteX836" fmla="*/ 219553 w 4545947"/>
              <a:gd name="connsiteY836" fmla="*/ 2968611 h 4525940"/>
              <a:gd name="connsiteX837" fmla="*/ 198550 w 4545947"/>
              <a:gd name="connsiteY837" fmla="*/ 2952433 h 4525940"/>
              <a:gd name="connsiteX838" fmla="*/ 209422 w 4545947"/>
              <a:gd name="connsiteY838" fmla="*/ 2911571 h 4525940"/>
              <a:gd name="connsiteX839" fmla="*/ 225158 w 4545947"/>
              <a:gd name="connsiteY839" fmla="*/ 2894161 h 4525940"/>
              <a:gd name="connsiteX840" fmla="*/ 245762 w 4545947"/>
              <a:gd name="connsiteY840" fmla="*/ 2861125 h 4525940"/>
              <a:gd name="connsiteX841" fmla="*/ 247013 w 4545947"/>
              <a:gd name="connsiteY841" fmla="*/ 2875360 h 4525940"/>
              <a:gd name="connsiteX842" fmla="*/ 275118 w 4545947"/>
              <a:gd name="connsiteY842" fmla="*/ 2914326 h 4525940"/>
              <a:gd name="connsiteX843" fmla="*/ 276532 w 4545947"/>
              <a:gd name="connsiteY843" fmla="*/ 2870294 h 4525940"/>
              <a:gd name="connsiteX844" fmla="*/ 281659 w 4545947"/>
              <a:gd name="connsiteY844" fmla="*/ 2848100 h 4525940"/>
              <a:gd name="connsiteX845" fmla="*/ 299116 w 4545947"/>
              <a:gd name="connsiteY845" fmla="*/ 2844933 h 4525940"/>
              <a:gd name="connsiteX846" fmla="*/ 4347140 w 4545947"/>
              <a:gd name="connsiteY846" fmla="*/ 2808314 h 4525940"/>
              <a:gd name="connsiteX847" fmla="*/ 4335975 w 4545947"/>
              <a:gd name="connsiteY847" fmla="*/ 2820272 h 4525940"/>
              <a:gd name="connsiteX848" fmla="*/ 4313472 w 4545947"/>
              <a:gd name="connsiteY848" fmla="*/ 2830622 h 4525940"/>
              <a:gd name="connsiteX849" fmla="*/ 4287024 w 4545947"/>
              <a:gd name="connsiteY849" fmla="*/ 2841656 h 4525940"/>
              <a:gd name="connsiteX850" fmla="*/ 4290942 w 4545947"/>
              <a:gd name="connsiteY850" fmla="*/ 2866625 h 4525940"/>
              <a:gd name="connsiteX851" fmla="*/ 4293523 w 4545947"/>
              <a:gd name="connsiteY851" fmla="*/ 2892578 h 4525940"/>
              <a:gd name="connsiteX852" fmla="*/ 4298383 w 4545947"/>
              <a:gd name="connsiteY852" fmla="*/ 2914961 h 4525940"/>
              <a:gd name="connsiteX853" fmla="*/ 4316481 w 4545947"/>
              <a:gd name="connsiteY853" fmla="*/ 2894457 h 4525940"/>
              <a:gd name="connsiteX854" fmla="*/ 4322232 w 4545947"/>
              <a:gd name="connsiteY854" fmla="*/ 2867098 h 4525940"/>
              <a:gd name="connsiteX855" fmla="*/ 4344228 w 4545947"/>
              <a:gd name="connsiteY855" fmla="*/ 2883547 h 4525940"/>
              <a:gd name="connsiteX856" fmla="*/ 4341331 w 4545947"/>
              <a:gd name="connsiteY856" fmla="*/ 2930563 h 4525940"/>
              <a:gd name="connsiteX857" fmla="*/ 4341235 w 4545947"/>
              <a:gd name="connsiteY857" fmla="*/ 2950611 h 4525940"/>
              <a:gd name="connsiteX858" fmla="*/ 4346422 w 4545947"/>
              <a:gd name="connsiteY858" fmla="*/ 2978045 h 4525940"/>
              <a:gd name="connsiteX859" fmla="*/ 4351599 w 4545947"/>
              <a:gd name="connsiteY859" fmla="*/ 3011069 h 4525940"/>
              <a:gd name="connsiteX860" fmla="*/ 4353681 w 4545947"/>
              <a:gd name="connsiteY860" fmla="*/ 3026896 h 4525940"/>
              <a:gd name="connsiteX861" fmla="*/ 4358733 w 4545947"/>
              <a:gd name="connsiteY861" fmla="*/ 3042735 h 4525940"/>
              <a:gd name="connsiteX862" fmla="*/ 4374735 w 4545947"/>
              <a:gd name="connsiteY862" fmla="*/ 3041806 h 4525940"/>
              <a:gd name="connsiteX863" fmla="*/ 4376609 w 4545947"/>
              <a:gd name="connsiteY863" fmla="*/ 3009699 h 4525940"/>
              <a:gd name="connsiteX864" fmla="*/ 4372236 w 4545947"/>
              <a:gd name="connsiteY864" fmla="*/ 2977671 h 4525940"/>
              <a:gd name="connsiteX865" fmla="*/ 4376609 w 4545947"/>
              <a:gd name="connsiteY865" fmla="*/ 2949556 h 4525940"/>
              <a:gd name="connsiteX866" fmla="*/ 4375625 w 4545947"/>
              <a:gd name="connsiteY866" fmla="*/ 2919010 h 4525940"/>
              <a:gd name="connsiteX867" fmla="*/ 4374793 w 4545947"/>
              <a:gd name="connsiteY867" fmla="*/ 2900334 h 4525940"/>
              <a:gd name="connsiteX868" fmla="*/ 4376745 w 4545947"/>
              <a:gd name="connsiteY868" fmla="*/ 2841931 h 4525940"/>
              <a:gd name="connsiteX869" fmla="*/ 4372236 w 4545947"/>
              <a:gd name="connsiteY869" fmla="*/ 2835149 h 4525940"/>
              <a:gd name="connsiteX870" fmla="*/ 4347140 w 4545947"/>
              <a:gd name="connsiteY870" fmla="*/ 2808314 h 4525940"/>
              <a:gd name="connsiteX871" fmla="*/ 185194 w 4545947"/>
              <a:gd name="connsiteY871" fmla="*/ 2800466 h 4525940"/>
              <a:gd name="connsiteX872" fmla="*/ 202843 w 4545947"/>
              <a:gd name="connsiteY872" fmla="*/ 2804051 h 4525940"/>
              <a:gd name="connsiteX873" fmla="*/ 209063 w 4545947"/>
              <a:gd name="connsiteY873" fmla="*/ 2816874 h 4525940"/>
              <a:gd name="connsiteX874" fmla="*/ 178601 w 4545947"/>
              <a:gd name="connsiteY874" fmla="*/ 2813244 h 4525940"/>
              <a:gd name="connsiteX875" fmla="*/ 185194 w 4545947"/>
              <a:gd name="connsiteY875" fmla="*/ 2800466 h 4525940"/>
              <a:gd name="connsiteX876" fmla="*/ 222256 w 4545947"/>
              <a:gd name="connsiteY876" fmla="*/ 2788186 h 4525940"/>
              <a:gd name="connsiteX877" fmla="*/ 241934 w 4545947"/>
              <a:gd name="connsiteY877" fmla="*/ 2788517 h 4525940"/>
              <a:gd name="connsiteX878" fmla="*/ 257313 w 4545947"/>
              <a:gd name="connsiteY878" fmla="*/ 2810982 h 4525940"/>
              <a:gd name="connsiteX879" fmla="*/ 249103 w 4545947"/>
              <a:gd name="connsiteY879" fmla="*/ 2829270 h 4525940"/>
              <a:gd name="connsiteX880" fmla="*/ 235449 w 4545947"/>
              <a:gd name="connsiteY880" fmla="*/ 2819774 h 4525940"/>
              <a:gd name="connsiteX881" fmla="*/ 223981 w 4545947"/>
              <a:gd name="connsiteY881" fmla="*/ 2810277 h 4525940"/>
              <a:gd name="connsiteX882" fmla="*/ 222256 w 4545947"/>
              <a:gd name="connsiteY882" fmla="*/ 2788186 h 4525940"/>
              <a:gd name="connsiteX883" fmla="*/ 4412081 w 4545947"/>
              <a:gd name="connsiteY883" fmla="*/ 2689991 h 4525940"/>
              <a:gd name="connsiteX884" fmla="*/ 4428685 w 4545947"/>
              <a:gd name="connsiteY884" fmla="*/ 2766566 h 4525940"/>
              <a:gd name="connsiteX885" fmla="*/ 4416240 w 4545947"/>
              <a:gd name="connsiteY885" fmla="*/ 2811021 h 4525940"/>
              <a:gd name="connsiteX886" fmla="*/ 4408816 w 4545947"/>
              <a:gd name="connsiteY886" fmla="*/ 2744370 h 4525940"/>
              <a:gd name="connsiteX887" fmla="*/ 4412081 w 4545947"/>
              <a:gd name="connsiteY887" fmla="*/ 2689991 h 4525940"/>
              <a:gd name="connsiteX888" fmla="*/ 127218 w 4545947"/>
              <a:gd name="connsiteY888" fmla="*/ 2621494 h 4525940"/>
              <a:gd name="connsiteX889" fmla="*/ 122846 w 4545947"/>
              <a:gd name="connsiteY889" fmla="*/ 2670901 h 4525940"/>
              <a:gd name="connsiteX890" fmla="*/ 117380 w 4545947"/>
              <a:gd name="connsiteY890" fmla="*/ 2645235 h 4525940"/>
              <a:gd name="connsiteX891" fmla="*/ 127218 w 4545947"/>
              <a:gd name="connsiteY891" fmla="*/ 2621494 h 4525940"/>
              <a:gd name="connsiteX892" fmla="*/ 202062 w 4545947"/>
              <a:gd name="connsiteY892" fmla="*/ 2494799 h 4525940"/>
              <a:gd name="connsiteX893" fmla="*/ 208469 w 4545947"/>
              <a:gd name="connsiteY893" fmla="*/ 2507415 h 4525940"/>
              <a:gd name="connsiteX894" fmla="*/ 216859 w 4545947"/>
              <a:gd name="connsiteY894" fmla="*/ 2533762 h 4525940"/>
              <a:gd name="connsiteX895" fmla="*/ 226703 w 4545947"/>
              <a:gd name="connsiteY895" fmla="*/ 2556236 h 4525940"/>
              <a:gd name="connsiteX896" fmla="*/ 231595 w 4545947"/>
              <a:gd name="connsiteY896" fmla="*/ 2574254 h 4525940"/>
              <a:gd name="connsiteX897" fmla="*/ 227222 w 4545947"/>
              <a:gd name="connsiteY897" fmla="*/ 2624068 h 4525940"/>
              <a:gd name="connsiteX898" fmla="*/ 224867 w 4545947"/>
              <a:gd name="connsiteY898" fmla="*/ 2696743 h 4525940"/>
              <a:gd name="connsiteX899" fmla="*/ 244545 w 4545947"/>
              <a:gd name="connsiteY899" fmla="*/ 2698068 h 4525940"/>
              <a:gd name="connsiteX900" fmla="*/ 257313 w 4545947"/>
              <a:gd name="connsiteY900" fmla="*/ 2706368 h 4525940"/>
              <a:gd name="connsiteX901" fmla="*/ 242983 w 4545947"/>
              <a:gd name="connsiteY901" fmla="*/ 2721645 h 4525940"/>
              <a:gd name="connsiteX902" fmla="*/ 214289 w 4545947"/>
              <a:gd name="connsiteY902" fmla="*/ 2740638 h 4525940"/>
              <a:gd name="connsiteX903" fmla="*/ 187346 w 4545947"/>
              <a:gd name="connsiteY903" fmla="*/ 2731669 h 4525940"/>
              <a:gd name="connsiteX904" fmla="*/ 182313 w 4545947"/>
              <a:gd name="connsiteY904" fmla="*/ 2701279 h 4525940"/>
              <a:gd name="connsiteX905" fmla="*/ 175205 w 4545947"/>
              <a:gd name="connsiteY905" fmla="*/ 2662649 h 4525940"/>
              <a:gd name="connsiteX906" fmla="*/ 169307 w 4545947"/>
              <a:gd name="connsiteY906" fmla="*/ 2623027 h 4525940"/>
              <a:gd name="connsiteX907" fmla="*/ 165482 w 4545947"/>
              <a:gd name="connsiteY907" fmla="*/ 2600985 h 4525940"/>
              <a:gd name="connsiteX908" fmla="*/ 176156 w 4545947"/>
              <a:gd name="connsiteY908" fmla="*/ 2582366 h 4525940"/>
              <a:gd name="connsiteX909" fmla="*/ 193816 w 4545947"/>
              <a:gd name="connsiteY909" fmla="*/ 2531949 h 4525940"/>
              <a:gd name="connsiteX910" fmla="*/ 202062 w 4545947"/>
              <a:gd name="connsiteY910" fmla="*/ 2494799 h 4525940"/>
              <a:gd name="connsiteX911" fmla="*/ 154003 w 4545947"/>
              <a:gd name="connsiteY911" fmla="*/ 2487403 h 4525940"/>
              <a:gd name="connsiteX912" fmla="*/ 165482 w 4545947"/>
              <a:gd name="connsiteY912" fmla="*/ 2545173 h 4525940"/>
              <a:gd name="connsiteX913" fmla="*/ 140337 w 4545947"/>
              <a:gd name="connsiteY913" fmla="*/ 2556845 h 4525940"/>
              <a:gd name="connsiteX914" fmla="*/ 139428 w 4545947"/>
              <a:gd name="connsiteY914" fmla="*/ 2529713 h 4525940"/>
              <a:gd name="connsiteX915" fmla="*/ 147656 w 4545947"/>
              <a:gd name="connsiteY915" fmla="*/ 2515110 h 4525940"/>
              <a:gd name="connsiteX916" fmla="*/ 154003 w 4545947"/>
              <a:gd name="connsiteY916" fmla="*/ 2487403 h 4525940"/>
              <a:gd name="connsiteX917" fmla="*/ 4489212 w 4545947"/>
              <a:gd name="connsiteY917" fmla="*/ 2459669 h 4525940"/>
              <a:gd name="connsiteX918" fmla="*/ 4507796 w 4545947"/>
              <a:gd name="connsiteY918" fmla="*/ 2490415 h 4525940"/>
              <a:gd name="connsiteX919" fmla="*/ 4512956 w 4545947"/>
              <a:gd name="connsiteY919" fmla="*/ 2514162 h 4525940"/>
              <a:gd name="connsiteX920" fmla="*/ 4514448 w 4545947"/>
              <a:gd name="connsiteY920" fmla="*/ 2528934 h 4525940"/>
              <a:gd name="connsiteX921" fmla="*/ 4511569 w 4545947"/>
              <a:gd name="connsiteY921" fmla="*/ 2546369 h 4525940"/>
              <a:gd name="connsiteX922" fmla="*/ 4507545 w 4545947"/>
              <a:gd name="connsiteY922" fmla="*/ 2577386 h 4525940"/>
              <a:gd name="connsiteX923" fmla="*/ 4513150 w 4545947"/>
              <a:gd name="connsiteY923" fmla="*/ 2616549 h 4525940"/>
              <a:gd name="connsiteX924" fmla="*/ 4531819 w 4545947"/>
              <a:gd name="connsiteY924" fmla="*/ 2636631 h 4525940"/>
              <a:gd name="connsiteX925" fmla="*/ 4544130 w 4545947"/>
              <a:gd name="connsiteY925" fmla="*/ 2661031 h 4525940"/>
              <a:gd name="connsiteX926" fmla="*/ 4539364 w 4545947"/>
              <a:gd name="connsiteY926" fmla="*/ 2691419 h 4525940"/>
              <a:gd name="connsiteX927" fmla="*/ 4520915 w 4545947"/>
              <a:gd name="connsiteY927" fmla="*/ 2683088 h 4525940"/>
              <a:gd name="connsiteX928" fmla="*/ 4514355 w 4545947"/>
              <a:gd name="connsiteY928" fmla="*/ 2666957 h 4525940"/>
              <a:gd name="connsiteX929" fmla="*/ 4507796 w 4545947"/>
              <a:gd name="connsiteY929" fmla="*/ 2648681 h 4525940"/>
              <a:gd name="connsiteX930" fmla="*/ 4476606 w 4545947"/>
              <a:gd name="connsiteY930" fmla="*/ 2627651 h 4525940"/>
              <a:gd name="connsiteX931" fmla="*/ 4472248 w 4545947"/>
              <a:gd name="connsiteY931" fmla="*/ 2654666 h 4525940"/>
              <a:gd name="connsiteX932" fmla="*/ 4478572 w 4545947"/>
              <a:gd name="connsiteY932" fmla="*/ 2676289 h 4525940"/>
              <a:gd name="connsiteX933" fmla="*/ 4516779 w 4545947"/>
              <a:gd name="connsiteY933" fmla="*/ 2707060 h 4525940"/>
              <a:gd name="connsiteX934" fmla="*/ 4523632 w 4545947"/>
              <a:gd name="connsiteY934" fmla="*/ 2733459 h 4525940"/>
              <a:gd name="connsiteX935" fmla="*/ 4516542 w 4545947"/>
              <a:gd name="connsiteY935" fmla="*/ 2777165 h 4525940"/>
              <a:gd name="connsiteX936" fmla="*/ 4500806 w 4545947"/>
              <a:gd name="connsiteY936" fmla="*/ 2805311 h 4525940"/>
              <a:gd name="connsiteX937" fmla="*/ 4500806 w 4545947"/>
              <a:gd name="connsiteY937" fmla="*/ 2805310 h 4525940"/>
              <a:gd name="connsiteX938" fmla="*/ 4487024 w 4545947"/>
              <a:gd name="connsiteY938" fmla="*/ 2793817 h 4525940"/>
              <a:gd name="connsiteX939" fmla="*/ 4475000 w 4545947"/>
              <a:gd name="connsiteY939" fmla="*/ 2792234 h 4525940"/>
              <a:gd name="connsiteX940" fmla="*/ 4468440 w 4545947"/>
              <a:gd name="connsiteY940" fmla="*/ 2775457 h 4525940"/>
              <a:gd name="connsiteX941" fmla="*/ 4464067 w 4545947"/>
              <a:gd name="connsiteY941" fmla="*/ 2759630 h 4525940"/>
              <a:gd name="connsiteX942" fmla="*/ 4459694 w 4545947"/>
              <a:gd name="connsiteY942" fmla="*/ 2747342 h 4525940"/>
              <a:gd name="connsiteX943" fmla="*/ 4464067 w 4545947"/>
              <a:gd name="connsiteY943" fmla="*/ 2731141 h 4525940"/>
              <a:gd name="connsiteX944" fmla="*/ 4463558 w 4545947"/>
              <a:gd name="connsiteY944" fmla="*/ 2689991 h 4525940"/>
              <a:gd name="connsiteX945" fmla="*/ 4460961 w 4545947"/>
              <a:gd name="connsiteY945" fmla="*/ 2677329 h 4525940"/>
              <a:gd name="connsiteX946" fmla="*/ 4459285 w 4545947"/>
              <a:gd name="connsiteY946" fmla="*/ 2664667 h 4525940"/>
              <a:gd name="connsiteX947" fmla="*/ 4455321 w 4545947"/>
              <a:gd name="connsiteY947" fmla="*/ 2629110 h 4525940"/>
              <a:gd name="connsiteX948" fmla="*/ 4464775 w 4545947"/>
              <a:gd name="connsiteY948" fmla="*/ 2597130 h 4525940"/>
              <a:gd name="connsiteX949" fmla="*/ 4484058 w 4545947"/>
              <a:gd name="connsiteY949" fmla="*/ 2553425 h 4525940"/>
              <a:gd name="connsiteX950" fmla="*/ 4463930 w 4545947"/>
              <a:gd name="connsiteY950" fmla="*/ 2554058 h 4525940"/>
              <a:gd name="connsiteX951" fmla="*/ 4417058 w 4545947"/>
              <a:gd name="connsiteY951" fmla="*/ 2525589 h 4525940"/>
              <a:gd name="connsiteX952" fmla="*/ 4398473 w 4545947"/>
              <a:gd name="connsiteY952" fmla="*/ 2483464 h 4525940"/>
              <a:gd name="connsiteX953" fmla="*/ 4413779 w 4545947"/>
              <a:gd name="connsiteY953" fmla="*/ 2471995 h 4525940"/>
              <a:gd name="connsiteX954" fmla="*/ 4429084 w 4545947"/>
              <a:gd name="connsiteY954" fmla="*/ 2469116 h 4525940"/>
              <a:gd name="connsiteX955" fmla="*/ 4451173 w 4545947"/>
              <a:gd name="connsiteY955" fmla="*/ 2475117 h 4525940"/>
              <a:gd name="connsiteX956" fmla="*/ 4468085 w 4545947"/>
              <a:gd name="connsiteY956" fmla="*/ 2479925 h 4525940"/>
              <a:gd name="connsiteX957" fmla="*/ 4477186 w 4545947"/>
              <a:gd name="connsiteY957" fmla="*/ 2463602 h 4525940"/>
              <a:gd name="connsiteX958" fmla="*/ 4489212 w 4545947"/>
              <a:gd name="connsiteY958" fmla="*/ 2459669 h 4525940"/>
              <a:gd name="connsiteX959" fmla="*/ 7746 w 4545947"/>
              <a:gd name="connsiteY959" fmla="*/ 2436756 h 4525940"/>
              <a:gd name="connsiteX960" fmla="*/ 15909 w 4545947"/>
              <a:gd name="connsiteY960" fmla="*/ 2478985 h 4525940"/>
              <a:gd name="connsiteX961" fmla="*/ 9149 w 4545947"/>
              <a:gd name="connsiteY961" fmla="*/ 2523829 h 4525940"/>
              <a:gd name="connsiteX962" fmla="*/ 3624 w 4545947"/>
              <a:gd name="connsiteY962" fmla="*/ 2495844 h 4525940"/>
              <a:gd name="connsiteX963" fmla="*/ 927 w 4545947"/>
              <a:gd name="connsiteY963" fmla="*/ 2451001 h 4525940"/>
              <a:gd name="connsiteX964" fmla="*/ 7746 w 4545947"/>
              <a:gd name="connsiteY964" fmla="*/ 2436756 h 4525940"/>
              <a:gd name="connsiteX965" fmla="*/ 4451449 w 4545947"/>
              <a:gd name="connsiteY965" fmla="*/ 2180169 h 4525940"/>
              <a:gd name="connsiteX966" fmla="*/ 4461168 w 4545947"/>
              <a:gd name="connsiteY966" fmla="*/ 2183599 h 4525940"/>
              <a:gd name="connsiteX967" fmla="*/ 4460788 w 4545947"/>
              <a:gd name="connsiteY967" fmla="*/ 2194337 h 4525940"/>
              <a:gd name="connsiteX968" fmla="*/ 4455322 w 4545947"/>
              <a:gd name="connsiteY968" fmla="*/ 2218869 h 4525940"/>
              <a:gd name="connsiteX969" fmla="*/ 4450949 w 4545947"/>
              <a:gd name="connsiteY969" fmla="*/ 2240500 h 4525940"/>
              <a:gd name="connsiteX970" fmla="*/ 4453135 w 4545947"/>
              <a:gd name="connsiteY970" fmla="*/ 2272154 h 4525940"/>
              <a:gd name="connsiteX971" fmla="*/ 4452776 w 4545947"/>
              <a:gd name="connsiteY971" fmla="*/ 2299966 h 4525940"/>
              <a:gd name="connsiteX972" fmla="*/ 4445124 w 4545947"/>
              <a:gd name="connsiteY972" fmla="*/ 2303309 h 4525940"/>
              <a:gd name="connsiteX973" fmla="*/ 4438922 w 4545947"/>
              <a:gd name="connsiteY973" fmla="*/ 2299616 h 4525940"/>
              <a:gd name="connsiteX974" fmla="*/ 4438923 w 4545947"/>
              <a:gd name="connsiteY974" fmla="*/ 2299616 h 4525940"/>
              <a:gd name="connsiteX975" fmla="*/ 4438704 w 4545947"/>
              <a:gd name="connsiteY975" fmla="*/ 2248097 h 4525940"/>
              <a:gd name="connsiteX976" fmla="*/ 4438704 w 4545947"/>
              <a:gd name="connsiteY976" fmla="*/ 2240500 h 4525940"/>
              <a:gd name="connsiteX977" fmla="*/ 4433457 w 4545947"/>
              <a:gd name="connsiteY977" fmla="*/ 2227838 h 4525940"/>
              <a:gd name="connsiteX978" fmla="*/ 4437830 w 4545947"/>
              <a:gd name="connsiteY978" fmla="*/ 2215176 h 4525940"/>
              <a:gd name="connsiteX979" fmla="*/ 4442203 w 4545947"/>
              <a:gd name="connsiteY979" fmla="*/ 2205680 h 4525940"/>
              <a:gd name="connsiteX980" fmla="*/ 4446833 w 4545947"/>
              <a:gd name="connsiteY980" fmla="*/ 2196184 h 4525940"/>
              <a:gd name="connsiteX981" fmla="*/ 4448948 w 4545947"/>
              <a:gd name="connsiteY981" fmla="*/ 2190290 h 4525940"/>
              <a:gd name="connsiteX982" fmla="*/ 4451449 w 4545947"/>
              <a:gd name="connsiteY982" fmla="*/ 2180169 h 4525940"/>
              <a:gd name="connsiteX983" fmla="*/ 34606 w 4545947"/>
              <a:gd name="connsiteY983" fmla="*/ 2069567 h 4525940"/>
              <a:gd name="connsiteX984" fmla="*/ 53749 w 4545947"/>
              <a:gd name="connsiteY984" fmla="*/ 2077480 h 4525940"/>
              <a:gd name="connsiteX985" fmla="*/ 68742 w 4545947"/>
              <a:gd name="connsiteY985" fmla="*/ 2094705 h 4525940"/>
              <a:gd name="connsiteX986" fmla="*/ 78162 w 4545947"/>
              <a:gd name="connsiteY986" fmla="*/ 2113698 h 4525940"/>
              <a:gd name="connsiteX987" fmla="*/ 84722 w 4545947"/>
              <a:gd name="connsiteY987" fmla="*/ 2135668 h 4525940"/>
              <a:gd name="connsiteX988" fmla="*/ 91142 w 4545947"/>
              <a:gd name="connsiteY988" fmla="*/ 2159094 h 4525940"/>
              <a:gd name="connsiteX989" fmla="*/ 98649 w 4545947"/>
              <a:gd name="connsiteY989" fmla="*/ 2176313 h 4525940"/>
              <a:gd name="connsiteX990" fmla="*/ 100678 w 4545947"/>
              <a:gd name="connsiteY990" fmla="*/ 2197213 h 4525940"/>
              <a:gd name="connsiteX991" fmla="*/ 94264 w 4545947"/>
              <a:gd name="connsiteY991" fmla="*/ 2240455 h 4525940"/>
              <a:gd name="connsiteX992" fmla="*/ 103228 w 4545947"/>
              <a:gd name="connsiteY992" fmla="*/ 2275221 h 4525940"/>
              <a:gd name="connsiteX993" fmla="*/ 111157 w 4545947"/>
              <a:gd name="connsiteY993" fmla="*/ 2288996 h 4525940"/>
              <a:gd name="connsiteX994" fmla="*/ 115154 w 4545947"/>
              <a:gd name="connsiteY994" fmla="*/ 2299745 h 4525940"/>
              <a:gd name="connsiteX995" fmla="*/ 119839 w 4545947"/>
              <a:gd name="connsiteY995" fmla="*/ 2335089 h 4525940"/>
              <a:gd name="connsiteX996" fmla="*/ 121247 w 4545947"/>
              <a:gd name="connsiteY996" fmla="*/ 2367166 h 4525940"/>
              <a:gd name="connsiteX997" fmla="*/ 134871 w 4545947"/>
              <a:gd name="connsiteY997" fmla="*/ 2434853 h 4525940"/>
              <a:gd name="connsiteX998" fmla="*/ 105354 w 4545947"/>
              <a:gd name="connsiteY998" fmla="*/ 2463831 h 4525940"/>
              <a:gd name="connsiteX999" fmla="*/ 91142 w 4545947"/>
              <a:gd name="connsiteY999" fmla="*/ 2442687 h 4525940"/>
              <a:gd name="connsiteX1000" fmla="*/ 86424 w 4545947"/>
              <a:gd name="connsiteY1000" fmla="*/ 2424095 h 4525940"/>
              <a:gd name="connsiteX1001" fmla="*/ 83144 w 4545947"/>
              <a:gd name="connsiteY1001" fmla="*/ 2376598 h 4525940"/>
              <a:gd name="connsiteX1002" fmla="*/ 81303 w 4545947"/>
              <a:gd name="connsiteY1002" fmla="*/ 2329117 h 4525940"/>
              <a:gd name="connsiteX1003" fmla="*/ 78023 w 4545947"/>
              <a:gd name="connsiteY1003" fmla="*/ 2282860 h 4525940"/>
              <a:gd name="connsiteX1004" fmla="*/ 56084 w 4545947"/>
              <a:gd name="connsiteY1004" fmla="*/ 2206845 h 4525940"/>
              <a:gd name="connsiteX1005" fmla="*/ 43040 w 4545947"/>
              <a:gd name="connsiteY1005" fmla="*/ 2151714 h 4525940"/>
              <a:gd name="connsiteX1006" fmla="*/ 31014 w 4545947"/>
              <a:gd name="connsiteY1006" fmla="*/ 2102364 h 4525940"/>
              <a:gd name="connsiteX1007" fmla="*/ 21175 w 4545947"/>
              <a:gd name="connsiteY1007" fmla="*/ 2084954 h 4525940"/>
              <a:gd name="connsiteX1008" fmla="*/ 34606 w 4545947"/>
              <a:gd name="connsiteY1008" fmla="*/ 2069567 h 4525940"/>
              <a:gd name="connsiteX1009" fmla="*/ 4460614 w 4545947"/>
              <a:gd name="connsiteY1009" fmla="*/ 2037913 h 4525940"/>
              <a:gd name="connsiteX1010" fmla="*/ 4466134 w 4545947"/>
              <a:gd name="connsiteY1010" fmla="*/ 2064819 h 4525940"/>
              <a:gd name="connsiteX1011" fmla="*/ 4453412 w 4545947"/>
              <a:gd name="connsiteY1011" fmla="*/ 2101221 h 4525940"/>
              <a:gd name="connsiteX1012" fmla="*/ 4442203 w 4545947"/>
              <a:gd name="connsiteY1012" fmla="*/ 2110717 h 4525940"/>
              <a:gd name="connsiteX1013" fmla="*/ 4432921 w 4545947"/>
              <a:gd name="connsiteY1013" fmla="*/ 2120214 h 4525940"/>
              <a:gd name="connsiteX1014" fmla="*/ 4429084 w 4545947"/>
              <a:gd name="connsiteY1014" fmla="*/ 2110717 h 4525940"/>
              <a:gd name="connsiteX1015" fmla="*/ 4424711 w 4545947"/>
              <a:gd name="connsiteY1015" fmla="*/ 2101221 h 4525940"/>
              <a:gd name="connsiteX1016" fmla="*/ 4420338 w 4545947"/>
              <a:gd name="connsiteY1016" fmla="*/ 2092252 h 4525940"/>
              <a:gd name="connsiteX1017" fmla="*/ 4415178 w 4545947"/>
              <a:gd name="connsiteY1017" fmla="*/ 2080794 h 4525940"/>
              <a:gd name="connsiteX1018" fmla="*/ 4428412 w 4545947"/>
              <a:gd name="connsiteY1018" fmla="*/ 2056905 h 4525940"/>
              <a:gd name="connsiteX1019" fmla="*/ 4446576 w 4545947"/>
              <a:gd name="connsiteY1019" fmla="*/ 2047409 h 4525940"/>
              <a:gd name="connsiteX1020" fmla="*/ 4460614 w 4545947"/>
              <a:gd name="connsiteY1020" fmla="*/ 2037913 h 4525940"/>
              <a:gd name="connsiteX1021" fmla="*/ 103803 w 4545947"/>
              <a:gd name="connsiteY1021" fmla="*/ 1997172 h 4525940"/>
              <a:gd name="connsiteX1022" fmla="*/ 109790 w 4545947"/>
              <a:gd name="connsiteY1022" fmla="*/ 2015136 h 4525940"/>
              <a:gd name="connsiteX1023" fmla="*/ 99888 w 4545947"/>
              <a:gd name="connsiteY1023" fmla="*/ 2009798 h 4525940"/>
              <a:gd name="connsiteX1024" fmla="*/ 103803 w 4545947"/>
              <a:gd name="connsiteY1024" fmla="*/ 1997172 h 4525940"/>
              <a:gd name="connsiteX1025" fmla="*/ 4417411 w 4545947"/>
              <a:gd name="connsiteY1025" fmla="*/ 1842865 h 4525940"/>
              <a:gd name="connsiteX1026" fmla="*/ 4440321 w 4545947"/>
              <a:gd name="connsiteY1026" fmla="*/ 1848354 h 4525940"/>
              <a:gd name="connsiteX1027" fmla="*/ 4446576 w 4545947"/>
              <a:gd name="connsiteY1027" fmla="*/ 1896026 h 4525940"/>
              <a:gd name="connsiteX1028" fmla="*/ 4433604 w 4545947"/>
              <a:gd name="connsiteY1028" fmla="*/ 1955393 h 4525940"/>
              <a:gd name="connsiteX1029" fmla="*/ 4410134 w 4545947"/>
              <a:gd name="connsiteY1029" fmla="*/ 1970383 h 4525940"/>
              <a:gd name="connsiteX1030" fmla="*/ 4407219 w 4545947"/>
              <a:gd name="connsiteY1030" fmla="*/ 1948678 h 4525940"/>
              <a:gd name="connsiteX1031" fmla="*/ 4400659 w 4545947"/>
              <a:gd name="connsiteY1031" fmla="*/ 1921696 h 4525940"/>
              <a:gd name="connsiteX1032" fmla="*/ 4398473 w 4545947"/>
              <a:gd name="connsiteY1032" fmla="*/ 1860649 h 4525940"/>
              <a:gd name="connsiteX1033" fmla="*/ 4401754 w 4545947"/>
              <a:gd name="connsiteY1033" fmla="*/ 1852735 h 4525940"/>
              <a:gd name="connsiteX1034" fmla="*/ 4417411 w 4545947"/>
              <a:gd name="connsiteY1034" fmla="*/ 1842865 h 4525940"/>
              <a:gd name="connsiteX1035" fmla="*/ 4344905 w 4545947"/>
              <a:gd name="connsiteY1035" fmla="*/ 1614950 h 4525940"/>
              <a:gd name="connsiteX1036" fmla="*/ 4352557 w 4545947"/>
              <a:gd name="connsiteY1036" fmla="*/ 1626407 h 4525940"/>
              <a:gd name="connsiteX1037" fmla="*/ 4344905 w 4545947"/>
              <a:gd name="connsiteY1037" fmla="*/ 1637863 h 4525940"/>
              <a:gd name="connsiteX1038" fmla="*/ 4337253 w 4545947"/>
              <a:gd name="connsiteY1038" fmla="*/ 1626407 h 4525940"/>
              <a:gd name="connsiteX1039" fmla="*/ 4344905 w 4545947"/>
              <a:gd name="connsiteY1039" fmla="*/ 1614950 h 4525940"/>
              <a:gd name="connsiteX1040" fmla="*/ 4204363 w 4545947"/>
              <a:gd name="connsiteY1040" fmla="*/ 1582188 h 4525940"/>
              <a:gd name="connsiteX1041" fmla="*/ 4198605 w 4545947"/>
              <a:gd name="connsiteY1041" fmla="*/ 1612163 h 4525940"/>
              <a:gd name="connsiteX1042" fmla="*/ 4221888 w 4545947"/>
              <a:gd name="connsiteY1042" fmla="*/ 1704182 h 4525940"/>
              <a:gd name="connsiteX1043" fmla="*/ 4243234 w 4545947"/>
              <a:gd name="connsiteY1043" fmla="*/ 1696654 h 4525940"/>
              <a:gd name="connsiteX1044" fmla="*/ 4257843 w 4545947"/>
              <a:gd name="connsiteY1044" fmla="*/ 1674394 h 4525940"/>
              <a:gd name="connsiteX1045" fmla="*/ 4235464 w 4545947"/>
              <a:gd name="connsiteY1045" fmla="*/ 1634601 h 4525940"/>
              <a:gd name="connsiteX1046" fmla="*/ 4226892 w 4545947"/>
              <a:gd name="connsiteY1046" fmla="*/ 1613755 h 4525940"/>
              <a:gd name="connsiteX1047" fmla="*/ 4204363 w 4545947"/>
              <a:gd name="connsiteY1047" fmla="*/ 1582188 h 4525940"/>
              <a:gd name="connsiteX1048" fmla="*/ 4407219 w 4545947"/>
              <a:gd name="connsiteY1048" fmla="*/ 1487128 h 4525940"/>
              <a:gd name="connsiteX1049" fmla="*/ 4411592 w 4545947"/>
              <a:gd name="connsiteY1049" fmla="*/ 1496625 h 4525940"/>
              <a:gd name="connsiteX1050" fmla="*/ 4407219 w 4545947"/>
              <a:gd name="connsiteY1050" fmla="*/ 1506120 h 4525940"/>
              <a:gd name="connsiteX1051" fmla="*/ 4402846 w 4545947"/>
              <a:gd name="connsiteY1051" fmla="*/ 1496625 h 4525940"/>
              <a:gd name="connsiteX1052" fmla="*/ 4407219 w 4545947"/>
              <a:gd name="connsiteY1052" fmla="*/ 1487128 h 4525940"/>
              <a:gd name="connsiteX1053" fmla="*/ 4317718 w 4545947"/>
              <a:gd name="connsiteY1053" fmla="*/ 1474466 h 4525940"/>
              <a:gd name="connsiteX1054" fmla="*/ 4345998 w 4545947"/>
              <a:gd name="connsiteY1054" fmla="*/ 1518157 h 4525940"/>
              <a:gd name="connsiteX1055" fmla="*/ 4327663 w 4545947"/>
              <a:gd name="connsiteY1055" fmla="*/ 1517200 h 4525940"/>
              <a:gd name="connsiteX1056" fmla="*/ 4317718 w 4545947"/>
              <a:gd name="connsiteY1056" fmla="*/ 1474466 h 4525940"/>
              <a:gd name="connsiteX1057" fmla="*/ 4293987 w 4545947"/>
              <a:gd name="connsiteY1057" fmla="*/ 1306730 h 4525940"/>
              <a:gd name="connsiteX1058" fmla="*/ 4303395 w 4545947"/>
              <a:gd name="connsiteY1058" fmla="*/ 1311043 h 4525940"/>
              <a:gd name="connsiteX1059" fmla="*/ 4318980 w 4545947"/>
              <a:gd name="connsiteY1059" fmla="*/ 1376275 h 4525940"/>
              <a:gd name="connsiteX1060" fmla="*/ 4300491 w 4545947"/>
              <a:gd name="connsiteY1060" fmla="*/ 1383107 h 4525940"/>
              <a:gd name="connsiteX1061" fmla="*/ 4285001 w 4545947"/>
              <a:gd name="connsiteY1061" fmla="*/ 1360511 h 4525940"/>
              <a:gd name="connsiteX1062" fmla="*/ 4282590 w 4545947"/>
              <a:gd name="connsiteY1062" fmla="*/ 1335187 h 4525940"/>
              <a:gd name="connsiteX1063" fmla="*/ 4289150 w 4545947"/>
              <a:gd name="connsiteY1063" fmla="*/ 1318959 h 4525940"/>
              <a:gd name="connsiteX1064" fmla="*/ 4293987 w 4545947"/>
              <a:gd name="connsiteY1064" fmla="*/ 1306730 h 4525940"/>
              <a:gd name="connsiteX1065" fmla="*/ 4289150 w 4545947"/>
              <a:gd name="connsiteY1065" fmla="*/ 1180082 h 4525940"/>
              <a:gd name="connsiteX1066" fmla="*/ 4293523 w 4545947"/>
              <a:gd name="connsiteY1066" fmla="*/ 1186038 h 4525940"/>
              <a:gd name="connsiteX1067" fmla="*/ 4289150 w 4545947"/>
              <a:gd name="connsiteY1067" fmla="*/ 1195908 h 4525940"/>
              <a:gd name="connsiteX1068" fmla="*/ 4284778 w 4545947"/>
              <a:gd name="connsiteY1068" fmla="*/ 1189951 h 4525940"/>
              <a:gd name="connsiteX1069" fmla="*/ 4289150 w 4545947"/>
              <a:gd name="connsiteY1069" fmla="*/ 1180082 h 4525940"/>
              <a:gd name="connsiteX1070" fmla="*/ 4345236 w 4545947"/>
              <a:gd name="connsiteY1070" fmla="*/ 1176916 h 4525940"/>
              <a:gd name="connsiteX1071" fmla="*/ 4370740 w 4545947"/>
              <a:gd name="connsiteY1071" fmla="*/ 1217745 h 4525940"/>
              <a:gd name="connsiteX1072" fmla="*/ 4345998 w 4545947"/>
              <a:gd name="connsiteY1072" fmla="*/ 1218067 h 4525940"/>
              <a:gd name="connsiteX1073" fmla="*/ 4341625 w 4545947"/>
              <a:gd name="connsiteY1073" fmla="*/ 1208570 h 4525940"/>
              <a:gd name="connsiteX1074" fmla="*/ 4337253 w 4545947"/>
              <a:gd name="connsiteY1074" fmla="*/ 1192743 h 4525940"/>
              <a:gd name="connsiteX1075" fmla="*/ 4345236 w 4545947"/>
              <a:gd name="connsiteY1075" fmla="*/ 1176916 h 4525940"/>
              <a:gd name="connsiteX1076" fmla="*/ 4039894 w 4545947"/>
              <a:gd name="connsiteY1076" fmla="*/ 1107277 h 4525940"/>
              <a:gd name="connsiteX1077" fmla="*/ 4039019 w 4545947"/>
              <a:gd name="connsiteY1077" fmla="*/ 1162988 h 4525940"/>
              <a:gd name="connsiteX1078" fmla="*/ 4019800 w 4545947"/>
              <a:gd name="connsiteY1078" fmla="*/ 1156998 h 4525940"/>
              <a:gd name="connsiteX1079" fmla="*/ 4016936 w 4545947"/>
              <a:gd name="connsiteY1079" fmla="*/ 1140644 h 4525940"/>
              <a:gd name="connsiteX1080" fmla="*/ 4022402 w 4545947"/>
              <a:gd name="connsiteY1080" fmla="*/ 1128907 h 4525940"/>
              <a:gd name="connsiteX1081" fmla="*/ 4028961 w 4545947"/>
              <a:gd name="connsiteY1081" fmla="*/ 1119938 h 4525940"/>
              <a:gd name="connsiteX1082" fmla="*/ 4035521 w 4545947"/>
              <a:gd name="connsiteY1082" fmla="*/ 1113607 h 4525940"/>
              <a:gd name="connsiteX1083" fmla="*/ 4039894 w 4545947"/>
              <a:gd name="connsiteY1083" fmla="*/ 1107277 h 4525940"/>
              <a:gd name="connsiteX1084" fmla="*/ 4144916 w 4545947"/>
              <a:gd name="connsiteY1084" fmla="*/ 1053528 h 4525940"/>
              <a:gd name="connsiteX1085" fmla="*/ 4140471 w 4545947"/>
              <a:gd name="connsiteY1085" fmla="*/ 1069291 h 4525940"/>
              <a:gd name="connsiteX1086" fmla="*/ 4134098 w 4545947"/>
              <a:gd name="connsiteY1086" fmla="*/ 1063398 h 4525940"/>
              <a:gd name="connsiteX1087" fmla="*/ 4144916 w 4545947"/>
              <a:gd name="connsiteY1087" fmla="*/ 1053528 h 4525940"/>
              <a:gd name="connsiteX1088" fmla="*/ 3987419 w 4545947"/>
              <a:gd name="connsiteY1088" fmla="*/ 990156 h 4525940"/>
              <a:gd name="connsiteX1089" fmla="*/ 3983046 w 4545947"/>
              <a:gd name="connsiteY1089" fmla="*/ 992947 h 4525940"/>
              <a:gd name="connsiteX1090" fmla="*/ 3987419 w 4545947"/>
              <a:gd name="connsiteY1090" fmla="*/ 999652 h 4525940"/>
              <a:gd name="connsiteX1091" fmla="*/ 3991792 w 4545947"/>
              <a:gd name="connsiteY1091" fmla="*/ 996860 h 4525940"/>
              <a:gd name="connsiteX1092" fmla="*/ 3987419 w 4545947"/>
              <a:gd name="connsiteY1092" fmla="*/ 990156 h 4525940"/>
              <a:gd name="connsiteX1093" fmla="*/ 4173388 w 4545947"/>
              <a:gd name="connsiteY1093" fmla="*/ 892398 h 4525940"/>
              <a:gd name="connsiteX1094" fmla="*/ 4182372 w 4545947"/>
              <a:gd name="connsiteY1094" fmla="*/ 907667 h 4525940"/>
              <a:gd name="connsiteX1095" fmla="*/ 4178395 w 4545947"/>
              <a:gd name="connsiteY1095" fmla="*/ 932991 h 4525940"/>
              <a:gd name="connsiteX1096" fmla="*/ 4163952 w 4545947"/>
              <a:gd name="connsiteY1096" fmla="*/ 928430 h 4525940"/>
              <a:gd name="connsiteX1097" fmla="*/ 4166648 w 4545947"/>
              <a:gd name="connsiteY1097" fmla="*/ 903107 h 4525940"/>
              <a:gd name="connsiteX1098" fmla="*/ 4173388 w 4545947"/>
              <a:gd name="connsiteY1098" fmla="*/ 892398 h 4525940"/>
              <a:gd name="connsiteX1099" fmla="*/ 4006132 w 4545947"/>
              <a:gd name="connsiteY1099" fmla="*/ 869101 h 4525940"/>
              <a:gd name="connsiteX1100" fmla="*/ 4005256 w 4545947"/>
              <a:gd name="connsiteY1100" fmla="*/ 875673 h 4525940"/>
              <a:gd name="connsiteX1101" fmla="*/ 4007552 w 4545947"/>
              <a:gd name="connsiteY1101" fmla="*/ 883982 h 4525940"/>
              <a:gd name="connsiteX1102" fmla="*/ 4007897 w 4545947"/>
              <a:gd name="connsiteY1102" fmla="*/ 871848 h 4525940"/>
              <a:gd name="connsiteX1103" fmla="*/ 4007897 w 4545947"/>
              <a:gd name="connsiteY1103" fmla="*/ 871848 h 4525940"/>
              <a:gd name="connsiteX1104" fmla="*/ 4006132 w 4545947"/>
              <a:gd name="connsiteY1104" fmla="*/ 869101 h 4525940"/>
              <a:gd name="connsiteX1105" fmla="*/ 4268481 w 4545947"/>
              <a:gd name="connsiteY1105" fmla="*/ 836466 h 4525940"/>
              <a:gd name="connsiteX1106" fmla="*/ 4272461 w 4545947"/>
              <a:gd name="connsiteY1106" fmla="*/ 852405 h 4525940"/>
              <a:gd name="connsiteX1107" fmla="*/ 4298063 w 4545947"/>
              <a:gd name="connsiteY1107" fmla="*/ 860052 h 4525940"/>
              <a:gd name="connsiteX1108" fmla="*/ 4319761 w 4545947"/>
              <a:gd name="connsiteY1108" fmla="*/ 891455 h 4525940"/>
              <a:gd name="connsiteX1109" fmla="*/ 4315033 w 4545947"/>
              <a:gd name="connsiteY1109" fmla="*/ 933496 h 4525940"/>
              <a:gd name="connsiteX1110" fmla="*/ 4296867 w 4545947"/>
              <a:gd name="connsiteY1110" fmla="*/ 919625 h 4525940"/>
              <a:gd name="connsiteX1111" fmla="*/ 4286139 w 4545947"/>
              <a:gd name="connsiteY1111" fmla="*/ 912555 h 4525940"/>
              <a:gd name="connsiteX1112" fmla="*/ 4283218 w 4545947"/>
              <a:gd name="connsiteY1112" fmla="*/ 931206 h 4525940"/>
              <a:gd name="connsiteX1113" fmla="*/ 4284339 w 4545947"/>
              <a:gd name="connsiteY1113" fmla="*/ 950245 h 4525940"/>
              <a:gd name="connsiteX1114" fmla="*/ 4309434 w 4545947"/>
              <a:gd name="connsiteY1114" fmla="*/ 952171 h 4525940"/>
              <a:gd name="connsiteX1115" fmla="*/ 4324134 w 4545947"/>
              <a:gd name="connsiteY1115" fmla="*/ 948089 h 4525940"/>
              <a:gd name="connsiteX1116" fmla="*/ 4338345 w 4545947"/>
              <a:gd name="connsiteY1116" fmla="*/ 959380 h 4525940"/>
              <a:gd name="connsiteX1117" fmla="*/ 4353914 w 4545947"/>
              <a:gd name="connsiteY1117" fmla="*/ 978828 h 4525940"/>
              <a:gd name="connsiteX1118" fmla="*/ 4361566 w 4545947"/>
              <a:gd name="connsiteY1118" fmla="*/ 999968 h 4525940"/>
              <a:gd name="connsiteX1119" fmla="*/ 4367863 w 4545947"/>
              <a:gd name="connsiteY1119" fmla="*/ 1018968 h 4525940"/>
              <a:gd name="connsiteX1120" fmla="*/ 4374106 w 4545947"/>
              <a:gd name="connsiteY1120" fmla="*/ 1039440 h 4525940"/>
              <a:gd name="connsiteX1121" fmla="*/ 4381726 w 4545947"/>
              <a:gd name="connsiteY1121" fmla="*/ 1094615 h 4525940"/>
              <a:gd name="connsiteX1122" fmla="*/ 4374326 w 4545947"/>
              <a:gd name="connsiteY1122" fmla="*/ 1088058 h 4525940"/>
              <a:gd name="connsiteX1123" fmla="*/ 4355483 w 4545947"/>
              <a:gd name="connsiteY1123" fmla="*/ 1082503 h 4525940"/>
              <a:gd name="connsiteX1124" fmla="*/ 4304542 w 4545947"/>
              <a:gd name="connsiteY1124" fmla="*/ 1078559 h 4525940"/>
              <a:gd name="connsiteX1125" fmla="*/ 4277212 w 4545947"/>
              <a:gd name="connsiteY1125" fmla="*/ 1084565 h 4525940"/>
              <a:gd name="connsiteX1126" fmla="*/ 4284778 w 4545947"/>
              <a:gd name="connsiteY1126" fmla="*/ 1102482 h 4525940"/>
              <a:gd name="connsiteX1127" fmla="*/ 4292039 w 4545947"/>
              <a:gd name="connsiteY1127" fmla="*/ 1121061 h 4525940"/>
              <a:gd name="connsiteX1128" fmla="*/ 4280650 w 4545947"/>
              <a:gd name="connsiteY1128" fmla="*/ 1132702 h 4525940"/>
              <a:gd name="connsiteX1129" fmla="*/ 4258269 w 4545947"/>
              <a:gd name="connsiteY1129" fmla="*/ 1132810 h 4525940"/>
              <a:gd name="connsiteX1130" fmla="*/ 4239604 w 4545947"/>
              <a:gd name="connsiteY1130" fmla="*/ 1108859 h 4525940"/>
              <a:gd name="connsiteX1131" fmla="*/ 4238427 w 4545947"/>
              <a:gd name="connsiteY1131" fmla="*/ 1056630 h 4525940"/>
              <a:gd name="connsiteX1132" fmla="*/ 4236655 w 4545947"/>
              <a:gd name="connsiteY1132" fmla="*/ 986990 h 4525940"/>
              <a:gd name="connsiteX1133" fmla="*/ 4237269 w 4545947"/>
              <a:gd name="connsiteY1133" fmla="*/ 933495 h 4525940"/>
              <a:gd name="connsiteX1134" fmla="*/ 4241048 w 4545947"/>
              <a:gd name="connsiteY1134" fmla="*/ 916085 h 4525940"/>
              <a:gd name="connsiteX1135" fmla="*/ 4245421 w 4545947"/>
              <a:gd name="connsiteY1135" fmla="*/ 904689 h 4525940"/>
              <a:gd name="connsiteX1136" fmla="*/ 4249794 w 4545947"/>
              <a:gd name="connsiteY1136" fmla="*/ 873712 h 4525940"/>
              <a:gd name="connsiteX1137" fmla="*/ 4256711 w 4545947"/>
              <a:gd name="connsiteY1137" fmla="*/ 838893 h 4525940"/>
              <a:gd name="connsiteX1138" fmla="*/ 4268481 w 4545947"/>
              <a:gd name="connsiteY1138" fmla="*/ 836466 h 4525940"/>
              <a:gd name="connsiteX1139" fmla="*/ 1503102 w 4545947"/>
              <a:gd name="connsiteY1139" fmla="*/ 801258 h 4525940"/>
              <a:gd name="connsiteX1140" fmla="*/ 1489315 w 4545947"/>
              <a:gd name="connsiteY1140" fmla="*/ 822388 h 4525940"/>
              <a:gd name="connsiteX1141" fmla="*/ 1490647 w 4545947"/>
              <a:gd name="connsiteY1141" fmla="*/ 856262 h 4525940"/>
              <a:gd name="connsiteX1142" fmla="*/ 1530226 w 4545947"/>
              <a:gd name="connsiteY1142" fmla="*/ 866125 h 4525940"/>
              <a:gd name="connsiteX1143" fmla="*/ 1532021 w 4545947"/>
              <a:gd name="connsiteY1143" fmla="*/ 819901 h 4525940"/>
              <a:gd name="connsiteX1144" fmla="*/ 1520594 w 4545947"/>
              <a:gd name="connsiteY1144" fmla="*/ 807589 h 4525940"/>
              <a:gd name="connsiteX1145" fmla="*/ 1503102 w 4545947"/>
              <a:gd name="connsiteY1145" fmla="*/ 801258 h 4525940"/>
              <a:gd name="connsiteX1146" fmla="*/ 3729804 w 4545947"/>
              <a:gd name="connsiteY1146" fmla="*/ 798436 h 4525940"/>
              <a:gd name="connsiteX1147" fmla="*/ 3719615 w 4545947"/>
              <a:gd name="connsiteY1147" fmla="*/ 808547 h 4525940"/>
              <a:gd name="connsiteX1148" fmla="*/ 3717041 w 4545947"/>
              <a:gd name="connsiteY1148" fmla="*/ 813557 h 4525940"/>
              <a:gd name="connsiteX1149" fmla="*/ 3718483 w 4545947"/>
              <a:gd name="connsiteY1149" fmla="*/ 830980 h 4525940"/>
              <a:gd name="connsiteX1150" fmla="*/ 3721246 w 4545947"/>
              <a:gd name="connsiteY1150" fmla="*/ 854042 h 4525940"/>
              <a:gd name="connsiteX1151" fmla="*/ 3718912 w 4545947"/>
              <a:gd name="connsiteY1151" fmla="*/ 922278 h 4525940"/>
              <a:gd name="connsiteX1152" fmla="*/ 3722944 w 4545947"/>
              <a:gd name="connsiteY1152" fmla="*/ 942470 h 4525940"/>
              <a:gd name="connsiteX1153" fmla="*/ 3747598 w 4545947"/>
              <a:gd name="connsiteY1153" fmla="*/ 980659 h 4525940"/>
              <a:gd name="connsiteX1154" fmla="*/ 3757482 w 4545947"/>
              <a:gd name="connsiteY1154" fmla="*/ 976816 h 4525940"/>
              <a:gd name="connsiteX1155" fmla="*/ 3760153 w 4545947"/>
              <a:gd name="connsiteY1155" fmla="*/ 920630 h 4525940"/>
              <a:gd name="connsiteX1156" fmla="*/ 3753030 w 4545947"/>
              <a:gd name="connsiteY1156" fmla="*/ 885437 h 4525940"/>
              <a:gd name="connsiteX1157" fmla="*/ 3746345 w 4545947"/>
              <a:gd name="connsiteY1157" fmla="*/ 854042 h 4525940"/>
              <a:gd name="connsiteX1158" fmla="*/ 3742535 w 4545947"/>
              <a:gd name="connsiteY1158" fmla="*/ 825977 h 4525940"/>
              <a:gd name="connsiteX1159" fmla="*/ 3729804 w 4545947"/>
              <a:gd name="connsiteY1159" fmla="*/ 798436 h 4525940"/>
              <a:gd name="connsiteX1160" fmla="*/ 4044267 w 4545947"/>
              <a:gd name="connsiteY1160" fmla="*/ 755914 h 4525940"/>
              <a:gd name="connsiteX1161" fmla="*/ 4052223 w 4545947"/>
              <a:gd name="connsiteY1161" fmla="*/ 770158 h 4525940"/>
              <a:gd name="connsiteX1162" fmla="*/ 4044267 w 4545947"/>
              <a:gd name="connsiteY1162" fmla="*/ 784403 h 4525940"/>
              <a:gd name="connsiteX1163" fmla="*/ 4036310 w 4545947"/>
              <a:gd name="connsiteY1163" fmla="*/ 770158 h 4525940"/>
              <a:gd name="connsiteX1164" fmla="*/ 4044267 w 4545947"/>
              <a:gd name="connsiteY1164" fmla="*/ 755914 h 4525940"/>
              <a:gd name="connsiteX1165" fmla="*/ 4191963 w 4545947"/>
              <a:gd name="connsiteY1165" fmla="*/ 753633 h 4525940"/>
              <a:gd name="connsiteX1166" fmla="*/ 4213395 w 4545947"/>
              <a:gd name="connsiteY1166" fmla="*/ 793226 h 4525940"/>
              <a:gd name="connsiteX1167" fmla="*/ 4208313 w 4545947"/>
              <a:gd name="connsiteY1167" fmla="*/ 816057 h 4525940"/>
              <a:gd name="connsiteX1168" fmla="*/ 4202744 w 4545947"/>
              <a:gd name="connsiteY1168" fmla="*/ 800369 h 4525940"/>
              <a:gd name="connsiteX1169" fmla="*/ 4196694 w 4545947"/>
              <a:gd name="connsiteY1169" fmla="*/ 780951 h 4525940"/>
              <a:gd name="connsiteX1170" fmla="*/ 4188573 w 4545947"/>
              <a:gd name="connsiteY1170" fmla="*/ 764983 h 4525940"/>
              <a:gd name="connsiteX1171" fmla="*/ 4191963 w 4545947"/>
              <a:gd name="connsiteY1171" fmla="*/ 753633 h 4525940"/>
              <a:gd name="connsiteX1172" fmla="*/ 2207638 w 4545947"/>
              <a:gd name="connsiteY1172" fmla="*/ 740087 h 4525940"/>
              <a:gd name="connsiteX1173" fmla="*/ 2203265 w 4545947"/>
              <a:gd name="connsiteY1173" fmla="*/ 749119 h 4525940"/>
              <a:gd name="connsiteX1174" fmla="*/ 2195613 w 4545947"/>
              <a:gd name="connsiteY1174" fmla="*/ 761046 h 4525940"/>
              <a:gd name="connsiteX1175" fmla="*/ 2194738 w 4545947"/>
              <a:gd name="connsiteY1175" fmla="*/ 764676 h 4525940"/>
              <a:gd name="connsiteX1176" fmla="*/ 2206763 w 4545947"/>
              <a:gd name="connsiteY1176" fmla="*/ 757813 h 4525940"/>
              <a:gd name="connsiteX1177" fmla="*/ 2207638 w 4545947"/>
              <a:gd name="connsiteY1177" fmla="*/ 740087 h 4525940"/>
              <a:gd name="connsiteX1178" fmla="*/ 2492685 w 4545947"/>
              <a:gd name="connsiteY1178" fmla="*/ 661279 h 4525940"/>
              <a:gd name="connsiteX1179" fmla="*/ 2487033 w 4545947"/>
              <a:gd name="connsiteY1179" fmla="*/ 671621 h 4525940"/>
              <a:gd name="connsiteX1180" fmla="*/ 2481109 w 4545947"/>
              <a:gd name="connsiteY1180" fmla="*/ 700808 h 4525940"/>
              <a:gd name="connsiteX1181" fmla="*/ 2491725 w 4545947"/>
              <a:gd name="connsiteY1181" fmla="*/ 713470 h 4525940"/>
              <a:gd name="connsiteX1182" fmla="*/ 2504127 w 4545947"/>
              <a:gd name="connsiteY1182" fmla="*/ 692066 h 4525940"/>
              <a:gd name="connsiteX1183" fmla="*/ 2498966 w 4545947"/>
              <a:gd name="connsiteY1183" fmla="*/ 664751 h 4525940"/>
              <a:gd name="connsiteX1184" fmla="*/ 2492685 w 4545947"/>
              <a:gd name="connsiteY1184" fmla="*/ 661279 h 4525940"/>
              <a:gd name="connsiteX1185" fmla="*/ 1542281 w 4545947"/>
              <a:gd name="connsiteY1185" fmla="*/ 646751 h 4525940"/>
              <a:gd name="connsiteX1186" fmla="*/ 1547326 w 4545947"/>
              <a:gd name="connsiteY1186" fmla="*/ 654093 h 4525940"/>
              <a:gd name="connsiteX1187" fmla="*/ 1540402 w 4545947"/>
              <a:gd name="connsiteY1187" fmla="*/ 664117 h 4525940"/>
              <a:gd name="connsiteX1188" fmla="*/ 1535210 w 4545947"/>
              <a:gd name="connsiteY1188" fmla="*/ 656599 h 4525940"/>
              <a:gd name="connsiteX1189" fmla="*/ 1542281 w 4545947"/>
              <a:gd name="connsiteY1189" fmla="*/ 646751 h 4525940"/>
              <a:gd name="connsiteX1190" fmla="*/ 4233596 w 4545947"/>
              <a:gd name="connsiteY1190" fmla="*/ 626131 h 4525940"/>
              <a:gd name="connsiteX1191" fmla="*/ 4297896 w 4545947"/>
              <a:gd name="connsiteY1191" fmla="*/ 718993 h 4525940"/>
              <a:gd name="connsiteX1192" fmla="*/ 4291336 w 4545947"/>
              <a:gd name="connsiteY1192" fmla="*/ 729715 h 4525940"/>
              <a:gd name="connsiteX1193" fmla="*/ 4284778 w 4545947"/>
              <a:gd name="connsiteY1193" fmla="*/ 755341 h 4525940"/>
              <a:gd name="connsiteX1194" fmla="*/ 4266012 w 4545947"/>
              <a:gd name="connsiteY1194" fmla="*/ 772883 h 4525940"/>
              <a:gd name="connsiteX1195" fmla="*/ 4256152 w 4545947"/>
              <a:gd name="connsiteY1195" fmla="*/ 754391 h 4525940"/>
              <a:gd name="connsiteX1196" fmla="*/ 4254030 w 4545947"/>
              <a:gd name="connsiteY1196" fmla="*/ 746418 h 4525940"/>
              <a:gd name="connsiteX1197" fmla="*/ 4249794 w 4545947"/>
              <a:gd name="connsiteY1197" fmla="*/ 730392 h 4525940"/>
              <a:gd name="connsiteX1198" fmla="*/ 4242141 w 4545947"/>
              <a:gd name="connsiteY1198" fmla="*/ 710456 h 4525940"/>
              <a:gd name="connsiteX1199" fmla="*/ 4214811 w 4545947"/>
              <a:gd name="connsiteY1199" fmla="*/ 669344 h 4525940"/>
              <a:gd name="connsiteX1200" fmla="*/ 4218709 w 4545947"/>
              <a:gd name="connsiteY1200" fmla="*/ 657786 h 4525940"/>
              <a:gd name="connsiteX1201" fmla="*/ 4225352 w 4545947"/>
              <a:gd name="connsiteY1201" fmla="*/ 641959 h 4525940"/>
              <a:gd name="connsiteX1202" fmla="*/ 4233596 w 4545947"/>
              <a:gd name="connsiteY1202" fmla="*/ 626131 h 4525940"/>
              <a:gd name="connsiteX1203" fmla="*/ 2100311 w 4545947"/>
              <a:gd name="connsiteY1203" fmla="*/ 609600 h 4525940"/>
              <a:gd name="connsiteX1204" fmla="*/ 2108154 w 4545947"/>
              <a:gd name="connsiteY1204" fmla="*/ 610589 h 4525940"/>
              <a:gd name="connsiteX1205" fmla="*/ 2122602 w 4545947"/>
              <a:gd name="connsiteY1205" fmla="*/ 631911 h 4525940"/>
              <a:gd name="connsiteX1206" fmla="*/ 2101230 w 4545947"/>
              <a:gd name="connsiteY1206" fmla="*/ 634573 h 4525940"/>
              <a:gd name="connsiteX1207" fmla="*/ 2098315 w 4545947"/>
              <a:gd name="connsiteY1207" fmla="*/ 618319 h 4525940"/>
              <a:gd name="connsiteX1208" fmla="*/ 2100311 w 4545947"/>
              <a:gd name="connsiteY1208" fmla="*/ 609600 h 4525940"/>
              <a:gd name="connsiteX1209" fmla="*/ 4009611 w 4545947"/>
              <a:gd name="connsiteY1209" fmla="*/ 608352 h 4525940"/>
              <a:gd name="connsiteX1210" fmla="*/ 4014312 w 4545947"/>
              <a:gd name="connsiteY1210" fmla="*/ 616635 h 4525940"/>
              <a:gd name="connsiteX1211" fmla="*/ 4009611 w 4545947"/>
              <a:gd name="connsiteY1211" fmla="*/ 624918 h 4525940"/>
              <a:gd name="connsiteX1212" fmla="*/ 4004911 w 4545947"/>
              <a:gd name="connsiteY1212" fmla="*/ 616635 h 4525940"/>
              <a:gd name="connsiteX1213" fmla="*/ 4009611 w 4545947"/>
              <a:gd name="connsiteY1213" fmla="*/ 608352 h 4525940"/>
              <a:gd name="connsiteX1214" fmla="*/ 4096448 w 4545947"/>
              <a:gd name="connsiteY1214" fmla="*/ 583964 h 4525940"/>
              <a:gd name="connsiteX1215" fmla="*/ 4107195 w 4545947"/>
              <a:gd name="connsiteY1215" fmla="*/ 593827 h 4525940"/>
              <a:gd name="connsiteX1216" fmla="*/ 4128369 w 4545947"/>
              <a:gd name="connsiteY1216" fmla="*/ 607139 h 4525940"/>
              <a:gd name="connsiteX1217" fmla="*/ 4153590 w 4545947"/>
              <a:gd name="connsiteY1217" fmla="*/ 630348 h 4525940"/>
              <a:gd name="connsiteX1218" fmla="*/ 4149141 w 4545947"/>
              <a:gd name="connsiteY1218" fmla="*/ 641890 h 4525940"/>
              <a:gd name="connsiteX1219" fmla="*/ 4120525 w 4545947"/>
              <a:gd name="connsiteY1219" fmla="*/ 642281 h 4525940"/>
              <a:gd name="connsiteX1220" fmla="*/ 4067481 w 4545947"/>
              <a:gd name="connsiteY1220" fmla="*/ 703404 h 4525940"/>
              <a:gd name="connsiteX1221" fmla="*/ 4035521 w 4545947"/>
              <a:gd name="connsiteY1221" fmla="*/ 724260 h 4525940"/>
              <a:gd name="connsiteX1222" fmla="*/ 4039894 w 4545947"/>
              <a:gd name="connsiteY1222" fmla="*/ 714763 h 4525940"/>
              <a:gd name="connsiteX1223" fmla="*/ 4039254 w 4545947"/>
              <a:gd name="connsiteY1223" fmla="*/ 671317 h 4525940"/>
              <a:gd name="connsiteX1224" fmla="*/ 4044061 w 4545947"/>
              <a:gd name="connsiteY1224" fmla="*/ 629112 h 4525940"/>
              <a:gd name="connsiteX1225" fmla="*/ 4057125 w 4545947"/>
              <a:gd name="connsiteY1225" fmla="*/ 614000 h 4525940"/>
              <a:gd name="connsiteX1226" fmla="*/ 4081844 w 4545947"/>
              <a:gd name="connsiteY1226" fmla="*/ 587951 h 4525940"/>
              <a:gd name="connsiteX1227" fmla="*/ 4096448 w 4545947"/>
              <a:gd name="connsiteY1227" fmla="*/ 583964 h 4525940"/>
              <a:gd name="connsiteX1228" fmla="*/ 3399607 w 4545947"/>
              <a:gd name="connsiteY1228" fmla="*/ 565410 h 4525940"/>
              <a:gd name="connsiteX1229" fmla="*/ 3390710 w 4545947"/>
              <a:gd name="connsiteY1229" fmla="*/ 595369 h 4525940"/>
              <a:gd name="connsiteX1230" fmla="*/ 3412518 w 4545947"/>
              <a:gd name="connsiteY1230" fmla="*/ 593840 h 4525940"/>
              <a:gd name="connsiteX1231" fmla="*/ 3399607 w 4545947"/>
              <a:gd name="connsiteY1231" fmla="*/ 565410 h 4525940"/>
              <a:gd name="connsiteX1232" fmla="*/ 3753272 w 4545947"/>
              <a:gd name="connsiteY1232" fmla="*/ 543830 h 4525940"/>
              <a:gd name="connsiteX1233" fmla="*/ 3790519 w 4545947"/>
              <a:gd name="connsiteY1233" fmla="*/ 599225 h 4525940"/>
              <a:gd name="connsiteX1234" fmla="*/ 3794812 w 4545947"/>
              <a:gd name="connsiteY1234" fmla="*/ 607139 h 4525940"/>
              <a:gd name="connsiteX1235" fmla="*/ 3804642 w 4545947"/>
              <a:gd name="connsiteY1235" fmla="*/ 659368 h 4525940"/>
              <a:gd name="connsiteX1236" fmla="*/ 3808129 w 4545947"/>
              <a:gd name="connsiteY1236" fmla="*/ 664117 h 4525940"/>
              <a:gd name="connsiteX1237" fmla="*/ 3812502 w 4545947"/>
              <a:gd name="connsiteY1237" fmla="*/ 679944 h 4525940"/>
              <a:gd name="connsiteX1238" fmla="*/ 3805943 w 4545947"/>
              <a:gd name="connsiteY1238" fmla="*/ 695771 h 4525940"/>
              <a:gd name="connsiteX1239" fmla="*/ 3799383 w 4545947"/>
              <a:gd name="connsiteY1239" fmla="*/ 686189 h 4525940"/>
              <a:gd name="connsiteX1240" fmla="*/ 3795328 w 4545947"/>
              <a:gd name="connsiteY1240" fmla="*/ 665613 h 4525940"/>
              <a:gd name="connsiteX1241" fmla="*/ 3788882 w 4545947"/>
              <a:gd name="connsiteY1241" fmla="*/ 643446 h 4525940"/>
              <a:gd name="connsiteX1242" fmla="*/ 3776114 w 4545947"/>
              <a:gd name="connsiteY1242" fmla="*/ 626562 h 4525940"/>
              <a:gd name="connsiteX1243" fmla="*/ 3757864 w 4545947"/>
              <a:gd name="connsiteY1243" fmla="*/ 596585 h 4525940"/>
              <a:gd name="connsiteX1244" fmla="*/ 3745624 w 4545947"/>
              <a:gd name="connsiteY1244" fmla="*/ 568210 h 4525940"/>
              <a:gd name="connsiteX1245" fmla="*/ 3753272 w 4545947"/>
              <a:gd name="connsiteY1245" fmla="*/ 543830 h 4525940"/>
              <a:gd name="connsiteX1246" fmla="*/ 2508411 w 4545947"/>
              <a:gd name="connsiteY1246" fmla="*/ 515434 h 4525940"/>
              <a:gd name="connsiteX1247" fmla="*/ 2493352 w 4545947"/>
              <a:gd name="connsiteY1247" fmla="*/ 518847 h 4525940"/>
              <a:gd name="connsiteX1248" fmla="*/ 2472948 w 4545947"/>
              <a:gd name="connsiteY1248" fmla="*/ 519406 h 4525940"/>
              <a:gd name="connsiteX1249" fmla="*/ 2426655 w 4545947"/>
              <a:gd name="connsiteY1249" fmla="*/ 542091 h 4525940"/>
              <a:gd name="connsiteX1250" fmla="*/ 2421860 w 4545947"/>
              <a:gd name="connsiteY1250" fmla="*/ 628589 h 4525940"/>
              <a:gd name="connsiteX1251" fmla="*/ 2426284 w 4545947"/>
              <a:gd name="connsiteY1251" fmla="*/ 648832 h 4525940"/>
              <a:gd name="connsiteX1252" fmla="*/ 2440777 w 4545947"/>
              <a:gd name="connsiteY1252" fmla="*/ 700519 h 4525940"/>
              <a:gd name="connsiteX1253" fmla="*/ 2459393 w 4545947"/>
              <a:gd name="connsiteY1253" fmla="*/ 699389 h 4525940"/>
              <a:gd name="connsiteX1254" fmla="*/ 2459081 w 4545947"/>
              <a:gd name="connsiteY1254" fmla="*/ 657786 h 4525940"/>
              <a:gd name="connsiteX1255" fmla="*/ 2459470 w 4545947"/>
              <a:gd name="connsiteY1255" fmla="*/ 641298 h 4525940"/>
              <a:gd name="connsiteX1256" fmla="*/ 2477551 w 4545947"/>
              <a:gd name="connsiteY1256" fmla="*/ 632480 h 4525940"/>
              <a:gd name="connsiteX1257" fmla="*/ 2483722 w 4545947"/>
              <a:gd name="connsiteY1257" fmla="*/ 619800 h 4525940"/>
              <a:gd name="connsiteX1258" fmla="*/ 2478759 w 4545947"/>
              <a:gd name="connsiteY1258" fmla="*/ 588146 h 4525940"/>
              <a:gd name="connsiteX1259" fmla="*/ 2485319 w 4545947"/>
              <a:gd name="connsiteY1259" fmla="*/ 556492 h 4525940"/>
              <a:gd name="connsiteX1260" fmla="*/ 2491878 w 4545947"/>
              <a:gd name="connsiteY1260" fmla="*/ 564659 h 4525940"/>
              <a:gd name="connsiteX1261" fmla="*/ 2508588 w 4545947"/>
              <a:gd name="connsiteY1261" fmla="*/ 599558 h 4525940"/>
              <a:gd name="connsiteX1262" fmla="*/ 2525299 w 4545947"/>
              <a:gd name="connsiteY1262" fmla="*/ 626289 h 4525940"/>
              <a:gd name="connsiteX1263" fmla="*/ 2539199 w 4545947"/>
              <a:gd name="connsiteY1263" fmla="*/ 616250 h 4525940"/>
              <a:gd name="connsiteX1264" fmla="*/ 2548428 w 4545947"/>
              <a:gd name="connsiteY1264" fmla="*/ 572052 h 4525940"/>
              <a:gd name="connsiteX1265" fmla="*/ 2546291 w 4545947"/>
              <a:gd name="connsiteY1265" fmla="*/ 558312 h 4525940"/>
              <a:gd name="connsiteX1266" fmla="*/ 2542439 w 4545947"/>
              <a:gd name="connsiteY1266" fmla="*/ 552299 h 4525940"/>
              <a:gd name="connsiteX1267" fmla="*/ 2537847 w 4545947"/>
              <a:gd name="connsiteY1267" fmla="*/ 548256 h 4525940"/>
              <a:gd name="connsiteX1268" fmla="*/ 2523962 w 4545947"/>
              <a:gd name="connsiteY1268" fmla="*/ 526189 h 4525940"/>
              <a:gd name="connsiteX1269" fmla="*/ 2508411 w 4545947"/>
              <a:gd name="connsiteY1269" fmla="*/ 515434 h 4525940"/>
              <a:gd name="connsiteX1270" fmla="*/ 3394917 w 4545947"/>
              <a:gd name="connsiteY1270" fmla="*/ 499514 h 4525940"/>
              <a:gd name="connsiteX1271" fmla="*/ 3385075 w 4545947"/>
              <a:gd name="connsiteY1271" fmla="*/ 540733 h 4525940"/>
              <a:gd name="connsiteX1272" fmla="*/ 3404022 w 4545947"/>
              <a:gd name="connsiteY1272" fmla="*/ 534348 h 4525940"/>
              <a:gd name="connsiteX1273" fmla="*/ 3394917 w 4545947"/>
              <a:gd name="connsiteY1273" fmla="*/ 499514 h 4525940"/>
              <a:gd name="connsiteX1274" fmla="*/ 2473972 w 4545947"/>
              <a:gd name="connsiteY1274" fmla="*/ 490389 h 4525940"/>
              <a:gd name="connsiteX1275" fmla="*/ 2475523 w 4545947"/>
              <a:gd name="connsiteY1275" fmla="*/ 502376 h 4525940"/>
              <a:gd name="connsiteX1276" fmla="*/ 2480591 w 4545947"/>
              <a:gd name="connsiteY1276" fmla="*/ 497291 h 4525940"/>
              <a:gd name="connsiteX1277" fmla="*/ 2473972 w 4545947"/>
              <a:gd name="connsiteY1277" fmla="*/ 490389 h 4525940"/>
              <a:gd name="connsiteX1278" fmla="*/ 2576610 w 4545947"/>
              <a:gd name="connsiteY1278" fmla="*/ 482359 h 4525940"/>
              <a:gd name="connsiteX1279" fmla="*/ 2586852 w 4545947"/>
              <a:gd name="connsiteY1279" fmla="*/ 505111 h 4525940"/>
              <a:gd name="connsiteX1280" fmla="*/ 2586989 w 4545947"/>
              <a:gd name="connsiteY1280" fmla="*/ 501481 h 4525940"/>
              <a:gd name="connsiteX1281" fmla="*/ 2579336 w 4545947"/>
              <a:gd name="connsiteY1281" fmla="*/ 488499 h 4525940"/>
              <a:gd name="connsiteX1282" fmla="*/ 2576610 w 4545947"/>
              <a:gd name="connsiteY1282" fmla="*/ 482359 h 4525940"/>
              <a:gd name="connsiteX1283" fmla="*/ 2585636 w 4545947"/>
              <a:gd name="connsiteY1283" fmla="*/ 469292 h 4525940"/>
              <a:gd name="connsiteX1284" fmla="*/ 2590998 w 4545947"/>
              <a:gd name="connsiteY1284" fmla="*/ 485006 h 4525940"/>
              <a:gd name="connsiteX1285" fmla="*/ 2600616 w 4545947"/>
              <a:gd name="connsiteY1285" fmla="*/ 491243 h 4525940"/>
              <a:gd name="connsiteX1286" fmla="*/ 2595253 w 4545947"/>
              <a:gd name="connsiteY1286" fmla="*/ 475529 h 4525940"/>
              <a:gd name="connsiteX1287" fmla="*/ 2585636 w 4545947"/>
              <a:gd name="connsiteY1287" fmla="*/ 469292 h 4525940"/>
              <a:gd name="connsiteX1288" fmla="*/ 3422903 w 4545947"/>
              <a:gd name="connsiteY1288" fmla="*/ 465059 h 4525940"/>
              <a:gd name="connsiteX1289" fmla="*/ 3418939 w 4545947"/>
              <a:gd name="connsiteY1289" fmla="*/ 477730 h 4525940"/>
              <a:gd name="connsiteX1290" fmla="*/ 3424580 w 4545947"/>
              <a:gd name="connsiteY1290" fmla="*/ 474182 h 4525940"/>
              <a:gd name="connsiteX1291" fmla="*/ 3422903 w 4545947"/>
              <a:gd name="connsiteY1291" fmla="*/ 465059 h 4525940"/>
              <a:gd name="connsiteX1292" fmla="*/ 3788764 w 4545947"/>
              <a:gd name="connsiteY1292" fmla="*/ 436206 h 4525940"/>
              <a:gd name="connsiteX1293" fmla="*/ 3799916 w 4545947"/>
              <a:gd name="connsiteY1293" fmla="*/ 450450 h 4525940"/>
              <a:gd name="connsiteX1294" fmla="*/ 3813589 w 4545947"/>
              <a:gd name="connsiteY1294" fmla="*/ 475438 h 4525940"/>
              <a:gd name="connsiteX1295" fmla="*/ 3819205 w 4545947"/>
              <a:gd name="connsiteY1295" fmla="*/ 492847 h 4525940"/>
              <a:gd name="connsiteX1296" fmla="*/ 3796103 w 4545947"/>
              <a:gd name="connsiteY1296" fmla="*/ 490044 h 4525940"/>
              <a:gd name="connsiteX1297" fmla="*/ 3790637 w 4545947"/>
              <a:gd name="connsiteY1297" fmla="*/ 475233 h 4525940"/>
              <a:gd name="connsiteX1298" fmla="*/ 3784337 w 4545947"/>
              <a:gd name="connsiteY1298" fmla="*/ 461842 h 4525940"/>
              <a:gd name="connsiteX1299" fmla="*/ 3788764 w 4545947"/>
              <a:gd name="connsiteY1299" fmla="*/ 436206 h 4525940"/>
              <a:gd name="connsiteX1300" fmla="*/ 2416536 w 4545947"/>
              <a:gd name="connsiteY1300" fmla="*/ 393600 h 4525940"/>
              <a:gd name="connsiteX1301" fmla="*/ 2421911 w 4545947"/>
              <a:gd name="connsiteY1301" fmla="*/ 404024 h 4525940"/>
              <a:gd name="connsiteX1302" fmla="*/ 2415031 w 4545947"/>
              <a:gd name="connsiteY1302" fmla="*/ 417213 h 4525940"/>
              <a:gd name="connsiteX1303" fmla="*/ 2409565 w 4545947"/>
              <a:gd name="connsiteY1303" fmla="*/ 406659 h 4525940"/>
              <a:gd name="connsiteX1304" fmla="*/ 2416536 w 4545947"/>
              <a:gd name="connsiteY1304" fmla="*/ 393600 h 4525940"/>
              <a:gd name="connsiteX1305" fmla="*/ 3384911 w 4545947"/>
              <a:gd name="connsiteY1305" fmla="*/ 341340 h 4525940"/>
              <a:gd name="connsiteX1306" fmla="*/ 3372417 w 4545947"/>
              <a:gd name="connsiteY1306" fmla="*/ 369731 h 4525940"/>
              <a:gd name="connsiteX1307" fmla="*/ 3380538 w 4545947"/>
              <a:gd name="connsiteY1307" fmla="*/ 378728 h 4525940"/>
              <a:gd name="connsiteX1308" fmla="*/ 3380675 w 4545947"/>
              <a:gd name="connsiteY1308" fmla="*/ 375035 h 4525940"/>
              <a:gd name="connsiteX1309" fmla="*/ 3380675 w 4545947"/>
              <a:gd name="connsiteY1309" fmla="*/ 375035 h 4525940"/>
              <a:gd name="connsiteX1310" fmla="*/ 3375209 w 4545947"/>
              <a:gd name="connsiteY1310" fmla="*/ 359334 h 4525940"/>
              <a:gd name="connsiteX1311" fmla="*/ 3378698 w 4545947"/>
              <a:gd name="connsiteY1311" fmla="*/ 349948 h 4525940"/>
              <a:gd name="connsiteX1312" fmla="*/ 3388537 w 4545947"/>
              <a:gd name="connsiteY1312" fmla="*/ 347252 h 4525940"/>
              <a:gd name="connsiteX1313" fmla="*/ 3384911 w 4545947"/>
              <a:gd name="connsiteY1313" fmla="*/ 341340 h 4525940"/>
              <a:gd name="connsiteX1314" fmla="*/ 3481752 w 4545947"/>
              <a:gd name="connsiteY1314" fmla="*/ 328581 h 4525940"/>
              <a:gd name="connsiteX1315" fmla="*/ 3473209 w 4545947"/>
              <a:gd name="connsiteY1315" fmla="*/ 344408 h 4525940"/>
              <a:gd name="connsiteX1316" fmla="*/ 3451077 w 4545947"/>
              <a:gd name="connsiteY1316" fmla="*/ 360235 h 4525940"/>
              <a:gd name="connsiteX1317" fmla="*/ 3425989 w 4545947"/>
              <a:gd name="connsiteY1317" fmla="*/ 367943 h 4525940"/>
              <a:gd name="connsiteX1318" fmla="*/ 3435239 w 4545947"/>
              <a:gd name="connsiteY1318" fmla="*/ 429875 h 4525940"/>
              <a:gd name="connsiteX1319" fmla="*/ 3440516 w 4545947"/>
              <a:gd name="connsiteY1319" fmla="*/ 463112 h 4525940"/>
              <a:gd name="connsiteX1320" fmla="*/ 3443678 w 4545947"/>
              <a:gd name="connsiteY1320" fmla="*/ 486853 h 4525940"/>
              <a:gd name="connsiteX1321" fmla="*/ 3449549 w 4545947"/>
              <a:gd name="connsiteY1321" fmla="*/ 501624 h 4525940"/>
              <a:gd name="connsiteX1322" fmla="*/ 3464675 w 4545947"/>
              <a:gd name="connsiteY1322" fmla="*/ 523522 h 4525940"/>
              <a:gd name="connsiteX1323" fmla="*/ 3474924 w 4545947"/>
              <a:gd name="connsiteY1323" fmla="*/ 480522 h 4525940"/>
              <a:gd name="connsiteX1324" fmla="*/ 3480390 w 4545947"/>
              <a:gd name="connsiteY1324" fmla="*/ 433357 h 4525940"/>
              <a:gd name="connsiteX1325" fmla="*/ 3484532 w 4545947"/>
              <a:gd name="connsiteY1325" fmla="*/ 412781 h 4525940"/>
              <a:gd name="connsiteX1326" fmla="*/ 3490938 w 4545947"/>
              <a:gd name="connsiteY1326" fmla="*/ 398220 h 4525940"/>
              <a:gd name="connsiteX1327" fmla="*/ 3504808 w 4545947"/>
              <a:gd name="connsiteY1327" fmla="*/ 364853 h 4525940"/>
              <a:gd name="connsiteX1328" fmla="*/ 3481752 w 4545947"/>
              <a:gd name="connsiteY1328" fmla="*/ 328581 h 4525940"/>
              <a:gd name="connsiteX1329" fmla="*/ 3250209 w 4545947"/>
              <a:gd name="connsiteY1329" fmla="*/ 322250 h 4525940"/>
              <a:gd name="connsiteX1330" fmla="*/ 3218734 w 4545947"/>
              <a:gd name="connsiteY1330" fmla="*/ 345991 h 4525940"/>
              <a:gd name="connsiteX1331" fmla="*/ 3207511 w 4545947"/>
              <a:gd name="connsiteY1331" fmla="*/ 353905 h 4525940"/>
              <a:gd name="connsiteX1332" fmla="*/ 3185026 w 4545947"/>
              <a:gd name="connsiteY1332" fmla="*/ 391710 h 4525940"/>
              <a:gd name="connsiteX1333" fmla="*/ 3190049 w 4545947"/>
              <a:gd name="connsiteY1333" fmla="*/ 417333 h 4525940"/>
              <a:gd name="connsiteX1334" fmla="*/ 3209038 w 4545947"/>
              <a:gd name="connsiteY1334" fmla="*/ 423965 h 4525940"/>
              <a:gd name="connsiteX1335" fmla="*/ 3221064 w 4545947"/>
              <a:gd name="connsiteY1335" fmla="*/ 416051 h 4525940"/>
              <a:gd name="connsiteX1336" fmla="*/ 3234472 w 4545947"/>
              <a:gd name="connsiteY1336" fmla="*/ 396638 h 4525940"/>
              <a:gd name="connsiteX1337" fmla="*/ 3252767 w 4545947"/>
              <a:gd name="connsiteY1337" fmla="*/ 392871 h 4525940"/>
              <a:gd name="connsiteX1338" fmla="*/ 3261513 w 4545947"/>
              <a:gd name="connsiteY1338" fmla="*/ 395055 h 4525940"/>
              <a:gd name="connsiteX1339" fmla="*/ 3250209 w 4545947"/>
              <a:gd name="connsiteY1339" fmla="*/ 322250 h 4525940"/>
              <a:gd name="connsiteX1340" fmla="*/ 3735611 w 4545947"/>
              <a:gd name="connsiteY1340" fmla="*/ 303258 h 4525940"/>
              <a:gd name="connsiteX1341" fmla="*/ 3742535 w 4545947"/>
              <a:gd name="connsiteY1341" fmla="*/ 312227 h 4525940"/>
              <a:gd name="connsiteX1342" fmla="*/ 3747682 w 4545947"/>
              <a:gd name="connsiteY1342" fmla="*/ 323679 h 4525940"/>
              <a:gd name="connsiteX1343" fmla="*/ 3749611 w 4545947"/>
              <a:gd name="connsiteY1343" fmla="*/ 333703 h 4525940"/>
              <a:gd name="connsiteX1344" fmla="*/ 3736483 w 4545947"/>
              <a:gd name="connsiteY1344" fmla="*/ 330164 h 4525940"/>
              <a:gd name="connsiteX1345" fmla="*/ 3731235 w 4545947"/>
              <a:gd name="connsiteY1345" fmla="*/ 311171 h 4525940"/>
              <a:gd name="connsiteX1346" fmla="*/ 3735611 w 4545947"/>
              <a:gd name="connsiteY1346" fmla="*/ 303258 h 4525940"/>
              <a:gd name="connsiteX1347" fmla="*/ 2667524 w 4545947"/>
              <a:gd name="connsiteY1347" fmla="*/ 278974 h 4525940"/>
              <a:gd name="connsiteX1348" fmla="*/ 2658117 w 4545947"/>
              <a:gd name="connsiteY1348" fmla="*/ 316447 h 4525940"/>
              <a:gd name="connsiteX1349" fmla="*/ 2673175 w 4545947"/>
              <a:gd name="connsiteY1349" fmla="*/ 346258 h 4525940"/>
              <a:gd name="connsiteX1350" fmla="*/ 2682100 w 4545947"/>
              <a:gd name="connsiteY1350" fmla="*/ 316609 h 4525940"/>
              <a:gd name="connsiteX1351" fmla="*/ 2674323 w 4545947"/>
              <a:gd name="connsiteY1351" fmla="*/ 281790 h 4525940"/>
              <a:gd name="connsiteX1352" fmla="*/ 2667524 w 4545947"/>
              <a:gd name="connsiteY1352" fmla="*/ 278974 h 4525940"/>
              <a:gd name="connsiteX1353" fmla="*/ 2403748 w 4545947"/>
              <a:gd name="connsiteY1353" fmla="*/ 222584 h 4525940"/>
              <a:gd name="connsiteX1354" fmla="*/ 2408792 w 4545947"/>
              <a:gd name="connsiteY1354" fmla="*/ 229925 h 4525940"/>
              <a:gd name="connsiteX1355" fmla="*/ 2401869 w 4545947"/>
              <a:gd name="connsiteY1355" fmla="*/ 239949 h 4525940"/>
              <a:gd name="connsiteX1356" fmla="*/ 2396676 w 4545947"/>
              <a:gd name="connsiteY1356" fmla="*/ 232431 h 4525940"/>
              <a:gd name="connsiteX1357" fmla="*/ 2403748 w 4545947"/>
              <a:gd name="connsiteY1357" fmla="*/ 222584 h 4525940"/>
              <a:gd name="connsiteX1358" fmla="*/ 3661635 w 4545947"/>
              <a:gd name="connsiteY1358" fmla="*/ 214625 h 4525940"/>
              <a:gd name="connsiteX1359" fmla="*/ 3668195 w 4545947"/>
              <a:gd name="connsiteY1359" fmla="*/ 227287 h 4525940"/>
              <a:gd name="connsiteX1360" fmla="*/ 3661635 w 4545947"/>
              <a:gd name="connsiteY1360" fmla="*/ 239949 h 4525940"/>
              <a:gd name="connsiteX1361" fmla="*/ 3655077 w 4545947"/>
              <a:gd name="connsiteY1361" fmla="*/ 227287 h 4525940"/>
              <a:gd name="connsiteX1362" fmla="*/ 3661635 w 4545947"/>
              <a:gd name="connsiteY1362" fmla="*/ 214625 h 4525940"/>
              <a:gd name="connsiteX1363" fmla="*/ 2458546 w 4545947"/>
              <a:gd name="connsiteY1363" fmla="*/ 189624 h 4525940"/>
              <a:gd name="connsiteX1364" fmla="*/ 2468139 w 4545947"/>
              <a:gd name="connsiteY1364" fmla="*/ 196363 h 4525940"/>
              <a:gd name="connsiteX1365" fmla="*/ 2489869 w 4545947"/>
              <a:gd name="connsiteY1365" fmla="*/ 200371 h 4525940"/>
              <a:gd name="connsiteX1366" fmla="*/ 2518076 w 4545947"/>
              <a:gd name="connsiteY1366" fmla="*/ 215902 h 4525940"/>
              <a:gd name="connsiteX1367" fmla="*/ 2525165 w 4545947"/>
              <a:gd name="connsiteY1367" fmla="*/ 243549 h 4525940"/>
              <a:gd name="connsiteX1368" fmla="*/ 2511500 w 4545947"/>
              <a:gd name="connsiteY1368" fmla="*/ 238403 h 4525940"/>
              <a:gd name="connsiteX1369" fmla="*/ 2489102 w 4545947"/>
              <a:gd name="connsiteY1369" fmla="*/ 239473 h 4525940"/>
              <a:gd name="connsiteX1370" fmla="*/ 2470013 w 4545947"/>
              <a:gd name="connsiteY1370" fmla="*/ 246218 h 4525940"/>
              <a:gd name="connsiteX1371" fmla="*/ 2461268 w 4545947"/>
              <a:gd name="connsiteY1371" fmla="*/ 222653 h 4525940"/>
              <a:gd name="connsiteX1372" fmla="*/ 2452522 w 4545947"/>
              <a:gd name="connsiteY1372" fmla="*/ 200557 h 4525940"/>
              <a:gd name="connsiteX1373" fmla="*/ 2458546 w 4545947"/>
              <a:gd name="connsiteY1373" fmla="*/ 189624 h 4525940"/>
              <a:gd name="connsiteX1374" fmla="*/ 2511298 w 4545947"/>
              <a:gd name="connsiteY1374" fmla="*/ 176640 h 4525940"/>
              <a:gd name="connsiteX1375" fmla="*/ 2518116 w 4545947"/>
              <a:gd name="connsiteY1375" fmla="*/ 182971 h 4525940"/>
              <a:gd name="connsiteX1376" fmla="*/ 2514001 w 4545947"/>
              <a:gd name="connsiteY1376" fmla="*/ 189302 h 4525940"/>
              <a:gd name="connsiteX1377" fmla="*/ 2507183 w 4545947"/>
              <a:gd name="connsiteY1377" fmla="*/ 182971 h 4525940"/>
              <a:gd name="connsiteX1378" fmla="*/ 2511298 w 4545947"/>
              <a:gd name="connsiteY1378" fmla="*/ 176640 h 4525940"/>
              <a:gd name="connsiteX1379" fmla="*/ 2555929 w 4545947"/>
              <a:gd name="connsiteY1379" fmla="*/ 171777 h 4525940"/>
              <a:gd name="connsiteX1380" fmla="*/ 2582482 w 4545947"/>
              <a:gd name="connsiteY1380" fmla="*/ 177792 h 4525940"/>
              <a:gd name="connsiteX1381" fmla="*/ 2574699 w 4545947"/>
              <a:gd name="connsiteY1381" fmla="*/ 193528 h 4525940"/>
              <a:gd name="connsiteX1382" fmla="*/ 2555286 w 4545947"/>
              <a:gd name="connsiteY1382" fmla="*/ 195633 h 4525940"/>
              <a:gd name="connsiteX1383" fmla="*/ 2544095 w 4545947"/>
              <a:gd name="connsiteY1383" fmla="*/ 189302 h 4525940"/>
              <a:gd name="connsiteX1384" fmla="*/ 2535607 w 4545947"/>
              <a:gd name="connsiteY1384" fmla="*/ 181183 h 4525940"/>
              <a:gd name="connsiteX1385" fmla="*/ 2555929 w 4545947"/>
              <a:gd name="connsiteY1385" fmla="*/ 171777 h 4525940"/>
              <a:gd name="connsiteX1386" fmla="*/ 2651238 w 4545947"/>
              <a:gd name="connsiteY1386" fmla="*/ 166688 h 4525940"/>
              <a:gd name="connsiteX1387" fmla="*/ 2662423 w 4545947"/>
              <a:gd name="connsiteY1387" fmla="*/ 186823 h 4525940"/>
              <a:gd name="connsiteX1388" fmla="*/ 2658132 w 4545947"/>
              <a:gd name="connsiteY1388" fmla="*/ 201964 h 4525940"/>
              <a:gd name="connsiteX1389" fmla="*/ 2651099 w 4545947"/>
              <a:gd name="connsiteY1389" fmla="*/ 217791 h 4525940"/>
              <a:gd name="connsiteX1390" fmla="*/ 2631294 w 4545947"/>
              <a:gd name="connsiteY1390" fmla="*/ 228870 h 4525940"/>
              <a:gd name="connsiteX1391" fmla="*/ 2631294 w 4545947"/>
              <a:gd name="connsiteY1391" fmla="*/ 219374 h 4525940"/>
              <a:gd name="connsiteX1392" fmla="*/ 2627439 w 4545947"/>
              <a:gd name="connsiteY1392" fmla="*/ 214625 h 4525940"/>
              <a:gd name="connsiteX1393" fmla="*/ 2631687 w 4545947"/>
              <a:gd name="connsiteY1393" fmla="*/ 178004 h 4525940"/>
              <a:gd name="connsiteX1394" fmla="*/ 2651238 w 4545947"/>
              <a:gd name="connsiteY1394" fmla="*/ 166688 h 4525940"/>
              <a:gd name="connsiteX1395" fmla="*/ 3294675 w 4545947"/>
              <a:gd name="connsiteY1395" fmla="*/ 163979 h 4525940"/>
              <a:gd name="connsiteX1396" fmla="*/ 3292944 w 4545947"/>
              <a:gd name="connsiteY1396" fmla="*/ 181520 h 4525940"/>
              <a:gd name="connsiteX1397" fmla="*/ 3287751 w 4545947"/>
              <a:gd name="connsiteY1397" fmla="*/ 174003 h 4525940"/>
              <a:gd name="connsiteX1398" fmla="*/ 3294675 w 4545947"/>
              <a:gd name="connsiteY1398" fmla="*/ 163979 h 4525940"/>
              <a:gd name="connsiteX1399" fmla="*/ 3593184 w 4545947"/>
              <a:gd name="connsiteY1399" fmla="*/ 152944 h 4525940"/>
              <a:gd name="connsiteX1400" fmla="*/ 3598229 w 4545947"/>
              <a:gd name="connsiteY1400" fmla="*/ 160286 h 4525940"/>
              <a:gd name="connsiteX1401" fmla="*/ 3591305 w 4545947"/>
              <a:gd name="connsiteY1401" fmla="*/ 170310 h 4525940"/>
              <a:gd name="connsiteX1402" fmla="*/ 3586112 w 4545947"/>
              <a:gd name="connsiteY1402" fmla="*/ 162792 h 4525940"/>
              <a:gd name="connsiteX1403" fmla="*/ 3593184 w 4545947"/>
              <a:gd name="connsiteY1403" fmla="*/ 152944 h 4525940"/>
              <a:gd name="connsiteX1404" fmla="*/ 2447768 w 4545947"/>
              <a:gd name="connsiteY1404" fmla="*/ 122488 h 4525940"/>
              <a:gd name="connsiteX1405" fmla="*/ 2445825 w 4545947"/>
              <a:gd name="connsiteY1405" fmla="*/ 151317 h 4525940"/>
              <a:gd name="connsiteX1406" fmla="*/ 2436499 w 4545947"/>
              <a:gd name="connsiteY1406" fmla="*/ 141395 h 4525940"/>
              <a:gd name="connsiteX1407" fmla="*/ 2447768 w 4545947"/>
              <a:gd name="connsiteY1407" fmla="*/ 122488 h 4525940"/>
              <a:gd name="connsiteX1408" fmla="*/ 2758453 w 4545947"/>
              <a:gd name="connsiteY1408" fmla="*/ 113837 h 4525940"/>
              <a:gd name="connsiteX1409" fmla="*/ 2752343 w 4545947"/>
              <a:gd name="connsiteY1409" fmla="*/ 114355 h 4525940"/>
              <a:gd name="connsiteX1410" fmla="*/ 2739995 w 4545947"/>
              <a:gd name="connsiteY1410" fmla="*/ 163342 h 4525940"/>
              <a:gd name="connsiteX1411" fmla="*/ 2756797 w 4545947"/>
              <a:gd name="connsiteY1411" fmla="*/ 236783 h 4525940"/>
              <a:gd name="connsiteX1412" fmla="*/ 2776577 w 4545947"/>
              <a:gd name="connsiteY1412" fmla="*/ 277579 h 4525940"/>
              <a:gd name="connsiteX1413" fmla="*/ 2784864 w 4545947"/>
              <a:gd name="connsiteY1413" fmla="*/ 243265 h 4525940"/>
              <a:gd name="connsiteX1414" fmla="*/ 2789237 w 4545947"/>
              <a:gd name="connsiteY1414" fmla="*/ 211460 h 4525940"/>
              <a:gd name="connsiteX1415" fmla="*/ 2787050 w 4545947"/>
              <a:gd name="connsiteY1415" fmla="*/ 172599 h 4525940"/>
              <a:gd name="connsiteX1416" fmla="*/ 2780492 w 4545947"/>
              <a:gd name="connsiteY1416" fmla="*/ 159871 h 4525940"/>
              <a:gd name="connsiteX1417" fmla="*/ 2754010 w 4545947"/>
              <a:gd name="connsiteY1417" fmla="*/ 129045 h 4525940"/>
              <a:gd name="connsiteX1418" fmla="*/ 2752067 w 4545947"/>
              <a:gd name="connsiteY1418" fmla="*/ 122018 h 4525940"/>
              <a:gd name="connsiteX1419" fmla="*/ 2758453 w 4545947"/>
              <a:gd name="connsiteY1419" fmla="*/ 113837 h 4525940"/>
              <a:gd name="connsiteX1420" fmla="*/ 3208103 w 4545947"/>
              <a:gd name="connsiteY1420" fmla="*/ 91897 h 4525940"/>
              <a:gd name="connsiteX1421" fmla="*/ 3217784 w 4545947"/>
              <a:gd name="connsiteY1421" fmla="*/ 116250 h 4525940"/>
              <a:gd name="connsiteX1422" fmla="*/ 3224343 w 4545947"/>
              <a:gd name="connsiteY1422" fmla="*/ 144986 h 4525940"/>
              <a:gd name="connsiteX1423" fmla="*/ 3230903 w 4545947"/>
              <a:gd name="connsiteY1423" fmla="*/ 168372 h 4525940"/>
              <a:gd name="connsiteX1424" fmla="*/ 3237462 w 4545947"/>
              <a:gd name="connsiteY1424" fmla="*/ 193372 h 4525940"/>
              <a:gd name="connsiteX1425" fmla="*/ 3240742 w 4545947"/>
              <a:gd name="connsiteY1425" fmla="*/ 219944 h 4525940"/>
              <a:gd name="connsiteX1426" fmla="*/ 3223595 w 4545947"/>
              <a:gd name="connsiteY1426" fmla="*/ 216414 h 4525940"/>
              <a:gd name="connsiteX1427" fmla="*/ 3189004 w 4545947"/>
              <a:gd name="connsiteY1427" fmla="*/ 162600 h 4525940"/>
              <a:gd name="connsiteX1428" fmla="*/ 3194368 w 4545947"/>
              <a:gd name="connsiteY1428" fmla="*/ 124622 h 4525940"/>
              <a:gd name="connsiteX1429" fmla="*/ 3208103 w 4545947"/>
              <a:gd name="connsiteY1429" fmla="*/ 91897 h 4525940"/>
              <a:gd name="connsiteX1430" fmla="*/ 3421125 w 4545947"/>
              <a:gd name="connsiteY1430" fmla="*/ 62685 h 4525940"/>
              <a:gd name="connsiteX1431" fmla="*/ 3427684 w 4545947"/>
              <a:gd name="connsiteY1431" fmla="*/ 72181 h 4525940"/>
              <a:gd name="connsiteX1432" fmla="*/ 3431098 w 4545947"/>
              <a:gd name="connsiteY1432" fmla="*/ 81678 h 4525940"/>
              <a:gd name="connsiteX1433" fmla="*/ 3441509 w 4545947"/>
              <a:gd name="connsiteY1433" fmla="*/ 121946 h 4525940"/>
              <a:gd name="connsiteX1434" fmla="*/ 3433123 w 4545947"/>
              <a:gd name="connsiteY1434" fmla="*/ 121434 h 4525940"/>
              <a:gd name="connsiteX1435" fmla="*/ 3430102 w 4545947"/>
              <a:gd name="connsiteY1435" fmla="*/ 112791 h 4525940"/>
              <a:gd name="connsiteX1436" fmla="*/ 3427942 w 4545947"/>
              <a:gd name="connsiteY1436" fmla="*/ 107001 h 4525940"/>
              <a:gd name="connsiteX1437" fmla="*/ 3423312 w 4545947"/>
              <a:gd name="connsiteY1437" fmla="*/ 94339 h 4525940"/>
              <a:gd name="connsiteX1438" fmla="*/ 3418939 w 4545947"/>
              <a:gd name="connsiteY1438" fmla="*/ 81678 h 4525940"/>
              <a:gd name="connsiteX1439" fmla="*/ 3414566 w 4545947"/>
              <a:gd name="connsiteY1439" fmla="*/ 72181 h 4525940"/>
              <a:gd name="connsiteX1440" fmla="*/ 3421125 w 4545947"/>
              <a:gd name="connsiteY1440" fmla="*/ 62685 h 4525940"/>
              <a:gd name="connsiteX1441" fmla="*/ 3123228 w 4545947"/>
              <a:gd name="connsiteY1441" fmla="*/ 39762 h 4525940"/>
              <a:gd name="connsiteX1442" fmla="*/ 3129915 w 4545947"/>
              <a:gd name="connsiteY1442" fmla="*/ 46141 h 4525940"/>
              <a:gd name="connsiteX1443" fmla="*/ 3130996 w 4545947"/>
              <a:gd name="connsiteY1443" fmla="*/ 58920 h 4525940"/>
              <a:gd name="connsiteX1444" fmla="*/ 3124122 w 4545947"/>
              <a:gd name="connsiteY1444" fmla="*/ 52246 h 4525940"/>
              <a:gd name="connsiteX1445" fmla="*/ 3123228 w 4545947"/>
              <a:gd name="connsiteY1445" fmla="*/ 39762 h 4525940"/>
              <a:gd name="connsiteX1446" fmla="*/ 3491456 w 4545947"/>
              <a:gd name="connsiteY1446" fmla="*/ 6650 h 4525940"/>
              <a:gd name="connsiteX1447" fmla="*/ 3502024 w 4545947"/>
              <a:gd name="connsiteY1447" fmla="*/ 18369 h 4525940"/>
              <a:gd name="connsiteX1448" fmla="*/ 3517999 w 4545947"/>
              <a:gd name="connsiteY1448" fmla="*/ 31031 h 4525940"/>
              <a:gd name="connsiteX1449" fmla="*/ 3523889 w 4545947"/>
              <a:gd name="connsiteY1449" fmla="*/ 37362 h 4525940"/>
              <a:gd name="connsiteX1450" fmla="*/ 3530448 w 4545947"/>
              <a:gd name="connsiteY1450" fmla="*/ 43693 h 4525940"/>
              <a:gd name="connsiteX1451" fmla="*/ 3537008 w 4545947"/>
              <a:gd name="connsiteY1451" fmla="*/ 56677 h 4525940"/>
              <a:gd name="connsiteX1452" fmla="*/ 3573084 w 4545947"/>
              <a:gd name="connsiteY1452" fmla="*/ 113301 h 4525940"/>
              <a:gd name="connsiteX1453" fmla="*/ 3576364 w 4545947"/>
              <a:gd name="connsiteY1453" fmla="*/ 123514 h 4525940"/>
              <a:gd name="connsiteX1454" fmla="*/ 3565906 w 4545947"/>
              <a:gd name="connsiteY1454" fmla="*/ 129897 h 4525940"/>
              <a:gd name="connsiteX1455" fmla="*/ 3553610 w 4545947"/>
              <a:gd name="connsiteY1455" fmla="*/ 148893 h 4525940"/>
              <a:gd name="connsiteX1456" fmla="*/ 3559695 w 4545947"/>
              <a:gd name="connsiteY1456" fmla="*/ 178853 h 4525940"/>
              <a:gd name="connsiteX1457" fmla="*/ 3562664 w 4545947"/>
              <a:gd name="connsiteY1457" fmla="*/ 212934 h 4525940"/>
              <a:gd name="connsiteX1458" fmla="*/ 3570416 w 4545947"/>
              <a:gd name="connsiteY1458" fmla="*/ 239949 h 4525940"/>
              <a:gd name="connsiteX1459" fmla="*/ 3586126 w 4545947"/>
              <a:gd name="connsiteY1459" fmla="*/ 229122 h 4525940"/>
              <a:gd name="connsiteX1460" fmla="*/ 3598207 w 4545947"/>
              <a:gd name="connsiteY1460" fmla="*/ 227237 h 4525940"/>
              <a:gd name="connsiteX1461" fmla="*/ 3599566 w 4545947"/>
              <a:gd name="connsiteY1461" fmla="*/ 241937 h 4525940"/>
              <a:gd name="connsiteX1462" fmla="*/ 3618632 w 4545947"/>
              <a:gd name="connsiteY1462" fmla="*/ 258845 h 4525940"/>
              <a:gd name="connsiteX1463" fmla="*/ 3665357 w 4545947"/>
              <a:gd name="connsiteY1463" fmla="*/ 319085 h 4525940"/>
              <a:gd name="connsiteX1464" fmla="*/ 3664147 w 4545947"/>
              <a:gd name="connsiteY1464" fmla="*/ 355487 h 4525940"/>
              <a:gd name="connsiteX1465" fmla="*/ 3664283 w 4545947"/>
              <a:gd name="connsiteY1465" fmla="*/ 379228 h 4525940"/>
              <a:gd name="connsiteX1466" fmla="*/ 3668196 w 4545947"/>
              <a:gd name="connsiteY1466" fmla="*/ 388724 h 4525940"/>
              <a:gd name="connsiteX1467" fmla="*/ 3672568 w 4545947"/>
              <a:gd name="connsiteY1467" fmla="*/ 398220 h 4525940"/>
              <a:gd name="connsiteX1468" fmla="*/ 3676941 w 4545947"/>
              <a:gd name="connsiteY1468" fmla="*/ 421463 h 4525940"/>
              <a:gd name="connsiteX1469" fmla="*/ 3683014 w 4545947"/>
              <a:gd name="connsiteY1469" fmla="*/ 454700 h 4525940"/>
              <a:gd name="connsiteX1470" fmla="*/ 3692108 w 4545947"/>
              <a:gd name="connsiteY1470" fmla="*/ 485270 h 4525940"/>
              <a:gd name="connsiteX1471" fmla="*/ 3688220 w 4545947"/>
              <a:gd name="connsiteY1471" fmla="*/ 505845 h 4525940"/>
              <a:gd name="connsiteX1472" fmla="*/ 3682407 w 4545947"/>
              <a:gd name="connsiteY1472" fmla="*/ 498925 h 4525940"/>
              <a:gd name="connsiteX1473" fmla="*/ 3660542 w 4545947"/>
              <a:gd name="connsiteY1473" fmla="*/ 484398 h 4525940"/>
              <a:gd name="connsiteX1474" fmla="*/ 3656943 w 4545947"/>
              <a:gd name="connsiteY1474" fmla="*/ 532140 h 4525940"/>
              <a:gd name="connsiteX1475" fmla="*/ 3663823 w 4545947"/>
              <a:gd name="connsiteY1475" fmla="*/ 567545 h 4525940"/>
              <a:gd name="connsiteX1476" fmla="*/ 3672568 w 4545947"/>
              <a:gd name="connsiteY1476" fmla="*/ 599081 h 4525940"/>
              <a:gd name="connsiteX1477" fmla="*/ 3681314 w 4545947"/>
              <a:gd name="connsiteY1477" fmla="*/ 626611 h 4525940"/>
              <a:gd name="connsiteX1478" fmla="*/ 3685687 w 4545947"/>
              <a:gd name="connsiteY1478" fmla="*/ 641959 h 4525940"/>
              <a:gd name="connsiteX1479" fmla="*/ 3690060 w 4545947"/>
              <a:gd name="connsiteY1479" fmla="*/ 660343 h 4525940"/>
              <a:gd name="connsiteX1480" fmla="*/ 3714879 w 4545947"/>
              <a:gd name="connsiteY1480" fmla="*/ 694706 h 4525940"/>
              <a:gd name="connsiteX1481" fmla="*/ 3727174 w 4545947"/>
              <a:gd name="connsiteY1481" fmla="*/ 678324 h 4525940"/>
              <a:gd name="connsiteX1482" fmla="*/ 3741385 w 4545947"/>
              <a:gd name="connsiteY1482" fmla="*/ 664117 h 4525940"/>
              <a:gd name="connsiteX1483" fmla="*/ 3736264 w 4545947"/>
              <a:gd name="connsiteY1483" fmla="*/ 703575 h 4525940"/>
              <a:gd name="connsiteX1484" fmla="*/ 3721445 w 4545947"/>
              <a:gd name="connsiteY1484" fmla="*/ 766238 h 4525940"/>
              <a:gd name="connsiteX1485" fmla="*/ 3753209 w 4545947"/>
              <a:gd name="connsiteY1485" fmla="*/ 762044 h 4525940"/>
              <a:gd name="connsiteX1486" fmla="*/ 3792622 w 4545947"/>
              <a:gd name="connsiteY1486" fmla="*/ 783484 h 4525940"/>
              <a:gd name="connsiteX1487" fmla="*/ 3816087 w 4545947"/>
              <a:gd name="connsiteY1487" fmla="*/ 779639 h 4525940"/>
              <a:gd name="connsiteX1488" fmla="*/ 3832485 w 4545947"/>
              <a:gd name="connsiteY1488" fmla="*/ 748816 h 4525940"/>
              <a:gd name="connsiteX1489" fmla="*/ 3847425 w 4545947"/>
              <a:gd name="connsiteY1489" fmla="*/ 709264 h 4525940"/>
              <a:gd name="connsiteX1490" fmla="*/ 3839142 w 4545947"/>
              <a:gd name="connsiteY1490" fmla="*/ 660590 h 4525940"/>
              <a:gd name="connsiteX1491" fmla="*/ 3842989 w 4545947"/>
              <a:gd name="connsiteY1491" fmla="*/ 566799 h 4525940"/>
              <a:gd name="connsiteX1492" fmla="*/ 3847485 w 4545947"/>
              <a:gd name="connsiteY1492" fmla="*/ 549670 h 4525940"/>
              <a:gd name="connsiteX1493" fmla="*/ 3853517 w 4545947"/>
              <a:gd name="connsiteY1493" fmla="*/ 531802 h 4525940"/>
              <a:gd name="connsiteX1494" fmla="*/ 3861473 w 4545947"/>
              <a:gd name="connsiteY1494" fmla="*/ 472401 h 4525940"/>
              <a:gd name="connsiteX1495" fmla="*/ 3842299 w 4545947"/>
              <a:gd name="connsiteY1495" fmla="*/ 430355 h 4525940"/>
              <a:gd name="connsiteX1496" fmla="*/ 3823090 w 4545947"/>
              <a:gd name="connsiteY1496" fmla="*/ 390244 h 4525940"/>
              <a:gd name="connsiteX1497" fmla="*/ 3811876 w 4545947"/>
              <a:gd name="connsiteY1497" fmla="*/ 365824 h 4525940"/>
              <a:gd name="connsiteX1498" fmla="*/ 3803756 w 4545947"/>
              <a:gd name="connsiteY1498" fmla="*/ 345701 h 4525940"/>
              <a:gd name="connsiteX1499" fmla="*/ 3798290 w 4545947"/>
              <a:gd name="connsiteY1499" fmla="*/ 327206 h 4525940"/>
              <a:gd name="connsiteX1500" fmla="*/ 3783985 w 4545947"/>
              <a:gd name="connsiteY1500" fmla="*/ 271395 h 4525940"/>
              <a:gd name="connsiteX1501" fmla="*/ 3795958 w 4545947"/>
              <a:gd name="connsiteY1501" fmla="*/ 251450 h 4525940"/>
              <a:gd name="connsiteX1502" fmla="*/ 3811582 w 4545947"/>
              <a:gd name="connsiteY1502" fmla="*/ 258942 h 4525940"/>
              <a:gd name="connsiteX1503" fmla="*/ 3838594 w 4545947"/>
              <a:gd name="connsiteY1503" fmla="*/ 298509 h 4525940"/>
              <a:gd name="connsiteX1504" fmla="*/ 3843112 w 4545947"/>
              <a:gd name="connsiteY1504" fmla="*/ 309588 h 4525940"/>
              <a:gd name="connsiteX1505" fmla="*/ 3847485 w 4545947"/>
              <a:gd name="connsiteY1505" fmla="*/ 319315 h 4525940"/>
              <a:gd name="connsiteX1506" fmla="*/ 3880487 w 4545947"/>
              <a:gd name="connsiteY1506" fmla="*/ 375747 h 4525940"/>
              <a:gd name="connsiteX1507" fmla="*/ 3913488 w 4545947"/>
              <a:gd name="connsiteY1507" fmla="*/ 422452 h 4525940"/>
              <a:gd name="connsiteX1508" fmla="*/ 3912190 w 4545947"/>
              <a:gd name="connsiteY1508" fmla="*/ 462566 h 4525940"/>
              <a:gd name="connsiteX1509" fmla="*/ 3910892 w 4545947"/>
              <a:gd name="connsiteY1509" fmla="*/ 502680 h 4525940"/>
              <a:gd name="connsiteX1510" fmla="*/ 3924010 w 4545947"/>
              <a:gd name="connsiteY1510" fmla="*/ 504823 h 4525940"/>
              <a:gd name="connsiteX1511" fmla="*/ 3948063 w 4545947"/>
              <a:gd name="connsiteY1511" fmla="*/ 546577 h 4525940"/>
              <a:gd name="connsiteX1512" fmla="*/ 3957252 w 4545947"/>
              <a:gd name="connsiteY1512" fmla="*/ 587378 h 4525940"/>
              <a:gd name="connsiteX1513" fmla="*/ 3964689 w 4545947"/>
              <a:gd name="connsiteY1513" fmla="*/ 623392 h 4525940"/>
              <a:gd name="connsiteX1514" fmla="*/ 3966432 w 4545947"/>
              <a:gd name="connsiteY1514" fmla="*/ 645124 h 4525940"/>
              <a:gd name="connsiteX1515" fmla="*/ 3969927 w 4545947"/>
              <a:gd name="connsiteY1515" fmla="*/ 664117 h 4525940"/>
              <a:gd name="connsiteX1516" fmla="*/ 3961040 w 4545947"/>
              <a:gd name="connsiteY1516" fmla="*/ 683109 h 4525940"/>
              <a:gd name="connsiteX1517" fmla="*/ 3951373 w 4545947"/>
              <a:gd name="connsiteY1517" fmla="*/ 730591 h 4525940"/>
              <a:gd name="connsiteX1518" fmla="*/ 3961150 w 4545947"/>
              <a:gd name="connsiteY1518" fmla="*/ 759079 h 4525940"/>
              <a:gd name="connsiteX1519" fmla="*/ 3975786 w 4545947"/>
              <a:gd name="connsiteY1519" fmla="*/ 770572 h 4525940"/>
              <a:gd name="connsiteX1520" fmla="*/ 3993580 w 4545947"/>
              <a:gd name="connsiteY1520" fmla="*/ 785503 h 4525940"/>
              <a:gd name="connsiteX1521" fmla="*/ 4004560 w 4545947"/>
              <a:gd name="connsiteY1521" fmla="*/ 794212 h 4525940"/>
              <a:gd name="connsiteX1522" fmla="*/ 4011235 w 4545947"/>
              <a:gd name="connsiteY1522" fmla="*/ 814926 h 4525940"/>
              <a:gd name="connsiteX1523" fmla="*/ 4008872 w 4545947"/>
              <a:gd name="connsiteY1523" fmla="*/ 849310 h 4525940"/>
              <a:gd name="connsiteX1524" fmla="*/ 4041280 w 4545947"/>
              <a:gd name="connsiteY1524" fmla="*/ 845658 h 4525940"/>
              <a:gd name="connsiteX1525" fmla="*/ 4062851 w 4545947"/>
              <a:gd name="connsiteY1525" fmla="*/ 820534 h 4525940"/>
              <a:gd name="connsiteX1526" fmla="*/ 4070504 w 4545947"/>
              <a:gd name="connsiteY1526" fmla="*/ 803968 h 4525940"/>
              <a:gd name="connsiteX1527" fmla="*/ 4075068 w 4545947"/>
              <a:gd name="connsiteY1527" fmla="*/ 787397 h 4525940"/>
              <a:gd name="connsiteX1528" fmla="*/ 4092369 w 4545947"/>
              <a:gd name="connsiteY1528" fmla="*/ 816832 h 4525940"/>
              <a:gd name="connsiteX1529" fmla="*/ 4096742 w 4545947"/>
              <a:gd name="connsiteY1529" fmla="*/ 835050 h 4525940"/>
              <a:gd name="connsiteX1530" fmla="*/ 4101115 w 4545947"/>
              <a:gd name="connsiteY1530" fmla="*/ 843771 h 4525940"/>
              <a:gd name="connsiteX1531" fmla="*/ 4107393 w 4545947"/>
              <a:gd name="connsiteY1531" fmla="*/ 860036 h 4525940"/>
              <a:gd name="connsiteX1532" fmla="*/ 4116486 w 4545947"/>
              <a:gd name="connsiteY1532" fmla="*/ 886134 h 4525940"/>
              <a:gd name="connsiteX1533" fmla="*/ 4122859 w 4545947"/>
              <a:gd name="connsiteY1533" fmla="*/ 904689 h 4525940"/>
              <a:gd name="connsiteX1534" fmla="*/ 4126496 w 4545947"/>
              <a:gd name="connsiteY1534" fmla="*/ 933011 h 4525940"/>
              <a:gd name="connsiteX1535" fmla="*/ 4119395 w 4545947"/>
              <a:gd name="connsiteY1535" fmla="*/ 964833 h 4525940"/>
              <a:gd name="connsiteX1536" fmla="*/ 4109556 w 4545947"/>
              <a:gd name="connsiteY1536" fmla="*/ 1003225 h 4525940"/>
              <a:gd name="connsiteX1537" fmla="*/ 4101632 w 4545947"/>
              <a:gd name="connsiteY1537" fmla="*/ 1057038 h 4525940"/>
              <a:gd name="connsiteX1538" fmla="*/ 4119684 w 4545947"/>
              <a:gd name="connsiteY1538" fmla="*/ 1139507 h 4525940"/>
              <a:gd name="connsiteX1539" fmla="*/ 4139990 w 4545947"/>
              <a:gd name="connsiteY1539" fmla="*/ 1128881 h 4525940"/>
              <a:gd name="connsiteX1540" fmla="*/ 4165434 w 4545947"/>
              <a:gd name="connsiteY1540" fmla="*/ 1124687 h 4525940"/>
              <a:gd name="connsiteX1541" fmla="*/ 4171225 w 4545947"/>
              <a:gd name="connsiteY1541" fmla="*/ 1138931 h 4525940"/>
              <a:gd name="connsiteX1542" fmla="*/ 4177151 w 4545947"/>
              <a:gd name="connsiteY1542" fmla="*/ 1165392 h 4525940"/>
              <a:gd name="connsiteX1543" fmla="*/ 4167975 w 4545947"/>
              <a:gd name="connsiteY1543" fmla="*/ 1204976 h 4525940"/>
              <a:gd name="connsiteX1544" fmla="*/ 4151601 w 4545947"/>
              <a:gd name="connsiteY1544" fmla="*/ 1185009 h 4525940"/>
              <a:gd name="connsiteX1545" fmla="*/ 4115472 w 4545947"/>
              <a:gd name="connsiteY1545" fmla="*/ 1175190 h 4525940"/>
              <a:gd name="connsiteX1546" fmla="*/ 4097522 w 4545947"/>
              <a:gd name="connsiteY1546" fmla="*/ 1202239 h 4525940"/>
              <a:gd name="connsiteX1547" fmla="*/ 4090938 w 4545947"/>
              <a:gd name="connsiteY1547" fmla="*/ 1161908 h 4525940"/>
              <a:gd name="connsiteX1548" fmla="*/ 4084144 w 4545947"/>
              <a:gd name="connsiteY1548" fmla="*/ 1120998 h 4525940"/>
              <a:gd name="connsiteX1549" fmla="*/ 4074877 w 4545947"/>
              <a:gd name="connsiteY1549" fmla="*/ 1095063 h 4525940"/>
              <a:gd name="connsiteX1550" fmla="*/ 4063469 w 4545947"/>
              <a:gd name="connsiteY1550" fmla="*/ 1081691 h 4525940"/>
              <a:gd name="connsiteX1551" fmla="*/ 4056887 w 4545947"/>
              <a:gd name="connsiteY1551" fmla="*/ 1066994 h 4525940"/>
              <a:gd name="connsiteX1552" fmla="*/ 4057531 w 4545947"/>
              <a:gd name="connsiteY1552" fmla="*/ 1010814 h 4525940"/>
              <a:gd name="connsiteX1553" fmla="*/ 4057210 w 4545947"/>
              <a:gd name="connsiteY1553" fmla="*/ 943558 h 4525940"/>
              <a:gd name="connsiteX1554" fmla="*/ 4057842 w 4545947"/>
              <a:gd name="connsiteY1554" fmla="*/ 906579 h 4525940"/>
              <a:gd name="connsiteX1555" fmla="*/ 4035718 w 4545947"/>
              <a:gd name="connsiteY1555" fmla="*/ 883685 h 4525940"/>
              <a:gd name="connsiteX1556" fmla="*/ 4009350 w 4545947"/>
              <a:gd name="connsiteY1556" fmla="*/ 906575 h 4525940"/>
              <a:gd name="connsiteX1557" fmla="*/ 3997719 w 4545947"/>
              <a:gd name="connsiteY1557" fmla="*/ 932360 h 4525940"/>
              <a:gd name="connsiteX1558" fmla="*/ 3989704 w 4545947"/>
              <a:gd name="connsiteY1558" fmla="*/ 971623 h 4525940"/>
              <a:gd name="connsiteX1559" fmla="*/ 3992236 w 4545947"/>
              <a:gd name="connsiteY1559" fmla="*/ 1004994 h 4525940"/>
              <a:gd name="connsiteX1560" fmla="*/ 4004625 w 4545947"/>
              <a:gd name="connsiteY1560" fmla="*/ 1009239 h 4525940"/>
              <a:gd name="connsiteX1561" fmla="*/ 4018029 w 4545947"/>
              <a:gd name="connsiteY1561" fmla="*/ 1014201 h 4525940"/>
              <a:gd name="connsiteX1562" fmla="*/ 4024588 w 4545947"/>
              <a:gd name="connsiteY1562" fmla="*/ 1031306 h 4525940"/>
              <a:gd name="connsiteX1563" fmla="*/ 4031148 w 4545947"/>
              <a:gd name="connsiteY1563" fmla="*/ 1054239 h 4525940"/>
              <a:gd name="connsiteX1564" fmla="*/ 4035521 w 4545947"/>
              <a:gd name="connsiteY1564" fmla="*/ 1069291 h 4525940"/>
              <a:gd name="connsiteX1565" fmla="*/ 4039960 w 4545947"/>
              <a:gd name="connsiteY1565" fmla="*/ 1080371 h 4525940"/>
              <a:gd name="connsiteX1566" fmla="*/ 4044266 w 4545947"/>
              <a:gd name="connsiteY1566" fmla="*/ 1081953 h 4525940"/>
              <a:gd name="connsiteX1567" fmla="*/ 4048506 w 4545947"/>
              <a:gd name="connsiteY1567" fmla="*/ 1078788 h 4525940"/>
              <a:gd name="connsiteX1568" fmla="*/ 4044572 w 4545947"/>
              <a:gd name="connsiteY1568" fmla="*/ 1094114 h 4525940"/>
              <a:gd name="connsiteX1569" fmla="*/ 4029488 w 4545947"/>
              <a:gd name="connsiteY1569" fmla="*/ 1092532 h 4525940"/>
              <a:gd name="connsiteX1570" fmla="*/ 4000537 w 4545947"/>
              <a:gd name="connsiteY1570" fmla="*/ 1091450 h 4525940"/>
              <a:gd name="connsiteX1571" fmla="*/ 4001086 w 4545947"/>
              <a:gd name="connsiteY1571" fmla="*/ 1111401 h 4525940"/>
              <a:gd name="connsiteX1572" fmla="*/ 4005684 w 4545947"/>
              <a:gd name="connsiteY1572" fmla="*/ 1179458 h 4525940"/>
              <a:gd name="connsiteX1573" fmla="*/ 4011018 w 4545947"/>
              <a:gd name="connsiteY1573" fmla="*/ 1249721 h 4525940"/>
              <a:gd name="connsiteX1574" fmla="*/ 4017890 w 4545947"/>
              <a:gd name="connsiteY1574" fmla="*/ 1279365 h 4525940"/>
              <a:gd name="connsiteX1575" fmla="*/ 4041682 w 4545947"/>
              <a:gd name="connsiteY1575" fmla="*/ 1293755 h 4525940"/>
              <a:gd name="connsiteX1576" fmla="*/ 4039371 w 4545947"/>
              <a:gd name="connsiteY1576" fmla="*/ 1249254 h 4525940"/>
              <a:gd name="connsiteX1577" fmla="*/ 4035521 w 4545947"/>
              <a:gd name="connsiteY1577" fmla="*/ 1224024 h 4525940"/>
              <a:gd name="connsiteX1578" fmla="*/ 4045401 w 4545947"/>
              <a:gd name="connsiteY1578" fmla="*/ 1202239 h 4525940"/>
              <a:gd name="connsiteX1579" fmla="*/ 4068670 w 4545947"/>
              <a:gd name="connsiteY1579" fmla="*/ 1250220 h 4525940"/>
              <a:gd name="connsiteX1580" fmla="*/ 4076391 w 4545947"/>
              <a:gd name="connsiteY1580" fmla="*/ 1281537 h 4525940"/>
              <a:gd name="connsiteX1581" fmla="*/ 4098627 w 4545947"/>
              <a:gd name="connsiteY1581" fmla="*/ 1277505 h 4525940"/>
              <a:gd name="connsiteX1582" fmla="*/ 4108517 w 4545947"/>
              <a:gd name="connsiteY1582" fmla="*/ 1278416 h 4525940"/>
              <a:gd name="connsiteX1583" fmla="*/ 4126752 w 4545947"/>
              <a:gd name="connsiteY1583" fmla="*/ 1287969 h 4525940"/>
              <a:gd name="connsiteX1584" fmla="*/ 4127806 w 4545947"/>
              <a:gd name="connsiteY1584" fmla="*/ 1299575 h 4525940"/>
              <a:gd name="connsiteX1585" fmla="*/ 4133874 w 4545947"/>
              <a:gd name="connsiteY1585" fmla="*/ 1305093 h 4525940"/>
              <a:gd name="connsiteX1586" fmla="*/ 4144844 w 4545947"/>
              <a:gd name="connsiteY1586" fmla="*/ 1283803 h 4525940"/>
              <a:gd name="connsiteX1587" fmla="*/ 4153286 w 4545947"/>
              <a:gd name="connsiteY1587" fmla="*/ 1265548 h 4525940"/>
              <a:gd name="connsiteX1588" fmla="*/ 4163125 w 4545947"/>
              <a:gd name="connsiteY1588" fmla="*/ 1279728 h 4525940"/>
              <a:gd name="connsiteX1589" fmla="*/ 4172531 w 4545947"/>
              <a:gd name="connsiteY1589" fmla="*/ 1296118 h 4525940"/>
              <a:gd name="connsiteX1590" fmla="*/ 4193740 w 4545947"/>
              <a:gd name="connsiteY1590" fmla="*/ 1257851 h 4525940"/>
              <a:gd name="connsiteX1591" fmla="*/ 4196823 w 4545947"/>
              <a:gd name="connsiteY1591" fmla="*/ 1240225 h 4525940"/>
              <a:gd name="connsiteX1592" fmla="*/ 4201692 w 4545947"/>
              <a:gd name="connsiteY1592" fmla="*/ 1230729 h 4525940"/>
              <a:gd name="connsiteX1593" fmla="*/ 4212078 w 4545947"/>
              <a:gd name="connsiteY1593" fmla="*/ 1221232 h 4525940"/>
              <a:gd name="connsiteX1594" fmla="*/ 4225197 w 4545947"/>
              <a:gd name="connsiteY1594" fmla="*/ 1241016 h 4525940"/>
              <a:gd name="connsiteX1595" fmla="*/ 4227930 w 4545947"/>
              <a:gd name="connsiteY1595" fmla="*/ 1273238 h 4525940"/>
              <a:gd name="connsiteX1596" fmla="*/ 4236457 w 4545947"/>
              <a:gd name="connsiteY1596" fmla="*/ 1296187 h 4525940"/>
              <a:gd name="connsiteX1597" fmla="*/ 4258151 w 4545947"/>
              <a:gd name="connsiteY1597" fmla="*/ 1418012 h 4525940"/>
              <a:gd name="connsiteX1598" fmla="*/ 4264204 w 4545947"/>
              <a:gd name="connsiteY1598" fmla="*/ 1466038 h 4525940"/>
              <a:gd name="connsiteX1599" fmla="*/ 4291061 w 4545947"/>
              <a:gd name="connsiteY1599" fmla="*/ 1458229 h 4525940"/>
              <a:gd name="connsiteX1600" fmla="*/ 4302556 w 4545947"/>
              <a:gd name="connsiteY1600" fmla="*/ 1453466 h 4525940"/>
              <a:gd name="connsiteX1601" fmla="*/ 4288263 w 4545947"/>
              <a:gd name="connsiteY1601" fmla="*/ 1485776 h 4525940"/>
              <a:gd name="connsiteX1602" fmla="*/ 4273845 w 4545947"/>
              <a:gd name="connsiteY1602" fmla="*/ 1491271 h 4525940"/>
              <a:gd name="connsiteX1603" fmla="*/ 4274670 w 4545947"/>
              <a:gd name="connsiteY1603" fmla="*/ 1576119 h 4525940"/>
              <a:gd name="connsiteX1604" fmla="*/ 4280135 w 4545947"/>
              <a:gd name="connsiteY1604" fmla="*/ 1663208 h 4525940"/>
              <a:gd name="connsiteX1605" fmla="*/ 4284796 w 4545947"/>
              <a:gd name="connsiteY1605" fmla="*/ 1691826 h 4525940"/>
              <a:gd name="connsiteX1606" fmla="*/ 4295844 w 4545947"/>
              <a:gd name="connsiteY1606" fmla="*/ 1749682 h 4525940"/>
              <a:gd name="connsiteX1607" fmla="*/ 4309600 w 4545947"/>
              <a:gd name="connsiteY1607" fmla="*/ 1836731 h 4525940"/>
              <a:gd name="connsiteX1608" fmla="*/ 4316241 w 4545947"/>
              <a:gd name="connsiteY1608" fmla="*/ 1892303 h 4525940"/>
              <a:gd name="connsiteX1609" fmla="*/ 4310107 w 4545947"/>
              <a:gd name="connsiteY1609" fmla="*/ 1957356 h 4525940"/>
              <a:gd name="connsiteX1610" fmla="*/ 4312284 w 4545947"/>
              <a:gd name="connsiteY1610" fmla="*/ 1985845 h 4525940"/>
              <a:gd name="connsiteX1611" fmla="*/ 4322081 w 4545947"/>
              <a:gd name="connsiteY1611" fmla="*/ 2014172 h 4525940"/>
              <a:gd name="connsiteX1612" fmla="*/ 4328981 w 4545947"/>
              <a:gd name="connsiteY1612" fmla="*/ 2031582 h 4525940"/>
              <a:gd name="connsiteX1613" fmla="*/ 4332880 w 4545947"/>
              <a:gd name="connsiteY1613" fmla="*/ 2043469 h 4525940"/>
              <a:gd name="connsiteX1614" fmla="*/ 4353651 w 4545947"/>
              <a:gd name="connsiteY1614" fmla="*/ 2056924 h 4525940"/>
              <a:gd name="connsiteX1615" fmla="*/ 4363490 w 4545947"/>
              <a:gd name="connsiteY1615" fmla="*/ 2035116 h 4525940"/>
              <a:gd name="connsiteX1616" fmla="*/ 4378404 w 4545947"/>
              <a:gd name="connsiteY1616" fmla="*/ 2019721 h 4525940"/>
              <a:gd name="connsiteX1617" fmla="*/ 4381043 w 4545947"/>
              <a:gd name="connsiteY1617" fmla="*/ 2075898 h 4525940"/>
              <a:gd name="connsiteX1618" fmla="*/ 4368169 w 4545947"/>
              <a:gd name="connsiteY1618" fmla="*/ 2077583 h 4525940"/>
              <a:gd name="connsiteX1619" fmla="*/ 4352226 w 4545947"/>
              <a:gd name="connsiteY1619" fmla="*/ 2073792 h 4525940"/>
              <a:gd name="connsiteX1620" fmla="*/ 4348141 w 4545947"/>
              <a:gd name="connsiteY1620" fmla="*/ 2106926 h 4525940"/>
              <a:gd name="connsiteX1621" fmla="*/ 4351103 w 4545947"/>
              <a:gd name="connsiteY1621" fmla="*/ 2147120 h 4525940"/>
              <a:gd name="connsiteX1622" fmla="*/ 4355016 w 4545947"/>
              <a:gd name="connsiteY1622" fmla="*/ 2158199 h 4525940"/>
              <a:gd name="connsiteX1623" fmla="*/ 4359117 w 4545947"/>
              <a:gd name="connsiteY1623" fmla="*/ 2167695 h 4525940"/>
              <a:gd name="connsiteX1624" fmla="*/ 4363490 w 4545947"/>
              <a:gd name="connsiteY1624" fmla="*/ 2177191 h 4525940"/>
              <a:gd name="connsiteX1625" fmla="*/ 4362923 w 4545947"/>
              <a:gd name="connsiteY1625" fmla="*/ 2213465 h 4525940"/>
              <a:gd name="connsiteX1626" fmla="*/ 4355271 w 4545947"/>
              <a:gd name="connsiteY1626" fmla="*/ 2293337 h 4525940"/>
              <a:gd name="connsiteX1627" fmla="*/ 4360370 w 4545947"/>
              <a:gd name="connsiteY1627" fmla="*/ 2373116 h 4525940"/>
              <a:gd name="connsiteX1628" fmla="*/ 4371450 w 4545947"/>
              <a:gd name="connsiteY1628" fmla="*/ 2434355 h 4525940"/>
              <a:gd name="connsiteX1629" fmla="*/ 4362612 w 4545947"/>
              <a:gd name="connsiteY1629" fmla="*/ 2455749 h 4525940"/>
              <a:gd name="connsiteX1630" fmla="*/ 4363396 w 4545947"/>
              <a:gd name="connsiteY1630" fmla="*/ 2497396 h 4525940"/>
              <a:gd name="connsiteX1631" fmla="*/ 4369984 w 4545947"/>
              <a:gd name="connsiteY1631" fmla="*/ 2601191 h 4525940"/>
              <a:gd name="connsiteX1632" fmla="*/ 4376297 w 4545947"/>
              <a:gd name="connsiteY1632" fmla="*/ 2702374 h 4525940"/>
              <a:gd name="connsiteX1633" fmla="*/ 4383427 w 4545947"/>
              <a:gd name="connsiteY1633" fmla="*/ 2767613 h 4525940"/>
              <a:gd name="connsiteX1634" fmla="*/ 4390327 w 4545947"/>
              <a:gd name="connsiteY1634" fmla="*/ 2829270 h 4525940"/>
              <a:gd name="connsiteX1635" fmla="*/ 4394101 w 4545947"/>
              <a:gd name="connsiteY1635" fmla="*/ 2854279 h 4525940"/>
              <a:gd name="connsiteX1636" fmla="*/ 4401330 w 4545947"/>
              <a:gd name="connsiteY1636" fmla="*/ 2885145 h 4525940"/>
              <a:gd name="connsiteX1637" fmla="*/ 4403735 w 4545947"/>
              <a:gd name="connsiteY1637" fmla="*/ 2918518 h 4525940"/>
              <a:gd name="connsiteX1638" fmla="*/ 4402014 w 4545947"/>
              <a:gd name="connsiteY1638" fmla="*/ 2949378 h 4525940"/>
              <a:gd name="connsiteX1639" fmla="*/ 4413722 w 4545947"/>
              <a:gd name="connsiteY1639" fmla="*/ 2976462 h 4525940"/>
              <a:gd name="connsiteX1640" fmla="*/ 4436955 w 4545947"/>
              <a:gd name="connsiteY1640" fmla="*/ 2992606 h 4525940"/>
              <a:gd name="connsiteX1641" fmla="*/ 4438402 w 4545947"/>
              <a:gd name="connsiteY1641" fmla="*/ 2962218 h 4525940"/>
              <a:gd name="connsiteX1642" fmla="*/ 4432140 w 4545947"/>
              <a:gd name="connsiteY1642" fmla="*/ 2940257 h 4525940"/>
              <a:gd name="connsiteX1643" fmla="*/ 4420579 w 4545947"/>
              <a:gd name="connsiteY1643" fmla="*/ 2904157 h 4525940"/>
              <a:gd name="connsiteX1644" fmla="*/ 4411480 w 4545947"/>
              <a:gd name="connsiteY1644" fmla="*/ 2890017 h 4525940"/>
              <a:gd name="connsiteX1645" fmla="*/ 4423561 w 4545947"/>
              <a:gd name="connsiteY1645" fmla="*/ 2875699 h 4525940"/>
              <a:gd name="connsiteX1646" fmla="*/ 4459419 w 4545947"/>
              <a:gd name="connsiteY1646" fmla="*/ 2869941 h 4525940"/>
              <a:gd name="connsiteX1647" fmla="*/ 4452464 w 4545947"/>
              <a:gd name="connsiteY1647" fmla="*/ 2935605 h 4525940"/>
              <a:gd name="connsiteX1648" fmla="*/ 4450005 w 4545947"/>
              <a:gd name="connsiteY1648" fmla="*/ 2962218 h 4525940"/>
              <a:gd name="connsiteX1649" fmla="*/ 4461356 w 4545947"/>
              <a:gd name="connsiteY1649" fmla="*/ 2981627 h 4525940"/>
              <a:gd name="connsiteX1650" fmla="*/ 4462298 w 4545947"/>
              <a:gd name="connsiteY1650" fmla="*/ 3012197 h 4525940"/>
              <a:gd name="connsiteX1651" fmla="*/ 4458544 w 4545947"/>
              <a:gd name="connsiteY1651" fmla="*/ 3047075 h 4525940"/>
              <a:gd name="connsiteX1652" fmla="*/ 4466982 w 4545947"/>
              <a:gd name="connsiteY1652" fmla="*/ 3096545 h 4525940"/>
              <a:gd name="connsiteX1653" fmla="*/ 4476717 w 4545947"/>
              <a:gd name="connsiteY1653" fmla="*/ 3145393 h 4525940"/>
              <a:gd name="connsiteX1654" fmla="*/ 4482109 w 4545947"/>
              <a:gd name="connsiteY1654" fmla="*/ 3209351 h 4525940"/>
              <a:gd name="connsiteX1655" fmla="*/ 4491442 w 4545947"/>
              <a:gd name="connsiteY1655" fmla="*/ 3282990 h 4525940"/>
              <a:gd name="connsiteX1656" fmla="*/ 4496943 w 4545947"/>
              <a:gd name="connsiteY1656" fmla="*/ 3316228 h 4525940"/>
              <a:gd name="connsiteX1657" fmla="*/ 4479522 w 4545947"/>
              <a:gd name="connsiteY1657" fmla="*/ 3318328 h 4525940"/>
              <a:gd name="connsiteX1658" fmla="*/ 4452840 w 4545947"/>
              <a:gd name="connsiteY1658" fmla="*/ 3272430 h 4525940"/>
              <a:gd name="connsiteX1659" fmla="*/ 4442203 w 4545947"/>
              <a:gd name="connsiteY1659" fmla="*/ 3311385 h 4525940"/>
              <a:gd name="connsiteX1660" fmla="*/ 4435495 w 4545947"/>
              <a:gd name="connsiteY1660" fmla="*/ 3340023 h 4525940"/>
              <a:gd name="connsiteX1661" fmla="*/ 4431405 w 4545947"/>
              <a:gd name="connsiteY1661" fmla="*/ 3361676 h 4525940"/>
              <a:gd name="connsiteX1662" fmla="*/ 4423901 w 4545947"/>
              <a:gd name="connsiteY1662" fmla="*/ 3368237 h 4525940"/>
              <a:gd name="connsiteX1663" fmla="*/ 4411592 w 4545947"/>
              <a:gd name="connsiteY1663" fmla="*/ 3332307 h 4525940"/>
              <a:gd name="connsiteX1664" fmla="*/ 4397896 w 4545947"/>
              <a:gd name="connsiteY1664" fmla="*/ 3297338 h 4525940"/>
              <a:gd name="connsiteX1665" fmla="*/ 4381244 w 4545947"/>
              <a:gd name="connsiteY1665" fmla="*/ 3297518 h 4525940"/>
              <a:gd name="connsiteX1666" fmla="*/ 4387970 w 4545947"/>
              <a:gd name="connsiteY1666" fmla="*/ 3342585 h 4525940"/>
              <a:gd name="connsiteX1667" fmla="*/ 4389728 w 4545947"/>
              <a:gd name="connsiteY1667" fmla="*/ 3411709 h 4525940"/>
              <a:gd name="connsiteX1668" fmla="*/ 4385355 w 4545947"/>
              <a:gd name="connsiteY1668" fmla="*/ 3437032 h 4525940"/>
              <a:gd name="connsiteX1669" fmla="*/ 4389728 w 4545947"/>
              <a:gd name="connsiteY1669" fmla="*/ 3462355 h 4525940"/>
              <a:gd name="connsiteX1670" fmla="*/ 4394101 w 4545947"/>
              <a:gd name="connsiteY1670" fmla="*/ 3477824 h 4525940"/>
              <a:gd name="connsiteX1671" fmla="*/ 4403134 w 4545947"/>
              <a:gd name="connsiteY1671" fmla="*/ 3502453 h 4525940"/>
              <a:gd name="connsiteX1672" fmla="*/ 4409301 w 4545947"/>
              <a:gd name="connsiteY1672" fmla="*/ 3533741 h 4525940"/>
              <a:gd name="connsiteX1673" fmla="*/ 4411334 w 4545947"/>
              <a:gd name="connsiteY1673" fmla="*/ 3560252 h 4525940"/>
              <a:gd name="connsiteX1674" fmla="*/ 4413426 w 4545947"/>
              <a:gd name="connsiteY1674" fmla="*/ 3586301 h 4525940"/>
              <a:gd name="connsiteX1675" fmla="*/ 4417255 w 4545947"/>
              <a:gd name="connsiteY1675" fmla="*/ 3607965 h 4525940"/>
              <a:gd name="connsiteX1676" fmla="*/ 4421605 w 4545947"/>
              <a:gd name="connsiteY1676" fmla="*/ 3620627 h 4525940"/>
              <a:gd name="connsiteX1677" fmla="*/ 4413131 w 4545947"/>
              <a:gd name="connsiteY1677" fmla="*/ 3633289 h 4525940"/>
              <a:gd name="connsiteX1678" fmla="*/ 4404428 w 4545947"/>
              <a:gd name="connsiteY1678" fmla="*/ 3642785 h 4525940"/>
              <a:gd name="connsiteX1679" fmla="*/ 4393632 w 4545947"/>
              <a:gd name="connsiteY1679" fmla="*/ 3652281 h 4525940"/>
              <a:gd name="connsiteX1680" fmla="*/ 4385355 w 4545947"/>
              <a:gd name="connsiteY1680" fmla="*/ 3629925 h 4525940"/>
              <a:gd name="connsiteX1681" fmla="*/ 4391914 w 4545947"/>
              <a:gd name="connsiteY1681" fmla="*/ 3603924 h 4525940"/>
              <a:gd name="connsiteX1682" fmla="*/ 4398473 w 4545947"/>
              <a:gd name="connsiteY1682" fmla="*/ 3585352 h 4525940"/>
              <a:gd name="connsiteX1683" fmla="*/ 4373070 w 4545947"/>
              <a:gd name="connsiteY1683" fmla="*/ 3557318 h 4525940"/>
              <a:gd name="connsiteX1684" fmla="*/ 4362940 w 4545947"/>
              <a:gd name="connsiteY1684" fmla="*/ 3508318 h 4525940"/>
              <a:gd name="connsiteX1685" fmla="*/ 4359759 w 4545947"/>
              <a:gd name="connsiteY1685" fmla="*/ 3486782 h 4525940"/>
              <a:gd name="connsiteX1686" fmla="*/ 4332004 w 4545947"/>
              <a:gd name="connsiteY1686" fmla="*/ 3485660 h 4525940"/>
              <a:gd name="connsiteX1687" fmla="*/ 4317200 w 4545947"/>
              <a:gd name="connsiteY1687" fmla="*/ 3482495 h 4525940"/>
              <a:gd name="connsiteX1688" fmla="*/ 4293795 w 4545947"/>
              <a:gd name="connsiteY1688" fmla="*/ 3480613 h 4525940"/>
              <a:gd name="connsiteX1689" fmla="*/ 4300183 w 4545947"/>
              <a:gd name="connsiteY1689" fmla="*/ 3523346 h 4525940"/>
              <a:gd name="connsiteX1690" fmla="*/ 4310997 w 4545947"/>
              <a:gd name="connsiteY1690" fmla="*/ 3568024 h 4525940"/>
              <a:gd name="connsiteX1691" fmla="*/ 4315459 w 4545947"/>
              <a:gd name="connsiteY1691" fmla="*/ 3585871 h 4525940"/>
              <a:gd name="connsiteX1692" fmla="*/ 4302514 w 4545947"/>
              <a:gd name="connsiteY1692" fmla="*/ 3601634 h 4525940"/>
              <a:gd name="connsiteX1693" fmla="*/ 4271659 w 4545947"/>
              <a:gd name="connsiteY1693" fmla="*/ 3548478 h 4525940"/>
              <a:gd name="connsiteX1694" fmla="*/ 4251054 w 4545947"/>
              <a:gd name="connsiteY1694" fmla="*/ 3524081 h 4525940"/>
              <a:gd name="connsiteX1695" fmla="*/ 4236675 w 4545947"/>
              <a:gd name="connsiteY1695" fmla="*/ 3514175 h 4525940"/>
              <a:gd name="connsiteX1696" fmla="*/ 4221370 w 4545947"/>
              <a:gd name="connsiteY1696" fmla="*/ 3485789 h 4525940"/>
              <a:gd name="connsiteX1697" fmla="*/ 4206065 w 4545947"/>
              <a:gd name="connsiteY1697" fmla="*/ 3466216 h 4525940"/>
              <a:gd name="connsiteX1698" fmla="*/ 4197295 w 4545947"/>
              <a:gd name="connsiteY1698" fmla="*/ 3460530 h 4525940"/>
              <a:gd name="connsiteX1699" fmla="*/ 4181991 w 4545947"/>
              <a:gd name="connsiteY1699" fmla="*/ 3455997 h 4525940"/>
              <a:gd name="connsiteX1700" fmla="*/ 4175454 w 4545947"/>
              <a:gd name="connsiteY1700" fmla="*/ 3466856 h 4525940"/>
              <a:gd name="connsiteX1701" fmla="*/ 4159615 w 4545947"/>
              <a:gd name="connsiteY1701" fmla="*/ 3483426 h 4525940"/>
              <a:gd name="connsiteX1702" fmla="*/ 4131533 w 4545947"/>
              <a:gd name="connsiteY1702" fmla="*/ 3479975 h 4525940"/>
              <a:gd name="connsiteX1703" fmla="*/ 4116891 w 4545947"/>
              <a:gd name="connsiteY1703" fmla="*/ 3472870 h 4525940"/>
              <a:gd name="connsiteX1704" fmla="*/ 4112678 w 4545947"/>
              <a:gd name="connsiteY1704" fmla="*/ 3467929 h 4525940"/>
              <a:gd name="connsiteX1705" fmla="*/ 4109861 w 4545947"/>
              <a:gd name="connsiteY1705" fmla="*/ 3494010 h 4525940"/>
              <a:gd name="connsiteX1706" fmla="*/ 4107881 w 4545947"/>
              <a:gd name="connsiteY1706" fmla="*/ 3533957 h 4525940"/>
              <a:gd name="connsiteX1707" fmla="*/ 4111751 w 4545947"/>
              <a:gd name="connsiteY1707" fmla="*/ 3655281 h 4525940"/>
              <a:gd name="connsiteX1708" fmla="*/ 4115825 w 4545947"/>
              <a:gd name="connsiteY1708" fmla="*/ 3697990 h 4525940"/>
              <a:gd name="connsiteX1709" fmla="*/ 4100821 w 4545947"/>
              <a:gd name="connsiteY1709" fmla="*/ 3693212 h 4525940"/>
              <a:gd name="connsiteX1710" fmla="*/ 4089044 w 4545947"/>
              <a:gd name="connsiteY1710" fmla="*/ 3691653 h 4525940"/>
              <a:gd name="connsiteX1711" fmla="*/ 4082530 w 4545947"/>
              <a:gd name="connsiteY1711" fmla="*/ 3698884 h 4525940"/>
              <a:gd name="connsiteX1712" fmla="*/ 4080291 w 4545947"/>
              <a:gd name="connsiteY1712" fmla="*/ 3710817 h 4525940"/>
              <a:gd name="connsiteX1713" fmla="*/ 4080385 w 4545947"/>
              <a:gd name="connsiteY1713" fmla="*/ 3730337 h 4525940"/>
              <a:gd name="connsiteX1714" fmla="*/ 4066131 w 4545947"/>
              <a:gd name="connsiteY1714" fmla="*/ 3728475 h 4525940"/>
              <a:gd name="connsiteX1715" fmla="*/ 4057262 w 4545947"/>
              <a:gd name="connsiteY1715" fmla="*/ 3702834 h 4525940"/>
              <a:gd name="connsiteX1716" fmla="*/ 4050961 w 4545947"/>
              <a:gd name="connsiteY1716" fmla="*/ 3689949 h 4525940"/>
              <a:gd name="connsiteX1717" fmla="*/ 4049965 w 4545947"/>
              <a:gd name="connsiteY1717" fmla="*/ 3683935 h 4525940"/>
              <a:gd name="connsiteX1718" fmla="*/ 4040220 w 4545947"/>
              <a:gd name="connsiteY1718" fmla="*/ 3663718 h 4525940"/>
              <a:gd name="connsiteX1719" fmla="*/ 4039152 w 4545947"/>
              <a:gd name="connsiteY1719" fmla="*/ 3641032 h 4525940"/>
              <a:gd name="connsiteX1720" fmla="*/ 4032349 w 4545947"/>
              <a:gd name="connsiteY1720" fmla="*/ 3604142 h 4525940"/>
              <a:gd name="connsiteX1721" fmla="*/ 4021554 w 4545947"/>
              <a:gd name="connsiteY1721" fmla="*/ 3580466 h 4525940"/>
              <a:gd name="connsiteX1722" fmla="*/ 4017114 w 4545947"/>
              <a:gd name="connsiteY1722" fmla="*/ 3577808 h 4525940"/>
              <a:gd name="connsiteX1723" fmla="*/ 4006744 w 4545947"/>
              <a:gd name="connsiteY1723" fmla="*/ 3605307 h 4525940"/>
              <a:gd name="connsiteX1724" fmla="*/ 3996422 w 4545947"/>
              <a:gd name="connsiteY1724" fmla="*/ 3630123 h 4525940"/>
              <a:gd name="connsiteX1725" fmla="*/ 3976929 w 4545947"/>
              <a:gd name="connsiteY1725" fmla="*/ 3557734 h 4525940"/>
              <a:gd name="connsiteX1726" fmla="*/ 3967010 w 4545947"/>
              <a:gd name="connsiteY1726" fmla="*/ 3524497 h 4525940"/>
              <a:gd name="connsiteX1727" fmla="*/ 3936518 w 4545947"/>
              <a:gd name="connsiteY1727" fmla="*/ 3522521 h 4525940"/>
              <a:gd name="connsiteX1728" fmla="*/ 3956830 w 4545947"/>
              <a:gd name="connsiteY1728" fmla="*/ 3588973 h 4525940"/>
              <a:gd name="connsiteX1729" fmla="*/ 3961181 w 4545947"/>
              <a:gd name="connsiteY1729" fmla="*/ 3603827 h 4525940"/>
              <a:gd name="connsiteX1730" fmla="*/ 3977941 w 4545947"/>
              <a:gd name="connsiteY1730" fmla="*/ 3658612 h 4525940"/>
              <a:gd name="connsiteX1731" fmla="*/ 3989531 w 4545947"/>
              <a:gd name="connsiteY1731" fmla="*/ 3709893 h 4525940"/>
              <a:gd name="connsiteX1732" fmla="*/ 3978673 w 4545947"/>
              <a:gd name="connsiteY1732" fmla="*/ 3722438 h 4525940"/>
              <a:gd name="connsiteX1733" fmla="*/ 3962900 w 4545947"/>
              <a:gd name="connsiteY1733" fmla="*/ 3690266 h 4525940"/>
              <a:gd name="connsiteX1734" fmla="*/ 3952435 w 4545947"/>
              <a:gd name="connsiteY1734" fmla="*/ 3684056 h 4525940"/>
              <a:gd name="connsiteX1735" fmla="*/ 3942083 w 4545947"/>
              <a:gd name="connsiteY1735" fmla="*/ 3674084 h 4525940"/>
              <a:gd name="connsiteX1736" fmla="*/ 3920131 w 4545947"/>
              <a:gd name="connsiteY1736" fmla="*/ 3685884 h 4525940"/>
              <a:gd name="connsiteX1737" fmla="*/ 3913664 w 4545947"/>
              <a:gd name="connsiteY1737" fmla="*/ 3719597 h 4525940"/>
              <a:gd name="connsiteX1738" fmla="*/ 3920091 w 4545947"/>
              <a:gd name="connsiteY1738" fmla="*/ 3744079 h 4525940"/>
              <a:gd name="connsiteX1739" fmla="*/ 3924301 w 4545947"/>
              <a:gd name="connsiteY1739" fmla="*/ 3764654 h 4525940"/>
              <a:gd name="connsiteX1740" fmla="*/ 3918458 w 4545947"/>
              <a:gd name="connsiteY1740" fmla="*/ 3778898 h 4525940"/>
              <a:gd name="connsiteX1741" fmla="*/ 3906709 w 4545947"/>
              <a:gd name="connsiteY1741" fmla="*/ 3750028 h 4525940"/>
              <a:gd name="connsiteX1742" fmla="*/ 3894186 w 4545947"/>
              <a:gd name="connsiteY1742" fmla="*/ 3723122 h 4525940"/>
              <a:gd name="connsiteX1743" fmla="*/ 3883222 w 4545947"/>
              <a:gd name="connsiteY1743" fmla="*/ 3739717 h 4525940"/>
              <a:gd name="connsiteX1744" fmla="*/ 3875601 w 4545947"/>
              <a:gd name="connsiteY1744" fmla="*/ 3757787 h 4525940"/>
              <a:gd name="connsiteX1745" fmla="*/ 3872041 w 4545947"/>
              <a:gd name="connsiteY1745" fmla="*/ 3776393 h 4525940"/>
              <a:gd name="connsiteX1746" fmla="*/ 3863739 w 4545947"/>
              <a:gd name="connsiteY1746" fmla="*/ 3783647 h 4525940"/>
              <a:gd name="connsiteX1747" fmla="*/ 3862885 w 4545947"/>
              <a:gd name="connsiteY1747" fmla="*/ 3785229 h 4525940"/>
              <a:gd name="connsiteX1748" fmla="*/ 3874122 w 4545947"/>
              <a:gd name="connsiteY1748" fmla="*/ 3823214 h 4525940"/>
              <a:gd name="connsiteX1749" fmla="*/ 3883234 w 4545947"/>
              <a:gd name="connsiteY1749" fmla="*/ 3899185 h 4525940"/>
              <a:gd name="connsiteX1750" fmla="*/ 3862599 w 4545947"/>
              <a:gd name="connsiteY1750" fmla="*/ 3845738 h 4525940"/>
              <a:gd name="connsiteX1751" fmla="*/ 3854301 w 4545947"/>
              <a:gd name="connsiteY1751" fmla="*/ 3812039 h 4525940"/>
              <a:gd name="connsiteX1752" fmla="*/ 3846160 w 4545947"/>
              <a:gd name="connsiteY1752" fmla="*/ 3796165 h 4525940"/>
              <a:gd name="connsiteX1753" fmla="*/ 3819335 w 4545947"/>
              <a:gd name="connsiteY1753" fmla="*/ 3805472 h 4525940"/>
              <a:gd name="connsiteX1754" fmla="*/ 3810462 w 4545947"/>
              <a:gd name="connsiteY1754" fmla="*/ 3833067 h 4525940"/>
              <a:gd name="connsiteX1755" fmla="*/ 3788709 w 4545947"/>
              <a:gd name="connsiteY1755" fmla="*/ 3831946 h 4525940"/>
              <a:gd name="connsiteX1756" fmla="*/ 3767992 w 4545947"/>
              <a:gd name="connsiteY1756" fmla="*/ 3797873 h 4525940"/>
              <a:gd name="connsiteX1757" fmla="*/ 3746015 w 4545947"/>
              <a:gd name="connsiteY1757" fmla="*/ 3752380 h 4525940"/>
              <a:gd name="connsiteX1758" fmla="*/ 3711733 w 4545947"/>
              <a:gd name="connsiteY1758" fmla="*/ 3702928 h 4525940"/>
              <a:gd name="connsiteX1759" fmla="*/ 3701350 w 4545947"/>
              <a:gd name="connsiteY1759" fmla="*/ 3706771 h 4525940"/>
              <a:gd name="connsiteX1760" fmla="*/ 3698806 w 4545947"/>
              <a:gd name="connsiteY1760" fmla="*/ 3728251 h 4525940"/>
              <a:gd name="connsiteX1761" fmla="*/ 3703179 w 4545947"/>
              <a:gd name="connsiteY1761" fmla="*/ 3747244 h 4525940"/>
              <a:gd name="connsiteX1762" fmla="*/ 3707552 w 4545947"/>
              <a:gd name="connsiteY1762" fmla="*/ 3766237 h 4525940"/>
              <a:gd name="connsiteX1763" fmla="*/ 3711925 w 4545947"/>
              <a:gd name="connsiteY1763" fmla="*/ 3776107 h 4525940"/>
              <a:gd name="connsiteX1764" fmla="*/ 3716310 w 4545947"/>
              <a:gd name="connsiteY1764" fmla="*/ 3782052 h 4525940"/>
              <a:gd name="connsiteX1765" fmla="*/ 3718822 w 4545947"/>
              <a:gd name="connsiteY1765" fmla="*/ 3792758 h 4525940"/>
              <a:gd name="connsiteX1766" fmla="*/ 3716622 w 4545947"/>
              <a:gd name="connsiteY1766" fmla="*/ 3815301 h 4525940"/>
              <a:gd name="connsiteX1767" fmla="*/ 3709009 w 4545947"/>
              <a:gd name="connsiteY1767" fmla="*/ 3823214 h 4525940"/>
              <a:gd name="connsiteX1768" fmla="*/ 3704652 w 4545947"/>
              <a:gd name="connsiteY1768" fmla="*/ 3827457 h 4525940"/>
              <a:gd name="connsiteX1769" fmla="*/ 3700954 w 4545947"/>
              <a:gd name="connsiteY1769" fmla="*/ 3846344 h 4525940"/>
              <a:gd name="connsiteX1770" fmla="*/ 3690971 w 4545947"/>
              <a:gd name="connsiteY1770" fmla="*/ 3884370 h 4525940"/>
              <a:gd name="connsiteX1771" fmla="*/ 3672702 w 4545947"/>
              <a:gd name="connsiteY1771" fmla="*/ 3896534 h 4525940"/>
              <a:gd name="connsiteX1772" fmla="*/ 3664440 w 4545947"/>
              <a:gd name="connsiteY1772" fmla="*/ 3880192 h 4525940"/>
              <a:gd name="connsiteX1773" fmla="*/ 3657424 w 4545947"/>
              <a:gd name="connsiteY1773" fmla="*/ 3839042 h 4525940"/>
              <a:gd name="connsiteX1774" fmla="*/ 3650356 w 4545947"/>
              <a:gd name="connsiteY1774" fmla="*/ 3797891 h 4525940"/>
              <a:gd name="connsiteX1775" fmla="*/ 3646331 w 4545947"/>
              <a:gd name="connsiteY1775" fmla="*/ 3780002 h 4525940"/>
              <a:gd name="connsiteX1776" fmla="*/ 3636210 w 4545947"/>
              <a:gd name="connsiteY1776" fmla="*/ 3748347 h 4525940"/>
              <a:gd name="connsiteX1777" fmla="*/ 3622279 w 4545947"/>
              <a:gd name="connsiteY1777" fmla="*/ 3740913 h 4525940"/>
              <a:gd name="connsiteX1778" fmla="*/ 3620351 w 4545947"/>
              <a:gd name="connsiteY1778" fmla="*/ 3747244 h 4525940"/>
              <a:gd name="connsiteX1779" fmla="*/ 3615720 w 4545947"/>
              <a:gd name="connsiteY1779" fmla="*/ 3739557 h 4525940"/>
              <a:gd name="connsiteX1780" fmla="*/ 3609235 w 4545947"/>
              <a:gd name="connsiteY1780" fmla="*/ 3741257 h 4525940"/>
              <a:gd name="connsiteX1781" fmla="*/ 3607022 w 4545947"/>
              <a:gd name="connsiteY1781" fmla="*/ 3883441 h 4525940"/>
              <a:gd name="connsiteX1782" fmla="*/ 3620970 w 4545947"/>
              <a:gd name="connsiteY1782" fmla="*/ 3926650 h 4525940"/>
              <a:gd name="connsiteX1783" fmla="*/ 3635418 w 4545947"/>
              <a:gd name="connsiteY1783" fmla="*/ 3966357 h 4525940"/>
              <a:gd name="connsiteX1784" fmla="*/ 3641958 w 4545947"/>
              <a:gd name="connsiteY1784" fmla="*/ 3982842 h 4525940"/>
              <a:gd name="connsiteX1785" fmla="*/ 3653242 w 4545947"/>
              <a:gd name="connsiteY1785" fmla="*/ 4009926 h 4525940"/>
              <a:gd name="connsiteX1786" fmla="*/ 3661604 w 4545947"/>
              <a:gd name="connsiteY1786" fmla="*/ 4040922 h 4525940"/>
              <a:gd name="connsiteX1787" fmla="*/ 3669309 w 4545947"/>
              <a:gd name="connsiteY1787" fmla="*/ 4087671 h 4525940"/>
              <a:gd name="connsiteX1788" fmla="*/ 3678511 w 4545947"/>
              <a:gd name="connsiteY1788" fmla="*/ 4112573 h 4525940"/>
              <a:gd name="connsiteX1789" fmla="*/ 3681769 w 4545947"/>
              <a:gd name="connsiteY1789" fmla="*/ 4123786 h 4525940"/>
              <a:gd name="connsiteX1790" fmla="*/ 3680561 w 4545947"/>
              <a:gd name="connsiteY1790" fmla="*/ 4130756 h 4525940"/>
              <a:gd name="connsiteX1791" fmla="*/ 3678018 w 4545947"/>
              <a:gd name="connsiteY1791" fmla="*/ 4172994 h 4525940"/>
              <a:gd name="connsiteX1792" fmla="*/ 3686423 w 4545947"/>
              <a:gd name="connsiteY1792" fmla="*/ 4203066 h 4525940"/>
              <a:gd name="connsiteX1793" fmla="*/ 3687445 w 4545947"/>
              <a:gd name="connsiteY1793" fmla="*/ 4242725 h 4525940"/>
              <a:gd name="connsiteX1794" fmla="*/ 3674851 w 4545947"/>
              <a:gd name="connsiteY1794" fmla="*/ 4234494 h 4525940"/>
              <a:gd name="connsiteX1795" fmla="*/ 3672639 w 4545947"/>
              <a:gd name="connsiteY1795" fmla="*/ 4225288 h 4525940"/>
              <a:gd name="connsiteX1796" fmla="*/ 3668195 w 4545947"/>
              <a:gd name="connsiteY1796" fmla="*/ 4209798 h 4525940"/>
              <a:gd name="connsiteX1797" fmla="*/ 3661635 w 4545947"/>
              <a:gd name="connsiteY1797" fmla="*/ 4190404 h 4525940"/>
              <a:gd name="connsiteX1798" fmla="*/ 3655077 w 4545947"/>
              <a:gd name="connsiteY1798" fmla="*/ 4164306 h 4525940"/>
              <a:gd name="connsiteX1799" fmla="*/ 3650704 w 4545947"/>
              <a:gd name="connsiteY1799" fmla="*/ 4146088 h 4525940"/>
              <a:gd name="connsiteX1800" fmla="*/ 3646331 w 4545947"/>
              <a:gd name="connsiteY1800" fmla="*/ 4127870 h 4525940"/>
              <a:gd name="connsiteX1801" fmla="*/ 3640215 w 4545947"/>
              <a:gd name="connsiteY1801" fmla="*/ 4102305 h 4525940"/>
              <a:gd name="connsiteX1802" fmla="*/ 3628573 w 4545947"/>
              <a:gd name="connsiteY1802" fmla="*/ 4030629 h 4525940"/>
              <a:gd name="connsiteX1803" fmla="*/ 3619343 w 4545947"/>
              <a:gd name="connsiteY1803" fmla="*/ 4010560 h 4525940"/>
              <a:gd name="connsiteX1804" fmla="*/ 3613087 w 4545947"/>
              <a:gd name="connsiteY1804" fmla="*/ 3995194 h 4525940"/>
              <a:gd name="connsiteX1805" fmla="*/ 3611643 w 4545947"/>
              <a:gd name="connsiteY1805" fmla="*/ 3986775 h 4525940"/>
              <a:gd name="connsiteX1806" fmla="*/ 3606039 w 4545947"/>
              <a:gd name="connsiteY1806" fmla="*/ 3968824 h 4525940"/>
              <a:gd name="connsiteX1807" fmla="*/ 3589225 w 4545947"/>
              <a:gd name="connsiteY1807" fmla="*/ 3937170 h 4525940"/>
              <a:gd name="connsiteX1808" fmla="*/ 3580737 w 4545947"/>
              <a:gd name="connsiteY1808" fmla="*/ 3924882 h 4525940"/>
              <a:gd name="connsiteX1809" fmla="*/ 3576929 w 4545947"/>
              <a:gd name="connsiteY1809" fmla="*/ 3909186 h 4525940"/>
              <a:gd name="connsiteX1810" fmla="*/ 3570603 w 4545947"/>
              <a:gd name="connsiteY1810" fmla="*/ 3888238 h 4525940"/>
              <a:gd name="connsiteX1811" fmla="*/ 3554944 w 4545947"/>
              <a:gd name="connsiteY1811" fmla="*/ 3858187 h 4525940"/>
              <a:gd name="connsiteX1812" fmla="*/ 3538478 w 4545947"/>
              <a:gd name="connsiteY1812" fmla="*/ 3805368 h 4525940"/>
              <a:gd name="connsiteX1813" fmla="*/ 3533727 w 4545947"/>
              <a:gd name="connsiteY1813" fmla="*/ 3767505 h 4525940"/>
              <a:gd name="connsiteX1814" fmla="*/ 3522632 w 4545947"/>
              <a:gd name="connsiteY1814" fmla="*/ 3721158 h 4525940"/>
              <a:gd name="connsiteX1815" fmla="*/ 3513197 w 4545947"/>
              <a:gd name="connsiteY1815" fmla="*/ 3684068 h 4525940"/>
              <a:gd name="connsiteX1816" fmla="*/ 3499894 w 4545947"/>
              <a:gd name="connsiteY1816" fmla="*/ 3658986 h 4525940"/>
              <a:gd name="connsiteX1817" fmla="*/ 3469237 w 4545947"/>
              <a:gd name="connsiteY1817" fmla="*/ 3635573 h 4525940"/>
              <a:gd name="connsiteX1818" fmla="*/ 3467041 w 4545947"/>
              <a:gd name="connsiteY1818" fmla="*/ 3687101 h 4525940"/>
              <a:gd name="connsiteX1819" fmla="*/ 3471414 w 4545947"/>
              <a:gd name="connsiteY1819" fmla="*/ 3706153 h 4525940"/>
              <a:gd name="connsiteX1820" fmla="*/ 3476971 w 4545947"/>
              <a:gd name="connsiteY1820" fmla="*/ 3726354 h 4525940"/>
              <a:gd name="connsiteX1821" fmla="*/ 3490888 w 4545947"/>
              <a:gd name="connsiteY1821" fmla="*/ 3773042 h 4525940"/>
              <a:gd name="connsiteX1822" fmla="*/ 3493020 w 4545947"/>
              <a:gd name="connsiteY1822" fmla="*/ 3778898 h 4525940"/>
              <a:gd name="connsiteX1823" fmla="*/ 3497651 w 4545947"/>
              <a:gd name="connsiteY1823" fmla="*/ 3793950 h 4525940"/>
              <a:gd name="connsiteX1824" fmla="*/ 3504545 w 4545947"/>
              <a:gd name="connsiteY1824" fmla="*/ 3817285 h 4525940"/>
              <a:gd name="connsiteX1825" fmla="*/ 3508755 w 4545947"/>
              <a:gd name="connsiteY1825" fmla="*/ 3848132 h 4525940"/>
              <a:gd name="connsiteX1826" fmla="*/ 3510540 w 4545947"/>
              <a:gd name="connsiteY1826" fmla="*/ 3861199 h 4525940"/>
              <a:gd name="connsiteX1827" fmla="*/ 3515661 w 4545947"/>
              <a:gd name="connsiteY1827" fmla="*/ 3869113 h 4525940"/>
              <a:gd name="connsiteX1828" fmla="*/ 3519516 w 4545947"/>
              <a:gd name="connsiteY1828" fmla="*/ 3873861 h 4525940"/>
              <a:gd name="connsiteX1829" fmla="*/ 3523889 w 4545947"/>
              <a:gd name="connsiteY1829" fmla="*/ 3883622 h 4525940"/>
              <a:gd name="connsiteX1830" fmla="*/ 3532417 w 4545947"/>
              <a:gd name="connsiteY1830" fmla="*/ 3906635 h 4525940"/>
              <a:gd name="connsiteX1831" fmla="*/ 3543578 w 4545947"/>
              <a:gd name="connsiteY1831" fmla="*/ 3939608 h 4525940"/>
              <a:gd name="connsiteX1832" fmla="*/ 3572787 w 4545947"/>
              <a:gd name="connsiteY1832" fmla="*/ 4051368 h 4525940"/>
              <a:gd name="connsiteX1833" fmla="*/ 3585110 w 4545947"/>
              <a:gd name="connsiteY1833" fmla="*/ 4083170 h 4525940"/>
              <a:gd name="connsiteX1834" fmla="*/ 3588390 w 4545947"/>
              <a:gd name="connsiteY1834" fmla="*/ 4095491 h 4525940"/>
              <a:gd name="connsiteX1835" fmla="*/ 3600027 w 4545947"/>
              <a:gd name="connsiteY1835" fmla="*/ 4134333 h 4525940"/>
              <a:gd name="connsiteX1836" fmla="*/ 3580737 w 4545947"/>
              <a:gd name="connsiteY1836" fmla="*/ 4111046 h 4525940"/>
              <a:gd name="connsiteX1837" fmla="*/ 3576851 w 4545947"/>
              <a:gd name="connsiteY1837" fmla="*/ 4095441 h 4525940"/>
              <a:gd name="connsiteX1838" fmla="*/ 3570176 w 4545947"/>
              <a:gd name="connsiteY1838" fmla="*/ 4073920 h 4525940"/>
              <a:gd name="connsiteX1839" fmla="*/ 3543030 w 4545947"/>
              <a:gd name="connsiteY1839" fmla="*/ 4041258 h 4525940"/>
              <a:gd name="connsiteX1840" fmla="*/ 3534118 w 4545947"/>
              <a:gd name="connsiteY1840" fmla="*/ 4026138 h 4525940"/>
              <a:gd name="connsiteX1841" fmla="*/ 3530338 w 4545947"/>
              <a:gd name="connsiteY1841" fmla="*/ 4006809 h 4525940"/>
              <a:gd name="connsiteX1842" fmla="*/ 3529155 w 4545947"/>
              <a:gd name="connsiteY1842" fmla="*/ 3978011 h 4525940"/>
              <a:gd name="connsiteX1843" fmla="*/ 3526968 w 4545947"/>
              <a:gd name="connsiteY1843" fmla="*/ 3955240 h 4525940"/>
              <a:gd name="connsiteX1844" fmla="*/ 3519516 w 4545947"/>
              <a:gd name="connsiteY1844" fmla="*/ 3936183 h 4525940"/>
              <a:gd name="connsiteX1845" fmla="*/ 3508583 w 4545947"/>
              <a:gd name="connsiteY1845" fmla="*/ 3910715 h 4525940"/>
              <a:gd name="connsiteX1846" fmla="*/ 3497651 w 4545947"/>
              <a:gd name="connsiteY1846" fmla="*/ 3890210 h 4525940"/>
              <a:gd name="connsiteX1847" fmla="*/ 3472162 w 4545947"/>
              <a:gd name="connsiteY1847" fmla="*/ 3861199 h 4525940"/>
              <a:gd name="connsiteX1848" fmla="*/ 3462668 w 4545947"/>
              <a:gd name="connsiteY1848" fmla="*/ 3848911 h 4525940"/>
              <a:gd name="connsiteX1849" fmla="*/ 3458295 w 4545947"/>
              <a:gd name="connsiteY1849" fmla="*/ 3832711 h 4525940"/>
              <a:gd name="connsiteX1850" fmla="*/ 3453922 w 4545947"/>
              <a:gd name="connsiteY1850" fmla="*/ 3814611 h 4525940"/>
              <a:gd name="connsiteX1851" fmla="*/ 3450078 w 4545947"/>
              <a:gd name="connsiteY1851" fmla="*/ 3794409 h 4525940"/>
              <a:gd name="connsiteX1852" fmla="*/ 3440992 w 4545947"/>
              <a:gd name="connsiteY1852" fmla="*/ 3764654 h 4525940"/>
              <a:gd name="connsiteX1853" fmla="*/ 3431719 w 4545947"/>
              <a:gd name="connsiteY1853" fmla="*/ 3740913 h 4525940"/>
              <a:gd name="connsiteX1854" fmla="*/ 3427684 w 4545947"/>
              <a:gd name="connsiteY1854" fmla="*/ 3725861 h 4525940"/>
              <a:gd name="connsiteX1855" fmla="*/ 3420306 w 4545947"/>
              <a:gd name="connsiteY1855" fmla="*/ 3702120 h 4525940"/>
              <a:gd name="connsiteX1856" fmla="*/ 3416164 w 4545947"/>
              <a:gd name="connsiteY1856" fmla="*/ 3705901 h 4525940"/>
              <a:gd name="connsiteX1857" fmla="*/ 3416533 w 4545947"/>
              <a:gd name="connsiteY1857" fmla="*/ 3714219 h 4525940"/>
              <a:gd name="connsiteX1858" fmla="*/ 3402685 w 4545947"/>
              <a:gd name="connsiteY1858" fmla="*/ 3716112 h 4525940"/>
              <a:gd name="connsiteX1859" fmla="*/ 3393935 w 4545947"/>
              <a:gd name="connsiteY1859" fmla="*/ 3713735 h 4525940"/>
              <a:gd name="connsiteX1860" fmla="*/ 3387971 w 4545947"/>
              <a:gd name="connsiteY1860" fmla="*/ 3689876 h 4525940"/>
              <a:gd name="connsiteX1861" fmla="*/ 3379613 w 4545947"/>
              <a:gd name="connsiteY1861" fmla="*/ 3645950 h 4525940"/>
              <a:gd name="connsiteX1862" fmla="*/ 3363957 w 4545947"/>
              <a:gd name="connsiteY1862" fmla="*/ 3602624 h 4525940"/>
              <a:gd name="connsiteX1863" fmla="*/ 3350698 w 4545947"/>
              <a:gd name="connsiteY1863" fmla="*/ 3633318 h 4525940"/>
              <a:gd name="connsiteX1864" fmla="*/ 3345028 w 4545947"/>
              <a:gd name="connsiteY1864" fmla="*/ 3650699 h 4525940"/>
              <a:gd name="connsiteX1865" fmla="*/ 3329305 w 4545947"/>
              <a:gd name="connsiteY1865" fmla="*/ 3652225 h 4525940"/>
              <a:gd name="connsiteX1866" fmla="*/ 3340893 w 4545947"/>
              <a:gd name="connsiteY1866" fmla="*/ 3677605 h 4525940"/>
              <a:gd name="connsiteX1867" fmla="*/ 3352077 w 4545947"/>
              <a:gd name="connsiteY1867" fmla="*/ 3690266 h 4525940"/>
              <a:gd name="connsiteX1868" fmla="*/ 3357681 w 4545947"/>
              <a:gd name="connsiteY1868" fmla="*/ 3702928 h 4525940"/>
              <a:gd name="connsiteX1869" fmla="*/ 3363620 w 4545947"/>
              <a:gd name="connsiteY1869" fmla="*/ 3721921 h 4525940"/>
              <a:gd name="connsiteX1870" fmla="*/ 3372913 w 4545947"/>
              <a:gd name="connsiteY1870" fmla="*/ 3740913 h 4525940"/>
              <a:gd name="connsiteX1871" fmla="*/ 3375688 w 4545947"/>
              <a:gd name="connsiteY1871" fmla="*/ 3768853 h 4525940"/>
              <a:gd name="connsiteX1872" fmla="*/ 3327107 w 4545947"/>
              <a:gd name="connsiteY1872" fmla="*/ 3771846 h 4525940"/>
              <a:gd name="connsiteX1873" fmla="*/ 3315329 w 4545947"/>
              <a:gd name="connsiteY1873" fmla="*/ 3744607 h 4525940"/>
              <a:gd name="connsiteX1874" fmla="*/ 3311207 w 4545947"/>
              <a:gd name="connsiteY1874" fmla="*/ 3724541 h 4525940"/>
              <a:gd name="connsiteX1875" fmla="*/ 3316649 w 4545947"/>
              <a:gd name="connsiteY1875" fmla="*/ 3711929 h 4525940"/>
              <a:gd name="connsiteX1876" fmla="*/ 3320770 w 4545947"/>
              <a:gd name="connsiteY1876" fmla="*/ 3707093 h 4525940"/>
              <a:gd name="connsiteX1877" fmla="*/ 3327107 w 4545947"/>
              <a:gd name="connsiteY1877" fmla="*/ 3700282 h 4525940"/>
              <a:gd name="connsiteX1878" fmla="*/ 3313988 w 4545947"/>
              <a:gd name="connsiteY1878" fmla="*/ 3686151 h 4525940"/>
              <a:gd name="connsiteX1879" fmla="*/ 3300870 w 4545947"/>
              <a:gd name="connsiteY1879" fmla="*/ 3674511 h 4525940"/>
              <a:gd name="connsiteX1880" fmla="*/ 3289059 w 4545947"/>
              <a:gd name="connsiteY1880" fmla="*/ 3649571 h 4525940"/>
              <a:gd name="connsiteX1881" fmla="*/ 3279392 w 4545947"/>
              <a:gd name="connsiteY1881" fmla="*/ 3614296 h 4525940"/>
              <a:gd name="connsiteX1882" fmla="*/ 3283232 w 4545947"/>
              <a:gd name="connsiteY1882" fmla="*/ 3606383 h 4525940"/>
              <a:gd name="connsiteX1883" fmla="*/ 3274377 w 4545947"/>
              <a:gd name="connsiteY1883" fmla="*/ 3613610 h 4525940"/>
              <a:gd name="connsiteX1884" fmla="*/ 3260548 w 4545947"/>
              <a:gd name="connsiteY1884" fmla="*/ 3606968 h 4525940"/>
              <a:gd name="connsiteX1885" fmla="*/ 3252822 w 4545947"/>
              <a:gd name="connsiteY1885" fmla="*/ 3578594 h 4525940"/>
              <a:gd name="connsiteX1886" fmla="*/ 3252417 w 4545947"/>
              <a:gd name="connsiteY1886" fmla="*/ 3574234 h 4525940"/>
              <a:gd name="connsiteX1887" fmla="*/ 3264232 w 4545947"/>
              <a:gd name="connsiteY1887" fmla="*/ 3578304 h 4525940"/>
              <a:gd name="connsiteX1888" fmla="*/ 3270698 w 4545947"/>
              <a:gd name="connsiteY1888" fmla="*/ 3586713 h 4525940"/>
              <a:gd name="connsiteX1889" fmla="*/ 3275175 w 4545947"/>
              <a:gd name="connsiteY1889" fmla="*/ 3573523 h 4525940"/>
              <a:gd name="connsiteX1890" fmla="*/ 3272678 w 4545947"/>
              <a:gd name="connsiteY1890" fmla="*/ 3539117 h 4525940"/>
              <a:gd name="connsiteX1891" fmla="*/ 3255231 w 4545947"/>
              <a:gd name="connsiteY1891" fmla="*/ 3538110 h 4525940"/>
              <a:gd name="connsiteX1892" fmla="*/ 3237667 w 4545947"/>
              <a:gd name="connsiteY1892" fmla="*/ 3538572 h 4525940"/>
              <a:gd name="connsiteX1893" fmla="*/ 3215276 w 4545947"/>
              <a:gd name="connsiteY1893" fmla="*/ 3575977 h 4525940"/>
              <a:gd name="connsiteX1894" fmla="*/ 3204100 w 4545947"/>
              <a:gd name="connsiteY1894" fmla="*/ 3614296 h 4525940"/>
              <a:gd name="connsiteX1895" fmla="*/ 3195919 w 4545947"/>
              <a:gd name="connsiteY1895" fmla="*/ 3602335 h 4525940"/>
              <a:gd name="connsiteX1896" fmla="*/ 3187447 w 4545947"/>
              <a:gd name="connsiteY1896" fmla="*/ 3575429 h 4525940"/>
              <a:gd name="connsiteX1897" fmla="*/ 3171048 w 4545947"/>
              <a:gd name="connsiteY1897" fmla="*/ 3567461 h 4525940"/>
              <a:gd name="connsiteX1898" fmla="*/ 3164938 w 4545947"/>
              <a:gd name="connsiteY1898" fmla="*/ 3609962 h 4525940"/>
              <a:gd name="connsiteX1899" fmla="*/ 3163122 w 4545947"/>
              <a:gd name="connsiteY1899" fmla="*/ 3633289 h 4525940"/>
              <a:gd name="connsiteX1900" fmla="*/ 3156563 w 4545947"/>
              <a:gd name="connsiteY1900" fmla="*/ 3626962 h 4525940"/>
              <a:gd name="connsiteX1901" fmla="*/ 3120606 w 4545947"/>
              <a:gd name="connsiteY1901" fmla="*/ 3630123 h 4525940"/>
              <a:gd name="connsiteX1902" fmla="*/ 3126056 w 4545947"/>
              <a:gd name="connsiteY1902" fmla="*/ 3709259 h 4525940"/>
              <a:gd name="connsiteX1903" fmla="*/ 3143221 w 4545947"/>
              <a:gd name="connsiteY1903" fmla="*/ 3820049 h 4525940"/>
              <a:gd name="connsiteX1904" fmla="*/ 3143117 w 4545947"/>
              <a:gd name="connsiteY1904" fmla="*/ 3881775 h 4525940"/>
              <a:gd name="connsiteX1905" fmla="*/ 3132608 w 4545947"/>
              <a:gd name="connsiteY1905" fmla="*/ 3930839 h 4525940"/>
              <a:gd name="connsiteX1906" fmla="*/ 3121580 w 4545947"/>
              <a:gd name="connsiteY1906" fmla="*/ 3908681 h 4525940"/>
              <a:gd name="connsiteX1907" fmla="*/ 3117693 w 4545947"/>
              <a:gd name="connsiteY1907" fmla="*/ 3886523 h 4525940"/>
              <a:gd name="connsiteX1908" fmla="*/ 3110936 w 4545947"/>
              <a:gd name="connsiteY1908" fmla="*/ 3864365 h 4525940"/>
              <a:gd name="connsiteX1909" fmla="*/ 3104446 w 4545947"/>
              <a:gd name="connsiteY1909" fmla="*/ 3842207 h 4525940"/>
              <a:gd name="connsiteX1910" fmla="*/ 3098639 w 4545947"/>
              <a:gd name="connsiteY1910" fmla="*/ 3809238 h 4525940"/>
              <a:gd name="connsiteX1911" fmla="*/ 3091524 w 4545947"/>
              <a:gd name="connsiteY1911" fmla="*/ 3773890 h 4525940"/>
              <a:gd name="connsiteX1912" fmla="*/ 3086596 w 4545947"/>
              <a:gd name="connsiteY1912" fmla="*/ 3737594 h 4525940"/>
              <a:gd name="connsiteX1913" fmla="*/ 3082151 w 4545947"/>
              <a:gd name="connsiteY1913" fmla="*/ 3699699 h 4525940"/>
              <a:gd name="connsiteX1914" fmla="*/ 3080224 w 4545947"/>
              <a:gd name="connsiteY1914" fmla="*/ 3689829 h 4525940"/>
              <a:gd name="connsiteX1915" fmla="*/ 3078108 w 4545947"/>
              <a:gd name="connsiteY1915" fmla="*/ 3683935 h 4525940"/>
              <a:gd name="connsiteX1916" fmla="*/ 3073478 w 4545947"/>
              <a:gd name="connsiteY1916" fmla="*/ 3652809 h 4525940"/>
              <a:gd name="connsiteX1917" fmla="*/ 3068189 w 4545947"/>
              <a:gd name="connsiteY1917" fmla="*/ 3619131 h 4525940"/>
              <a:gd name="connsiteX1918" fmla="*/ 3062193 w 4545947"/>
              <a:gd name="connsiteY1918" fmla="*/ 3601193 h 4525940"/>
              <a:gd name="connsiteX1919" fmla="*/ 3058266 w 4545947"/>
              <a:gd name="connsiteY1919" fmla="*/ 3574728 h 4525940"/>
              <a:gd name="connsiteX1920" fmla="*/ 3057514 w 4545947"/>
              <a:gd name="connsiteY1920" fmla="*/ 3554356 h 4525940"/>
              <a:gd name="connsiteX1921" fmla="*/ 3056138 w 4545947"/>
              <a:gd name="connsiteY1921" fmla="*/ 3541627 h 4525940"/>
              <a:gd name="connsiteX1922" fmla="*/ 3049247 w 4545947"/>
              <a:gd name="connsiteY1922" fmla="*/ 3496938 h 4525940"/>
              <a:gd name="connsiteX1923" fmla="*/ 3017705 w 4545947"/>
              <a:gd name="connsiteY1923" fmla="*/ 3437032 h 4525940"/>
              <a:gd name="connsiteX1924" fmla="*/ 3009991 w 4545947"/>
              <a:gd name="connsiteY1924" fmla="*/ 3476935 h 4525940"/>
              <a:gd name="connsiteX1925" fmla="*/ 3007942 w 4545947"/>
              <a:gd name="connsiteY1925" fmla="*/ 3500341 h 4525940"/>
              <a:gd name="connsiteX1926" fmla="*/ 2999138 w 4545947"/>
              <a:gd name="connsiteY1926" fmla="*/ 3511736 h 4525940"/>
              <a:gd name="connsiteX1927" fmla="*/ 2994221 w 4545947"/>
              <a:gd name="connsiteY1927" fmla="*/ 3530249 h 4525940"/>
              <a:gd name="connsiteX1928" fmla="*/ 2994221 w 4545947"/>
              <a:gd name="connsiteY1928" fmla="*/ 3557784 h 4525940"/>
              <a:gd name="connsiteX1929" fmla="*/ 2981646 w 4545947"/>
              <a:gd name="connsiteY1929" fmla="*/ 3592138 h 4525940"/>
              <a:gd name="connsiteX1930" fmla="*/ 2972514 w 4545947"/>
              <a:gd name="connsiteY1930" fmla="*/ 3569980 h 4525940"/>
              <a:gd name="connsiteX1931" fmla="*/ 2966340 w 4545947"/>
              <a:gd name="connsiteY1931" fmla="*/ 3531984 h 4525940"/>
              <a:gd name="connsiteX1932" fmla="*/ 2959351 w 4545947"/>
              <a:gd name="connsiteY1932" fmla="*/ 3490460 h 4525940"/>
              <a:gd name="connsiteX1933" fmla="*/ 2955409 w 4545947"/>
              <a:gd name="connsiteY1933" fmla="*/ 3447123 h 4525940"/>
              <a:gd name="connsiteX1934" fmla="*/ 2946728 w 4545947"/>
              <a:gd name="connsiteY1934" fmla="*/ 3392826 h 4525940"/>
              <a:gd name="connsiteX1935" fmla="*/ 2940541 w 4545947"/>
              <a:gd name="connsiteY1935" fmla="*/ 3363958 h 4525940"/>
              <a:gd name="connsiteX1936" fmla="*/ 2928518 w 4545947"/>
              <a:gd name="connsiteY1936" fmla="*/ 3330135 h 4525940"/>
              <a:gd name="connsiteX1937" fmla="*/ 2925305 w 4545947"/>
              <a:gd name="connsiteY1937" fmla="*/ 3329407 h 4525940"/>
              <a:gd name="connsiteX1938" fmla="*/ 2922663 w 4545947"/>
              <a:gd name="connsiteY1938" fmla="*/ 3308194 h 4525940"/>
              <a:gd name="connsiteX1939" fmla="*/ 2924908 w 4545947"/>
              <a:gd name="connsiteY1939" fmla="*/ 3291324 h 4525940"/>
              <a:gd name="connsiteX1940" fmla="*/ 2907500 w 4545947"/>
              <a:gd name="connsiteY1940" fmla="*/ 3253437 h 4525940"/>
              <a:gd name="connsiteX1941" fmla="*/ 2902377 w 4545947"/>
              <a:gd name="connsiteY1941" fmla="*/ 3292044 h 4525940"/>
              <a:gd name="connsiteX1942" fmla="*/ 2888666 w 4545947"/>
              <a:gd name="connsiteY1942" fmla="*/ 3307676 h 4525940"/>
              <a:gd name="connsiteX1943" fmla="*/ 2869372 w 4545947"/>
              <a:gd name="connsiteY1943" fmla="*/ 3353858 h 4525940"/>
              <a:gd name="connsiteX1944" fmla="*/ 2866824 w 4545947"/>
              <a:gd name="connsiteY1944" fmla="*/ 3380956 h 4525940"/>
              <a:gd name="connsiteX1945" fmla="*/ 2845843 w 4545947"/>
              <a:gd name="connsiteY1945" fmla="*/ 3411053 h 4525940"/>
              <a:gd name="connsiteX1946" fmla="*/ 2841712 w 4545947"/>
              <a:gd name="connsiteY1946" fmla="*/ 3443363 h 4525940"/>
              <a:gd name="connsiteX1947" fmla="*/ 2832967 w 4545947"/>
              <a:gd name="connsiteY1947" fmla="*/ 3434642 h 4525940"/>
              <a:gd name="connsiteX1948" fmla="*/ 2826073 w 4545947"/>
              <a:gd name="connsiteY1948" fmla="*/ 3417638 h 4525940"/>
              <a:gd name="connsiteX1949" fmla="*/ 2821980 w 4545947"/>
              <a:gd name="connsiteY1949" fmla="*/ 3387738 h 4525940"/>
              <a:gd name="connsiteX1950" fmla="*/ 2817264 w 4545947"/>
              <a:gd name="connsiteY1950" fmla="*/ 3354095 h 4525940"/>
              <a:gd name="connsiteX1951" fmla="*/ 2813279 w 4545947"/>
              <a:gd name="connsiteY1951" fmla="*/ 3342069 h 4525940"/>
              <a:gd name="connsiteX1952" fmla="*/ 2808098 w 4545947"/>
              <a:gd name="connsiteY1952" fmla="*/ 3330990 h 4525940"/>
              <a:gd name="connsiteX1953" fmla="*/ 2796413 w 4545947"/>
              <a:gd name="connsiteY1953" fmla="*/ 3302501 h 4525940"/>
              <a:gd name="connsiteX1954" fmla="*/ 2785874 w 4545947"/>
              <a:gd name="connsiteY1954" fmla="*/ 3285284 h 4525940"/>
              <a:gd name="connsiteX1955" fmla="*/ 2785958 w 4545947"/>
              <a:gd name="connsiteY1955" fmla="*/ 3291929 h 4525940"/>
              <a:gd name="connsiteX1956" fmla="*/ 2790331 w 4545947"/>
              <a:gd name="connsiteY1956" fmla="*/ 3322979 h 4525940"/>
              <a:gd name="connsiteX1957" fmla="*/ 2775681 w 4545947"/>
              <a:gd name="connsiteY1957" fmla="*/ 3305853 h 4525940"/>
              <a:gd name="connsiteX1958" fmla="*/ 2763282 w 4545947"/>
              <a:gd name="connsiteY1958" fmla="*/ 3305853 h 4525940"/>
              <a:gd name="connsiteX1959" fmla="*/ 2753779 w 4545947"/>
              <a:gd name="connsiteY1959" fmla="*/ 3354086 h 4525940"/>
              <a:gd name="connsiteX1960" fmla="*/ 2760892 w 4545947"/>
              <a:gd name="connsiteY1960" fmla="*/ 3403232 h 4525940"/>
              <a:gd name="connsiteX1961" fmla="*/ 2766023 w 4545947"/>
              <a:gd name="connsiteY1961" fmla="*/ 3450840 h 4525940"/>
              <a:gd name="connsiteX1962" fmla="*/ 2750015 w 4545947"/>
              <a:gd name="connsiteY1962" fmla="*/ 3478697 h 4525940"/>
              <a:gd name="connsiteX1963" fmla="*/ 2739057 w 4545947"/>
              <a:gd name="connsiteY1963" fmla="*/ 3462355 h 4525940"/>
              <a:gd name="connsiteX1964" fmla="*/ 2732389 w 4545947"/>
              <a:gd name="connsiteY1964" fmla="*/ 3453537 h 4525940"/>
              <a:gd name="connsiteX1965" fmla="*/ 2712353 w 4545947"/>
              <a:gd name="connsiteY1965" fmla="*/ 3437032 h 4525940"/>
              <a:gd name="connsiteX1966" fmla="*/ 2706152 w 4545947"/>
              <a:gd name="connsiteY1966" fmla="*/ 3457689 h 4525940"/>
              <a:gd name="connsiteX1967" fmla="*/ 2696312 w 4545947"/>
              <a:gd name="connsiteY1967" fmla="*/ 3484595 h 4525940"/>
              <a:gd name="connsiteX1968" fmla="*/ 2687868 w 4545947"/>
              <a:gd name="connsiteY1968" fmla="*/ 3509837 h 4525940"/>
              <a:gd name="connsiteX1969" fmla="*/ 2690056 w 4545947"/>
              <a:gd name="connsiteY1969" fmla="*/ 3557318 h 4525940"/>
              <a:gd name="connsiteX1970" fmla="*/ 2694620 w 4545947"/>
              <a:gd name="connsiteY1970" fmla="*/ 3594273 h 4525940"/>
              <a:gd name="connsiteX1971" fmla="*/ 2682100 w 4545947"/>
              <a:gd name="connsiteY1971" fmla="*/ 3615329 h 4525940"/>
              <a:gd name="connsiteX1972" fmla="*/ 2675171 w 4545947"/>
              <a:gd name="connsiteY1972" fmla="*/ 3654278 h 4525940"/>
              <a:gd name="connsiteX1973" fmla="*/ 2680432 w 4545947"/>
              <a:gd name="connsiteY1973" fmla="*/ 3686784 h 4525940"/>
              <a:gd name="connsiteX1974" fmla="*/ 2683731 w 4545947"/>
              <a:gd name="connsiteY1974" fmla="*/ 3693432 h 4525940"/>
              <a:gd name="connsiteX1975" fmla="*/ 2699137 w 4545947"/>
              <a:gd name="connsiteY1975" fmla="*/ 3672350 h 4525940"/>
              <a:gd name="connsiteX1976" fmla="*/ 2709257 w 4545947"/>
              <a:gd name="connsiteY1976" fmla="*/ 3688362 h 4525940"/>
              <a:gd name="connsiteX1977" fmla="*/ 2719638 w 4545947"/>
              <a:gd name="connsiteY1977" fmla="*/ 3721312 h 4525940"/>
              <a:gd name="connsiteX1978" fmla="*/ 2731766 w 4545947"/>
              <a:gd name="connsiteY1978" fmla="*/ 3743285 h 4525940"/>
              <a:gd name="connsiteX1979" fmla="*/ 2734466 w 4545947"/>
              <a:gd name="connsiteY1979" fmla="*/ 3761914 h 4525940"/>
              <a:gd name="connsiteX1980" fmla="*/ 2733513 w 4545947"/>
              <a:gd name="connsiteY1980" fmla="*/ 3779804 h 4525940"/>
              <a:gd name="connsiteX1981" fmla="*/ 2724300 w 4545947"/>
              <a:gd name="connsiteY1981" fmla="*/ 3766243 h 4525940"/>
              <a:gd name="connsiteX1982" fmla="*/ 2709200 w 4545947"/>
              <a:gd name="connsiteY1982" fmla="*/ 3728581 h 4525940"/>
              <a:gd name="connsiteX1983" fmla="*/ 2698904 w 4545947"/>
              <a:gd name="connsiteY1983" fmla="*/ 3710865 h 4525940"/>
              <a:gd name="connsiteX1984" fmla="*/ 2694804 w 4545947"/>
              <a:gd name="connsiteY1984" fmla="*/ 3727472 h 4525940"/>
              <a:gd name="connsiteX1985" fmla="*/ 2703659 w 4545947"/>
              <a:gd name="connsiteY1985" fmla="*/ 3818561 h 4525940"/>
              <a:gd name="connsiteX1986" fmla="*/ 2704869 w 4545947"/>
              <a:gd name="connsiteY1986" fmla="*/ 3842295 h 4525940"/>
              <a:gd name="connsiteX1987" fmla="*/ 2706562 w 4545947"/>
              <a:gd name="connsiteY1987" fmla="*/ 3858401 h 4525940"/>
              <a:gd name="connsiteX1988" fmla="*/ 2703965 w 4545947"/>
              <a:gd name="connsiteY1988" fmla="*/ 3892854 h 4525940"/>
              <a:gd name="connsiteX1989" fmla="*/ 2697406 w 4545947"/>
              <a:gd name="connsiteY1989" fmla="*/ 3884624 h 4525940"/>
              <a:gd name="connsiteX1990" fmla="*/ 2692559 w 4545947"/>
              <a:gd name="connsiteY1990" fmla="*/ 3869377 h 4525940"/>
              <a:gd name="connsiteX1991" fmla="*/ 2685914 w 4545947"/>
              <a:gd name="connsiteY1991" fmla="*/ 3829043 h 4525940"/>
              <a:gd name="connsiteX1992" fmla="*/ 2680432 w 4545947"/>
              <a:gd name="connsiteY1992" fmla="*/ 3788895 h 4525940"/>
              <a:gd name="connsiteX1993" fmla="*/ 2673617 w 4545947"/>
              <a:gd name="connsiteY1993" fmla="*/ 3763071 h 4525940"/>
              <a:gd name="connsiteX1994" fmla="*/ 2664856 w 4545947"/>
              <a:gd name="connsiteY1994" fmla="*/ 3734582 h 4525940"/>
              <a:gd name="connsiteX1995" fmla="*/ 2656320 w 4545947"/>
              <a:gd name="connsiteY1995" fmla="*/ 3707405 h 4525940"/>
              <a:gd name="connsiteX1996" fmla="*/ 2633990 w 4545947"/>
              <a:gd name="connsiteY1996" fmla="*/ 3694220 h 4525940"/>
              <a:gd name="connsiteX1997" fmla="*/ 2634199 w 4545947"/>
              <a:gd name="connsiteY1997" fmla="*/ 3713122 h 4525940"/>
              <a:gd name="connsiteX1998" fmla="*/ 2640557 w 4545947"/>
              <a:gd name="connsiteY1998" fmla="*/ 3737638 h 4525940"/>
              <a:gd name="connsiteX1999" fmla="*/ 2633998 w 4545947"/>
              <a:gd name="connsiteY1999" fmla="*/ 3747244 h 4525940"/>
              <a:gd name="connsiteX2000" fmla="*/ 2627438 w 4545947"/>
              <a:gd name="connsiteY2000" fmla="*/ 3730840 h 4525940"/>
              <a:gd name="connsiteX2001" fmla="*/ 2621342 w 4545947"/>
              <a:gd name="connsiteY2001" fmla="*/ 3725705 h 4525940"/>
              <a:gd name="connsiteX2002" fmla="*/ 2612167 w 4545947"/>
              <a:gd name="connsiteY2002" fmla="*/ 3690686 h 4525940"/>
              <a:gd name="connsiteX2003" fmla="*/ 2605145 w 4545947"/>
              <a:gd name="connsiteY2003" fmla="*/ 3652281 h 4525940"/>
              <a:gd name="connsiteX2004" fmla="*/ 2601104 w 4545947"/>
              <a:gd name="connsiteY2004" fmla="*/ 3634871 h 4525940"/>
              <a:gd name="connsiteX2005" fmla="*/ 2577610 w 4545947"/>
              <a:gd name="connsiteY2005" fmla="*/ 3591006 h 4525940"/>
              <a:gd name="connsiteX2006" fmla="*/ 2572247 w 4545947"/>
              <a:gd name="connsiteY2006" fmla="*/ 3626110 h 4525940"/>
              <a:gd name="connsiteX2007" fmla="*/ 2573455 w 4545947"/>
              <a:gd name="connsiteY2007" fmla="*/ 3664943 h 4525940"/>
              <a:gd name="connsiteX2008" fmla="*/ 2553099 w 4545947"/>
              <a:gd name="connsiteY2008" fmla="*/ 3631003 h 4525940"/>
              <a:gd name="connsiteX2009" fmla="*/ 2543260 w 4545947"/>
              <a:gd name="connsiteY2009" fmla="*/ 3614862 h 4525940"/>
              <a:gd name="connsiteX2010" fmla="*/ 2530623 w 4545947"/>
              <a:gd name="connsiteY2010" fmla="*/ 3640554 h 4525940"/>
              <a:gd name="connsiteX2011" fmla="*/ 2526305 w 4545947"/>
              <a:gd name="connsiteY2011" fmla="*/ 3708293 h 4525940"/>
              <a:gd name="connsiteX2012" fmla="*/ 2519771 w 4545947"/>
              <a:gd name="connsiteY2012" fmla="*/ 3750816 h 4525940"/>
              <a:gd name="connsiteX2013" fmla="*/ 2522540 w 4545947"/>
              <a:gd name="connsiteY2013" fmla="*/ 3784928 h 4525940"/>
              <a:gd name="connsiteX2014" fmla="*/ 2509726 w 4545947"/>
              <a:gd name="connsiteY2014" fmla="*/ 3781217 h 4525940"/>
              <a:gd name="connsiteX2015" fmla="*/ 2486852 w 4545947"/>
              <a:gd name="connsiteY2015" fmla="*/ 3820858 h 4525940"/>
              <a:gd name="connsiteX2016" fmla="*/ 2481921 w 4545947"/>
              <a:gd name="connsiteY2016" fmla="*/ 3848538 h 4525940"/>
              <a:gd name="connsiteX2017" fmla="*/ 2462933 w 4545947"/>
              <a:gd name="connsiteY2017" fmla="*/ 3811532 h 4525940"/>
              <a:gd name="connsiteX2018" fmla="*/ 2456776 w 4545947"/>
              <a:gd name="connsiteY2018" fmla="*/ 3791560 h 4525940"/>
              <a:gd name="connsiteX2019" fmla="*/ 2448685 w 4545947"/>
              <a:gd name="connsiteY2019" fmla="*/ 3772074 h 4525940"/>
              <a:gd name="connsiteX2020" fmla="*/ 2427873 w 4545947"/>
              <a:gd name="connsiteY2020" fmla="*/ 3768017 h 4525940"/>
              <a:gd name="connsiteX2021" fmla="*/ 2429236 w 4545947"/>
              <a:gd name="connsiteY2021" fmla="*/ 3769526 h 4525940"/>
              <a:gd name="connsiteX2022" fmla="*/ 2443776 w 4545947"/>
              <a:gd name="connsiteY2022" fmla="*/ 3766237 h 4525940"/>
              <a:gd name="connsiteX2023" fmla="*/ 2440496 w 4545947"/>
              <a:gd name="connsiteY2023" fmla="*/ 3772608 h 4525940"/>
              <a:gd name="connsiteX2024" fmla="*/ 2429564 w 4545947"/>
              <a:gd name="connsiteY2024" fmla="*/ 3792113 h 4525940"/>
              <a:gd name="connsiteX2025" fmla="*/ 2430302 w 4545947"/>
              <a:gd name="connsiteY2025" fmla="*/ 3873416 h 4525940"/>
              <a:gd name="connsiteX2026" fmla="*/ 2444369 w 4545947"/>
              <a:gd name="connsiteY2026" fmla="*/ 3924805 h 4525940"/>
              <a:gd name="connsiteX2027" fmla="*/ 2453931 w 4545947"/>
              <a:gd name="connsiteY2027" fmla="*/ 3969610 h 4525940"/>
              <a:gd name="connsiteX2028" fmla="*/ 2450930 w 4545947"/>
              <a:gd name="connsiteY2028" fmla="*/ 3988781 h 4525940"/>
              <a:gd name="connsiteX2029" fmla="*/ 2449419 w 4545947"/>
              <a:gd name="connsiteY2029" fmla="*/ 4093060 h 4525940"/>
              <a:gd name="connsiteX2030" fmla="*/ 2447957 w 4545947"/>
              <a:gd name="connsiteY2030" fmla="*/ 4143094 h 4525940"/>
              <a:gd name="connsiteX2031" fmla="*/ 2430657 w 4545947"/>
              <a:gd name="connsiteY2031" fmla="*/ 4117769 h 4525940"/>
              <a:gd name="connsiteX2032" fmla="*/ 2414924 w 4545947"/>
              <a:gd name="connsiteY2032" fmla="*/ 4063787 h 4525940"/>
              <a:gd name="connsiteX2033" fmla="*/ 2408246 w 4545947"/>
              <a:gd name="connsiteY2033" fmla="*/ 4057456 h 4525940"/>
              <a:gd name="connsiteX2034" fmla="*/ 2406606 w 4545947"/>
              <a:gd name="connsiteY2034" fmla="*/ 4044794 h 4525940"/>
              <a:gd name="connsiteX2035" fmla="*/ 2404966 w 4545947"/>
              <a:gd name="connsiteY2035" fmla="*/ 3991434 h 4525940"/>
              <a:gd name="connsiteX2036" fmla="*/ 2396933 w 4545947"/>
              <a:gd name="connsiteY2036" fmla="*/ 3933567 h 4525940"/>
              <a:gd name="connsiteX2037" fmla="*/ 2388791 w 4545947"/>
              <a:gd name="connsiteY2037" fmla="*/ 3915705 h 4525940"/>
              <a:gd name="connsiteX2038" fmla="*/ 2384965 w 4545947"/>
              <a:gd name="connsiteY2038" fmla="*/ 3854869 h 4525940"/>
              <a:gd name="connsiteX2039" fmla="*/ 2358125 w 4545947"/>
              <a:gd name="connsiteY2039" fmla="*/ 3777893 h 4525940"/>
              <a:gd name="connsiteX2040" fmla="*/ 2348290 w 4545947"/>
              <a:gd name="connsiteY2040" fmla="*/ 3762998 h 4525940"/>
              <a:gd name="connsiteX2041" fmla="*/ 2331066 w 4545947"/>
              <a:gd name="connsiteY2041" fmla="*/ 3743626 h 4525940"/>
              <a:gd name="connsiteX2042" fmla="*/ 2322362 w 4545947"/>
              <a:gd name="connsiteY2042" fmla="*/ 3790153 h 4525940"/>
              <a:gd name="connsiteX2043" fmla="*/ 2325585 w 4545947"/>
              <a:gd name="connsiteY2043" fmla="*/ 3839042 h 4525940"/>
              <a:gd name="connsiteX2044" fmla="*/ 2331015 w 4545947"/>
              <a:gd name="connsiteY2044" fmla="*/ 3907844 h 4525940"/>
              <a:gd name="connsiteX2045" fmla="*/ 2310583 w 4545947"/>
              <a:gd name="connsiteY2045" fmla="*/ 3877027 h 4525940"/>
              <a:gd name="connsiteX2046" fmla="*/ 2308008 w 4545947"/>
              <a:gd name="connsiteY2046" fmla="*/ 3820722 h 4525940"/>
              <a:gd name="connsiteX2047" fmla="*/ 2289689 w 4545947"/>
              <a:gd name="connsiteY2047" fmla="*/ 3772664 h 4525940"/>
              <a:gd name="connsiteX2048" fmla="*/ 2271750 w 4545947"/>
              <a:gd name="connsiteY2048" fmla="*/ 3824865 h 4525940"/>
              <a:gd name="connsiteX2049" fmla="*/ 2269535 w 4545947"/>
              <a:gd name="connsiteY2049" fmla="*/ 3826984 h 4525940"/>
              <a:gd name="connsiteX2050" fmla="*/ 2264486 w 4545947"/>
              <a:gd name="connsiteY2050" fmla="*/ 3832337 h 4525940"/>
              <a:gd name="connsiteX2051" fmla="*/ 2259765 w 4545947"/>
              <a:gd name="connsiteY2051" fmla="*/ 3842207 h 4525940"/>
              <a:gd name="connsiteX2052" fmla="*/ 2257927 w 4545947"/>
              <a:gd name="connsiteY2052" fmla="*/ 3823214 h 4525940"/>
              <a:gd name="connsiteX2053" fmla="*/ 2255775 w 4545947"/>
              <a:gd name="connsiteY2053" fmla="*/ 3804222 h 4525940"/>
              <a:gd name="connsiteX2054" fmla="*/ 2243620 w 4545947"/>
              <a:gd name="connsiteY2054" fmla="*/ 3793911 h 4525940"/>
              <a:gd name="connsiteX2055" fmla="*/ 2246518 w 4545947"/>
              <a:gd name="connsiteY2055" fmla="*/ 3771854 h 4525940"/>
              <a:gd name="connsiteX2056" fmla="*/ 2253959 w 4545947"/>
              <a:gd name="connsiteY2056" fmla="*/ 3733428 h 4525940"/>
              <a:gd name="connsiteX2057" fmla="*/ 2247002 w 4545947"/>
              <a:gd name="connsiteY2057" fmla="*/ 3700406 h 4525940"/>
              <a:gd name="connsiteX2058" fmla="*/ 2242621 w 4545947"/>
              <a:gd name="connsiteY2058" fmla="*/ 3683863 h 4525940"/>
              <a:gd name="connsiteX2059" fmla="*/ 2233875 w 4545947"/>
              <a:gd name="connsiteY2059" fmla="*/ 3660071 h 4525940"/>
              <a:gd name="connsiteX2060" fmla="*/ 2225130 w 4545947"/>
              <a:gd name="connsiteY2060" fmla="*/ 3633553 h 4525940"/>
              <a:gd name="connsiteX2061" fmla="*/ 2221850 w 4545947"/>
              <a:gd name="connsiteY2061" fmla="*/ 3620071 h 4525940"/>
              <a:gd name="connsiteX2062" fmla="*/ 2203265 w 4545947"/>
              <a:gd name="connsiteY2062" fmla="*/ 3618488 h 4525940"/>
              <a:gd name="connsiteX2063" fmla="*/ 2189200 w 4545947"/>
              <a:gd name="connsiteY2063" fmla="*/ 3640708 h 4525940"/>
              <a:gd name="connsiteX2064" fmla="*/ 2181231 w 4545947"/>
              <a:gd name="connsiteY2064" fmla="*/ 3668186 h 4525940"/>
              <a:gd name="connsiteX2065" fmla="*/ 2174574 w 4545947"/>
              <a:gd name="connsiteY2065" fmla="*/ 3682047 h 4525940"/>
              <a:gd name="connsiteX2066" fmla="*/ 2169669 w 4545947"/>
              <a:gd name="connsiteY2066" fmla="*/ 3687533 h 4525940"/>
              <a:gd name="connsiteX2067" fmla="*/ 2170689 w 4545947"/>
              <a:gd name="connsiteY2067" fmla="*/ 3696951 h 4525940"/>
              <a:gd name="connsiteX2068" fmla="*/ 2195588 w 4545947"/>
              <a:gd name="connsiteY2068" fmla="*/ 3707322 h 4525940"/>
              <a:gd name="connsiteX2069" fmla="*/ 2212011 w 4545947"/>
              <a:gd name="connsiteY2069" fmla="*/ 3724422 h 4525940"/>
              <a:gd name="connsiteX2070" fmla="*/ 2216999 w 4545947"/>
              <a:gd name="connsiteY2070" fmla="*/ 3751934 h 4525940"/>
              <a:gd name="connsiteX2071" fmla="*/ 2218775 w 4545947"/>
              <a:gd name="connsiteY2071" fmla="*/ 3835779 h 4525940"/>
              <a:gd name="connsiteX2072" fmla="*/ 2201276 w 4545947"/>
              <a:gd name="connsiteY2072" fmla="*/ 3794726 h 4525940"/>
              <a:gd name="connsiteX2073" fmla="*/ 2176875 w 4545947"/>
              <a:gd name="connsiteY2073" fmla="*/ 3755596 h 4525940"/>
              <a:gd name="connsiteX2074" fmla="*/ 2138525 w 4545947"/>
              <a:gd name="connsiteY2074" fmla="*/ 3709464 h 4525940"/>
              <a:gd name="connsiteX2075" fmla="*/ 2105352 w 4545947"/>
              <a:gd name="connsiteY2075" fmla="*/ 3672844 h 4525940"/>
              <a:gd name="connsiteX2076" fmla="*/ 2107864 w 4545947"/>
              <a:gd name="connsiteY2076" fmla="*/ 3702928 h 4525940"/>
              <a:gd name="connsiteX2077" fmla="*/ 2110750 w 4545947"/>
              <a:gd name="connsiteY2077" fmla="*/ 3725675 h 4525940"/>
              <a:gd name="connsiteX2078" fmla="*/ 2116974 w 4545947"/>
              <a:gd name="connsiteY2078" fmla="*/ 3756445 h 4525940"/>
              <a:gd name="connsiteX2079" fmla="*/ 2124552 w 4545947"/>
              <a:gd name="connsiteY2079" fmla="*/ 3778014 h 4525940"/>
              <a:gd name="connsiteX2080" fmla="*/ 2111517 w 4545947"/>
              <a:gd name="connsiteY2080" fmla="*/ 3791560 h 4525940"/>
              <a:gd name="connsiteX2081" fmla="*/ 2095798 w 4545947"/>
              <a:gd name="connsiteY2081" fmla="*/ 3807039 h 4525940"/>
              <a:gd name="connsiteX2082" fmla="*/ 2085876 w 4545947"/>
              <a:gd name="connsiteY2082" fmla="*/ 3825297 h 4525940"/>
              <a:gd name="connsiteX2083" fmla="*/ 2088181 w 4545947"/>
              <a:gd name="connsiteY2083" fmla="*/ 3828811 h 4525940"/>
              <a:gd name="connsiteX2084" fmla="*/ 2100377 w 4545947"/>
              <a:gd name="connsiteY2084" fmla="*/ 3841641 h 4525940"/>
              <a:gd name="connsiteX2085" fmla="*/ 2114029 w 4545947"/>
              <a:gd name="connsiteY2085" fmla="*/ 3864171 h 4525940"/>
              <a:gd name="connsiteX2086" fmla="*/ 2123698 w 4545947"/>
              <a:gd name="connsiteY2086" fmla="*/ 3901140 h 4525940"/>
              <a:gd name="connsiteX2087" fmla="*/ 2107910 w 4545947"/>
              <a:gd name="connsiteY2087" fmla="*/ 3911846 h 4525940"/>
              <a:gd name="connsiteX2088" fmla="*/ 2080582 w 4545947"/>
              <a:gd name="connsiteY2088" fmla="*/ 3849939 h 4525940"/>
              <a:gd name="connsiteX2089" fmla="*/ 2054585 w 4545947"/>
              <a:gd name="connsiteY2089" fmla="*/ 3858695 h 4525940"/>
              <a:gd name="connsiteX2090" fmla="*/ 2039326 w 4545947"/>
              <a:gd name="connsiteY2090" fmla="*/ 3863960 h 4525940"/>
              <a:gd name="connsiteX2091" fmla="*/ 2021367 w 4545947"/>
              <a:gd name="connsiteY2091" fmla="*/ 3870003 h 4525940"/>
              <a:gd name="connsiteX2092" fmla="*/ 2006483 w 4545947"/>
              <a:gd name="connsiteY2092" fmla="*/ 3867904 h 4525940"/>
              <a:gd name="connsiteX2093" fmla="*/ 2002040 w 4545947"/>
              <a:gd name="connsiteY2093" fmla="*/ 3851640 h 4525940"/>
              <a:gd name="connsiteX2094" fmla="*/ 2000327 w 4545947"/>
              <a:gd name="connsiteY2094" fmla="*/ 3841264 h 4525940"/>
              <a:gd name="connsiteX2095" fmla="*/ 1993839 w 4545947"/>
              <a:gd name="connsiteY2095" fmla="*/ 3825515 h 4525940"/>
              <a:gd name="connsiteX2096" fmla="*/ 1984619 w 4545947"/>
              <a:gd name="connsiteY2096" fmla="*/ 3795142 h 4525940"/>
              <a:gd name="connsiteX2097" fmla="*/ 1964941 w 4545947"/>
              <a:gd name="connsiteY2097" fmla="*/ 3766237 h 4525940"/>
              <a:gd name="connsiteX2098" fmla="*/ 1958381 w 4545947"/>
              <a:gd name="connsiteY2098" fmla="*/ 3782839 h 4525940"/>
              <a:gd name="connsiteX2099" fmla="*/ 1951822 w 4545947"/>
              <a:gd name="connsiteY2099" fmla="*/ 3791560 h 4525940"/>
              <a:gd name="connsiteX2100" fmla="*/ 1945262 w 4545947"/>
              <a:gd name="connsiteY2100" fmla="*/ 3785229 h 4525940"/>
              <a:gd name="connsiteX2101" fmla="*/ 1932144 w 4545947"/>
              <a:gd name="connsiteY2101" fmla="*/ 3778898 h 4525940"/>
              <a:gd name="connsiteX2102" fmla="*/ 1919025 w 4545947"/>
              <a:gd name="connsiteY2102" fmla="*/ 3763599 h 4525940"/>
              <a:gd name="connsiteX2103" fmla="*/ 1923488 w 4545947"/>
              <a:gd name="connsiteY2103" fmla="*/ 3746145 h 4525940"/>
              <a:gd name="connsiteX2104" fmla="*/ 1908872 w 4545947"/>
              <a:gd name="connsiteY2104" fmla="*/ 3705513 h 4525940"/>
              <a:gd name="connsiteX2105" fmla="*/ 1884041 w 4545947"/>
              <a:gd name="connsiteY2105" fmla="*/ 3735980 h 4525940"/>
              <a:gd name="connsiteX2106" fmla="*/ 1888568 w 4545947"/>
              <a:gd name="connsiteY2106" fmla="*/ 3760322 h 4525940"/>
              <a:gd name="connsiteX2107" fmla="*/ 1875988 w 4545947"/>
              <a:gd name="connsiteY2107" fmla="*/ 3764707 h 4525940"/>
              <a:gd name="connsiteX2108" fmla="*/ 1866434 w 4545947"/>
              <a:gd name="connsiteY2108" fmla="*/ 3766290 h 4525940"/>
              <a:gd name="connsiteX2109" fmla="*/ 1866075 w 4545947"/>
              <a:gd name="connsiteY2109" fmla="*/ 3797891 h 4525940"/>
              <a:gd name="connsiteX2110" fmla="*/ 1872718 w 4545947"/>
              <a:gd name="connsiteY2110" fmla="*/ 3813718 h 4525940"/>
              <a:gd name="connsiteX2111" fmla="*/ 1879752 w 4545947"/>
              <a:gd name="connsiteY2111" fmla="*/ 3829545 h 4525940"/>
              <a:gd name="connsiteX2112" fmla="*/ 1884041 w 4545947"/>
              <a:gd name="connsiteY2112" fmla="*/ 3844998 h 4525940"/>
              <a:gd name="connsiteX2113" fmla="*/ 1888645 w 4545947"/>
              <a:gd name="connsiteY2113" fmla="*/ 3864572 h 4525940"/>
              <a:gd name="connsiteX2114" fmla="*/ 1891630 w 4545947"/>
              <a:gd name="connsiteY2114" fmla="*/ 3875720 h 4525940"/>
              <a:gd name="connsiteX2115" fmla="*/ 1913437 w 4545947"/>
              <a:gd name="connsiteY2115" fmla="*/ 3905515 h 4525940"/>
              <a:gd name="connsiteX2116" fmla="*/ 1923398 w 4545947"/>
              <a:gd name="connsiteY2116" fmla="*/ 3915012 h 4525940"/>
              <a:gd name="connsiteX2117" fmla="*/ 1927771 w 4545947"/>
              <a:gd name="connsiteY2117" fmla="*/ 3924508 h 4525940"/>
              <a:gd name="connsiteX2118" fmla="*/ 1932144 w 4545947"/>
              <a:gd name="connsiteY2118" fmla="*/ 3936947 h 4525940"/>
              <a:gd name="connsiteX2119" fmla="*/ 1940889 w 4545947"/>
              <a:gd name="connsiteY2119" fmla="*/ 3956162 h 4525940"/>
              <a:gd name="connsiteX2120" fmla="*/ 1935640 w 4545947"/>
              <a:gd name="connsiteY2120" fmla="*/ 3972686 h 4525940"/>
              <a:gd name="connsiteX2121" fmla="*/ 1919242 w 4545947"/>
              <a:gd name="connsiteY2121" fmla="*/ 3963834 h 4525940"/>
              <a:gd name="connsiteX2122" fmla="*/ 1904617 w 4545947"/>
              <a:gd name="connsiteY2122" fmla="*/ 3947772 h 4525940"/>
              <a:gd name="connsiteX2123" fmla="*/ 1888202 w 4545947"/>
              <a:gd name="connsiteY2123" fmla="*/ 3920535 h 4525940"/>
              <a:gd name="connsiteX2124" fmla="*/ 1866862 w 4545947"/>
              <a:gd name="connsiteY2124" fmla="*/ 3886523 h 4525940"/>
              <a:gd name="connsiteX2125" fmla="*/ 1862177 w 4545947"/>
              <a:gd name="connsiteY2125" fmla="*/ 3874314 h 4525940"/>
              <a:gd name="connsiteX2126" fmla="*/ 1856466 w 4545947"/>
              <a:gd name="connsiteY2126" fmla="*/ 3853739 h 4525940"/>
              <a:gd name="connsiteX2127" fmla="*/ 1847857 w 4545947"/>
              <a:gd name="connsiteY2127" fmla="*/ 3834293 h 4525940"/>
              <a:gd name="connsiteX2128" fmla="*/ 1824179 w 4545947"/>
              <a:gd name="connsiteY2128" fmla="*/ 3833550 h 4525940"/>
              <a:gd name="connsiteX2129" fmla="*/ 1826806 w 4545947"/>
              <a:gd name="connsiteY2129" fmla="*/ 3856324 h 4525940"/>
              <a:gd name="connsiteX2130" fmla="*/ 1829445 w 4545947"/>
              <a:gd name="connsiteY2130" fmla="*/ 3872712 h 4525940"/>
              <a:gd name="connsiteX2131" fmla="*/ 1823072 w 4545947"/>
              <a:gd name="connsiteY2131" fmla="*/ 3868119 h 4525940"/>
              <a:gd name="connsiteX2132" fmla="*/ 1809702 w 4545947"/>
              <a:gd name="connsiteY2132" fmla="*/ 3881158 h 4525940"/>
              <a:gd name="connsiteX2133" fmla="*/ 1818447 w 4545947"/>
              <a:gd name="connsiteY2133" fmla="*/ 3897350 h 4525940"/>
              <a:gd name="connsiteX2134" fmla="*/ 1827193 w 4545947"/>
              <a:gd name="connsiteY2134" fmla="*/ 3916052 h 4525940"/>
              <a:gd name="connsiteX2135" fmla="*/ 1856256 w 4545947"/>
              <a:gd name="connsiteY2135" fmla="*/ 3962493 h 4525940"/>
              <a:gd name="connsiteX2136" fmla="*/ 1862177 w 4545947"/>
              <a:gd name="connsiteY2136" fmla="*/ 3975155 h 4525940"/>
              <a:gd name="connsiteX2137" fmla="*/ 1851780 w 4545947"/>
              <a:gd name="connsiteY2137" fmla="*/ 3987817 h 4525940"/>
              <a:gd name="connsiteX2138" fmla="*/ 1835939 w 4545947"/>
              <a:gd name="connsiteY2138" fmla="*/ 3997313 h 4525940"/>
              <a:gd name="connsiteX2139" fmla="*/ 1826658 w 4545947"/>
              <a:gd name="connsiteY2139" fmla="*/ 4006809 h 4525940"/>
              <a:gd name="connsiteX2140" fmla="*/ 1822820 w 4545947"/>
              <a:gd name="connsiteY2140" fmla="*/ 3997313 h 4525940"/>
              <a:gd name="connsiteX2141" fmla="*/ 1818447 w 4545947"/>
              <a:gd name="connsiteY2141" fmla="*/ 3987817 h 4525940"/>
              <a:gd name="connsiteX2142" fmla="*/ 1814075 w 4545947"/>
              <a:gd name="connsiteY2142" fmla="*/ 3977485 h 4525940"/>
              <a:gd name="connsiteX2143" fmla="*/ 1786969 w 4545947"/>
              <a:gd name="connsiteY2143" fmla="*/ 3911104 h 4525940"/>
              <a:gd name="connsiteX2144" fmla="*/ 1779091 w 4545947"/>
              <a:gd name="connsiteY2144" fmla="*/ 3887418 h 4525940"/>
              <a:gd name="connsiteX2145" fmla="*/ 1741945 w 4545947"/>
              <a:gd name="connsiteY2145" fmla="*/ 3805804 h 4525940"/>
              <a:gd name="connsiteX2146" fmla="*/ 1725644 w 4545947"/>
              <a:gd name="connsiteY2146" fmla="*/ 3791560 h 4525940"/>
              <a:gd name="connsiteX2147" fmla="*/ 1717870 w 4545947"/>
              <a:gd name="connsiteY2147" fmla="*/ 3781609 h 4525940"/>
              <a:gd name="connsiteX2148" fmla="*/ 1690111 w 4545947"/>
              <a:gd name="connsiteY2148" fmla="*/ 3710809 h 4525940"/>
              <a:gd name="connsiteX2149" fmla="*/ 1680232 w 4545947"/>
              <a:gd name="connsiteY2149" fmla="*/ 3693432 h 4525940"/>
              <a:gd name="connsiteX2150" fmla="*/ 1667809 w 4545947"/>
              <a:gd name="connsiteY2150" fmla="*/ 3678612 h 4525940"/>
              <a:gd name="connsiteX2151" fmla="*/ 1643530 w 4545947"/>
              <a:gd name="connsiteY2151" fmla="*/ 3646410 h 4525940"/>
              <a:gd name="connsiteX2152" fmla="*/ 1632598 w 4545947"/>
              <a:gd name="connsiteY2152" fmla="*/ 3628089 h 4525940"/>
              <a:gd name="connsiteX2153" fmla="*/ 1621666 w 4545947"/>
              <a:gd name="connsiteY2153" fmla="*/ 3599604 h 4525940"/>
              <a:gd name="connsiteX2154" fmla="*/ 1607892 w 4545947"/>
              <a:gd name="connsiteY2154" fmla="*/ 3573621 h 4525940"/>
              <a:gd name="connsiteX2155" fmla="*/ 1582310 w 4545947"/>
              <a:gd name="connsiteY2155" fmla="*/ 3590188 h 4525940"/>
              <a:gd name="connsiteX2156" fmla="*/ 1556968 w 4545947"/>
              <a:gd name="connsiteY2156" fmla="*/ 3581059 h 4525940"/>
              <a:gd name="connsiteX2157" fmla="*/ 1548180 w 4545947"/>
              <a:gd name="connsiteY2157" fmla="*/ 3562841 h 4525940"/>
              <a:gd name="connsiteX2158" fmla="*/ 1525461 w 4545947"/>
              <a:gd name="connsiteY2158" fmla="*/ 3564887 h 4525940"/>
              <a:gd name="connsiteX2159" fmla="*/ 1521880 w 4545947"/>
              <a:gd name="connsiteY2159" fmla="*/ 3567523 h 4525940"/>
              <a:gd name="connsiteX2160" fmla="*/ 1528124 w 4545947"/>
              <a:gd name="connsiteY2160" fmla="*/ 3608537 h 4525940"/>
              <a:gd name="connsiteX2161" fmla="*/ 1534207 w 4545947"/>
              <a:gd name="connsiteY2161" fmla="*/ 3628104 h 4525940"/>
              <a:gd name="connsiteX2162" fmla="*/ 1548057 w 4545947"/>
              <a:gd name="connsiteY2162" fmla="*/ 3665312 h 4525940"/>
              <a:gd name="connsiteX2163" fmla="*/ 1562692 w 4545947"/>
              <a:gd name="connsiteY2163" fmla="*/ 3701343 h 4525940"/>
              <a:gd name="connsiteX2164" fmla="*/ 1578407 w 4545947"/>
              <a:gd name="connsiteY2164" fmla="*/ 3761403 h 4525940"/>
              <a:gd name="connsiteX2165" fmla="*/ 1582310 w 4545947"/>
              <a:gd name="connsiteY2165" fmla="*/ 3785236 h 4525940"/>
              <a:gd name="connsiteX2166" fmla="*/ 1595866 w 4545947"/>
              <a:gd name="connsiteY2166" fmla="*/ 3810012 h 4525940"/>
              <a:gd name="connsiteX2167" fmla="*/ 1609422 w 4545947"/>
              <a:gd name="connsiteY2167" fmla="*/ 3821947 h 4525940"/>
              <a:gd name="connsiteX2168" fmla="*/ 1599783 w 4545947"/>
              <a:gd name="connsiteY2168" fmla="*/ 3835903 h 4525940"/>
              <a:gd name="connsiteX2169" fmla="*/ 1592769 w 4545947"/>
              <a:gd name="connsiteY2169" fmla="*/ 3868858 h 4525940"/>
              <a:gd name="connsiteX2170" fmla="*/ 1589357 w 4545947"/>
              <a:gd name="connsiteY2170" fmla="*/ 3884504 h 4525940"/>
              <a:gd name="connsiteX2171" fmla="*/ 1588146 w 4545947"/>
              <a:gd name="connsiteY2171" fmla="*/ 3899664 h 4525940"/>
              <a:gd name="connsiteX2172" fmla="*/ 1602110 w 4545947"/>
              <a:gd name="connsiteY2172" fmla="*/ 3918177 h 4525940"/>
              <a:gd name="connsiteX2173" fmla="*/ 1628191 w 4545947"/>
              <a:gd name="connsiteY2173" fmla="*/ 3950044 h 4525940"/>
              <a:gd name="connsiteX2174" fmla="*/ 1632855 w 4545947"/>
              <a:gd name="connsiteY2174" fmla="*/ 3989399 h 4525940"/>
              <a:gd name="connsiteX2175" fmla="*/ 1631957 w 4545947"/>
              <a:gd name="connsiteY2175" fmla="*/ 4013140 h 4525940"/>
              <a:gd name="connsiteX2176" fmla="*/ 1608547 w 4545947"/>
              <a:gd name="connsiteY2176" fmla="*/ 3977962 h 4525940"/>
              <a:gd name="connsiteX2177" fmla="*/ 1603916 w 4545947"/>
              <a:gd name="connsiteY2177" fmla="*/ 3962493 h 4525940"/>
              <a:gd name="connsiteX2178" fmla="*/ 1602413 w 4545947"/>
              <a:gd name="connsiteY2178" fmla="*/ 3955165 h 4525940"/>
              <a:gd name="connsiteX2179" fmla="*/ 1596313 w 4545947"/>
              <a:gd name="connsiteY2179" fmla="*/ 3951331 h 4525940"/>
              <a:gd name="connsiteX2180" fmla="*/ 1579635 w 4545947"/>
              <a:gd name="connsiteY2180" fmla="*/ 3938084 h 4525940"/>
              <a:gd name="connsiteX2181" fmla="*/ 1566316 w 4545947"/>
              <a:gd name="connsiteY2181" fmla="*/ 3916280 h 4525940"/>
              <a:gd name="connsiteX2182" fmla="*/ 1560307 w 4545947"/>
              <a:gd name="connsiteY2182" fmla="*/ 3894122 h 4525940"/>
              <a:gd name="connsiteX2183" fmla="*/ 1530293 w 4545947"/>
              <a:gd name="connsiteY2183" fmla="*/ 3846530 h 4525940"/>
              <a:gd name="connsiteX2184" fmla="*/ 1532819 w 4545947"/>
              <a:gd name="connsiteY2184" fmla="*/ 3820661 h 4525940"/>
              <a:gd name="connsiteX2185" fmla="*/ 1536987 w 4545947"/>
              <a:gd name="connsiteY2185" fmla="*/ 3782979 h 4525940"/>
              <a:gd name="connsiteX2186" fmla="*/ 1516242 w 4545947"/>
              <a:gd name="connsiteY2186" fmla="*/ 3759906 h 4525940"/>
              <a:gd name="connsiteX2187" fmla="*/ 1505885 w 4545947"/>
              <a:gd name="connsiteY2187" fmla="*/ 3732637 h 4525940"/>
              <a:gd name="connsiteX2188" fmla="*/ 1486312 w 4545947"/>
              <a:gd name="connsiteY2188" fmla="*/ 3693337 h 4525940"/>
              <a:gd name="connsiteX2189" fmla="*/ 1447478 w 4545947"/>
              <a:gd name="connsiteY2189" fmla="*/ 3663589 h 4525940"/>
              <a:gd name="connsiteX2190" fmla="*/ 1439825 w 4545947"/>
              <a:gd name="connsiteY2190" fmla="*/ 3658612 h 4525940"/>
              <a:gd name="connsiteX2191" fmla="*/ 1444562 w 4545947"/>
              <a:gd name="connsiteY2191" fmla="*/ 3639619 h 4525940"/>
              <a:gd name="connsiteX2192" fmla="*/ 1455495 w 4545947"/>
              <a:gd name="connsiteY2192" fmla="*/ 3623575 h 4525940"/>
              <a:gd name="connsiteX2193" fmla="*/ 1460961 w 4545947"/>
              <a:gd name="connsiteY2193" fmla="*/ 3617522 h 4525940"/>
              <a:gd name="connsiteX2194" fmla="*/ 1452837 w 4545947"/>
              <a:gd name="connsiteY2194" fmla="*/ 3603651 h 4525940"/>
              <a:gd name="connsiteX2195" fmla="*/ 1436789 w 4545947"/>
              <a:gd name="connsiteY2195" fmla="*/ 3558195 h 4525940"/>
              <a:gd name="connsiteX2196" fmla="*/ 1396928 w 4545947"/>
              <a:gd name="connsiteY2196" fmla="*/ 3504024 h 4525940"/>
              <a:gd name="connsiteX2197" fmla="*/ 1403198 w 4545947"/>
              <a:gd name="connsiteY2197" fmla="*/ 3544914 h 4525940"/>
              <a:gd name="connsiteX2198" fmla="*/ 1413240 w 4545947"/>
              <a:gd name="connsiteY2198" fmla="*/ 3599452 h 4525940"/>
              <a:gd name="connsiteX2199" fmla="*/ 1421808 w 4545947"/>
              <a:gd name="connsiteY2199" fmla="*/ 3648957 h 4525940"/>
              <a:gd name="connsiteX2200" fmla="*/ 1425263 w 4545947"/>
              <a:gd name="connsiteY2200" fmla="*/ 3671274 h 4525940"/>
              <a:gd name="connsiteX2201" fmla="*/ 1424464 w 4545947"/>
              <a:gd name="connsiteY2201" fmla="*/ 3688684 h 4525940"/>
              <a:gd name="connsiteX2202" fmla="*/ 1437204 w 4545947"/>
              <a:gd name="connsiteY2202" fmla="*/ 3708117 h 4525940"/>
              <a:gd name="connsiteX2203" fmla="*/ 1446749 w 4545947"/>
              <a:gd name="connsiteY2203" fmla="*/ 3731484 h 4525940"/>
              <a:gd name="connsiteX2204" fmla="*/ 1451637 w 4545947"/>
              <a:gd name="connsiteY2204" fmla="*/ 3757202 h 4525940"/>
              <a:gd name="connsiteX2205" fmla="*/ 1453905 w 4545947"/>
              <a:gd name="connsiteY2205" fmla="*/ 3789250 h 4525940"/>
              <a:gd name="connsiteX2206" fmla="*/ 1459949 w 4545947"/>
              <a:gd name="connsiteY2206" fmla="*/ 3824758 h 4525940"/>
              <a:gd name="connsiteX2207" fmla="*/ 1468613 w 4545947"/>
              <a:gd name="connsiteY2207" fmla="*/ 3839789 h 4525940"/>
              <a:gd name="connsiteX2208" fmla="*/ 1475477 w 4545947"/>
              <a:gd name="connsiteY2208" fmla="*/ 3855234 h 4525940"/>
              <a:gd name="connsiteX2209" fmla="*/ 1480511 w 4545947"/>
              <a:gd name="connsiteY2209" fmla="*/ 3873606 h 4525940"/>
              <a:gd name="connsiteX2210" fmla="*/ 1494666 w 4545947"/>
              <a:gd name="connsiteY2210" fmla="*/ 3899185 h 4525940"/>
              <a:gd name="connsiteX2211" fmla="*/ 1499224 w 4545947"/>
              <a:gd name="connsiteY2211" fmla="*/ 3921197 h 4525940"/>
              <a:gd name="connsiteX2212" fmla="*/ 1509610 w 4545947"/>
              <a:gd name="connsiteY2212" fmla="*/ 3953061 h 4525940"/>
              <a:gd name="connsiteX2213" fmla="*/ 1516169 w 4545947"/>
              <a:gd name="connsiteY2213" fmla="*/ 3997802 h 4525940"/>
              <a:gd name="connsiteX2214" fmla="*/ 1512343 w 4545947"/>
              <a:gd name="connsiteY2214" fmla="*/ 3994521 h 4525940"/>
              <a:gd name="connsiteX2215" fmla="*/ 1506257 w 4545947"/>
              <a:gd name="connsiteY2215" fmla="*/ 3987817 h 4525940"/>
              <a:gd name="connsiteX2216" fmla="*/ 1497656 w 4545947"/>
              <a:gd name="connsiteY2216" fmla="*/ 3973300 h 4525940"/>
              <a:gd name="connsiteX2217" fmla="*/ 1478220 w 4545947"/>
              <a:gd name="connsiteY2217" fmla="*/ 3947976 h 4525940"/>
              <a:gd name="connsiteX2218" fmla="*/ 1448741 w 4545947"/>
              <a:gd name="connsiteY2218" fmla="*/ 3950719 h 4525940"/>
              <a:gd name="connsiteX2219" fmla="*/ 1461808 w 4545947"/>
              <a:gd name="connsiteY2219" fmla="*/ 3985538 h 4525940"/>
              <a:gd name="connsiteX2220" fmla="*/ 1481440 w 4545947"/>
              <a:gd name="connsiteY2220" fmla="*/ 4006809 h 4525940"/>
              <a:gd name="connsiteX2221" fmla="*/ 1496501 w 4545947"/>
              <a:gd name="connsiteY2221" fmla="*/ 4041629 h 4525940"/>
              <a:gd name="connsiteX2222" fmla="*/ 1493287 w 4545947"/>
              <a:gd name="connsiteY2222" fmla="*/ 4049433 h 4525940"/>
              <a:gd name="connsiteX2223" fmla="*/ 1472986 w 4545947"/>
              <a:gd name="connsiteY2223" fmla="*/ 4080292 h 4525940"/>
              <a:gd name="connsiteX2224" fmla="*/ 1442104 w 4545947"/>
              <a:gd name="connsiteY2224" fmla="*/ 4115143 h 4525940"/>
              <a:gd name="connsiteX2225" fmla="*/ 1418702 w 4545947"/>
              <a:gd name="connsiteY2225" fmla="*/ 4130309 h 4525940"/>
              <a:gd name="connsiteX2226" fmla="*/ 1406504 w 4545947"/>
              <a:gd name="connsiteY2226" fmla="*/ 4146676 h 4525940"/>
              <a:gd name="connsiteX2227" fmla="*/ 1417881 w 4545947"/>
              <a:gd name="connsiteY2227" fmla="*/ 4160828 h 4525940"/>
              <a:gd name="connsiteX2228" fmla="*/ 1429257 w 4545947"/>
              <a:gd name="connsiteY2228" fmla="*/ 4181169 h 4525940"/>
              <a:gd name="connsiteX2229" fmla="*/ 1438003 w 4545947"/>
              <a:gd name="connsiteY2229" fmla="*/ 4195266 h 4525940"/>
              <a:gd name="connsiteX2230" fmla="*/ 1441283 w 4545947"/>
              <a:gd name="connsiteY2230" fmla="*/ 4221961 h 4525940"/>
              <a:gd name="connsiteX2231" fmla="*/ 1422992 w 4545947"/>
              <a:gd name="connsiteY2231" fmla="*/ 4198318 h 4525940"/>
              <a:gd name="connsiteX2232" fmla="*/ 1411471 w 4545947"/>
              <a:gd name="connsiteY2232" fmla="*/ 4184073 h 4525940"/>
              <a:gd name="connsiteX2233" fmla="*/ 1403020 w 4545947"/>
              <a:gd name="connsiteY2233" fmla="*/ 4172819 h 4525940"/>
              <a:gd name="connsiteX2234" fmla="*/ 1380062 w 4545947"/>
              <a:gd name="connsiteY2234" fmla="*/ 4138288 h 4525940"/>
              <a:gd name="connsiteX2235" fmla="*/ 1376782 w 4545947"/>
              <a:gd name="connsiteY2235" fmla="*/ 4130261 h 4525940"/>
              <a:gd name="connsiteX2236" fmla="*/ 1368775 w 4545947"/>
              <a:gd name="connsiteY2236" fmla="*/ 4120765 h 4525940"/>
              <a:gd name="connsiteX2237" fmla="*/ 1354046 w 4545947"/>
              <a:gd name="connsiteY2237" fmla="*/ 4071017 h 4525940"/>
              <a:gd name="connsiteX2238" fmla="*/ 1352620 w 4545947"/>
              <a:gd name="connsiteY2238" fmla="*/ 4044661 h 4525940"/>
              <a:gd name="connsiteX2239" fmla="*/ 1329483 w 4545947"/>
              <a:gd name="connsiteY2239" fmla="*/ 4059093 h 4525940"/>
              <a:gd name="connsiteX2240" fmla="*/ 1315264 w 4545947"/>
              <a:gd name="connsiteY2240" fmla="*/ 4077582 h 4525940"/>
              <a:gd name="connsiteX2241" fmla="*/ 1322597 w 4545947"/>
              <a:gd name="connsiteY2241" fmla="*/ 4121336 h 4525940"/>
              <a:gd name="connsiteX2242" fmla="*/ 1328680 w 4545947"/>
              <a:gd name="connsiteY2242" fmla="*/ 4139757 h 4525940"/>
              <a:gd name="connsiteX2243" fmla="*/ 1335239 w 4545947"/>
              <a:gd name="connsiteY2243" fmla="*/ 4158750 h 4525940"/>
              <a:gd name="connsiteX2244" fmla="*/ 1341799 w 4545947"/>
              <a:gd name="connsiteY2244" fmla="*/ 4181683 h 4525940"/>
              <a:gd name="connsiteX2245" fmla="*/ 1346172 w 4545947"/>
              <a:gd name="connsiteY2245" fmla="*/ 4196735 h 4525940"/>
              <a:gd name="connsiteX2246" fmla="*/ 1350544 w 4545947"/>
              <a:gd name="connsiteY2246" fmla="*/ 4206232 h 4525940"/>
              <a:gd name="connsiteX2247" fmla="*/ 1354316 w 4545947"/>
              <a:gd name="connsiteY2247" fmla="*/ 4215728 h 4525940"/>
              <a:gd name="connsiteX2248" fmla="*/ 1359560 w 4545947"/>
              <a:gd name="connsiteY2248" fmla="*/ 4293840 h 4525940"/>
              <a:gd name="connsiteX2249" fmla="*/ 1352111 w 4545947"/>
              <a:gd name="connsiteY2249" fmla="*/ 4288008 h 4525940"/>
              <a:gd name="connsiteX2250" fmla="*/ 1343221 w 4545947"/>
              <a:gd name="connsiteY2250" fmla="*/ 4270808 h 4525940"/>
              <a:gd name="connsiteX2251" fmla="*/ 1337426 w 4545947"/>
              <a:gd name="connsiteY2251" fmla="*/ 4253772 h 4525940"/>
              <a:gd name="connsiteX2252" fmla="*/ 1333053 w 4545947"/>
              <a:gd name="connsiteY2252" fmla="*/ 4237886 h 4525940"/>
              <a:gd name="connsiteX2253" fmla="*/ 1328680 w 4545947"/>
              <a:gd name="connsiteY2253" fmla="*/ 4222568 h 4525940"/>
              <a:gd name="connsiteX2254" fmla="*/ 1317496 w 4545947"/>
              <a:gd name="connsiteY2254" fmla="*/ 4187305 h 4525940"/>
              <a:gd name="connsiteX2255" fmla="*/ 1308613 w 4545947"/>
              <a:gd name="connsiteY2255" fmla="*/ 4154767 h 4525940"/>
              <a:gd name="connsiteX2256" fmla="*/ 1306994 w 4545947"/>
              <a:gd name="connsiteY2256" fmla="*/ 4146088 h 4525940"/>
              <a:gd name="connsiteX2257" fmla="*/ 1295358 w 4545947"/>
              <a:gd name="connsiteY2257" fmla="*/ 4120765 h 4525940"/>
              <a:gd name="connsiteX2258" fmla="*/ 1284109 w 4545947"/>
              <a:gd name="connsiteY2258" fmla="*/ 4095441 h 4525940"/>
              <a:gd name="connsiteX2259" fmla="*/ 1280578 w 4545947"/>
              <a:gd name="connsiteY2259" fmla="*/ 4086720 h 4525940"/>
              <a:gd name="connsiteX2260" fmla="*/ 1274018 w 4545947"/>
              <a:gd name="connsiteY2260" fmla="*/ 4070118 h 4525940"/>
              <a:gd name="connsiteX2261" fmla="*/ 1267383 w 4545947"/>
              <a:gd name="connsiteY2261" fmla="*/ 4045602 h 4525940"/>
              <a:gd name="connsiteX2262" fmla="*/ 1240129 w 4545947"/>
              <a:gd name="connsiteY2262" fmla="*/ 3998638 h 4525940"/>
              <a:gd name="connsiteX2263" fmla="*/ 1232476 w 4545947"/>
              <a:gd name="connsiteY2263" fmla="*/ 3982137 h 4525940"/>
              <a:gd name="connsiteX2264" fmla="*/ 1201553 w 4545947"/>
              <a:gd name="connsiteY2264" fmla="*/ 3949831 h 4525940"/>
              <a:gd name="connsiteX2265" fmla="*/ 1191004 w 4545947"/>
              <a:gd name="connsiteY2265" fmla="*/ 3924394 h 4525940"/>
              <a:gd name="connsiteX2266" fmla="*/ 1194112 w 4545947"/>
              <a:gd name="connsiteY2266" fmla="*/ 3889076 h 4525940"/>
              <a:gd name="connsiteX2267" fmla="*/ 1178736 w 4545947"/>
              <a:gd name="connsiteY2267" fmla="*/ 3862362 h 4525940"/>
              <a:gd name="connsiteX2268" fmla="*/ 1166882 w 4545947"/>
              <a:gd name="connsiteY2268" fmla="*/ 3882485 h 4525940"/>
              <a:gd name="connsiteX2269" fmla="*/ 1173441 w 4545947"/>
              <a:gd name="connsiteY2269" fmla="*/ 3914107 h 4525940"/>
              <a:gd name="connsiteX2270" fmla="*/ 1170962 w 4545947"/>
              <a:gd name="connsiteY2270" fmla="*/ 3943924 h 4525940"/>
              <a:gd name="connsiteX2271" fmla="*/ 1167124 w 4545947"/>
              <a:gd name="connsiteY2271" fmla="*/ 3966082 h 4525940"/>
              <a:gd name="connsiteX2272" fmla="*/ 1180319 w 4545947"/>
              <a:gd name="connsiteY2272" fmla="*/ 3975155 h 4525940"/>
              <a:gd name="connsiteX2273" fmla="*/ 1191809 w 4545947"/>
              <a:gd name="connsiteY2273" fmla="*/ 3983079 h 4525940"/>
              <a:gd name="connsiteX2274" fmla="*/ 1206636 w 4545947"/>
              <a:gd name="connsiteY2274" fmla="*/ 3999437 h 4525940"/>
              <a:gd name="connsiteX2275" fmla="*/ 1218569 w 4545947"/>
              <a:gd name="connsiteY2275" fmla="*/ 4031037 h 4525940"/>
              <a:gd name="connsiteX2276" fmla="*/ 1223715 w 4545947"/>
              <a:gd name="connsiteY2276" fmla="*/ 4056394 h 4525940"/>
              <a:gd name="connsiteX2277" fmla="*/ 1234740 w 4545947"/>
              <a:gd name="connsiteY2277" fmla="*/ 4067970 h 4525940"/>
              <a:gd name="connsiteX2278" fmla="*/ 1243044 w 4545947"/>
              <a:gd name="connsiteY2278" fmla="*/ 4125505 h 4525940"/>
              <a:gd name="connsiteX2279" fmla="*/ 1235153 w 4545947"/>
              <a:gd name="connsiteY2279" fmla="*/ 4136583 h 4525940"/>
              <a:gd name="connsiteX2280" fmla="*/ 1223274 w 4545947"/>
              <a:gd name="connsiteY2280" fmla="*/ 4164622 h 4525940"/>
              <a:gd name="connsiteX2281" fmla="*/ 1214344 w 4545947"/>
              <a:gd name="connsiteY2281" fmla="*/ 4186944 h 4525940"/>
              <a:gd name="connsiteX2282" fmla="*/ 1207713 w 4545947"/>
              <a:gd name="connsiteY2282" fmla="*/ 4193168 h 4525940"/>
              <a:gd name="connsiteX2283" fmla="*/ 1206188 w 4545947"/>
              <a:gd name="connsiteY2283" fmla="*/ 4199856 h 4525940"/>
              <a:gd name="connsiteX2284" fmla="*/ 1201865 w 4545947"/>
              <a:gd name="connsiteY2284" fmla="*/ 4206484 h 4525940"/>
              <a:gd name="connsiteX2285" fmla="*/ 1235316 w 4545947"/>
              <a:gd name="connsiteY2285" fmla="*/ 4253713 h 4525940"/>
              <a:gd name="connsiteX2286" fmla="*/ 1240895 w 4545947"/>
              <a:gd name="connsiteY2286" fmla="*/ 4261626 h 4525940"/>
              <a:gd name="connsiteX2287" fmla="*/ 1252153 w 4545947"/>
              <a:gd name="connsiteY2287" fmla="*/ 4285367 h 4525940"/>
              <a:gd name="connsiteX2288" fmla="*/ 1263086 w 4545947"/>
              <a:gd name="connsiteY2288" fmla="*/ 4295120 h 4525940"/>
              <a:gd name="connsiteX2289" fmla="*/ 1244501 w 4545947"/>
              <a:gd name="connsiteY2289" fmla="*/ 4303451 h 4525940"/>
              <a:gd name="connsiteX2290" fmla="*/ 1210611 w 4545947"/>
              <a:gd name="connsiteY2290" fmla="*/ 4280227 h 4525940"/>
              <a:gd name="connsiteX2291" fmla="*/ 1204011 w 4545947"/>
              <a:gd name="connsiteY2291" fmla="*/ 4262246 h 4525940"/>
              <a:gd name="connsiteX2292" fmla="*/ 1199513 w 4545947"/>
              <a:gd name="connsiteY2292" fmla="*/ 4247770 h 4525940"/>
              <a:gd name="connsiteX2293" fmla="*/ 1182452 w 4545947"/>
              <a:gd name="connsiteY2293" fmla="*/ 4212632 h 4525940"/>
              <a:gd name="connsiteX2294" fmla="*/ 1150918 w 4545947"/>
              <a:gd name="connsiteY2294" fmla="*/ 4186912 h 4525940"/>
              <a:gd name="connsiteX2295" fmla="*/ 1135289 w 4545947"/>
              <a:gd name="connsiteY2295" fmla="*/ 4198820 h 4525940"/>
              <a:gd name="connsiteX2296" fmla="*/ 1140378 w 4545947"/>
              <a:gd name="connsiteY2296" fmla="*/ 4248933 h 4525940"/>
              <a:gd name="connsiteX2297" fmla="*/ 1150457 w 4545947"/>
              <a:gd name="connsiteY2297" fmla="*/ 4274815 h 4525940"/>
              <a:gd name="connsiteX2298" fmla="*/ 1159469 w 4545947"/>
              <a:gd name="connsiteY2298" fmla="*/ 4304632 h 4525940"/>
              <a:gd name="connsiteX2299" fmla="*/ 1166882 w 4545947"/>
              <a:gd name="connsiteY2299" fmla="*/ 4326027 h 4525940"/>
              <a:gd name="connsiteX2300" fmla="*/ 1180000 w 4545947"/>
              <a:gd name="connsiteY2300" fmla="*/ 4350870 h 4525940"/>
              <a:gd name="connsiteX2301" fmla="*/ 1193119 w 4545947"/>
              <a:gd name="connsiteY2301" fmla="*/ 4371661 h 4525940"/>
              <a:gd name="connsiteX2302" fmla="*/ 1204529 w 4545947"/>
              <a:gd name="connsiteY2302" fmla="*/ 4393713 h 4525940"/>
              <a:gd name="connsiteX2303" fmla="*/ 1203609 w 4545947"/>
              <a:gd name="connsiteY2303" fmla="*/ 4422111 h 4525940"/>
              <a:gd name="connsiteX2304" fmla="*/ 1197492 w 4545947"/>
              <a:gd name="connsiteY2304" fmla="*/ 4424845 h 4525940"/>
              <a:gd name="connsiteX2305" fmla="*/ 1178586 w 4545947"/>
              <a:gd name="connsiteY2305" fmla="*/ 4426228 h 4525940"/>
              <a:gd name="connsiteX2306" fmla="*/ 1173608 w 4545947"/>
              <a:gd name="connsiteY2306" fmla="*/ 4400905 h 4525940"/>
              <a:gd name="connsiteX2307" fmla="*/ 1167529 w 4545947"/>
              <a:gd name="connsiteY2307" fmla="*/ 4380330 h 4525940"/>
              <a:gd name="connsiteX2308" fmla="*/ 1156323 w 4545947"/>
              <a:gd name="connsiteY2308" fmla="*/ 4358354 h 4525940"/>
              <a:gd name="connsiteX2309" fmla="*/ 1144396 w 4545947"/>
              <a:gd name="connsiteY2309" fmla="*/ 4339735 h 4525940"/>
              <a:gd name="connsiteX2310" fmla="*/ 1140644 w 4545947"/>
              <a:gd name="connsiteY2310" fmla="*/ 4336772 h 4525940"/>
              <a:gd name="connsiteX2311" fmla="*/ 1122060 w 4545947"/>
              <a:gd name="connsiteY2311" fmla="*/ 4331650 h 4525940"/>
              <a:gd name="connsiteX2312" fmla="*/ 1103474 w 4545947"/>
              <a:gd name="connsiteY2312" fmla="*/ 4323352 h 4525940"/>
              <a:gd name="connsiteX2313" fmla="*/ 1115054 w 4545947"/>
              <a:gd name="connsiteY2313" fmla="*/ 4311915 h 4525940"/>
              <a:gd name="connsiteX2314" fmla="*/ 1124887 w 4545947"/>
              <a:gd name="connsiteY2314" fmla="*/ 4278494 h 4525940"/>
              <a:gd name="connsiteX2315" fmla="*/ 1118779 w 4545947"/>
              <a:gd name="connsiteY2315" fmla="*/ 4262434 h 4525940"/>
              <a:gd name="connsiteX2316" fmla="*/ 1114407 w 4545947"/>
              <a:gd name="connsiteY2316" fmla="*/ 4253713 h 4525940"/>
              <a:gd name="connsiteX2317" fmla="*/ 1110034 w 4545947"/>
              <a:gd name="connsiteY2317" fmla="*/ 4244894 h 4525940"/>
              <a:gd name="connsiteX2318" fmla="*/ 1103247 w 4545947"/>
              <a:gd name="connsiteY2318" fmla="*/ 4232305 h 4525940"/>
              <a:gd name="connsiteX2319" fmla="*/ 1099558 w 4545947"/>
              <a:gd name="connsiteY2319" fmla="*/ 4235790 h 4525940"/>
              <a:gd name="connsiteX2320" fmla="*/ 1092793 w 4545947"/>
              <a:gd name="connsiteY2320" fmla="*/ 4239312 h 4525940"/>
              <a:gd name="connsiteX2321" fmla="*/ 1085867 w 4545947"/>
              <a:gd name="connsiteY2321" fmla="*/ 4249394 h 4525940"/>
              <a:gd name="connsiteX2322" fmla="*/ 1085559 w 4545947"/>
              <a:gd name="connsiteY2322" fmla="*/ 4296446 h 4525940"/>
              <a:gd name="connsiteX2323" fmla="*/ 1079427 w 4545947"/>
              <a:gd name="connsiteY2323" fmla="*/ 4317021 h 4525940"/>
              <a:gd name="connsiteX2324" fmla="*/ 1026948 w 4545947"/>
              <a:gd name="connsiteY2324" fmla="*/ 4257083 h 4525940"/>
              <a:gd name="connsiteX2325" fmla="*/ 1019295 w 4545947"/>
              <a:gd name="connsiteY2325" fmla="*/ 4242429 h 4525940"/>
              <a:gd name="connsiteX2326" fmla="*/ 1011029 w 4545947"/>
              <a:gd name="connsiteY2326" fmla="*/ 4231555 h 4525940"/>
              <a:gd name="connsiteX2327" fmla="*/ 1007402 w 4545947"/>
              <a:gd name="connsiteY2327" fmla="*/ 4204648 h 4525940"/>
              <a:gd name="connsiteX2328" fmla="*/ 1008641 w 4545947"/>
              <a:gd name="connsiteY2328" fmla="*/ 4184073 h 4525940"/>
              <a:gd name="connsiteX2329" fmla="*/ 1008391 w 4545947"/>
              <a:gd name="connsiteY2329" fmla="*/ 4147050 h 4525940"/>
              <a:gd name="connsiteX2330" fmla="*/ 987053 w 4545947"/>
              <a:gd name="connsiteY2330" fmla="*/ 4132187 h 4525940"/>
              <a:gd name="connsiteX2331" fmla="*/ 976052 w 4545947"/>
              <a:gd name="connsiteY2331" fmla="*/ 4108153 h 4525940"/>
              <a:gd name="connsiteX2332" fmla="*/ 971471 w 4545947"/>
              <a:gd name="connsiteY2332" fmla="*/ 4077676 h 4525940"/>
              <a:gd name="connsiteX2333" fmla="*/ 963413 w 4545947"/>
              <a:gd name="connsiteY2333" fmla="*/ 4055810 h 4525940"/>
              <a:gd name="connsiteX2334" fmla="*/ 957575 w 4545947"/>
              <a:gd name="connsiteY2334" fmla="*/ 4038463 h 4525940"/>
              <a:gd name="connsiteX2335" fmla="*/ 948803 w 4545947"/>
              <a:gd name="connsiteY2335" fmla="*/ 4019035 h 4525940"/>
              <a:gd name="connsiteX2336" fmla="*/ 932430 w 4545947"/>
              <a:gd name="connsiteY2336" fmla="*/ 3984503 h 4525940"/>
              <a:gd name="connsiteX2337" fmla="*/ 922065 w 4545947"/>
              <a:gd name="connsiteY2337" fmla="*/ 3961198 h 4525940"/>
              <a:gd name="connsiteX2338" fmla="*/ 926371 w 4545947"/>
              <a:gd name="connsiteY2338" fmla="*/ 3962493 h 4525940"/>
              <a:gd name="connsiteX2339" fmla="*/ 930677 w 4545947"/>
              <a:gd name="connsiteY2339" fmla="*/ 3964851 h 4525940"/>
              <a:gd name="connsiteX2340" fmla="*/ 924185 w 4545947"/>
              <a:gd name="connsiteY2340" fmla="*/ 3949831 h 4525940"/>
              <a:gd name="connsiteX2341" fmla="*/ 917625 w 4545947"/>
              <a:gd name="connsiteY2341" fmla="*/ 3931045 h 4525940"/>
              <a:gd name="connsiteX2342" fmla="*/ 908879 w 4545947"/>
              <a:gd name="connsiteY2342" fmla="*/ 3908681 h 4525940"/>
              <a:gd name="connsiteX2343" fmla="*/ 900133 w 4545947"/>
              <a:gd name="connsiteY2343" fmla="*/ 3875582 h 4525940"/>
              <a:gd name="connsiteX2344" fmla="*/ 882642 w 4545947"/>
              <a:gd name="connsiteY2344" fmla="*/ 3831209 h 4525940"/>
              <a:gd name="connsiteX2345" fmla="*/ 865150 w 4545947"/>
              <a:gd name="connsiteY2345" fmla="*/ 3784868 h 4525940"/>
              <a:gd name="connsiteX2346" fmla="*/ 858591 w 4545947"/>
              <a:gd name="connsiteY2346" fmla="*/ 3757617 h 4525940"/>
              <a:gd name="connsiteX2347" fmla="*/ 852031 w 4545947"/>
              <a:gd name="connsiteY2347" fmla="*/ 3717196 h 4525940"/>
              <a:gd name="connsiteX2348" fmla="*/ 843285 w 4545947"/>
              <a:gd name="connsiteY2348" fmla="*/ 3669577 h 4525940"/>
              <a:gd name="connsiteX2349" fmla="*/ 834539 w 4545947"/>
              <a:gd name="connsiteY2349" fmla="*/ 3648804 h 4525940"/>
              <a:gd name="connsiteX2350" fmla="*/ 830798 w 4545947"/>
              <a:gd name="connsiteY2350" fmla="*/ 3642220 h 4525940"/>
              <a:gd name="connsiteX2351" fmla="*/ 829106 w 4545947"/>
              <a:gd name="connsiteY2351" fmla="*/ 3630048 h 4525940"/>
              <a:gd name="connsiteX2352" fmla="*/ 803657 w 4545947"/>
              <a:gd name="connsiteY2352" fmla="*/ 3596041 h 4525940"/>
              <a:gd name="connsiteX2353" fmla="*/ 777265 w 4545947"/>
              <a:gd name="connsiteY2353" fmla="*/ 3578868 h 4525940"/>
              <a:gd name="connsiteX2354" fmla="*/ 755827 w 4545947"/>
              <a:gd name="connsiteY2354" fmla="*/ 3540146 h 4525940"/>
              <a:gd name="connsiteX2355" fmla="*/ 751454 w 4545947"/>
              <a:gd name="connsiteY2355" fmla="*/ 3531995 h 4525940"/>
              <a:gd name="connsiteX2356" fmla="*/ 747081 w 4545947"/>
              <a:gd name="connsiteY2356" fmla="*/ 3516168 h 4525940"/>
              <a:gd name="connsiteX2357" fmla="*/ 762326 w 4545947"/>
              <a:gd name="connsiteY2357" fmla="*/ 3510362 h 4525940"/>
              <a:gd name="connsiteX2358" fmla="*/ 789966 w 4545947"/>
              <a:gd name="connsiteY2358" fmla="*/ 3491886 h 4525940"/>
              <a:gd name="connsiteX2359" fmla="*/ 774412 w 4545947"/>
              <a:gd name="connsiteY2359" fmla="*/ 3465794 h 4525940"/>
              <a:gd name="connsiteX2360" fmla="*/ 760200 w 4545947"/>
              <a:gd name="connsiteY2360" fmla="*/ 3445219 h 4525940"/>
              <a:gd name="connsiteX2361" fmla="*/ 766020 w 4545947"/>
              <a:gd name="connsiteY2361" fmla="*/ 3430701 h 4525940"/>
              <a:gd name="connsiteX2362" fmla="*/ 777808 w 4545947"/>
              <a:gd name="connsiteY2362" fmla="*/ 3414557 h 4525940"/>
              <a:gd name="connsiteX2363" fmla="*/ 771392 w 4545947"/>
              <a:gd name="connsiteY2363" fmla="*/ 3383009 h 4525940"/>
              <a:gd name="connsiteX2364" fmla="*/ 764313 w 4545947"/>
              <a:gd name="connsiteY2364" fmla="*/ 3358350 h 4525940"/>
              <a:gd name="connsiteX2365" fmla="*/ 768188 w 4545947"/>
              <a:gd name="connsiteY2365" fmla="*/ 3334504 h 4525940"/>
              <a:gd name="connsiteX2366" fmla="*/ 743360 w 4545947"/>
              <a:gd name="connsiteY2366" fmla="*/ 3335738 h 4525940"/>
              <a:gd name="connsiteX2367" fmla="*/ 719750 w 4545947"/>
              <a:gd name="connsiteY2367" fmla="*/ 3360965 h 4525940"/>
              <a:gd name="connsiteX2368" fmla="*/ 707725 w 4545947"/>
              <a:gd name="connsiteY2368" fmla="*/ 3376437 h 4525940"/>
              <a:gd name="connsiteX2369" fmla="*/ 728262 w 4545947"/>
              <a:gd name="connsiteY2369" fmla="*/ 3411709 h 4525940"/>
              <a:gd name="connsiteX2370" fmla="*/ 732322 w 4545947"/>
              <a:gd name="connsiteY2370" fmla="*/ 3431493 h 4525940"/>
              <a:gd name="connsiteX2371" fmla="*/ 729589 w 4545947"/>
              <a:gd name="connsiteY2371" fmla="*/ 3456816 h 4525940"/>
              <a:gd name="connsiteX2372" fmla="*/ 721191 w 4545947"/>
              <a:gd name="connsiteY2372" fmla="*/ 3462355 h 4525940"/>
              <a:gd name="connsiteX2373" fmla="*/ 709911 w 4545947"/>
              <a:gd name="connsiteY2373" fmla="*/ 3443363 h 4525940"/>
              <a:gd name="connsiteX2374" fmla="*/ 703479 w 4545947"/>
              <a:gd name="connsiteY2374" fmla="*/ 3424370 h 4525940"/>
              <a:gd name="connsiteX2375" fmla="*/ 697371 w 4545947"/>
              <a:gd name="connsiteY2375" fmla="*/ 3409629 h 4525940"/>
              <a:gd name="connsiteX2376" fmla="*/ 671316 w 4545947"/>
              <a:gd name="connsiteY2376" fmla="*/ 3385041 h 4525940"/>
              <a:gd name="connsiteX2377" fmla="*/ 667444 w 4545947"/>
              <a:gd name="connsiteY2377" fmla="*/ 3424370 h 4525940"/>
              <a:gd name="connsiteX2378" fmla="*/ 678776 w 4545947"/>
              <a:gd name="connsiteY2378" fmla="*/ 3449694 h 4525940"/>
              <a:gd name="connsiteX2379" fmla="*/ 690046 w 4545947"/>
              <a:gd name="connsiteY2379" fmla="*/ 3475017 h 4525940"/>
              <a:gd name="connsiteX2380" fmla="*/ 696565 w 4545947"/>
              <a:gd name="connsiteY2380" fmla="*/ 3509394 h 4525940"/>
              <a:gd name="connsiteX2381" fmla="*/ 705815 w 4545947"/>
              <a:gd name="connsiteY2381" fmla="*/ 3551320 h 4525940"/>
              <a:gd name="connsiteX2382" fmla="*/ 699374 w 4545947"/>
              <a:gd name="connsiteY2382" fmla="*/ 3567879 h 4525940"/>
              <a:gd name="connsiteX2383" fmla="*/ 684206 w 4545947"/>
              <a:gd name="connsiteY2383" fmla="*/ 3573418 h 4525940"/>
              <a:gd name="connsiteX2384" fmla="*/ 670986 w 4545947"/>
              <a:gd name="connsiteY2384" fmla="*/ 3582642 h 4525940"/>
              <a:gd name="connsiteX2385" fmla="*/ 664136 w 4545947"/>
              <a:gd name="connsiteY2385" fmla="*/ 3541275 h 4525940"/>
              <a:gd name="connsiteX2386" fmla="*/ 671478 w 4545947"/>
              <a:gd name="connsiteY2386" fmla="*/ 3517368 h 4525940"/>
              <a:gd name="connsiteX2387" fmla="*/ 650877 w 4545947"/>
              <a:gd name="connsiteY2387" fmla="*/ 3507379 h 4525940"/>
              <a:gd name="connsiteX2388" fmla="*/ 632292 w 4545947"/>
              <a:gd name="connsiteY2388" fmla="*/ 3511535 h 4525940"/>
              <a:gd name="connsiteX2389" fmla="*/ 612262 w 4545947"/>
              <a:gd name="connsiteY2389" fmla="*/ 3524603 h 4525940"/>
              <a:gd name="connsiteX2390" fmla="*/ 616883 w 4545947"/>
              <a:gd name="connsiteY2390" fmla="*/ 3549927 h 4525940"/>
              <a:gd name="connsiteX2391" fmla="*/ 604596 w 4545947"/>
              <a:gd name="connsiteY2391" fmla="*/ 3582818 h 4525940"/>
              <a:gd name="connsiteX2392" fmla="*/ 578723 w 4545947"/>
              <a:gd name="connsiteY2392" fmla="*/ 3563624 h 4525940"/>
              <a:gd name="connsiteX2393" fmla="*/ 550299 w 4545947"/>
              <a:gd name="connsiteY2393" fmla="*/ 3514565 h 4525940"/>
              <a:gd name="connsiteX2394" fmla="*/ 543740 w 4545947"/>
              <a:gd name="connsiteY2394" fmla="*/ 3479059 h 4525940"/>
              <a:gd name="connsiteX2395" fmla="*/ 537180 w 4545947"/>
              <a:gd name="connsiteY2395" fmla="*/ 3459388 h 4525940"/>
              <a:gd name="connsiteX2396" fmla="*/ 532807 w 4545947"/>
              <a:gd name="connsiteY2396" fmla="*/ 3443363 h 4525940"/>
              <a:gd name="connsiteX2397" fmla="*/ 528435 w 4545947"/>
              <a:gd name="connsiteY2397" fmla="*/ 3432141 h 4525940"/>
              <a:gd name="connsiteX2398" fmla="*/ 510943 w 4545947"/>
              <a:gd name="connsiteY2398" fmla="*/ 3399047 h 4525940"/>
              <a:gd name="connsiteX2399" fmla="*/ 493451 w 4545947"/>
              <a:gd name="connsiteY2399" fmla="*/ 3366729 h 4525940"/>
              <a:gd name="connsiteX2400" fmla="*/ 486983 w 4545947"/>
              <a:gd name="connsiteY2400" fmla="*/ 3348509 h 4525940"/>
              <a:gd name="connsiteX2401" fmla="*/ 467214 w 4545947"/>
              <a:gd name="connsiteY2401" fmla="*/ 3290823 h 4525940"/>
              <a:gd name="connsiteX2402" fmla="*/ 462770 w 4545947"/>
              <a:gd name="connsiteY2402" fmla="*/ 3275532 h 4525940"/>
              <a:gd name="connsiteX2403" fmla="*/ 460480 w 4545947"/>
              <a:gd name="connsiteY2403" fmla="*/ 3266508 h 4525940"/>
              <a:gd name="connsiteX2404" fmla="*/ 453925 w 4545947"/>
              <a:gd name="connsiteY2404" fmla="*/ 3250050 h 4525940"/>
              <a:gd name="connsiteX2405" fmla="*/ 442490 w 4545947"/>
              <a:gd name="connsiteY2405" fmla="*/ 3213955 h 4525940"/>
              <a:gd name="connsiteX2406" fmla="*/ 429437 w 4545947"/>
              <a:gd name="connsiteY2406" fmla="*/ 3179475 h 4525940"/>
              <a:gd name="connsiteX2407" fmla="*/ 419111 w 4545947"/>
              <a:gd name="connsiteY2407" fmla="*/ 3129631 h 4525940"/>
              <a:gd name="connsiteX2408" fmla="*/ 414739 w 4545947"/>
              <a:gd name="connsiteY2408" fmla="*/ 3085670 h 4525940"/>
              <a:gd name="connsiteX2409" fmla="*/ 415429 w 4545947"/>
              <a:gd name="connsiteY2409" fmla="*/ 3055792 h 4525940"/>
              <a:gd name="connsiteX2410" fmla="*/ 393008 w 4545947"/>
              <a:gd name="connsiteY2410" fmla="*/ 3000795 h 4525940"/>
              <a:gd name="connsiteX2411" fmla="*/ 371009 w 4545947"/>
              <a:gd name="connsiteY2411" fmla="*/ 2946175 h 4525940"/>
              <a:gd name="connsiteX2412" fmla="*/ 364450 w 4545947"/>
              <a:gd name="connsiteY2412" fmla="*/ 2905240 h 4525940"/>
              <a:gd name="connsiteX2413" fmla="*/ 357891 w 4545947"/>
              <a:gd name="connsiteY2413" fmla="*/ 2879142 h 4525940"/>
              <a:gd name="connsiteX2414" fmla="*/ 353227 w 4545947"/>
              <a:gd name="connsiteY2414" fmla="*/ 2860924 h 4525940"/>
              <a:gd name="connsiteX2415" fmla="*/ 349948 w 4545947"/>
              <a:gd name="connsiteY2415" fmla="*/ 2843514 h 4525940"/>
              <a:gd name="connsiteX2416" fmla="*/ 340471 w 4545947"/>
              <a:gd name="connsiteY2416" fmla="*/ 2811971 h 4525940"/>
              <a:gd name="connsiteX2417" fmla="*/ 330125 w 4545947"/>
              <a:gd name="connsiteY2417" fmla="*/ 2770820 h 4525940"/>
              <a:gd name="connsiteX2418" fmla="*/ 327866 w 4545947"/>
              <a:gd name="connsiteY2418" fmla="*/ 2740638 h 4525940"/>
              <a:gd name="connsiteX2419" fmla="*/ 305415 w 4545947"/>
              <a:gd name="connsiteY2419" fmla="*/ 2661333 h 4525940"/>
              <a:gd name="connsiteX2420" fmla="*/ 301042 w 4545947"/>
              <a:gd name="connsiteY2420" fmla="*/ 2645675 h 4525940"/>
              <a:gd name="connsiteX2421" fmla="*/ 296670 w 4545947"/>
              <a:gd name="connsiteY2421" fmla="*/ 2612049 h 4525940"/>
              <a:gd name="connsiteX2422" fmla="*/ 286831 w 4545947"/>
              <a:gd name="connsiteY2422" fmla="*/ 2563152 h 4525940"/>
              <a:gd name="connsiteX2423" fmla="*/ 276187 w 4545947"/>
              <a:gd name="connsiteY2423" fmla="*/ 2538217 h 4525940"/>
              <a:gd name="connsiteX2424" fmla="*/ 263140 w 4545947"/>
              <a:gd name="connsiteY2424" fmla="*/ 2450618 h 4525940"/>
              <a:gd name="connsiteX2425" fmla="*/ 257313 w 4545947"/>
              <a:gd name="connsiteY2425" fmla="*/ 2433139 h 4525940"/>
              <a:gd name="connsiteX2426" fmla="*/ 252940 w 4545947"/>
              <a:gd name="connsiteY2426" fmla="*/ 2424095 h 4525940"/>
              <a:gd name="connsiteX2427" fmla="*/ 248567 w 4545947"/>
              <a:gd name="connsiteY2427" fmla="*/ 2395606 h 4525940"/>
              <a:gd name="connsiteX2428" fmla="*/ 243727 w 4545947"/>
              <a:gd name="connsiteY2428" fmla="*/ 2367117 h 4525940"/>
              <a:gd name="connsiteX2429" fmla="*/ 241245 w 4545947"/>
              <a:gd name="connsiteY2429" fmla="*/ 2358215 h 4525940"/>
              <a:gd name="connsiteX2430" fmla="*/ 235154 w 4545947"/>
              <a:gd name="connsiteY2430" fmla="*/ 2338242 h 4525940"/>
              <a:gd name="connsiteX2431" fmla="*/ 226703 w 4545947"/>
              <a:gd name="connsiteY2431" fmla="*/ 2307402 h 4525940"/>
              <a:gd name="connsiteX2432" fmla="*/ 220505 w 4545947"/>
              <a:gd name="connsiteY2432" fmla="*/ 2274822 h 4525940"/>
              <a:gd name="connsiteX2433" fmla="*/ 211334 w 4545947"/>
              <a:gd name="connsiteY2433" fmla="*/ 2237011 h 4525940"/>
              <a:gd name="connsiteX2434" fmla="*/ 194546 w 4545947"/>
              <a:gd name="connsiteY2434" fmla="*/ 2177191 h 4525940"/>
              <a:gd name="connsiteX2435" fmla="*/ 192550 w 4545947"/>
              <a:gd name="connsiteY2435" fmla="*/ 2155033 h 4525940"/>
              <a:gd name="connsiteX2436" fmla="*/ 190841 w 4545947"/>
              <a:gd name="connsiteY2436" fmla="*/ 2132875 h 4525940"/>
              <a:gd name="connsiteX2437" fmla="*/ 187346 w 4545947"/>
              <a:gd name="connsiteY2437" fmla="*/ 2120214 h 4525940"/>
              <a:gd name="connsiteX2438" fmla="*/ 183172 w 4545947"/>
              <a:gd name="connsiteY2438" fmla="*/ 2107552 h 4525940"/>
              <a:gd name="connsiteX2439" fmla="*/ 176125 w 4545947"/>
              <a:gd name="connsiteY2439" fmla="*/ 2085394 h 4525940"/>
              <a:gd name="connsiteX2440" fmla="*/ 169368 w 4545947"/>
              <a:gd name="connsiteY2440" fmla="*/ 2063236 h 4525940"/>
              <a:gd name="connsiteX2441" fmla="*/ 165482 w 4545947"/>
              <a:gd name="connsiteY2441" fmla="*/ 2050375 h 4525940"/>
              <a:gd name="connsiteX2442" fmla="*/ 158923 w 4545947"/>
              <a:gd name="connsiteY2442" fmla="*/ 2033872 h 4525940"/>
              <a:gd name="connsiteX2443" fmla="*/ 152363 w 4545947"/>
              <a:gd name="connsiteY2443" fmla="*/ 2012836 h 4525940"/>
              <a:gd name="connsiteX2444" fmla="*/ 121961 w 4545947"/>
              <a:gd name="connsiteY2444" fmla="*/ 1961942 h 4525940"/>
              <a:gd name="connsiteX2445" fmla="*/ 113007 w 4545947"/>
              <a:gd name="connsiteY2445" fmla="*/ 1952973 h 4525940"/>
              <a:gd name="connsiteX2446" fmla="*/ 107847 w 4545947"/>
              <a:gd name="connsiteY2446" fmla="*/ 1941515 h 4525940"/>
              <a:gd name="connsiteX2447" fmla="*/ 105462 w 4545947"/>
              <a:gd name="connsiteY2447" fmla="*/ 1928555 h 4525940"/>
              <a:gd name="connsiteX2448" fmla="*/ 121932 w 4545947"/>
              <a:gd name="connsiteY2448" fmla="*/ 1924997 h 4525940"/>
              <a:gd name="connsiteX2449" fmla="*/ 142816 w 4545947"/>
              <a:gd name="connsiteY2449" fmla="*/ 1921499 h 4525940"/>
              <a:gd name="connsiteX2450" fmla="*/ 144625 w 4545947"/>
              <a:gd name="connsiteY2450" fmla="*/ 1898617 h 4525940"/>
              <a:gd name="connsiteX2451" fmla="*/ 139244 w 4545947"/>
              <a:gd name="connsiteY2451" fmla="*/ 1871497 h 4525940"/>
              <a:gd name="connsiteX2452" fmla="*/ 135208 w 4545947"/>
              <a:gd name="connsiteY2452" fmla="*/ 1850836 h 4525940"/>
              <a:gd name="connsiteX2453" fmla="*/ 126665 w 4545947"/>
              <a:gd name="connsiteY2453" fmla="*/ 1784678 h 4525940"/>
              <a:gd name="connsiteX2454" fmla="*/ 108293 w 4545947"/>
              <a:gd name="connsiteY2454" fmla="*/ 1664392 h 4525940"/>
              <a:gd name="connsiteX2455" fmla="*/ 102962 w 4545947"/>
              <a:gd name="connsiteY2455" fmla="*/ 1636921 h 4525940"/>
              <a:gd name="connsiteX2456" fmla="*/ 94702 w 4545947"/>
              <a:gd name="connsiteY2456" fmla="*/ 1602831 h 4525940"/>
              <a:gd name="connsiteX2457" fmla="*/ 98128 w 4545947"/>
              <a:gd name="connsiteY2457" fmla="*/ 1453577 h 4525940"/>
              <a:gd name="connsiteX2458" fmla="*/ 104261 w 4545947"/>
              <a:gd name="connsiteY2458" fmla="*/ 1427347 h 4525940"/>
              <a:gd name="connsiteX2459" fmla="*/ 110821 w 4545947"/>
              <a:gd name="connsiteY2459" fmla="*/ 1402538 h 4525940"/>
              <a:gd name="connsiteX2460" fmla="*/ 117380 w 4545947"/>
              <a:gd name="connsiteY2460" fmla="*/ 1386808 h 4525940"/>
              <a:gd name="connsiteX2461" fmla="*/ 123939 w 4545947"/>
              <a:gd name="connsiteY2461" fmla="*/ 1366842 h 4525940"/>
              <a:gd name="connsiteX2462" fmla="*/ 130498 w 4545947"/>
              <a:gd name="connsiteY2462" fmla="*/ 1341518 h 4525940"/>
              <a:gd name="connsiteX2463" fmla="*/ 163457 w 4545947"/>
              <a:gd name="connsiteY2463" fmla="*/ 1308631 h 4525940"/>
              <a:gd name="connsiteX2464" fmla="*/ 198730 w 4545947"/>
              <a:gd name="connsiteY2464" fmla="*/ 1253312 h 4525940"/>
              <a:gd name="connsiteX2465" fmla="*/ 204698 w 4545947"/>
              <a:gd name="connsiteY2465" fmla="*/ 1210441 h 4525940"/>
              <a:gd name="connsiteX2466" fmla="*/ 213584 w 4545947"/>
              <a:gd name="connsiteY2466" fmla="*/ 1192440 h 4525940"/>
              <a:gd name="connsiteX2467" fmla="*/ 224517 w 4545947"/>
              <a:gd name="connsiteY2467" fmla="*/ 1170585 h 4525940"/>
              <a:gd name="connsiteX2468" fmla="*/ 235449 w 4545947"/>
              <a:gd name="connsiteY2468" fmla="*/ 1144933 h 4525940"/>
              <a:gd name="connsiteX2469" fmla="*/ 242008 w 4545947"/>
              <a:gd name="connsiteY2469" fmla="*/ 1126269 h 4525940"/>
              <a:gd name="connsiteX2470" fmla="*/ 248567 w 4545947"/>
              <a:gd name="connsiteY2470" fmla="*/ 1109667 h 4525940"/>
              <a:gd name="connsiteX2471" fmla="*/ 252548 w 4545947"/>
              <a:gd name="connsiteY2471" fmla="*/ 1100946 h 4525940"/>
              <a:gd name="connsiteX2472" fmla="*/ 259624 w 4545947"/>
              <a:gd name="connsiteY2472" fmla="*/ 1047134 h 4525940"/>
              <a:gd name="connsiteX2473" fmla="*/ 266576 w 4545947"/>
              <a:gd name="connsiteY2473" fmla="*/ 993321 h 4525940"/>
              <a:gd name="connsiteX2474" fmla="*/ 270432 w 4545947"/>
              <a:gd name="connsiteY2474" fmla="*/ 985235 h 4525940"/>
              <a:gd name="connsiteX2475" fmla="*/ 301492 w 4545947"/>
              <a:gd name="connsiteY2475" fmla="*/ 942674 h 4525940"/>
              <a:gd name="connsiteX2476" fmla="*/ 305415 w 4545947"/>
              <a:gd name="connsiteY2476" fmla="*/ 936072 h 4525940"/>
              <a:gd name="connsiteX2477" fmla="*/ 325094 w 4545947"/>
              <a:gd name="connsiteY2477" fmla="*/ 899013 h 4525940"/>
              <a:gd name="connsiteX2478" fmla="*/ 344772 w 4545947"/>
              <a:gd name="connsiteY2478" fmla="*/ 864151 h 4525940"/>
              <a:gd name="connsiteX2479" fmla="*/ 376468 w 4545947"/>
              <a:gd name="connsiteY2479" fmla="*/ 816057 h 4525940"/>
              <a:gd name="connsiteX2480" fmla="*/ 405993 w 4545947"/>
              <a:gd name="connsiteY2480" fmla="*/ 777703 h 4525940"/>
              <a:gd name="connsiteX2481" fmla="*/ 466866 w 4545947"/>
              <a:gd name="connsiteY2481" fmla="*/ 695771 h 4525940"/>
              <a:gd name="connsiteX2482" fmla="*/ 475959 w 4545947"/>
              <a:gd name="connsiteY2482" fmla="*/ 689867 h 4525940"/>
              <a:gd name="connsiteX2483" fmla="*/ 485595 w 4545947"/>
              <a:gd name="connsiteY2483" fmla="*/ 679535 h 4525940"/>
              <a:gd name="connsiteX2484" fmla="*/ 501212 w 4545947"/>
              <a:gd name="connsiteY2484" fmla="*/ 666447 h 4525940"/>
              <a:gd name="connsiteX2485" fmla="*/ 522188 w 4545947"/>
              <a:gd name="connsiteY2485" fmla="*/ 657786 h 4525940"/>
              <a:gd name="connsiteX2486" fmla="*/ 537180 w 4545947"/>
              <a:gd name="connsiteY2486" fmla="*/ 651455 h 4525940"/>
              <a:gd name="connsiteX2487" fmla="*/ 547500 w 4545947"/>
              <a:gd name="connsiteY2487" fmla="*/ 645124 h 4525940"/>
              <a:gd name="connsiteX2488" fmla="*/ 566030 w 4545947"/>
              <a:gd name="connsiteY2488" fmla="*/ 629297 h 4525940"/>
              <a:gd name="connsiteX2489" fmla="*/ 581636 w 4545947"/>
              <a:gd name="connsiteY2489" fmla="*/ 613470 h 4525940"/>
              <a:gd name="connsiteX2490" fmla="*/ 595590 w 4545947"/>
              <a:gd name="connsiteY2490" fmla="*/ 603974 h 4525940"/>
              <a:gd name="connsiteX2491" fmla="*/ 605081 w 4545947"/>
              <a:gd name="connsiteY2491" fmla="*/ 594477 h 4525940"/>
              <a:gd name="connsiteX2492" fmla="*/ 621792 w 4545947"/>
              <a:gd name="connsiteY2492" fmla="*/ 585112 h 4525940"/>
              <a:gd name="connsiteX2493" fmla="*/ 758458 w 4545947"/>
              <a:gd name="connsiteY2493" fmla="*/ 557307 h 4525940"/>
              <a:gd name="connsiteX2494" fmla="*/ 827104 w 4545947"/>
              <a:gd name="connsiteY2494" fmla="*/ 526420 h 4525940"/>
              <a:gd name="connsiteX2495" fmla="*/ 836125 w 4545947"/>
              <a:gd name="connsiteY2495" fmla="*/ 518507 h 4525940"/>
              <a:gd name="connsiteX2496" fmla="*/ 854218 w 4545947"/>
              <a:gd name="connsiteY2496" fmla="*/ 499514 h 4525940"/>
              <a:gd name="connsiteX2497" fmla="*/ 874456 w 4545947"/>
              <a:gd name="connsiteY2497" fmla="*/ 480522 h 4525940"/>
              <a:gd name="connsiteX2498" fmla="*/ 884828 w 4545947"/>
              <a:gd name="connsiteY2498" fmla="*/ 474191 h 4525940"/>
              <a:gd name="connsiteX2499" fmla="*/ 895654 w 4545947"/>
              <a:gd name="connsiteY2499" fmla="*/ 467860 h 4525940"/>
              <a:gd name="connsiteX2500" fmla="*/ 912594 w 4545947"/>
              <a:gd name="connsiteY2500" fmla="*/ 450450 h 4525940"/>
              <a:gd name="connsiteX2501" fmla="*/ 926952 w 4545947"/>
              <a:gd name="connsiteY2501" fmla="*/ 440954 h 4525940"/>
              <a:gd name="connsiteX2502" fmla="*/ 939829 w 4545947"/>
              <a:gd name="connsiteY2502" fmla="*/ 448867 h 4525940"/>
              <a:gd name="connsiteX2503" fmla="*/ 952502 w 4545947"/>
              <a:gd name="connsiteY2503" fmla="*/ 458179 h 4525940"/>
              <a:gd name="connsiteX2504" fmla="*/ 998543 w 4545947"/>
              <a:gd name="connsiteY2504" fmla="*/ 466092 h 4525940"/>
              <a:gd name="connsiteX2505" fmla="*/ 1037211 w 4545947"/>
              <a:gd name="connsiteY2505" fmla="*/ 469443 h 4525940"/>
              <a:gd name="connsiteX2506" fmla="*/ 1042254 w 4545947"/>
              <a:gd name="connsiteY2506" fmla="*/ 474191 h 4525940"/>
              <a:gd name="connsiteX2507" fmla="*/ 1046626 w 4545947"/>
              <a:gd name="connsiteY2507" fmla="*/ 467860 h 4525940"/>
              <a:gd name="connsiteX2508" fmla="*/ 1061114 w 4545947"/>
              <a:gd name="connsiteY2508" fmla="*/ 477356 h 4525940"/>
              <a:gd name="connsiteX2509" fmla="*/ 1086902 w 4545947"/>
              <a:gd name="connsiteY2509" fmla="*/ 480522 h 4525940"/>
              <a:gd name="connsiteX2510" fmla="*/ 1109378 w 4545947"/>
              <a:gd name="connsiteY2510" fmla="*/ 486853 h 4525940"/>
              <a:gd name="connsiteX2511" fmla="*/ 1118552 w 4545947"/>
              <a:gd name="connsiteY2511" fmla="*/ 505845 h 4525940"/>
              <a:gd name="connsiteX2512" fmla="*/ 1123152 w 4545947"/>
              <a:gd name="connsiteY2512" fmla="*/ 515629 h 4525940"/>
              <a:gd name="connsiteX2513" fmla="*/ 1134085 w 4545947"/>
              <a:gd name="connsiteY2513" fmla="*/ 541240 h 4525940"/>
              <a:gd name="connsiteX2514" fmla="*/ 1145017 w 4545947"/>
              <a:gd name="connsiteY2514" fmla="*/ 566276 h 4525940"/>
              <a:gd name="connsiteX2515" fmla="*/ 1149390 w 4545947"/>
              <a:gd name="connsiteY2515" fmla="*/ 575485 h 4525940"/>
              <a:gd name="connsiteX2516" fmla="*/ 1153763 w 4545947"/>
              <a:gd name="connsiteY2516" fmla="*/ 584382 h 4525940"/>
              <a:gd name="connsiteX2517" fmla="*/ 1187659 w 4545947"/>
              <a:gd name="connsiteY2517" fmla="*/ 652617 h 4525940"/>
              <a:gd name="connsiteX2518" fmla="*/ 1254340 w 4545947"/>
              <a:gd name="connsiteY2518" fmla="*/ 749518 h 4525940"/>
              <a:gd name="connsiteX2519" fmla="*/ 1290288 w 4545947"/>
              <a:gd name="connsiteY2519" fmla="*/ 794342 h 4525940"/>
              <a:gd name="connsiteX2520" fmla="*/ 1306344 w 4545947"/>
              <a:gd name="connsiteY2520" fmla="*/ 785189 h 4525940"/>
              <a:gd name="connsiteX2521" fmla="*/ 1331406 w 4545947"/>
              <a:gd name="connsiteY2521" fmla="*/ 768222 h 4525940"/>
              <a:gd name="connsiteX2522" fmla="*/ 1357220 w 4545947"/>
              <a:gd name="connsiteY2522" fmla="*/ 780642 h 4525940"/>
              <a:gd name="connsiteX2523" fmla="*/ 1371260 w 4545947"/>
              <a:gd name="connsiteY2523" fmla="*/ 797065 h 4525940"/>
              <a:gd name="connsiteX2524" fmla="*/ 1376782 w 4545947"/>
              <a:gd name="connsiteY2524" fmla="*/ 808745 h 4525940"/>
              <a:gd name="connsiteX2525" fmla="*/ 1397898 w 4545947"/>
              <a:gd name="connsiteY2525" fmla="*/ 841380 h 4525940"/>
              <a:gd name="connsiteX2526" fmla="*/ 1403566 w 4545947"/>
              <a:gd name="connsiteY2526" fmla="*/ 854042 h 4525940"/>
              <a:gd name="connsiteX2527" fmla="*/ 1413767 w 4545947"/>
              <a:gd name="connsiteY2527" fmla="*/ 888172 h 4525940"/>
              <a:gd name="connsiteX2528" fmla="*/ 1434326 w 4545947"/>
              <a:gd name="connsiteY2528" fmla="*/ 924237 h 4525940"/>
              <a:gd name="connsiteX2529" fmla="*/ 1455432 w 4545947"/>
              <a:gd name="connsiteY2529" fmla="*/ 930013 h 4525940"/>
              <a:gd name="connsiteX2530" fmla="*/ 1463906 w 4545947"/>
              <a:gd name="connsiteY2530" fmla="*/ 905557 h 4525940"/>
              <a:gd name="connsiteX2531" fmla="*/ 1458027 w 4545947"/>
              <a:gd name="connsiteY2531" fmla="*/ 873556 h 4525940"/>
              <a:gd name="connsiteX2532" fmla="*/ 1446749 w 4545947"/>
              <a:gd name="connsiteY2532" fmla="*/ 845782 h 4525940"/>
              <a:gd name="connsiteX2533" fmla="*/ 1442667 w 4545947"/>
              <a:gd name="connsiteY2533" fmla="*/ 835050 h 4525940"/>
              <a:gd name="connsiteX2534" fmla="*/ 1437200 w 4545947"/>
              <a:gd name="connsiteY2534" fmla="*/ 817640 h 4525940"/>
              <a:gd name="connsiteX2535" fmla="*/ 1425722 w 4545947"/>
              <a:gd name="connsiteY2535" fmla="*/ 798159 h 4525940"/>
              <a:gd name="connsiteX2536" fmla="*/ 1431370 w 4545947"/>
              <a:gd name="connsiteY2536" fmla="*/ 765466 h 4525940"/>
              <a:gd name="connsiteX2537" fmla="*/ 1448402 w 4545947"/>
              <a:gd name="connsiteY2537" fmla="*/ 734883 h 4525940"/>
              <a:gd name="connsiteX2538" fmla="*/ 1461812 w 4545947"/>
              <a:gd name="connsiteY2538" fmla="*/ 714763 h 4525940"/>
              <a:gd name="connsiteX2539" fmla="*/ 1475392 w 4545947"/>
              <a:gd name="connsiteY2539" fmla="*/ 708925 h 4525940"/>
              <a:gd name="connsiteX2540" fmla="*/ 1494907 w 4545947"/>
              <a:gd name="connsiteY2540" fmla="*/ 699006 h 4525940"/>
              <a:gd name="connsiteX2541" fmla="*/ 1520814 w 4545947"/>
              <a:gd name="connsiteY2541" fmla="*/ 711175 h 4525940"/>
              <a:gd name="connsiteX2542" fmla="*/ 1542953 w 4545947"/>
              <a:gd name="connsiteY2542" fmla="*/ 721094 h 4525940"/>
              <a:gd name="connsiteX2543" fmla="*/ 1548180 w 4545947"/>
              <a:gd name="connsiteY2543" fmla="*/ 714763 h 4525940"/>
              <a:gd name="connsiteX2544" fmla="*/ 1565543 w 4545947"/>
              <a:gd name="connsiteY2544" fmla="*/ 697931 h 4525940"/>
              <a:gd name="connsiteX2545" fmla="*/ 1580569 w 4545947"/>
              <a:gd name="connsiteY2545" fmla="*/ 692004 h 4525940"/>
              <a:gd name="connsiteX2546" fmla="*/ 1579083 w 4545947"/>
              <a:gd name="connsiteY2546" fmla="*/ 716815 h 4525940"/>
              <a:gd name="connsiteX2547" fmla="*/ 1593565 w 4545947"/>
              <a:gd name="connsiteY2547" fmla="*/ 743948 h 4525940"/>
              <a:gd name="connsiteX2548" fmla="*/ 1600588 w 4545947"/>
              <a:gd name="connsiteY2548" fmla="*/ 716198 h 4525940"/>
              <a:gd name="connsiteX2549" fmla="*/ 1604075 w 4545947"/>
              <a:gd name="connsiteY2549" fmla="*/ 676922 h 4525940"/>
              <a:gd name="connsiteX2550" fmla="*/ 1610336 w 4545947"/>
              <a:gd name="connsiteY2550" fmla="*/ 655404 h 4525940"/>
              <a:gd name="connsiteX2551" fmla="*/ 1627075 w 4545947"/>
              <a:gd name="connsiteY2551" fmla="*/ 651503 h 4525940"/>
              <a:gd name="connsiteX2552" fmla="*/ 1657724 w 4545947"/>
              <a:gd name="connsiteY2552" fmla="*/ 660732 h 4525940"/>
              <a:gd name="connsiteX2553" fmla="*/ 1680927 w 4545947"/>
              <a:gd name="connsiteY2553" fmla="*/ 665854 h 4525940"/>
              <a:gd name="connsiteX2554" fmla="*/ 1711891 w 4545947"/>
              <a:gd name="connsiteY2554" fmla="*/ 679332 h 4525940"/>
              <a:gd name="connsiteX2555" fmla="*/ 1757474 w 4545947"/>
              <a:gd name="connsiteY2555" fmla="*/ 699162 h 4525940"/>
              <a:gd name="connsiteX2556" fmla="*/ 1781191 w 4545947"/>
              <a:gd name="connsiteY2556" fmla="*/ 714763 h 4525940"/>
              <a:gd name="connsiteX2557" fmla="*/ 1787837 w 4545947"/>
              <a:gd name="connsiteY2557" fmla="*/ 720473 h 4525940"/>
              <a:gd name="connsiteX2558" fmla="*/ 1804133 w 4545947"/>
              <a:gd name="connsiteY2558" fmla="*/ 738427 h 4525940"/>
              <a:gd name="connsiteX2559" fmla="*/ 1823246 w 4545947"/>
              <a:gd name="connsiteY2559" fmla="*/ 770607 h 4525940"/>
              <a:gd name="connsiteX2560" fmla="*/ 1854936 w 4545947"/>
              <a:gd name="connsiteY2560" fmla="*/ 808560 h 4525940"/>
              <a:gd name="connsiteX2561" fmla="*/ 1874886 w 4545947"/>
              <a:gd name="connsiteY2561" fmla="*/ 818655 h 4525940"/>
              <a:gd name="connsiteX2562" fmla="*/ 1890018 w 4545947"/>
              <a:gd name="connsiteY2562" fmla="*/ 835050 h 4525940"/>
              <a:gd name="connsiteX2563" fmla="*/ 1924029 w 4545947"/>
              <a:gd name="connsiteY2563" fmla="*/ 879848 h 4525940"/>
              <a:gd name="connsiteX2564" fmla="*/ 1970767 w 4545947"/>
              <a:gd name="connsiteY2564" fmla="*/ 928208 h 4525940"/>
              <a:gd name="connsiteX2565" fmla="*/ 1992216 w 4545947"/>
              <a:gd name="connsiteY2565" fmla="*/ 937930 h 4525940"/>
              <a:gd name="connsiteX2566" fmla="*/ 2004549 w 4545947"/>
              <a:gd name="connsiteY2566" fmla="*/ 940246 h 4525940"/>
              <a:gd name="connsiteX2567" fmla="*/ 2000233 w 4545947"/>
              <a:gd name="connsiteY2567" fmla="*/ 905653 h 4525940"/>
              <a:gd name="connsiteX2568" fmla="*/ 1980246 w 4545947"/>
              <a:gd name="connsiteY2568" fmla="*/ 879818 h 4525940"/>
              <a:gd name="connsiteX2569" fmla="*/ 2000661 w 4545947"/>
              <a:gd name="connsiteY2569" fmla="*/ 880614 h 4525940"/>
              <a:gd name="connsiteX2570" fmla="*/ 2028302 w 4545947"/>
              <a:gd name="connsiteY2570" fmla="*/ 869933 h 4525940"/>
              <a:gd name="connsiteX2571" fmla="*/ 2041467 w 4545947"/>
              <a:gd name="connsiteY2571" fmla="*/ 837031 h 4525940"/>
              <a:gd name="connsiteX2572" fmla="*/ 2048027 w 4545947"/>
              <a:gd name="connsiteY2572" fmla="*/ 822388 h 4525940"/>
              <a:gd name="connsiteX2573" fmla="*/ 2054585 w 4545947"/>
              <a:gd name="connsiteY2573" fmla="*/ 828761 h 4525940"/>
              <a:gd name="connsiteX2574" fmla="*/ 2065253 w 4545947"/>
              <a:gd name="connsiteY2574" fmla="*/ 848562 h 4525940"/>
              <a:gd name="connsiteX2575" fmla="*/ 2069492 w 4545947"/>
              <a:gd name="connsiteY2575" fmla="*/ 876195 h 4525940"/>
              <a:gd name="connsiteX2576" fmla="*/ 2078502 w 4545947"/>
              <a:gd name="connsiteY2576" fmla="*/ 901007 h 4525940"/>
              <a:gd name="connsiteX2577" fmla="*/ 2093942 w 4545947"/>
              <a:gd name="connsiteY2577" fmla="*/ 917648 h 4525940"/>
              <a:gd name="connsiteX2578" fmla="*/ 2100502 w 4545947"/>
              <a:gd name="connsiteY2578" fmla="*/ 923682 h 4525940"/>
              <a:gd name="connsiteX2579" fmla="*/ 2103714 w 4545947"/>
              <a:gd name="connsiteY2579" fmla="*/ 946427 h 4525940"/>
              <a:gd name="connsiteX2580" fmla="*/ 2086036 w 4545947"/>
              <a:gd name="connsiteY2580" fmla="*/ 957421 h 4525940"/>
              <a:gd name="connsiteX2581" fmla="*/ 2063661 w 4545947"/>
              <a:gd name="connsiteY2581" fmla="*/ 987546 h 4525940"/>
              <a:gd name="connsiteX2582" fmla="*/ 2067637 w 4545947"/>
              <a:gd name="connsiteY2582" fmla="*/ 1028317 h 4525940"/>
              <a:gd name="connsiteX2583" fmla="*/ 2093992 w 4545947"/>
              <a:gd name="connsiteY2583" fmla="*/ 1081953 h 4525940"/>
              <a:gd name="connsiteX2584" fmla="*/ 2102688 w 4545947"/>
              <a:gd name="connsiteY2584" fmla="*/ 1100171 h 4525940"/>
              <a:gd name="connsiteX2585" fmla="*/ 2123679 w 4545947"/>
              <a:gd name="connsiteY2585" fmla="*/ 1123892 h 4525940"/>
              <a:gd name="connsiteX2586" fmla="*/ 2129992 w 4545947"/>
              <a:gd name="connsiteY2586" fmla="*/ 1070902 h 4525940"/>
              <a:gd name="connsiteX2587" fmla="*/ 2124526 w 4545947"/>
              <a:gd name="connsiteY2587" fmla="*/ 1022405 h 4525940"/>
              <a:gd name="connsiteX2588" fmla="*/ 2126739 w 4545947"/>
              <a:gd name="connsiteY2588" fmla="*/ 980659 h 4525940"/>
              <a:gd name="connsiteX2589" fmla="*/ 2128791 w 4545947"/>
              <a:gd name="connsiteY2589" fmla="*/ 945720 h 4525940"/>
              <a:gd name="connsiteX2590" fmla="*/ 2127020 w 4545947"/>
              <a:gd name="connsiteY2590" fmla="*/ 920573 h 4525940"/>
              <a:gd name="connsiteX2591" fmla="*/ 2126714 w 4545947"/>
              <a:gd name="connsiteY2591" fmla="*/ 885583 h 4525940"/>
              <a:gd name="connsiteX2592" fmla="*/ 2111163 w 4545947"/>
              <a:gd name="connsiteY2592" fmla="*/ 875329 h 4525940"/>
              <a:gd name="connsiteX2593" fmla="*/ 2098244 w 4545947"/>
              <a:gd name="connsiteY2593" fmla="*/ 863602 h 4525940"/>
              <a:gd name="connsiteX2594" fmla="*/ 2098315 w 4545947"/>
              <a:gd name="connsiteY2594" fmla="*/ 822388 h 4525940"/>
              <a:gd name="connsiteX2595" fmla="*/ 2093942 w 4545947"/>
              <a:gd name="connsiteY2595" fmla="*/ 803395 h 4525940"/>
              <a:gd name="connsiteX2596" fmla="*/ 2098662 w 4545947"/>
              <a:gd name="connsiteY2596" fmla="*/ 784403 h 4525940"/>
              <a:gd name="connsiteX2597" fmla="*/ 2100683 w 4545947"/>
              <a:gd name="connsiteY2597" fmla="*/ 766608 h 4525940"/>
              <a:gd name="connsiteX2598" fmla="*/ 2107989 w 4545947"/>
              <a:gd name="connsiteY2598" fmla="*/ 741548 h 4525940"/>
              <a:gd name="connsiteX2599" fmla="*/ 2128925 w 4545947"/>
              <a:gd name="connsiteY2599" fmla="*/ 732437 h 4525940"/>
              <a:gd name="connsiteX2600" fmla="*/ 2141241 w 4545947"/>
              <a:gd name="connsiteY2600" fmla="*/ 713181 h 4525940"/>
              <a:gd name="connsiteX2601" fmla="*/ 2153554 w 4545947"/>
              <a:gd name="connsiteY2601" fmla="*/ 695771 h 4525940"/>
              <a:gd name="connsiteX2602" fmla="*/ 2172084 w 4545947"/>
              <a:gd name="connsiteY2602" fmla="*/ 689882 h 4525940"/>
              <a:gd name="connsiteX2603" fmla="*/ 2185988 w 4545947"/>
              <a:gd name="connsiteY2603" fmla="*/ 689631 h 4525940"/>
              <a:gd name="connsiteX2604" fmla="*/ 2183565 w 4545947"/>
              <a:gd name="connsiteY2604" fmla="*/ 704816 h 4525940"/>
              <a:gd name="connsiteX2605" fmla="*/ 2181442 w 4545947"/>
              <a:gd name="connsiteY2605" fmla="*/ 714562 h 4525940"/>
              <a:gd name="connsiteX2606" fmla="*/ 2193271 w 4545947"/>
              <a:gd name="connsiteY2606" fmla="*/ 702641 h 4525940"/>
              <a:gd name="connsiteX2607" fmla="*/ 2179214 w 4545947"/>
              <a:gd name="connsiteY2607" fmla="*/ 675840 h 4525940"/>
              <a:gd name="connsiteX2608" fmla="*/ 2166151 w 4545947"/>
              <a:gd name="connsiteY2608" fmla="*/ 659332 h 4525940"/>
              <a:gd name="connsiteX2609" fmla="*/ 2158499 w 4545947"/>
              <a:gd name="connsiteY2609" fmla="*/ 645124 h 4525940"/>
              <a:gd name="connsiteX2610" fmla="*/ 2155163 w 4545947"/>
              <a:gd name="connsiteY2610" fmla="*/ 635628 h 4525940"/>
              <a:gd name="connsiteX2611" fmla="*/ 2184048 w 4545947"/>
              <a:gd name="connsiteY2611" fmla="*/ 643278 h 4525940"/>
              <a:gd name="connsiteX2612" fmla="*/ 2202425 w 4545947"/>
              <a:gd name="connsiteY2612" fmla="*/ 653711 h 4525940"/>
              <a:gd name="connsiteX2613" fmla="*/ 2203453 w 4545947"/>
              <a:gd name="connsiteY2613" fmla="*/ 607453 h 4525940"/>
              <a:gd name="connsiteX2614" fmla="*/ 2200610 w 4545947"/>
              <a:gd name="connsiteY2614" fmla="*/ 581815 h 4525940"/>
              <a:gd name="connsiteX2615" fmla="*/ 2209356 w 4545947"/>
              <a:gd name="connsiteY2615" fmla="*/ 571802 h 4525940"/>
              <a:gd name="connsiteX2616" fmla="*/ 2207638 w 4545947"/>
              <a:gd name="connsiteY2616" fmla="*/ 537499 h 4525940"/>
              <a:gd name="connsiteX2617" fmla="*/ 2211777 w 4545947"/>
              <a:gd name="connsiteY2617" fmla="*/ 512421 h 4525940"/>
              <a:gd name="connsiteX2618" fmla="*/ 2218439 w 4545947"/>
              <a:gd name="connsiteY2618" fmla="*/ 499207 h 4525940"/>
              <a:gd name="connsiteX2619" fmla="*/ 2245369 w 4545947"/>
              <a:gd name="connsiteY2619" fmla="*/ 471396 h 4525940"/>
              <a:gd name="connsiteX2620" fmla="*/ 2261834 w 4545947"/>
              <a:gd name="connsiteY2620" fmla="*/ 483257 h 4525940"/>
              <a:gd name="connsiteX2621" fmla="*/ 2292979 w 4545947"/>
              <a:gd name="connsiteY2621" fmla="*/ 497282 h 4525940"/>
              <a:gd name="connsiteX2622" fmla="*/ 2323798 w 4545947"/>
              <a:gd name="connsiteY2622" fmla="*/ 505194 h 4525940"/>
              <a:gd name="connsiteX2623" fmla="*/ 2333912 w 4545947"/>
              <a:gd name="connsiteY2623" fmla="*/ 537499 h 4525940"/>
              <a:gd name="connsiteX2624" fmla="*/ 2350016 w 4545947"/>
              <a:gd name="connsiteY2624" fmla="*/ 528204 h 4525940"/>
              <a:gd name="connsiteX2625" fmla="*/ 2368343 w 4545947"/>
              <a:gd name="connsiteY2625" fmla="*/ 518708 h 4525940"/>
              <a:gd name="connsiteX2626" fmla="*/ 2378182 w 4545947"/>
              <a:gd name="connsiteY2626" fmla="*/ 512176 h 4525940"/>
              <a:gd name="connsiteX2627" fmla="*/ 2384742 w 4545947"/>
              <a:gd name="connsiteY2627" fmla="*/ 505845 h 4525940"/>
              <a:gd name="connsiteX2628" fmla="*/ 2391301 w 4545947"/>
              <a:gd name="connsiteY2628" fmla="*/ 499514 h 4525940"/>
              <a:gd name="connsiteX2629" fmla="*/ 2397860 w 4545947"/>
              <a:gd name="connsiteY2629" fmla="*/ 493183 h 4525940"/>
              <a:gd name="connsiteX2630" fmla="*/ 2404419 w 4545947"/>
              <a:gd name="connsiteY2630" fmla="*/ 505472 h 4525940"/>
              <a:gd name="connsiteX2631" fmla="*/ 2421950 w 4545947"/>
              <a:gd name="connsiteY2631" fmla="*/ 521654 h 4525940"/>
              <a:gd name="connsiteX2632" fmla="*/ 2430657 w 4545947"/>
              <a:gd name="connsiteY2632" fmla="*/ 502253 h 4525940"/>
              <a:gd name="connsiteX2633" fmla="*/ 2444767 w 4545947"/>
              <a:gd name="connsiteY2633" fmla="*/ 494323 h 4525940"/>
              <a:gd name="connsiteX2634" fmla="*/ 2464298 w 4545947"/>
              <a:gd name="connsiteY2634" fmla="*/ 482248 h 4525940"/>
              <a:gd name="connsiteX2635" fmla="*/ 2475130 w 4545947"/>
              <a:gd name="connsiteY2635" fmla="*/ 455927 h 4525940"/>
              <a:gd name="connsiteX2636" fmla="*/ 2476573 w 4545947"/>
              <a:gd name="connsiteY2636" fmla="*/ 413172 h 4525940"/>
              <a:gd name="connsiteX2637" fmla="*/ 2470013 w 4545947"/>
              <a:gd name="connsiteY2637" fmla="*/ 387848 h 4525940"/>
              <a:gd name="connsiteX2638" fmla="*/ 2463454 w 4545947"/>
              <a:gd name="connsiteY2638" fmla="*/ 362525 h 4525940"/>
              <a:gd name="connsiteX2639" fmla="*/ 2456929 w 4545947"/>
              <a:gd name="connsiteY2639" fmla="*/ 342148 h 4525940"/>
              <a:gd name="connsiteX2640" fmla="*/ 2492750 w 4545947"/>
              <a:gd name="connsiteY2640" fmla="*/ 309588 h 4525940"/>
              <a:gd name="connsiteX2641" fmla="*/ 2504997 w 4545947"/>
              <a:gd name="connsiteY2641" fmla="*/ 303258 h 4525940"/>
              <a:gd name="connsiteX2642" fmla="*/ 2521291 w 4545947"/>
              <a:gd name="connsiteY2642" fmla="*/ 309165 h 4525940"/>
              <a:gd name="connsiteX2643" fmla="*/ 2519063 w 4545947"/>
              <a:gd name="connsiteY2643" fmla="*/ 323689 h 4525940"/>
              <a:gd name="connsiteX2644" fmla="*/ 2534825 w 4545947"/>
              <a:gd name="connsiteY2644" fmla="*/ 326930 h 4525940"/>
              <a:gd name="connsiteX2645" fmla="*/ 2562584 w 4545947"/>
              <a:gd name="connsiteY2645" fmla="*/ 309240 h 4525940"/>
              <a:gd name="connsiteX2646" fmla="*/ 2596446 w 4545947"/>
              <a:gd name="connsiteY2646" fmla="*/ 301675 h 4525940"/>
              <a:gd name="connsiteX2647" fmla="*/ 2609919 w 4545947"/>
              <a:gd name="connsiteY2647" fmla="*/ 326625 h 4525940"/>
              <a:gd name="connsiteX2648" fmla="*/ 2629424 w 4545947"/>
              <a:gd name="connsiteY2648" fmla="*/ 343915 h 4525940"/>
              <a:gd name="connsiteX2649" fmla="*/ 2640558 w 4545947"/>
              <a:gd name="connsiteY2649" fmla="*/ 312290 h 4525940"/>
              <a:gd name="connsiteX2650" fmla="*/ 2649304 w 4545947"/>
              <a:gd name="connsiteY2650" fmla="*/ 277934 h 4525940"/>
              <a:gd name="connsiteX2651" fmla="*/ 2658050 w 4545947"/>
              <a:gd name="connsiteY2651" fmla="*/ 254876 h 4525940"/>
              <a:gd name="connsiteX2652" fmla="*/ 2665163 w 4545947"/>
              <a:gd name="connsiteY2652" fmla="*/ 242546 h 4525940"/>
              <a:gd name="connsiteX2653" fmla="*/ 2678281 w 4545947"/>
              <a:gd name="connsiteY2653" fmla="*/ 239283 h 4525940"/>
              <a:gd name="connsiteX2654" fmla="*/ 2679914 w 4545947"/>
              <a:gd name="connsiteY2654" fmla="*/ 201964 h 4525940"/>
              <a:gd name="connsiteX2655" fmla="*/ 2682494 w 4545947"/>
              <a:gd name="connsiteY2655" fmla="*/ 169679 h 4525940"/>
              <a:gd name="connsiteX2656" fmla="*/ 2670873 w 4545947"/>
              <a:gd name="connsiteY2656" fmla="*/ 132325 h 4525940"/>
              <a:gd name="connsiteX2657" fmla="*/ 2671168 w 4545947"/>
              <a:gd name="connsiteY2657" fmla="*/ 107001 h 4525940"/>
              <a:gd name="connsiteX2658" fmla="*/ 2684287 w 4545947"/>
              <a:gd name="connsiteY2658" fmla="*/ 87927 h 4525940"/>
              <a:gd name="connsiteX2659" fmla="*/ 2695219 w 4545947"/>
              <a:gd name="connsiteY2659" fmla="*/ 72747 h 4525940"/>
              <a:gd name="connsiteX2660" fmla="*/ 2706152 w 4545947"/>
              <a:gd name="connsiteY2660" fmla="*/ 63442 h 4525940"/>
              <a:gd name="connsiteX2661" fmla="*/ 2732792 w 4545947"/>
              <a:gd name="connsiteY2661" fmla="*/ 72882 h 4525940"/>
              <a:gd name="connsiteX2662" fmla="*/ 2747762 w 4545947"/>
              <a:gd name="connsiteY2662" fmla="*/ 81678 h 4525940"/>
              <a:gd name="connsiteX2663" fmla="*/ 2760208 w 4545947"/>
              <a:gd name="connsiteY2663" fmla="*/ 91174 h 4525940"/>
              <a:gd name="connsiteX2664" fmla="*/ 2773795 w 4545947"/>
              <a:gd name="connsiteY2664" fmla="*/ 100670 h 4525940"/>
              <a:gd name="connsiteX2665" fmla="*/ 2784864 w 4545947"/>
              <a:gd name="connsiteY2665" fmla="*/ 113531 h 4525940"/>
              <a:gd name="connsiteX2666" fmla="*/ 2806176 w 4545947"/>
              <a:gd name="connsiteY2666" fmla="*/ 127943 h 4525940"/>
              <a:gd name="connsiteX2667" fmla="*/ 2811807 w 4545947"/>
              <a:gd name="connsiteY2667" fmla="*/ 98446 h 4525940"/>
              <a:gd name="connsiteX2668" fmla="*/ 2815434 w 4545947"/>
              <a:gd name="connsiteY2668" fmla="*/ 75347 h 4525940"/>
              <a:gd name="connsiteX2669" fmla="*/ 2817964 w 4545947"/>
              <a:gd name="connsiteY2669" fmla="*/ 64068 h 4525940"/>
              <a:gd name="connsiteX2670" fmla="*/ 2827881 w 4545947"/>
              <a:gd name="connsiteY2670" fmla="*/ 46020 h 4525940"/>
              <a:gd name="connsiteX2671" fmla="*/ 2867950 w 4545947"/>
              <a:gd name="connsiteY2671" fmla="*/ 53908 h 4525940"/>
              <a:gd name="connsiteX2672" fmla="*/ 2872323 w 4545947"/>
              <a:gd name="connsiteY2672" fmla="*/ 62685 h 4525940"/>
              <a:gd name="connsiteX2673" fmla="*/ 2876696 w 4545947"/>
              <a:gd name="connsiteY2673" fmla="*/ 71983 h 4525940"/>
              <a:gd name="connsiteX2674" fmla="*/ 2883143 w 4545947"/>
              <a:gd name="connsiteY2674" fmla="*/ 77698 h 4525940"/>
              <a:gd name="connsiteX2675" fmla="*/ 2915810 w 4545947"/>
              <a:gd name="connsiteY2675" fmla="*/ 113898 h 4525940"/>
              <a:gd name="connsiteX2676" fmla="*/ 2904913 w 4545947"/>
              <a:gd name="connsiteY2676" fmla="*/ 131308 h 4525940"/>
              <a:gd name="connsiteX2677" fmla="*/ 2889815 w 4545947"/>
              <a:gd name="connsiteY2677" fmla="*/ 130128 h 4525940"/>
              <a:gd name="connsiteX2678" fmla="*/ 2868756 w 4545947"/>
              <a:gd name="connsiteY2678" fmla="*/ 96783 h 4525940"/>
              <a:gd name="connsiteX2679" fmla="*/ 2861989 w 4545947"/>
              <a:gd name="connsiteY2679" fmla="*/ 125162 h 4525940"/>
              <a:gd name="connsiteX2680" fmla="*/ 2852669 w 4545947"/>
              <a:gd name="connsiteY2680" fmla="*/ 153593 h 4525940"/>
              <a:gd name="connsiteX2681" fmla="*/ 2864473 w 4545947"/>
              <a:gd name="connsiteY2681" fmla="*/ 230956 h 4525940"/>
              <a:gd name="connsiteX2682" fmla="*/ 2877958 w 4545947"/>
              <a:gd name="connsiteY2682" fmla="*/ 271677 h 4525940"/>
              <a:gd name="connsiteX2683" fmla="*/ 2896480 w 4545947"/>
              <a:gd name="connsiteY2683" fmla="*/ 310278 h 4525940"/>
              <a:gd name="connsiteX2684" fmla="*/ 2930626 w 4545947"/>
              <a:gd name="connsiteY2684" fmla="*/ 305922 h 4525940"/>
              <a:gd name="connsiteX2685" fmla="*/ 2918213 w 4545947"/>
              <a:gd name="connsiteY2685" fmla="*/ 271603 h 4525940"/>
              <a:gd name="connsiteX2686" fmla="*/ 2905690 w 4545947"/>
              <a:gd name="connsiteY2686" fmla="*/ 257359 h 4525940"/>
              <a:gd name="connsiteX2687" fmla="*/ 2913711 w 4545947"/>
              <a:gd name="connsiteY2687" fmla="*/ 233618 h 4525940"/>
              <a:gd name="connsiteX2688" fmla="*/ 2930337 w 4545947"/>
              <a:gd name="connsiteY2688" fmla="*/ 190885 h 4525940"/>
              <a:gd name="connsiteX2689" fmla="*/ 2934767 w 4545947"/>
              <a:gd name="connsiteY2689" fmla="*/ 170310 h 4525940"/>
              <a:gd name="connsiteX2690" fmla="*/ 2941378 w 4545947"/>
              <a:gd name="connsiteY2690" fmla="*/ 194420 h 4525940"/>
              <a:gd name="connsiteX2691" fmla="*/ 2952827 w 4545947"/>
              <a:gd name="connsiteY2691" fmla="*/ 205440 h 4525940"/>
              <a:gd name="connsiteX2692" fmla="*/ 2977447 w 4545947"/>
              <a:gd name="connsiteY2692" fmla="*/ 198569 h 4525940"/>
              <a:gd name="connsiteX2693" fmla="*/ 2967852 w 4545947"/>
              <a:gd name="connsiteY2693" fmla="*/ 132854 h 4525940"/>
              <a:gd name="connsiteX2694" fmla="*/ 2962222 w 4545947"/>
              <a:gd name="connsiteY2694" fmla="*/ 88008 h 4525940"/>
              <a:gd name="connsiteX2695" fmla="*/ 2985873 w 4545947"/>
              <a:gd name="connsiteY2695" fmla="*/ 51606 h 4525940"/>
              <a:gd name="connsiteX2696" fmla="*/ 3000606 w 4545947"/>
              <a:gd name="connsiteY2696" fmla="*/ 43693 h 4525940"/>
              <a:gd name="connsiteX2697" fmla="*/ 3031196 w 4545947"/>
              <a:gd name="connsiteY2697" fmla="*/ 69498 h 4525940"/>
              <a:gd name="connsiteX2698" fmla="*/ 3053778 w 4545947"/>
              <a:gd name="connsiteY2698" fmla="*/ 85778 h 4525940"/>
              <a:gd name="connsiteX2699" fmla="*/ 3055111 w 4545947"/>
              <a:gd name="connsiteY2699" fmla="*/ 51289 h 4525940"/>
              <a:gd name="connsiteX2700" fmla="*/ 3055383 w 4545947"/>
              <a:gd name="connsiteY2700" fmla="*/ 35779 h 4525940"/>
              <a:gd name="connsiteX2701" fmla="*/ 3064829 w 4545947"/>
              <a:gd name="connsiteY2701" fmla="*/ 37931 h 4525940"/>
              <a:gd name="connsiteX2702" fmla="*/ 3095119 w 4545947"/>
              <a:gd name="connsiteY2702" fmla="*/ 77459 h 4525940"/>
              <a:gd name="connsiteX2703" fmla="*/ 3107184 w 4545947"/>
              <a:gd name="connsiteY2703" fmla="*/ 111877 h 4525940"/>
              <a:gd name="connsiteX2704" fmla="*/ 3104088 w 4545947"/>
              <a:gd name="connsiteY2704" fmla="*/ 144986 h 4525940"/>
              <a:gd name="connsiteX2705" fmla="*/ 3108461 w 4545947"/>
              <a:gd name="connsiteY2705" fmla="*/ 160439 h 4525940"/>
              <a:gd name="connsiteX2706" fmla="*/ 3112834 w 4545947"/>
              <a:gd name="connsiteY2706" fmla="*/ 179806 h 4525940"/>
              <a:gd name="connsiteX2707" fmla="*/ 3117207 w 4545947"/>
              <a:gd name="connsiteY2707" fmla="*/ 205817 h 4525940"/>
              <a:gd name="connsiteX2708" fmla="*/ 3131860 w 4545947"/>
              <a:gd name="connsiteY2708" fmla="*/ 249759 h 4525940"/>
              <a:gd name="connsiteX2709" fmla="*/ 3152055 w 4545947"/>
              <a:gd name="connsiteY2709" fmla="*/ 271603 h 4525940"/>
              <a:gd name="connsiteX2710" fmla="*/ 3172536 w 4545947"/>
              <a:gd name="connsiteY2710" fmla="*/ 290596 h 4525940"/>
              <a:gd name="connsiteX2711" fmla="*/ 3211850 w 4545947"/>
              <a:gd name="connsiteY2711" fmla="*/ 300011 h 4525940"/>
              <a:gd name="connsiteX2712" fmla="*/ 3208838 w 4545947"/>
              <a:gd name="connsiteY2712" fmla="*/ 280750 h 4525940"/>
              <a:gd name="connsiteX2713" fmla="*/ 3218659 w 4545947"/>
              <a:gd name="connsiteY2713" fmla="*/ 264006 h 4525940"/>
              <a:gd name="connsiteX2714" fmla="*/ 3255173 w 4545947"/>
              <a:gd name="connsiteY2714" fmla="*/ 265724 h 4525940"/>
              <a:gd name="connsiteX2715" fmla="*/ 3274632 w 4545947"/>
              <a:gd name="connsiteY2715" fmla="*/ 257810 h 4525940"/>
              <a:gd name="connsiteX2716" fmla="*/ 3291320 w 4545947"/>
              <a:gd name="connsiteY2716" fmla="*/ 238366 h 4525940"/>
              <a:gd name="connsiteX2717" fmla="*/ 3301297 w 4545947"/>
              <a:gd name="connsiteY2717" fmla="*/ 220957 h 4525940"/>
              <a:gd name="connsiteX2718" fmla="*/ 3310575 w 4545947"/>
              <a:gd name="connsiteY2718" fmla="*/ 189177 h 4525940"/>
              <a:gd name="connsiteX2719" fmla="*/ 3319179 w 4545947"/>
              <a:gd name="connsiteY2719" fmla="*/ 174188 h 4525940"/>
              <a:gd name="connsiteX2720" fmla="*/ 3375209 w 4545947"/>
              <a:gd name="connsiteY2720" fmla="*/ 204754 h 4525940"/>
              <a:gd name="connsiteX2721" fmla="*/ 3386141 w 4545947"/>
              <a:gd name="connsiteY2721" fmla="*/ 233618 h 4525940"/>
              <a:gd name="connsiteX2722" fmla="*/ 3397074 w 4545947"/>
              <a:gd name="connsiteY2722" fmla="*/ 258990 h 4525940"/>
              <a:gd name="connsiteX2723" fmla="*/ 3408988 w 4545947"/>
              <a:gd name="connsiteY2723" fmla="*/ 267922 h 4525940"/>
              <a:gd name="connsiteX2724" fmla="*/ 3435701 w 4545947"/>
              <a:gd name="connsiteY2724" fmla="*/ 272440 h 4525940"/>
              <a:gd name="connsiteX2725" fmla="*/ 3447468 w 4545947"/>
              <a:gd name="connsiteY2725" fmla="*/ 277934 h 4525940"/>
              <a:gd name="connsiteX2726" fmla="*/ 3460481 w 4545947"/>
              <a:gd name="connsiteY2726" fmla="*/ 284265 h 4525940"/>
              <a:gd name="connsiteX2727" fmla="*/ 3473871 w 4545947"/>
              <a:gd name="connsiteY2727" fmla="*/ 290596 h 4525940"/>
              <a:gd name="connsiteX2728" fmla="*/ 3492137 w 4545947"/>
              <a:gd name="connsiteY2728" fmla="*/ 265273 h 4525940"/>
              <a:gd name="connsiteX2729" fmla="*/ 3502962 w 4545947"/>
              <a:gd name="connsiteY2729" fmla="*/ 239949 h 4525940"/>
              <a:gd name="connsiteX2730" fmla="*/ 3501086 w 4545947"/>
              <a:gd name="connsiteY2730" fmla="*/ 223668 h 4525940"/>
              <a:gd name="connsiteX2731" fmla="*/ 3500590 w 4545947"/>
              <a:gd name="connsiteY2731" fmla="*/ 203093 h 4525940"/>
              <a:gd name="connsiteX2732" fmla="*/ 3504512 w 4545947"/>
              <a:gd name="connsiteY2732" fmla="*/ 166435 h 4525940"/>
              <a:gd name="connsiteX2733" fmla="*/ 3497651 w 4545947"/>
              <a:gd name="connsiteY2733" fmla="*/ 148250 h 4525940"/>
              <a:gd name="connsiteX2734" fmla="*/ 3491091 w 4545947"/>
              <a:gd name="connsiteY2734" fmla="*/ 125994 h 4525940"/>
              <a:gd name="connsiteX2735" fmla="*/ 3484532 w 4545947"/>
              <a:gd name="connsiteY2735" fmla="*/ 103434 h 4525940"/>
              <a:gd name="connsiteX2736" fmla="*/ 3480160 w 4545947"/>
              <a:gd name="connsiteY2736" fmla="*/ 84843 h 4525940"/>
              <a:gd name="connsiteX2737" fmla="*/ 3475787 w 4545947"/>
              <a:gd name="connsiteY2737" fmla="*/ 47161 h 4525940"/>
              <a:gd name="connsiteX2738" fmla="*/ 3482704 w 4545947"/>
              <a:gd name="connsiteY2738" fmla="*/ 9550 h 4525940"/>
              <a:gd name="connsiteX2739" fmla="*/ 3491456 w 4545947"/>
              <a:gd name="connsiteY2739" fmla="*/ 6650 h 4525940"/>
              <a:gd name="connsiteX2740" fmla="*/ 3226906 w 4545947"/>
              <a:gd name="connsiteY2740" fmla="*/ 1812 h 4525940"/>
              <a:gd name="connsiteX2741" fmla="*/ 3254236 w 4545947"/>
              <a:gd name="connsiteY2741" fmla="*/ 13687 h 4525940"/>
              <a:gd name="connsiteX2742" fmla="*/ 3265886 w 4545947"/>
              <a:gd name="connsiteY2742" fmla="*/ 33553 h 4525940"/>
              <a:gd name="connsiteX2743" fmla="*/ 3253280 w 4545947"/>
              <a:gd name="connsiteY2743" fmla="*/ 55628 h 4525940"/>
              <a:gd name="connsiteX2744" fmla="*/ 3207342 w 4545947"/>
              <a:gd name="connsiteY2744" fmla="*/ 72250 h 4525940"/>
              <a:gd name="connsiteX2745" fmla="*/ 3158240 w 4545947"/>
              <a:gd name="connsiteY2745" fmla="*/ 64477 h 4525940"/>
              <a:gd name="connsiteX2746" fmla="*/ 3154454 w 4545947"/>
              <a:gd name="connsiteY2746" fmla="*/ 89245 h 4525940"/>
              <a:gd name="connsiteX2747" fmla="*/ 3137765 w 4545947"/>
              <a:gd name="connsiteY2747" fmla="*/ 109330 h 4525940"/>
              <a:gd name="connsiteX2748" fmla="*/ 3139154 w 4545947"/>
              <a:gd name="connsiteY2748" fmla="*/ 81678 h 4525940"/>
              <a:gd name="connsiteX2749" fmla="*/ 3140877 w 4545947"/>
              <a:gd name="connsiteY2749" fmla="*/ 65909 h 4525940"/>
              <a:gd name="connsiteX2750" fmla="*/ 3146260 w 4545947"/>
              <a:gd name="connsiteY2750" fmla="*/ 46455 h 4525940"/>
              <a:gd name="connsiteX2751" fmla="*/ 3161969 w 4545947"/>
              <a:gd name="connsiteY2751" fmla="*/ 36900 h 4525940"/>
              <a:gd name="connsiteX2752" fmla="*/ 3176182 w 4545947"/>
              <a:gd name="connsiteY2752" fmla="*/ 31031 h 4525940"/>
              <a:gd name="connsiteX2753" fmla="*/ 3182801 w 4545947"/>
              <a:gd name="connsiteY2753" fmla="*/ 18369 h 4525940"/>
              <a:gd name="connsiteX2754" fmla="*/ 3197012 w 4545947"/>
              <a:gd name="connsiteY2754" fmla="*/ 5637 h 4525940"/>
              <a:gd name="connsiteX2755" fmla="*/ 3226906 w 4545947"/>
              <a:gd name="connsiteY2755" fmla="*/ 1812 h 4525940"/>
              <a:gd name="connsiteX2756" fmla="*/ 3353505 w 4545947"/>
              <a:gd name="connsiteY2756" fmla="*/ 1044 h 4525940"/>
              <a:gd name="connsiteX2757" fmla="*/ 3364731 w 4545947"/>
              <a:gd name="connsiteY2757" fmla="*/ 45612 h 4525940"/>
              <a:gd name="connsiteX2758" fmla="*/ 3360436 w 4545947"/>
              <a:gd name="connsiteY2758" fmla="*/ 99424 h 4525940"/>
              <a:gd name="connsiteX2759" fmla="*/ 3342412 w 4545947"/>
              <a:gd name="connsiteY2759" fmla="*/ 100670 h 4525940"/>
              <a:gd name="connsiteX2760" fmla="*/ 3329571 w 4545947"/>
              <a:gd name="connsiteY2760" fmla="*/ 94339 h 4525940"/>
              <a:gd name="connsiteX2761" fmla="*/ 3313988 w 4545947"/>
              <a:gd name="connsiteY2761" fmla="*/ 84843 h 4525940"/>
              <a:gd name="connsiteX2762" fmla="*/ 3300334 w 4545947"/>
              <a:gd name="connsiteY2762" fmla="*/ 75347 h 4525940"/>
              <a:gd name="connsiteX2763" fmla="*/ 3292124 w 4545947"/>
              <a:gd name="connsiteY2763" fmla="*/ 70517 h 4525940"/>
              <a:gd name="connsiteX2764" fmla="*/ 3282285 w 4545947"/>
              <a:gd name="connsiteY2764" fmla="*/ 59438 h 4525940"/>
              <a:gd name="connsiteX2765" fmla="*/ 3296497 w 4545947"/>
              <a:gd name="connsiteY2765" fmla="*/ 27663 h 4525940"/>
              <a:gd name="connsiteX2766" fmla="*/ 3337481 w 4545947"/>
              <a:gd name="connsiteY2766" fmla="*/ 10254 h 4525940"/>
              <a:gd name="connsiteX2767" fmla="*/ 3353505 w 4545947"/>
              <a:gd name="connsiteY2767" fmla="*/ 1044 h 452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Lst>
            <a:rect l="l" t="t" r="r" b="b"/>
            <a:pathLst>
              <a:path w="4545947" h="4525940">
                <a:moveTo>
                  <a:pt x="1260900" y="4513278"/>
                </a:moveTo>
                <a:cubicBezTo>
                  <a:pt x="1264507" y="4513278"/>
                  <a:pt x="1267459" y="4516127"/>
                  <a:pt x="1267459" y="4519609"/>
                </a:cubicBezTo>
                <a:cubicBezTo>
                  <a:pt x="1267459" y="4523091"/>
                  <a:pt x="1264507" y="4525940"/>
                  <a:pt x="1260900" y="4525940"/>
                </a:cubicBezTo>
                <a:cubicBezTo>
                  <a:pt x="1257292" y="4525940"/>
                  <a:pt x="1254340" y="4523091"/>
                  <a:pt x="1254340" y="4519609"/>
                </a:cubicBezTo>
                <a:cubicBezTo>
                  <a:pt x="1254340" y="4516127"/>
                  <a:pt x="1257292" y="4513278"/>
                  <a:pt x="1260900" y="4513278"/>
                </a:cubicBezTo>
                <a:close/>
                <a:moveTo>
                  <a:pt x="1096915" y="4392992"/>
                </a:moveTo>
                <a:cubicBezTo>
                  <a:pt x="1099320" y="4392992"/>
                  <a:pt x="1101288" y="4397265"/>
                  <a:pt x="1101288" y="4402488"/>
                </a:cubicBezTo>
                <a:cubicBezTo>
                  <a:pt x="1101288" y="4407711"/>
                  <a:pt x="1099320" y="4411984"/>
                  <a:pt x="1096915" y="4411984"/>
                </a:cubicBezTo>
                <a:cubicBezTo>
                  <a:pt x="1094510" y="4411984"/>
                  <a:pt x="1092542" y="4407711"/>
                  <a:pt x="1092542" y="4402488"/>
                </a:cubicBezTo>
                <a:cubicBezTo>
                  <a:pt x="1092542" y="4397265"/>
                  <a:pt x="1094510" y="4392992"/>
                  <a:pt x="1096915" y="4392992"/>
                </a:cubicBezTo>
                <a:close/>
                <a:moveTo>
                  <a:pt x="3812502" y="4386661"/>
                </a:moveTo>
                <a:cubicBezTo>
                  <a:pt x="3814907" y="4386661"/>
                  <a:pt x="3816875" y="4389509"/>
                  <a:pt x="3816875" y="4392992"/>
                </a:cubicBezTo>
                <a:cubicBezTo>
                  <a:pt x="3816875" y="4396474"/>
                  <a:pt x="3814907" y="4399322"/>
                  <a:pt x="3812502" y="4399322"/>
                </a:cubicBezTo>
                <a:cubicBezTo>
                  <a:pt x="3810096" y="4399322"/>
                  <a:pt x="3808129" y="4396474"/>
                  <a:pt x="3808129" y="4392992"/>
                </a:cubicBezTo>
                <a:cubicBezTo>
                  <a:pt x="3808129" y="4389509"/>
                  <a:pt x="3810096" y="4386661"/>
                  <a:pt x="3812502" y="4386661"/>
                </a:cubicBezTo>
                <a:close/>
                <a:moveTo>
                  <a:pt x="972287" y="4355006"/>
                </a:moveTo>
                <a:cubicBezTo>
                  <a:pt x="975894" y="4355006"/>
                  <a:pt x="978846" y="4359280"/>
                  <a:pt x="978846" y="4364503"/>
                </a:cubicBezTo>
                <a:cubicBezTo>
                  <a:pt x="978846" y="4369726"/>
                  <a:pt x="975894" y="4373999"/>
                  <a:pt x="972287" y="4373999"/>
                </a:cubicBezTo>
                <a:cubicBezTo>
                  <a:pt x="968679" y="4373999"/>
                  <a:pt x="965727" y="4369726"/>
                  <a:pt x="965727" y="4364503"/>
                </a:cubicBezTo>
                <a:cubicBezTo>
                  <a:pt x="965727" y="4359280"/>
                  <a:pt x="968679" y="4355006"/>
                  <a:pt x="972287" y="4355006"/>
                </a:cubicBezTo>
                <a:close/>
                <a:moveTo>
                  <a:pt x="3695599" y="4285367"/>
                </a:moveTo>
                <a:cubicBezTo>
                  <a:pt x="3699206" y="4285367"/>
                  <a:pt x="3703345" y="4291777"/>
                  <a:pt x="3704795" y="4299611"/>
                </a:cubicBezTo>
                <a:cubicBezTo>
                  <a:pt x="3708732" y="4320877"/>
                  <a:pt x="3708088" y="4355006"/>
                  <a:pt x="3703751" y="4355006"/>
                </a:cubicBezTo>
                <a:cubicBezTo>
                  <a:pt x="3701660" y="4355006"/>
                  <a:pt x="3698785" y="4345748"/>
                  <a:pt x="3697362" y="4334431"/>
                </a:cubicBezTo>
                <a:cubicBezTo>
                  <a:pt x="3695938" y="4323115"/>
                  <a:pt x="3693483" y="4307446"/>
                  <a:pt x="3691906" y="4299611"/>
                </a:cubicBezTo>
                <a:cubicBezTo>
                  <a:pt x="3689836" y="4289326"/>
                  <a:pt x="3690862" y="4285367"/>
                  <a:pt x="3695599" y="4285367"/>
                </a:cubicBezTo>
                <a:close/>
                <a:moveTo>
                  <a:pt x="3791489" y="4247982"/>
                </a:moveTo>
                <a:cubicBezTo>
                  <a:pt x="3793001" y="4248850"/>
                  <a:pt x="3795075" y="4251094"/>
                  <a:pt x="3797678" y="4254863"/>
                </a:cubicBezTo>
                <a:cubicBezTo>
                  <a:pt x="3801435" y="4260303"/>
                  <a:pt x="3803830" y="4271529"/>
                  <a:pt x="3802997" y="4279809"/>
                </a:cubicBezTo>
                <a:cubicBezTo>
                  <a:pt x="3801571" y="4293997"/>
                  <a:pt x="3801045" y="4293619"/>
                  <a:pt x="3793855" y="4273261"/>
                </a:cubicBezTo>
                <a:cubicBezTo>
                  <a:pt x="3787459" y="4255151"/>
                  <a:pt x="3786951" y="4245377"/>
                  <a:pt x="3791489" y="4247982"/>
                </a:cubicBezTo>
                <a:close/>
                <a:moveTo>
                  <a:pt x="932930" y="4222058"/>
                </a:moveTo>
                <a:cubicBezTo>
                  <a:pt x="936574" y="4222058"/>
                  <a:pt x="939490" y="4227686"/>
                  <a:pt x="939490" y="4234720"/>
                </a:cubicBezTo>
                <a:cubicBezTo>
                  <a:pt x="939490" y="4241755"/>
                  <a:pt x="936574" y="4247382"/>
                  <a:pt x="932930" y="4247382"/>
                </a:cubicBezTo>
                <a:cubicBezTo>
                  <a:pt x="929286" y="4247382"/>
                  <a:pt x="926371" y="4241755"/>
                  <a:pt x="926371" y="4234720"/>
                </a:cubicBezTo>
                <a:cubicBezTo>
                  <a:pt x="926371" y="4227686"/>
                  <a:pt x="929286" y="4222058"/>
                  <a:pt x="932930" y="4222058"/>
                </a:cubicBezTo>
                <a:close/>
                <a:moveTo>
                  <a:pt x="1267119" y="4212536"/>
                </a:moveTo>
                <a:cubicBezTo>
                  <a:pt x="1269822" y="4214417"/>
                  <a:pt x="1271832" y="4218021"/>
                  <a:pt x="1271832" y="4222432"/>
                </a:cubicBezTo>
                <a:cubicBezTo>
                  <a:pt x="1271832" y="4229793"/>
                  <a:pt x="1267145" y="4229913"/>
                  <a:pt x="1259340" y="4222753"/>
                </a:cubicBezTo>
                <a:cubicBezTo>
                  <a:pt x="1255204" y="4218958"/>
                  <a:pt x="1254872" y="4215999"/>
                  <a:pt x="1258247" y="4212980"/>
                </a:cubicBezTo>
                <a:cubicBezTo>
                  <a:pt x="1261020" y="4210498"/>
                  <a:pt x="1264416" y="4210656"/>
                  <a:pt x="1267119" y="4212536"/>
                </a:cubicBezTo>
                <a:close/>
                <a:moveTo>
                  <a:pt x="3606974" y="4158750"/>
                </a:moveTo>
                <a:cubicBezTo>
                  <a:pt x="3609380" y="4158750"/>
                  <a:pt x="3611347" y="4161598"/>
                  <a:pt x="3611347" y="4165081"/>
                </a:cubicBezTo>
                <a:cubicBezTo>
                  <a:pt x="3611347" y="4168563"/>
                  <a:pt x="3609380" y="4171411"/>
                  <a:pt x="3606974" y="4171411"/>
                </a:cubicBezTo>
                <a:cubicBezTo>
                  <a:pt x="3604569" y="4171411"/>
                  <a:pt x="3602601" y="4168563"/>
                  <a:pt x="3602601" y="4165081"/>
                </a:cubicBezTo>
                <a:cubicBezTo>
                  <a:pt x="3602601" y="4161598"/>
                  <a:pt x="3604569" y="4158750"/>
                  <a:pt x="3606974" y="4158750"/>
                </a:cubicBezTo>
                <a:close/>
                <a:moveTo>
                  <a:pt x="1253971" y="4155079"/>
                </a:moveTo>
                <a:cubicBezTo>
                  <a:pt x="1259633" y="4152817"/>
                  <a:pt x="1263086" y="4162087"/>
                  <a:pt x="1263086" y="4181282"/>
                </a:cubicBezTo>
                <a:cubicBezTo>
                  <a:pt x="1263086" y="4198429"/>
                  <a:pt x="1261325" y="4203066"/>
                  <a:pt x="1254814" y="4203066"/>
                </a:cubicBezTo>
                <a:cubicBezTo>
                  <a:pt x="1249602" y="4203066"/>
                  <a:pt x="1245511" y="4197115"/>
                  <a:pt x="1243753" y="4186974"/>
                </a:cubicBezTo>
                <a:cubicBezTo>
                  <a:pt x="1241934" y="4176485"/>
                  <a:pt x="1243280" y="4167526"/>
                  <a:pt x="1247618" y="4161246"/>
                </a:cubicBezTo>
                <a:cubicBezTo>
                  <a:pt x="1249951" y="4157869"/>
                  <a:pt x="1252084" y="4155834"/>
                  <a:pt x="1253971" y="4155079"/>
                </a:cubicBezTo>
                <a:close/>
                <a:moveTo>
                  <a:pt x="2452780" y="4146088"/>
                </a:moveTo>
                <a:cubicBezTo>
                  <a:pt x="2455043" y="4146088"/>
                  <a:pt x="2456895" y="4150361"/>
                  <a:pt x="2456895" y="4155585"/>
                </a:cubicBezTo>
                <a:cubicBezTo>
                  <a:pt x="2456895" y="4165375"/>
                  <a:pt x="2451735" y="4168162"/>
                  <a:pt x="2446810" y="4161032"/>
                </a:cubicBezTo>
                <a:cubicBezTo>
                  <a:pt x="2443317" y="4155974"/>
                  <a:pt x="2447266" y="4146088"/>
                  <a:pt x="2452780" y="4146088"/>
                </a:cubicBezTo>
                <a:close/>
                <a:moveTo>
                  <a:pt x="3700993" y="4127095"/>
                </a:moveTo>
                <a:cubicBezTo>
                  <a:pt x="3704599" y="4127095"/>
                  <a:pt x="3707552" y="4131369"/>
                  <a:pt x="3707552" y="4136592"/>
                </a:cubicBezTo>
                <a:cubicBezTo>
                  <a:pt x="3707552" y="4146478"/>
                  <a:pt x="3702380" y="4149152"/>
                  <a:pt x="3697347" y="4141867"/>
                </a:cubicBezTo>
                <a:cubicBezTo>
                  <a:pt x="3692316" y="4134583"/>
                  <a:pt x="3694164" y="4127095"/>
                  <a:pt x="3700993" y="4127095"/>
                </a:cubicBezTo>
                <a:close/>
                <a:moveTo>
                  <a:pt x="879089" y="4115046"/>
                </a:moveTo>
                <a:cubicBezTo>
                  <a:pt x="881735" y="4116220"/>
                  <a:pt x="884499" y="4120291"/>
                  <a:pt x="887014" y="4127095"/>
                </a:cubicBezTo>
                <a:cubicBezTo>
                  <a:pt x="892157" y="4141008"/>
                  <a:pt x="888963" y="4142857"/>
                  <a:pt x="877084" y="4132845"/>
                </a:cubicBezTo>
                <a:cubicBezTo>
                  <a:pt x="872824" y="4129255"/>
                  <a:pt x="870480" y="4123644"/>
                  <a:pt x="871875" y="4120376"/>
                </a:cubicBezTo>
                <a:cubicBezTo>
                  <a:pt x="873917" y="4115594"/>
                  <a:pt x="876444" y="4113872"/>
                  <a:pt x="879089" y="4115046"/>
                </a:cubicBezTo>
                <a:close/>
                <a:moveTo>
                  <a:pt x="1862177" y="4108103"/>
                </a:moveTo>
                <a:cubicBezTo>
                  <a:pt x="1864582" y="4108103"/>
                  <a:pt x="1866550" y="4110952"/>
                  <a:pt x="1866550" y="4114434"/>
                </a:cubicBezTo>
                <a:cubicBezTo>
                  <a:pt x="1866550" y="4117916"/>
                  <a:pt x="1864582" y="4120765"/>
                  <a:pt x="1862177" y="4120765"/>
                </a:cubicBezTo>
                <a:cubicBezTo>
                  <a:pt x="1859772" y="4120765"/>
                  <a:pt x="1857804" y="4117916"/>
                  <a:pt x="1857804" y="4114434"/>
                </a:cubicBezTo>
                <a:cubicBezTo>
                  <a:pt x="1857804" y="4110952"/>
                  <a:pt x="1859772" y="4108103"/>
                  <a:pt x="1862177" y="4108103"/>
                </a:cubicBezTo>
                <a:close/>
                <a:moveTo>
                  <a:pt x="1183790" y="4089207"/>
                </a:moveTo>
                <a:cubicBezTo>
                  <a:pt x="1175343" y="4089092"/>
                  <a:pt x="1170409" y="4117009"/>
                  <a:pt x="1177152" y="4126770"/>
                </a:cubicBezTo>
                <a:cubicBezTo>
                  <a:pt x="1183404" y="4135821"/>
                  <a:pt x="1183458" y="4135681"/>
                  <a:pt x="1180982" y="4116926"/>
                </a:cubicBezTo>
                <a:cubicBezTo>
                  <a:pt x="1179645" y="4106797"/>
                  <a:pt x="1181145" y="4098278"/>
                  <a:pt x="1184868" y="4094865"/>
                </a:cubicBezTo>
                <a:cubicBezTo>
                  <a:pt x="1189788" y="4090354"/>
                  <a:pt x="1189585" y="4089286"/>
                  <a:pt x="1183790" y="4089207"/>
                </a:cubicBezTo>
                <a:close/>
                <a:moveTo>
                  <a:pt x="1852771" y="4080379"/>
                </a:moveTo>
                <a:cubicBezTo>
                  <a:pt x="1854627" y="4078346"/>
                  <a:pt x="1857361" y="4077918"/>
                  <a:pt x="1859380" y="4080841"/>
                </a:cubicBezTo>
                <a:cubicBezTo>
                  <a:pt x="1863538" y="4086860"/>
                  <a:pt x="1862763" y="4095441"/>
                  <a:pt x="1858062" y="4095441"/>
                </a:cubicBezTo>
                <a:cubicBezTo>
                  <a:pt x="1855799" y="4095441"/>
                  <a:pt x="1852815" y="4092789"/>
                  <a:pt x="1851431" y="4089548"/>
                </a:cubicBezTo>
                <a:cubicBezTo>
                  <a:pt x="1849938" y="4086050"/>
                  <a:pt x="1850915" y="4082412"/>
                  <a:pt x="1852771" y="4080379"/>
                </a:cubicBezTo>
                <a:close/>
                <a:moveTo>
                  <a:pt x="3747913" y="4076860"/>
                </a:moveTo>
                <a:cubicBezTo>
                  <a:pt x="3751091" y="4076093"/>
                  <a:pt x="3755245" y="4078390"/>
                  <a:pt x="3759152" y="4084046"/>
                </a:cubicBezTo>
                <a:cubicBezTo>
                  <a:pt x="3766966" y="4095357"/>
                  <a:pt x="3765498" y="4108103"/>
                  <a:pt x="3756383" y="4108103"/>
                </a:cubicBezTo>
                <a:cubicBezTo>
                  <a:pt x="3751974" y="4108103"/>
                  <a:pt x="3747053" y="4106204"/>
                  <a:pt x="3745450" y="4103882"/>
                </a:cubicBezTo>
                <a:cubicBezTo>
                  <a:pt x="3743846" y="4101561"/>
                  <a:pt x="3742535" y="4094439"/>
                  <a:pt x="3742535" y="4088055"/>
                </a:cubicBezTo>
                <a:cubicBezTo>
                  <a:pt x="3742535" y="4081457"/>
                  <a:pt x="3744736" y="4077627"/>
                  <a:pt x="3747913" y="4076860"/>
                </a:cubicBezTo>
                <a:close/>
                <a:moveTo>
                  <a:pt x="1114457" y="4072746"/>
                </a:moveTo>
                <a:cubicBezTo>
                  <a:pt x="1107329" y="4073494"/>
                  <a:pt x="1103523" y="4090906"/>
                  <a:pt x="1107340" y="4105307"/>
                </a:cubicBezTo>
                <a:cubicBezTo>
                  <a:pt x="1108671" y="4110327"/>
                  <a:pt x="1113265" y="4114103"/>
                  <a:pt x="1117549" y="4113700"/>
                </a:cubicBezTo>
                <a:cubicBezTo>
                  <a:pt x="1124850" y="4113011"/>
                  <a:pt x="1124858" y="4112783"/>
                  <a:pt x="1117687" y="4110070"/>
                </a:cubicBezTo>
                <a:cubicBezTo>
                  <a:pt x="1108839" y="4106722"/>
                  <a:pt x="1107112" y="4078797"/>
                  <a:pt x="1115500" y="4074720"/>
                </a:cubicBezTo>
                <a:cubicBezTo>
                  <a:pt x="1118694" y="4073168"/>
                  <a:pt x="1118261" y="4072348"/>
                  <a:pt x="1114457" y="4072746"/>
                </a:cubicBezTo>
                <a:close/>
                <a:moveTo>
                  <a:pt x="2356317" y="4044794"/>
                </a:moveTo>
                <a:cubicBezTo>
                  <a:pt x="2358723" y="4044794"/>
                  <a:pt x="2360690" y="4047476"/>
                  <a:pt x="2360690" y="4050752"/>
                </a:cubicBezTo>
                <a:cubicBezTo>
                  <a:pt x="2360690" y="4054028"/>
                  <a:pt x="2358723" y="4058470"/>
                  <a:pt x="2356317" y="4060622"/>
                </a:cubicBezTo>
                <a:cubicBezTo>
                  <a:pt x="2353912" y="4062773"/>
                  <a:pt x="2351944" y="4060093"/>
                  <a:pt x="2351944" y="4054664"/>
                </a:cubicBezTo>
                <a:cubicBezTo>
                  <a:pt x="2351944" y="4049236"/>
                  <a:pt x="2353912" y="4044794"/>
                  <a:pt x="2356317" y="4044794"/>
                </a:cubicBezTo>
                <a:close/>
                <a:moveTo>
                  <a:pt x="1890281" y="4038463"/>
                </a:moveTo>
                <a:cubicBezTo>
                  <a:pt x="1893712" y="4038463"/>
                  <a:pt x="1899465" y="4047010"/>
                  <a:pt x="1903064" y="4057456"/>
                </a:cubicBezTo>
                <a:cubicBezTo>
                  <a:pt x="1906663" y="4067902"/>
                  <a:pt x="1909267" y="4076188"/>
                  <a:pt x="1908851" y="4075870"/>
                </a:cubicBezTo>
                <a:cubicBezTo>
                  <a:pt x="1908434" y="4075551"/>
                  <a:pt x="1902684" y="4070566"/>
                  <a:pt x="1896075" y="4064790"/>
                </a:cubicBezTo>
                <a:cubicBezTo>
                  <a:pt x="1883267" y="4053600"/>
                  <a:pt x="1879935" y="4038463"/>
                  <a:pt x="1890281" y="4038463"/>
                </a:cubicBezTo>
                <a:close/>
                <a:moveTo>
                  <a:pt x="1534930" y="4031057"/>
                </a:moveTo>
                <a:cubicBezTo>
                  <a:pt x="1536432" y="4029521"/>
                  <a:pt x="1540659" y="4030428"/>
                  <a:pt x="1547326" y="4034071"/>
                </a:cubicBezTo>
                <a:cubicBezTo>
                  <a:pt x="1559255" y="4040589"/>
                  <a:pt x="1565914" y="4057456"/>
                  <a:pt x="1556559" y="4057456"/>
                </a:cubicBezTo>
                <a:cubicBezTo>
                  <a:pt x="1552555" y="4057456"/>
                  <a:pt x="1552177" y="4077140"/>
                  <a:pt x="1556072" y="4082779"/>
                </a:cubicBezTo>
                <a:cubicBezTo>
                  <a:pt x="1561052" y="4089989"/>
                  <a:pt x="1569191" y="4114864"/>
                  <a:pt x="1569191" y="4122875"/>
                </a:cubicBezTo>
                <a:cubicBezTo>
                  <a:pt x="1569191" y="4127613"/>
                  <a:pt x="1573127" y="4138058"/>
                  <a:pt x="1577937" y="4146088"/>
                </a:cubicBezTo>
                <a:cubicBezTo>
                  <a:pt x="1582747" y="4154118"/>
                  <a:pt x="1586682" y="4164220"/>
                  <a:pt x="1586682" y="4168537"/>
                </a:cubicBezTo>
                <a:cubicBezTo>
                  <a:pt x="1586682" y="4172854"/>
                  <a:pt x="1589634" y="4178027"/>
                  <a:pt x="1593242" y="4180031"/>
                </a:cubicBezTo>
                <a:cubicBezTo>
                  <a:pt x="1599854" y="4183704"/>
                  <a:pt x="1602616" y="4203087"/>
                  <a:pt x="1596521" y="4203041"/>
                </a:cubicBezTo>
                <a:cubicBezTo>
                  <a:pt x="1594718" y="4203028"/>
                  <a:pt x="1578872" y="4182372"/>
                  <a:pt x="1561308" y="4157141"/>
                </a:cubicBezTo>
                <a:cubicBezTo>
                  <a:pt x="1530023" y="4112198"/>
                  <a:pt x="1521290" y="4097058"/>
                  <a:pt x="1521156" y="4087528"/>
                </a:cubicBezTo>
                <a:cubicBezTo>
                  <a:pt x="1521043" y="4079517"/>
                  <a:pt x="1533360" y="4082270"/>
                  <a:pt x="1535320" y="4090693"/>
                </a:cubicBezTo>
                <a:cubicBezTo>
                  <a:pt x="1536333" y="4095046"/>
                  <a:pt x="1538601" y="4087552"/>
                  <a:pt x="1540362" y="4074041"/>
                </a:cubicBezTo>
                <a:cubicBezTo>
                  <a:pt x="1542343" y="4058838"/>
                  <a:pt x="1541780" y="4046895"/>
                  <a:pt x="1538885" y="4042703"/>
                </a:cubicBezTo>
                <a:cubicBezTo>
                  <a:pt x="1534651" y="4036573"/>
                  <a:pt x="1533428" y="4032593"/>
                  <a:pt x="1534930" y="4031057"/>
                </a:cubicBezTo>
                <a:close/>
                <a:moveTo>
                  <a:pt x="843613" y="4027015"/>
                </a:moveTo>
                <a:cubicBezTo>
                  <a:pt x="846199" y="4028263"/>
                  <a:pt x="848314" y="4031990"/>
                  <a:pt x="848314" y="4035298"/>
                </a:cubicBezTo>
                <a:cubicBezTo>
                  <a:pt x="848314" y="4038606"/>
                  <a:pt x="846199" y="4042333"/>
                  <a:pt x="843613" y="4043581"/>
                </a:cubicBezTo>
                <a:cubicBezTo>
                  <a:pt x="841028" y="4044829"/>
                  <a:pt x="838912" y="4041101"/>
                  <a:pt x="838912" y="4035298"/>
                </a:cubicBezTo>
                <a:cubicBezTo>
                  <a:pt x="838912" y="4029495"/>
                  <a:pt x="841028" y="4025767"/>
                  <a:pt x="843613" y="4027015"/>
                </a:cubicBezTo>
                <a:close/>
                <a:moveTo>
                  <a:pt x="2342527" y="4008437"/>
                </a:moveTo>
                <a:cubicBezTo>
                  <a:pt x="2345218" y="4007880"/>
                  <a:pt x="2347571" y="4010188"/>
                  <a:pt x="2347571" y="4015778"/>
                </a:cubicBezTo>
                <a:cubicBezTo>
                  <a:pt x="2347571" y="4021291"/>
                  <a:pt x="2344456" y="4025802"/>
                  <a:pt x="2340648" y="4025802"/>
                </a:cubicBezTo>
                <a:cubicBezTo>
                  <a:pt x="2336840" y="4025802"/>
                  <a:pt x="2334503" y="4022419"/>
                  <a:pt x="2335455" y="4018284"/>
                </a:cubicBezTo>
                <a:cubicBezTo>
                  <a:pt x="2336806" y="4012415"/>
                  <a:pt x="2339835" y="4008993"/>
                  <a:pt x="2342527" y="4008437"/>
                </a:cubicBezTo>
                <a:close/>
                <a:moveTo>
                  <a:pt x="3724941" y="4000570"/>
                </a:moveTo>
                <a:cubicBezTo>
                  <a:pt x="3731163" y="3995002"/>
                  <a:pt x="3742535" y="4006925"/>
                  <a:pt x="3742535" y="4019019"/>
                </a:cubicBezTo>
                <a:cubicBezTo>
                  <a:pt x="3742535" y="4029203"/>
                  <a:pt x="3731275" y="4027178"/>
                  <a:pt x="3724767" y="4015823"/>
                </a:cubicBezTo>
                <a:cubicBezTo>
                  <a:pt x="3720044" y="4007587"/>
                  <a:pt x="3720075" y="4004924"/>
                  <a:pt x="3724941" y="4000570"/>
                </a:cubicBezTo>
                <a:close/>
                <a:moveTo>
                  <a:pt x="1367217" y="3939176"/>
                </a:moveTo>
                <a:lnTo>
                  <a:pt x="1375598" y="3939675"/>
                </a:lnTo>
                <a:cubicBezTo>
                  <a:pt x="1377051" y="3941779"/>
                  <a:pt x="1374468" y="3943275"/>
                  <a:pt x="1369858" y="3943001"/>
                </a:cubicBezTo>
                <a:close/>
                <a:moveTo>
                  <a:pt x="1367216" y="3939176"/>
                </a:moveTo>
                <a:lnTo>
                  <a:pt x="1367217" y="3939176"/>
                </a:lnTo>
                <a:lnTo>
                  <a:pt x="1367216" y="3939176"/>
                </a:lnTo>
                <a:close/>
                <a:moveTo>
                  <a:pt x="2495323" y="3937371"/>
                </a:moveTo>
                <a:cubicBezTo>
                  <a:pt x="2497036" y="3937482"/>
                  <a:pt x="2501881" y="3941357"/>
                  <a:pt x="2506090" y="3945983"/>
                </a:cubicBezTo>
                <a:cubicBezTo>
                  <a:pt x="2514499" y="3955224"/>
                  <a:pt x="2516657" y="3987817"/>
                  <a:pt x="2508860" y="3987817"/>
                </a:cubicBezTo>
                <a:cubicBezTo>
                  <a:pt x="2506010" y="3987817"/>
                  <a:pt x="2504847" y="3994405"/>
                  <a:pt x="2506067" y="4003644"/>
                </a:cubicBezTo>
                <a:cubicBezTo>
                  <a:pt x="2508040" y="4018586"/>
                  <a:pt x="2499797" y="4026668"/>
                  <a:pt x="2494768" y="4014723"/>
                </a:cubicBezTo>
                <a:cubicBezTo>
                  <a:pt x="2491463" y="4006872"/>
                  <a:pt x="2491962" y="3937154"/>
                  <a:pt x="2495323" y="3937371"/>
                </a:cubicBezTo>
                <a:close/>
                <a:moveTo>
                  <a:pt x="3895920" y="3935463"/>
                </a:moveTo>
                <a:cubicBezTo>
                  <a:pt x="3898485" y="3936562"/>
                  <a:pt x="3899960" y="3944742"/>
                  <a:pt x="3899960" y="3959837"/>
                </a:cubicBezTo>
                <a:cubicBezTo>
                  <a:pt x="3899960" y="3977338"/>
                  <a:pt x="3902268" y="3983280"/>
                  <a:pt x="3911406" y="3989307"/>
                </a:cubicBezTo>
                <a:cubicBezTo>
                  <a:pt x="3921443" y="3995928"/>
                  <a:pt x="3923817" y="3995132"/>
                  <a:pt x="3930692" y="3982841"/>
                </a:cubicBezTo>
                <a:cubicBezTo>
                  <a:pt x="3940937" y="3964524"/>
                  <a:pt x="3946474" y="3965129"/>
                  <a:pt x="3949909" y="3984943"/>
                </a:cubicBezTo>
                <a:cubicBezTo>
                  <a:pt x="3953443" y="4005328"/>
                  <a:pt x="3949552" y="4014678"/>
                  <a:pt x="3939464" y="4010043"/>
                </a:cubicBezTo>
                <a:cubicBezTo>
                  <a:pt x="3933373" y="4007244"/>
                  <a:pt x="3931188" y="4010501"/>
                  <a:pt x="3929769" y="4024499"/>
                </a:cubicBezTo>
                <a:cubicBezTo>
                  <a:pt x="3928763" y="4034436"/>
                  <a:pt x="3930371" y="4045858"/>
                  <a:pt x="3933346" y="4049881"/>
                </a:cubicBezTo>
                <a:cubicBezTo>
                  <a:pt x="3940204" y="4059157"/>
                  <a:pt x="3946041" y="4113587"/>
                  <a:pt x="3940956" y="4120846"/>
                </a:cubicBezTo>
                <a:cubicBezTo>
                  <a:pt x="3938809" y="4123909"/>
                  <a:pt x="3933770" y="4123562"/>
                  <a:pt x="3929478" y="4120056"/>
                </a:cubicBezTo>
                <a:cubicBezTo>
                  <a:pt x="3924007" y="4115587"/>
                  <a:pt x="3921825" y="4105879"/>
                  <a:pt x="3921825" y="4086004"/>
                </a:cubicBezTo>
                <a:cubicBezTo>
                  <a:pt x="3921825" y="4070714"/>
                  <a:pt x="3919827" y="4056416"/>
                  <a:pt x="3917386" y="4054232"/>
                </a:cubicBezTo>
                <a:cubicBezTo>
                  <a:pt x="3914944" y="4052047"/>
                  <a:pt x="3910125" y="4040483"/>
                  <a:pt x="3906676" y="4028534"/>
                </a:cubicBezTo>
                <a:cubicBezTo>
                  <a:pt x="3902585" y="4014359"/>
                  <a:pt x="3897455" y="4006809"/>
                  <a:pt x="3891911" y="4006809"/>
                </a:cubicBezTo>
                <a:cubicBezTo>
                  <a:pt x="3879691" y="4006809"/>
                  <a:pt x="3876455" y="3980566"/>
                  <a:pt x="3885345" y="3953575"/>
                </a:cubicBezTo>
                <a:cubicBezTo>
                  <a:pt x="3889702" y="3940346"/>
                  <a:pt x="3893356" y="3934364"/>
                  <a:pt x="3895920" y="3935463"/>
                </a:cubicBezTo>
                <a:close/>
                <a:moveTo>
                  <a:pt x="2337188" y="3930839"/>
                </a:moveTo>
                <a:cubicBezTo>
                  <a:pt x="2341763" y="3930839"/>
                  <a:pt x="2343356" y="3936017"/>
                  <a:pt x="2342396" y="3947761"/>
                </a:cubicBezTo>
                <a:cubicBezTo>
                  <a:pt x="2340687" y="3968659"/>
                  <a:pt x="2331821" y="3974077"/>
                  <a:pt x="2327982" y="3956568"/>
                </a:cubicBezTo>
                <a:cubicBezTo>
                  <a:pt x="2324570" y="3941003"/>
                  <a:pt x="2328207" y="3930839"/>
                  <a:pt x="2337188" y="3930839"/>
                </a:cubicBezTo>
                <a:close/>
                <a:moveTo>
                  <a:pt x="2224989" y="3912997"/>
                </a:moveTo>
                <a:cubicBezTo>
                  <a:pt x="2226643" y="3913005"/>
                  <a:pt x="2228411" y="3914065"/>
                  <a:pt x="2230083" y="3916486"/>
                </a:cubicBezTo>
                <a:cubicBezTo>
                  <a:pt x="2235437" y="3924236"/>
                  <a:pt x="2232336" y="3943501"/>
                  <a:pt x="2225735" y="3943501"/>
                </a:cubicBezTo>
                <a:cubicBezTo>
                  <a:pt x="2223512" y="3943501"/>
                  <a:pt x="2220433" y="3938751"/>
                  <a:pt x="2218895" y="3932946"/>
                </a:cubicBezTo>
                <a:cubicBezTo>
                  <a:pt x="2216102" y="3922410"/>
                  <a:pt x="2220029" y="3912972"/>
                  <a:pt x="2224989" y="3912997"/>
                </a:cubicBezTo>
                <a:close/>
                <a:moveTo>
                  <a:pt x="1388112" y="3908577"/>
                </a:moveTo>
                <a:cubicBezTo>
                  <a:pt x="1385822" y="3908943"/>
                  <a:pt x="1383840" y="3911987"/>
                  <a:pt x="1380454" y="3917982"/>
                </a:cubicBezTo>
                <a:cubicBezTo>
                  <a:pt x="1372652" y="3931799"/>
                  <a:pt x="1363663" y="3935077"/>
                  <a:pt x="1363663" y="3924107"/>
                </a:cubicBezTo>
                <a:cubicBezTo>
                  <a:pt x="1363663" y="3920325"/>
                  <a:pt x="1357435" y="3918244"/>
                  <a:pt x="1349452" y="3919359"/>
                </a:cubicBezTo>
                <a:cubicBezTo>
                  <a:pt x="1337649" y="3921007"/>
                  <a:pt x="1335239" y="3923978"/>
                  <a:pt x="1335239" y="3936885"/>
                </a:cubicBezTo>
                <a:cubicBezTo>
                  <a:pt x="1335239" y="3948254"/>
                  <a:pt x="1338174" y="3953421"/>
                  <a:pt x="1346172" y="3956132"/>
                </a:cubicBezTo>
                <a:cubicBezTo>
                  <a:pt x="1354295" y="3958885"/>
                  <a:pt x="1358141" y="3965852"/>
                  <a:pt x="1361141" y="3983244"/>
                </a:cubicBezTo>
                <a:cubicBezTo>
                  <a:pt x="1366324" y="4013290"/>
                  <a:pt x="1379378" y="4020675"/>
                  <a:pt x="1390289" y="3999733"/>
                </a:cubicBezTo>
                <a:cubicBezTo>
                  <a:pt x="1399821" y="3981439"/>
                  <a:pt x="1405230" y="3987414"/>
                  <a:pt x="1400728" y="4011262"/>
                </a:cubicBezTo>
                <a:cubicBezTo>
                  <a:pt x="1394690" y="4043248"/>
                  <a:pt x="1398307" y="4072265"/>
                  <a:pt x="1410270" y="4087809"/>
                </a:cubicBezTo>
                <a:cubicBezTo>
                  <a:pt x="1420615" y="4101248"/>
                  <a:pt x="1421855" y="4101531"/>
                  <a:pt x="1426873" y="4091597"/>
                </a:cubicBezTo>
                <a:cubicBezTo>
                  <a:pt x="1430678" y="4084064"/>
                  <a:pt x="1433223" y="4083036"/>
                  <a:pt x="1435407" y="4088151"/>
                </a:cubicBezTo>
                <a:cubicBezTo>
                  <a:pt x="1439959" y="4098813"/>
                  <a:pt x="1455342" y="4097052"/>
                  <a:pt x="1458399" y="4085520"/>
                </a:cubicBezTo>
                <a:cubicBezTo>
                  <a:pt x="1459846" y="4080062"/>
                  <a:pt x="1458800" y="4072370"/>
                  <a:pt x="1456075" y="4068426"/>
                </a:cubicBezTo>
                <a:cubicBezTo>
                  <a:pt x="1453351" y="4064481"/>
                  <a:pt x="1451122" y="4056099"/>
                  <a:pt x="1451122" y="4049797"/>
                </a:cubicBezTo>
                <a:cubicBezTo>
                  <a:pt x="1451122" y="4043496"/>
                  <a:pt x="1447186" y="4033461"/>
                  <a:pt x="1442376" y="4027499"/>
                </a:cubicBezTo>
                <a:cubicBezTo>
                  <a:pt x="1437566" y="4021535"/>
                  <a:pt x="1433630" y="4012989"/>
                  <a:pt x="1433630" y="4008506"/>
                </a:cubicBezTo>
                <a:cubicBezTo>
                  <a:pt x="1433630" y="4004022"/>
                  <a:pt x="1429795" y="3995601"/>
                  <a:pt x="1425108" y="3989791"/>
                </a:cubicBezTo>
                <a:cubicBezTo>
                  <a:pt x="1420421" y="3983981"/>
                  <a:pt x="1417456" y="3977189"/>
                  <a:pt x="1418520" y="3974698"/>
                </a:cubicBezTo>
                <a:cubicBezTo>
                  <a:pt x="1422053" y="3966421"/>
                  <a:pt x="1407671" y="3925510"/>
                  <a:pt x="1397617" y="3915240"/>
                </a:cubicBezTo>
                <a:cubicBezTo>
                  <a:pt x="1392999" y="3910523"/>
                  <a:pt x="1390401" y="3908211"/>
                  <a:pt x="1388112" y="3908577"/>
                </a:cubicBezTo>
                <a:close/>
                <a:moveTo>
                  <a:pt x="523559" y="3899185"/>
                </a:moveTo>
                <a:cubicBezTo>
                  <a:pt x="532732" y="3899185"/>
                  <a:pt x="547770" y="3927730"/>
                  <a:pt x="543663" y="3937349"/>
                </a:cubicBezTo>
                <a:cubicBezTo>
                  <a:pt x="539177" y="3947859"/>
                  <a:pt x="529159" y="3944115"/>
                  <a:pt x="526248" y="3930839"/>
                </a:cubicBezTo>
                <a:cubicBezTo>
                  <a:pt x="524721" y="3923875"/>
                  <a:pt x="521637" y="3918177"/>
                  <a:pt x="519394" y="3918177"/>
                </a:cubicBezTo>
                <a:cubicBezTo>
                  <a:pt x="517151" y="3918177"/>
                  <a:pt x="515316" y="3913904"/>
                  <a:pt x="515316" y="3908681"/>
                </a:cubicBezTo>
                <a:cubicBezTo>
                  <a:pt x="515316" y="3903458"/>
                  <a:pt x="519025" y="3899185"/>
                  <a:pt x="523559" y="3899185"/>
                </a:cubicBezTo>
                <a:close/>
                <a:moveTo>
                  <a:pt x="4105488" y="3892854"/>
                </a:moveTo>
                <a:cubicBezTo>
                  <a:pt x="4107893" y="3892854"/>
                  <a:pt x="4109861" y="3895702"/>
                  <a:pt x="4109861" y="3899185"/>
                </a:cubicBezTo>
                <a:cubicBezTo>
                  <a:pt x="4109861" y="3902667"/>
                  <a:pt x="4107893" y="3905515"/>
                  <a:pt x="4105488" y="3905515"/>
                </a:cubicBezTo>
                <a:cubicBezTo>
                  <a:pt x="4103082" y="3905515"/>
                  <a:pt x="4101115" y="3902667"/>
                  <a:pt x="4101115" y="3899185"/>
                </a:cubicBezTo>
                <a:cubicBezTo>
                  <a:pt x="4101115" y="3895702"/>
                  <a:pt x="4103082" y="3892854"/>
                  <a:pt x="4105488" y="3892854"/>
                </a:cubicBezTo>
                <a:close/>
                <a:moveTo>
                  <a:pt x="2909492" y="3892854"/>
                </a:moveTo>
                <a:cubicBezTo>
                  <a:pt x="2913574" y="3892854"/>
                  <a:pt x="2916052" y="3898833"/>
                  <a:pt x="2916052" y="3908681"/>
                </a:cubicBezTo>
                <a:cubicBezTo>
                  <a:pt x="2916052" y="3918529"/>
                  <a:pt x="2913574" y="3924508"/>
                  <a:pt x="2909492" y="3924508"/>
                </a:cubicBezTo>
                <a:cubicBezTo>
                  <a:pt x="2905412" y="3924508"/>
                  <a:pt x="2902933" y="3918529"/>
                  <a:pt x="2902933" y="3908681"/>
                </a:cubicBezTo>
                <a:cubicBezTo>
                  <a:pt x="2902933" y="3898833"/>
                  <a:pt x="2905412" y="3892854"/>
                  <a:pt x="2909492" y="3892854"/>
                </a:cubicBezTo>
                <a:close/>
                <a:moveTo>
                  <a:pt x="2655863" y="3892854"/>
                </a:moveTo>
                <a:cubicBezTo>
                  <a:pt x="2659470" y="3892854"/>
                  <a:pt x="2662423" y="3895535"/>
                  <a:pt x="2662423" y="3898811"/>
                </a:cubicBezTo>
                <a:cubicBezTo>
                  <a:pt x="2662423" y="3906794"/>
                  <a:pt x="2655593" y="3912512"/>
                  <a:pt x="2652101" y="3907454"/>
                </a:cubicBezTo>
                <a:cubicBezTo>
                  <a:pt x="2647175" y="3900324"/>
                  <a:pt x="2649101" y="3892854"/>
                  <a:pt x="2655863" y="3892854"/>
                </a:cubicBezTo>
                <a:close/>
                <a:moveTo>
                  <a:pt x="2015126" y="3890471"/>
                </a:moveTo>
                <a:cubicBezTo>
                  <a:pt x="2018179" y="3886051"/>
                  <a:pt x="2021270" y="3886407"/>
                  <a:pt x="2024850" y="3891588"/>
                </a:cubicBezTo>
                <a:cubicBezTo>
                  <a:pt x="2027736" y="3895766"/>
                  <a:pt x="2035607" y="3899185"/>
                  <a:pt x="2042341" y="3899185"/>
                </a:cubicBezTo>
                <a:cubicBezTo>
                  <a:pt x="2050646" y="3899185"/>
                  <a:pt x="2054585" y="3902441"/>
                  <a:pt x="2054585" y="3909307"/>
                </a:cubicBezTo>
                <a:cubicBezTo>
                  <a:pt x="2054585" y="3919304"/>
                  <a:pt x="2067171" y="3962689"/>
                  <a:pt x="2071849" y="3968824"/>
                </a:cubicBezTo>
                <a:cubicBezTo>
                  <a:pt x="2075939" y="3974186"/>
                  <a:pt x="2084746" y="3996282"/>
                  <a:pt x="2091632" y="4018461"/>
                </a:cubicBezTo>
                <a:cubicBezTo>
                  <a:pt x="2096420" y="4033881"/>
                  <a:pt x="2096979" y="4042908"/>
                  <a:pt x="2093696" y="4051792"/>
                </a:cubicBezTo>
                <a:cubicBezTo>
                  <a:pt x="2090178" y="4061308"/>
                  <a:pt x="2090784" y="4064859"/>
                  <a:pt x="2096463" y="4068015"/>
                </a:cubicBezTo>
                <a:cubicBezTo>
                  <a:pt x="2102527" y="4071383"/>
                  <a:pt x="2103267" y="4077823"/>
                  <a:pt x="2100916" y="4106782"/>
                </a:cubicBezTo>
                <a:cubicBezTo>
                  <a:pt x="2098452" y="4137132"/>
                  <a:pt x="2099212" y="4142640"/>
                  <a:pt x="2106951" y="4150489"/>
                </a:cubicBezTo>
                <a:cubicBezTo>
                  <a:pt x="2111822" y="4155427"/>
                  <a:pt x="2115806" y="4164434"/>
                  <a:pt x="2115806" y="4170504"/>
                </a:cubicBezTo>
                <a:cubicBezTo>
                  <a:pt x="2115806" y="4176574"/>
                  <a:pt x="2118021" y="4184746"/>
                  <a:pt x="2120728" y="4188665"/>
                </a:cubicBezTo>
                <a:cubicBezTo>
                  <a:pt x="2125881" y="4196127"/>
                  <a:pt x="2122376" y="4241389"/>
                  <a:pt x="2116702" y="4240650"/>
                </a:cubicBezTo>
                <a:cubicBezTo>
                  <a:pt x="2115007" y="4240429"/>
                  <a:pt x="2109193" y="4237672"/>
                  <a:pt x="2103781" y="4234523"/>
                </a:cubicBezTo>
                <a:lnTo>
                  <a:pt x="2103781" y="4234523"/>
                </a:lnTo>
                <a:cubicBezTo>
                  <a:pt x="2098369" y="4231374"/>
                  <a:pt x="2093605" y="4223720"/>
                  <a:pt x="2093194" y="4217514"/>
                </a:cubicBezTo>
                <a:cubicBezTo>
                  <a:pt x="2092783" y="4211309"/>
                  <a:pt x="2092225" y="4201681"/>
                  <a:pt x="2091953" y="4196119"/>
                </a:cubicBezTo>
                <a:cubicBezTo>
                  <a:pt x="2091475" y="4186310"/>
                  <a:pt x="2071274" y="4155196"/>
                  <a:pt x="2062695" y="4151056"/>
                </a:cubicBezTo>
                <a:cubicBezTo>
                  <a:pt x="2060057" y="4149784"/>
                  <a:pt x="2060504" y="4137905"/>
                  <a:pt x="2063875" y="4119655"/>
                </a:cubicBezTo>
                <a:cubicBezTo>
                  <a:pt x="2068214" y="4096172"/>
                  <a:pt x="2068187" y="4082900"/>
                  <a:pt x="2063743" y="4053303"/>
                </a:cubicBezTo>
                <a:cubicBezTo>
                  <a:pt x="2060687" y="4032954"/>
                  <a:pt x="2056643" y="4011938"/>
                  <a:pt x="2054756" y="4006601"/>
                </a:cubicBezTo>
                <a:cubicBezTo>
                  <a:pt x="2052869" y="4001264"/>
                  <a:pt x="2049979" y="3988027"/>
                  <a:pt x="2048334" y="3977186"/>
                </a:cubicBezTo>
                <a:cubicBezTo>
                  <a:pt x="2046690" y="3966345"/>
                  <a:pt x="2041520" y="3952465"/>
                  <a:pt x="2036846" y="3946341"/>
                </a:cubicBezTo>
                <a:cubicBezTo>
                  <a:pt x="2032172" y="3940218"/>
                  <a:pt x="2028348" y="3931817"/>
                  <a:pt x="2028348" y="3927674"/>
                </a:cubicBezTo>
                <a:cubicBezTo>
                  <a:pt x="2028348" y="3923530"/>
                  <a:pt x="2024366" y="3914922"/>
                  <a:pt x="2019499" y="3908546"/>
                </a:cubicBezTo>
                <a:cubicBezTo>
                  <a:pt x="2013463" y="3900638"/>
                  <a:pt x="2012073" y="3894892"/>
                  <a:pt x="2015126" y="3890471"/>
                </a:cubicBezTo>
                <a:close/>
                <a:moveTo>
                  <a:pt x="3762359" y="3882921"/>
                </a:moveTo>
                <a:cubicBezTo>
                  <a:pt x="3765128" y="3881912"/>
                  <a:pt x="3768444" y="3886099"/>
                  <a:pt x="3771539" y="3895761"/>
                </a:cubicBezTo>
                <a:cubicBezTo>
                  <a:pt x="3777140" y="3913245"/>
                  <a:pt x="3775346" y="3918177"/>
                  <a:pt x="3763380" y="3918177"/>
                </a:cubicBezTo>
                <a:cubicBezTo>
                  <a:pt x="3756946" y="3918177"/>
                  <a:pt x="3755385" y="3914362"/>
                  <a:pt x="3756456" y="3901256"/>
                </a:cubicBezTo>
                <a:cubicBezTo>
                  <a:pt x="3757366" y="3890135"/>
                  <a:pt x="3759589" y="3883930"/>
                  <a:pt x="3762359" y="3882921"/>
                </a:cubicBezTo>
                <a:close/>
                <a:moveTo>
                  <a:pt x="4054105" y="3868673"/>
                </a:moveTo>
                <a:cubicBezTo>
                  <a:pt x="4062485" y="3870396"/>
                  <a:pt x="4064004" y="3874724"/>
                  <a:pt x="4064349" y="3897845"/>
                </a:cubicBezTo>
                <a:cubicBezTo>
                  <a:pt x="4064572" y="3912776"/>
                  <a:pt x="4063565" y="3926057"/>
                  <a:pt x="4062113" y="3927356"/>
                </a:cubicBezTo>
                <a:cubicBezTo>
                  <a:pt x="4060660" y="3928655"/>
                  <a:pt x="4054083" y="3924035"/>
                  <a:pt x="4047496" y="3917089"/>
                </a:cubicBezTo>
                <a:cubicBezTo>
                  <a:pt x="4035765" y="3904717"/>
                  <a:pt x="4031239" y="3886523"/>
                  <a:pt x="4039894" y="3886523"/>
                </a:cubicBezTo>
                <a:cubicBezTo>
                  <a:pt x="4042299" y="3886523"/>
                  <a:pt x="4044267" y="3882052"/>
                  <a:pt x="4044267" y="3876586"/>
                </a:cubicBezTo>
                <a:cubicBezTo>
                  <a:pt x="4044267" y="3869903"/>
                  <a:pt x="4047487" y="3867312"/>
                  <a:pt x="4054105" y="3868673"/>
                </a:cubicBezTo>
                <a:close/>
                <a:moveTo>
                  <a:pt x="2218103" y="3867530"/>
                </a:moveTo>
                <a:cubicBezTo>
                  <a:pt x="2221453" y="3867530"/>
                  <a:pt x="2225327" y="3871803"/>
                  <a:pt x="2226711" y="3877027"/>
                </a:cubicBezTo>
                <a:cubicBezTo>
                  <a:pt x="2228423" y="3883486"/>
                  <a:pt x="2226475" y="3886523"/>
                  <a:pt x="2220619" y="3886523"/>
                </a:cubicBezTo>
                <a:cubicBezTo>
                  <a:pt x="2215883" y="3886523"/>
                  <a:pt x="2212011" y="3882252"/>
                  <a:pt x="2212011" y="3877027"/>
                </a:cubicBezTo>
                <a:cubicBezTo>
                  <a:pt x="2212011" y="3871803"/>
                  <a:pt x="2214752" y="3867530"/>
                  <a:pt x="2218103" y="3867530"/>
                </a:cubicBezTo>
                <a:close/>
                <a:moveTo>
                  <a:pt x="1971688" y="3857866"/>
                </a:moveTo>
                <a:cubicBezTo>
                  <a:pt x="1977160" y="3852970"/>
                  <a:pt x="1988801" y="3895709"/>
                  <a:pt x="1986087" y="3910735"/>
                </a:cubicBezTo>
                <a:cubicBezTo>
                  <a:pt x="1984860" y="3917524"/>
                  <a:pt x="1985996" y="3924993"/>
                  <a:pt x="1988610" y="3927333"/>
                </a:cubicBezTo>
                <a:cubicBezTo>
                  <a:pt x="1991226" y="3929672"/>
                  <a:pt x="1993364" y="3941041"/>
                  <a:pt x="1993364" y="3952596"/>
                </a:cubicBezTo>
                <a:cubicBezTo>
                  <a:pt x="1993364" y="3964151"/>
                  <a:pt x="1996120" y="3976915"/>
                  <a:pt x="1999487" y="3980960"/>
                </a:cubicBezTo>
                <a:cubicBezTo>
                  <a:pt x="2002854" y="3985006"/>
                  <a:pt x="2005609" y="3998543"/>
                  <a:pt x="2005609" y="4011042"/>
                </a:cubicBezTo>
                <a:cubicBezTo>
                  <a:pt x="2005609" y="4023542"/>
                  <a:pt x="2007464" y="4035537"/>
                  <a:pt x="2009731" y="4037699"/>
                </a:cubicBezTo>
                <a:cubicBezTo>
                  <a:pt x="2011999" y="4039861"/>
                  <a:pt x="2015098" y="4050888"/>
                  <a:pt x="2016619" y="4062204"/>
                </a:cubicBezTo>
                <a:cubicBezTo>
                  <a:pt x="2019841" y="4086182"/>
                  <a:pt x="2010010" y="4091486"/>
                  <a:pt x="2002084" y="4070047"/>
                </a:cubicBezTo>
                <a:cubicBezTo>
                  <a:pt x="1999495" y="4063042"/>
                  <a:pt x="1997871" y="4053784"/>
                  <a:pt x="1998475" y="4049471"/>
                </a:cubicBezTo>
                <a:cubicBezTo>
                  <a:pt x="2000402" y="4035704"/>
                  <a:pt x="1988985" y="4013140"/>
                  <a:pt x="1980092" y="4013140"/>
                </a:cubicBezTo>
                <a:cubicBezTo>
                  <a:pt x="1975366" y="4013140"/>
                  <a:pt x="1971500" y="4008867"/>
                  <a:pt x="1971500" y="4003644"/>
                </a:cubicBezTo>
                <a:cubicBezTo>
                  <a:pt x="1971500" y="3998421"/>
                  <a:pt x="1973468" y="3994147"/>
                  <a:pt x="1975873" y="3994147"/>
                </a:cubicBezTo>
                <a:cubicBezTo>
                  <a:pt x="1981430" y="3994147"/>
                  <a:pt x="1981644" y="3970593"/>
                  <a:pt x="1976112" y="3967769"/>
                </a:cubicBezTo>
                <a:cubicBezTo>
                  <a:pt x="1970708" y="3965010"/>
                  <a:pt x="1966578" y="3862438"/>
                  <a:pt x="1971688" y="3857866"/>
                </a:cubicBezTo>
                <a:close/>
                <a:moveTo>
                  <a:pt x="502197" y="3851703"/>
                </a:moveTo>
                <a:cubicBezTo>
                  <a:pt x="504602" y="3849551"/>
                  <a:pt x="506570" y="3852232"/>
                  <a:pt x="506570" y="3857660"/>
                </a:cubicBezTo>
                <a:cubicBezTo>
                  <a:pt x="506570" y="3863089"/>
                  <a:pt x="504602" y="3867530"/>
                  <a:pt x="502197" y="3867530"/>
                </a:cubicBezTo>
                <a:cubicBezTo>
                  <a:pt x="499792" y="3867530"/>
                  <a:pt x="497824" y="3864850"/>
                  <a:pt x="497824" y="3861573"/>
                </a:cubicBezTo>
                <a:cubicBezTo>
                  <a:pt x="497824" y="3858297"/>
                  <a:pt x="499792" y="3853855"/>
                  <a:pt x="502197" y="3851703"/>
                </a:cubicBezTo>
                <a:close/>
                <a:moveTo>
                  <a:pt x="2255504" y="3849289"/>
                </a:moveTo>
                <a:cubicBezTo>
                  <a:pt x="2258339" y="3850660"/>
                  <a:pt x="2260113" y="3856731"/>
                  <a:pt x="2260113" y="3867157"/>
                </a:cubicBezTo>
                <a:cubicBezTo>
                  <a:pt x="2260113" y="3890357"/>
                  <a:pt x="2254613" y="3895889"/>
                  <a:pt x="2245726" y="3881626"/>
                </a:cubicBezTo>
                <a:cubicBezTo>
                  <a:pt x="2240091" y="3872582"/>
                  <a:pt x="2239885" y="3868784"/>
                  <a:pt x="2244530" y="3859617"/>
                </a:cubicBezTo>
                <a:cubicBezTo>
                  <a:pt x="2248773" y="3851245"/>
                  <a:pt x="2252669" y="3847917"/>
                  <a:pt x="2255504" y="3849289"/>
                </a:cubicBezTo>
                <a:close/>
                <a:moveTo>
                  <a:pt x="3417010" y="3829545"/>
                </a:moveTo>
                <a:cubicBezTo>
                  <a:pt x="3420476" y="3829545"/>
                  <a:pt x="3423312" y="3833818"/>
                  <a:pt x="3423312" y="3839042"/>
                </a:cubicBezTo>
                <a:cubicBezTo>
                  <a:pt x="3423312" y="3848577"/>
                  <a:pt x="3414080" y="3852056"/>
                  <a:pt x="3408853" y="3844489"/>
                </a:cubicBezTo>
                <a:cubicBezTo>
                  <a:pt x="3404773" y="3838581"/>
                  <a:pt x="3409705" y="3829545"/>
                  <a:pt x="3417010" y="3829545"/>
                </a:cubicBezTo>
                <a:close/>
                <a:moveTo>
                  <a:pt x="2738431" y="3824454"/>
                </a:moveTo>
                <a:cubicBezTo>
                  <a:pt x="2739993" y="3823468"/>
                  <a:pt x="2743623" y="3824329"/>
                  <a:pt x="2750318" y="3826407"/>
                </a:cubicBezTo>
                <a:cubicBezTo>
                  <a:pt x="2758495" y="3828947"/>
                  <a:pt x="2765412" y="3831404"/>
                  <a:pt x="2765687" y="3831867"/>
                </a:cubicBezTo>
                <a:cubicBezTo>
                  <a:pt x="2765963" y="3832331"/>
                  <a:pt x="2767474" y="3847325"/>
                  <a:pt x="2769047" y="3865187"/>
                </a:cubicBezTo>
                <a:cubicBezTo>
                  <a:pt x="2771804" y="3896481"/>
                  <a:pt x="2771493" y="3897778"/>
                  <a:pt x="2760550" y="3900807"/>
                </a:cubicBezTo>
                <a:cubicBezTo>
                  <a:pt x="2754148" y="3902579"/>
                  <a:pt x="2748519" y="3900839"/>
                  <a:pt x="2747649" y="3896820"/>
                </a:cubicBezTo>
                <a:cubicBezTo>
                  <a:pt x="2746801" y="3892898"/>
                  <a:pt x="2745288" y="3879717"/>
                  <a:pt x="2744287" y="3867530"/>
                </a:cubicBezTo>
                <a:cubicBezTo>
                  <a:pt x="2743287" y="3855344"/>
                  <a:pt x="2740888" y="3840067"/>
                  <a:pt x="2738958" y="3833582"/>
                </a:cubicBezTo>
                <a:cubicBezTo>
                  <a:pt x="2737378" y="3828273"/>
                  <a:pt x="2736870" y="3825440"/>
                  <a:pt x="2738431" y="3824454"/>
                </a:cubicBezTo>
                <a:close/>
                <a:moveTo>
                  <a:pt x="1314629" y="3823496"/>
                </a:moveTo>
                <a:cubicBezTo>
                  <a:pt x="1309924" y="3824382"/>
                  <a:pt x="1305359" y="3827673"/>
                  <a:pt x="1304002" y="3832791"/>
                </a:cubicBezTo>
                <a:cubicBezTo>
                  <a:pt x="1302606" y="3838059"/>
                  <a:pt x="1303933" y="3846674"/>
                  <a:pt x="1306949" y="3851937"/>
                </a:cubicBezTo>
                <a:cubicBezTo>
                  <a:pt x="1314633" y="3865340"/>
                  <a:pt x="1317317" y="3858785"/>
                  <a:pt x="1311067" y="3841880"/>
                </a:cubicBezTo>
                <a:cubicBezTo>
                  <a:pt x="1306233" y="3828802"/>
                  <a:pt x="1306662" y="3828027"/>
                  <a:pt x="1317140" y="3830926"/>
                </a:cubicBezTo>
                <a:cubicBezTo>
                  <a:pt x="1323341" y="3832643"/>
                  <a:pt x="1327375" y="3831610"/>
                  <a:pt x="1326103" y="3828631"/>
                </a:cubicBezTo>
                <a:cubicBezTo>
                  <a:pt x="1324181" y="3824130"/>
                  <a:pt x="1319335" y="3822610"/>
                  <a:pt x="1314629" y="3823496"/>
                </a:cubicBezTo>
                <a:close/>
                <a:moveTo>
                  <a:pt x="3892163" y="3819903"/>
                </a:moveTo>
                <a:cubicBezTo>
                  <a:pt x="3896293" y="3817585"/>
                  <a:pt x="3904890" y="3818207"/>
                  <a:pt x="3911267" y="3821285"/>
                </a:cubicBezTo>
                <a:cubicBezTo>
                  <a:pt x="3920929" y="3825948"/>
                  <a:pt x="3923141" y="3831329"/>
                  <a:pt x="3924522" y="3853537"/>
                </a:cubicBezTo>
                <a:cubicBezTo>
                  <a:pt x="3925968" y="3876764"/>
                  <a:pt x="3925057" y="3880192"/>
                  <a:pt x="3917443" y="3880192"/>
                </a:cubicBezTo>
                <a:cubicBezTo>
                  <a:pt x="3911118" y="3880192"/>
                  <a:pt x="3908706" y="3875967"/>
                  <a:pt x="3908706" y="3864893"/>
                </a:cubicBezTo>
                <a:cubicBezTo>
                  <a:pt x="3908706" y="3855512"/>
                  <a:pt x="3904055" y="3844666"/>
                  <a:pt x="3896680" y="3836855"/>
                </a:cubicBezTo>
                <a:cubicBezTo>
                  <a:pt x="3886276" y="3825832"/>
                  <a:pt x="3885667" y="3823549"/>
                  <a:pt x="3892163" y="3819903"/>
                </a:cubicBezTo>
                <a:close/>
                <a:moveTo>
                  <a:pt x="1959090" y="3812273"/>
                </a:moveTo>
                <a:cubicBezTo>
                  <a:pt x="1962026" y="3813352"/>
                  <a:pt x="1965749" y="3817761"/>
                  <a:pt x="1968903" y="3825000"/>
                </a:cubicBezTo>
                <a:cubicBezTo>
                  <a:pt x="1972200" y="3832566"/>
                  <a:pt x="1971980" y="3837713"/>
                  <a:pt x="1968122" y="3843299"/>
                </a:cubicBezTo>
                <a:cubicBezTo>
                  <a:pt x="1965170" y="3847573"/>
                  <a:pt x="1962521" y="3848364"/>
                  <a:pt x="1962236" y="3845056"/>
                </a:cubicBezTo>
                <a:cubicBezTo>
                  <a:pt x="1961951" y="3841748"/>
                  <a:pt x="1961951" y="3836905"/>
                  <a:pt x="1962236" y="3834293"/>
                </a:cubicBezTo>
                <a:cubicBezTo>
                  <a:pt x="1962521" y="3831682"/>
                  <a:pt x="1960786" y="3829545"/>
                  <a:pt x="1958381" y="3829545"/>
                </a:cubicBezTo>
                <a:cubicBezTo>
                  <a:pt x="1955976" y="3829545"/>
                  <a:pt x="1954008" y="3825035"/>
                  <a:pt x="1954008" y="3819521"/>
                </a:cubicBezTo>
                <a:cubicBezTo>
                  <a:pt x="1954008" y="3813443"/>
                  <a:pt x="1956155" y="3811193"/>
                  <a:pt x="1959090" y="3812273"/>
                </a:cubicBezTo>
                <a:close/>
                <a:moveTo>
                  <a:pt x="486892" y="3810553"/>
                </a:moveTo>
                <a:cubicBezTo>
                  <a:pt x="490500" y="3810553"/>
                  <a:pt x="493451" y="3814826"/>
                  <a:pt x="493451" y="3820049"/>
                </a:cubicBezTo>
                <a:cubicBezTo>
                  <a:pt x="493451" y="3825272"/>
                  <a:pt x="490500" y="3829545"/>
                  <a:pt x="486892" y="3829545"/>
                </a:cubicBezTo>
                <a:cubicBezTo>
                  <a:pt x="483284" y="3829545"/>
                  <a:pt x="480332" y="3825272"/>
                  <a:pt x="480332" y="3820049"/>
                </a:cubicBezTo>
                <a:cubicBezTo>
                  <a:pt x="480332" y="3814826"/>
                  <a:pt x="483284" y="3810553"/>
                  <a:pt x="486892" y="3810553"/>
                </a:cubicBezTo>
                <a:close/>
                <a:moveTo>
                  <a:pt x="4113305" y="3809050"/>
                </a:moveTo>
                <a:cubicBezTo>
                  <a:pt x="4121709" y="3813106"/>
                  <a:pt x="4119461" y="3823215"/>
                  <a:pt x="4110156" y="3823215"/>
                </a:cubicBezTo>
                <a:cubicBezTo>
                  <a:pt x="4105506" y="3823215"/>
                  <a:pt x="4100455" y="3828912"/>
                  <a:pt x="4098927" y="3835877"/>
                </a:cubicBezTo>
                <a:cubicBezTo>
                  <a:pt x="4094805" y="3854684"/>
                  <a:pt x="4087996" y="3851200"/>
                  <a:pt x="4087996" y="3830284"/>
                </a:cubicBezTo>
                <a:cubicBezTo>
                  <a:pt x="4087996" y="3816291"/>
                  <a:pt x="4090332" y="3811382"/>
                  <a:pt x="4098000" y="3809260"/>
                </a:cubicBezTo>
                <a:cubicBezTo>
                  <a:pt x="4103503" y="3807737"/>
                  <a:pt x="4110390" y="3807643"/>
                  <a:pt x="4113305" y="3809050"/>
                </a:cubicBezTo>
                <a:close/>
                <a:moveTo>
                  <a:pt x="2043084" y="3794750"/>
                </a:moveTo>
                <a:cubicBezTo>
                  <a:pt x="2041816" y="3795042"/>
                  <a:pt x="2041467" y="3797207"/>
                  <a:pt x="2041467" y="3801376"/>
                </a:cubicBezTo>
                <a:cubicBezTo>
                  <a:pt x="2041467" y="3806834"/>
                  <a:pt x="2043435" y="3809539"/>
                  <a:pt x="2045840" y="3807387"/>
                </a:cubicBezTo>
                <a:cubicBezTo>
                  <a:pt x="2048245" y="3805235"/>
                  <a:pt x="2050212" y="3806492"/>
                  <a:pt x="2050212" y="3810179"/>
                </a:cubicBezTo>
                <a:cubicBezTo>
                  <a:pt x="2050212" y="3813867"/>
                  <a:pt x="2052181" y="3816883"/>
                  <a:pt x="2054585" y="3816883"/>
                </a:cubicBezTo>
                <a:cubicBezTo>
                  <a:pt x="2056991" y="3816883"/>
                  <a:pt x="2058958" y="3814720"/>
                  <a:pt x="2058958" y="3812075"/>
                </a:cubicBezTo>
                <a:cubicBezTo>
                  <a:pt x="2058958" y="3809431"/>
                  <a:pt x="2055023" y="3803709"/>
                  <a:pt x="2050212" y="3799360"/>
                </a:cubicBezTo>
                <a:cubicBezTo>
                  <a:pt x="2046538" y="3796038"/>
                  <a:pt x="2044352" y="3794458"/>
                  <a:pt x="2043084" y="3794750"/>
                </a:cubicBezTo>
                <a:close/>
                <a:moveTo>
                  <a:pt x="1790937" y="3787564"/>
                </a:moveTo>
                <a:cubicBezTo>
                  <a:pt x="1790740" y="3787287"/>
                  <a:pt x="1790249" y="3790113"/>
                  <a:pt x="1789378" y="3795919"/>
                </a:cubicBezTo>
                <a:cubicBezTo>
                  <a:pt x="1788235" y="3803539"/>
                  <a:pt x="1783976" y="3811211"/>
                  <a:pt x="1779916" y="3812965"/>
                </a:cubicBezTo>
                <a:cubicBezTo>
                  <a:pt x="1774602" y="3815262"/>
                  <a:pt x="1774984" y="3815797"/>
                  <a:pt x="1781278" y="3814873"/>
                </a:cubicBezTo>
                <a:cubicBezTo>
                  <a:pt x="1787214" y="3814001"/>
                  <a:pt x="1790254" y="3808526"/>
                  <a:pt x="1790740" y="3797826"/>
                </a:cubicBezTo>
                <a:cubicBezTo>
                  <a:pt x="1791040" y="3791221"/>
                  <a:pt x="1791135" y="3787841"/>
                  <a:pt x="1790937" y="3787564"/>
                </a:cubicBezTo>
                <a:close/>
                <a:moveTo>
                  <a:pt x="2023582" y="3786360"/>
                </a:moveTo>
                <a:cubicBezTo>
                  <a:pt x="2022843" y="3786156"/>
                  <a:pt x="2021117" y="3788463"/>
                  <a:pt x="2017887" y="3793139"/>
                </a:cubicBezTo>
                <a:cubicBezTo>
                  <a:pt x="2009485" y="3805302"/>
                  <a:pt x="2008763" y="3812617"/>
                  <a:pt x="2016323" y="3808973"/>
                </a:cubicBezTo>
                <a:cubicBezTo>
                  <a:pt x="2019329" y="3807524"/>
                  <a:pt x="2022493" y="3801078"/>
                  <a:pt x="2023354" y="3794649"/>
                </a:cubicBezTo>
                <a:cubicBezTo>
                  <a:pt x="2024072" y="3789280"/>
                  <a:pt x="2024321" y="3786564"/>
                  <a:pt x="2023582" y="3786360"/>
                </a:cubicBezTo>
                <a:close/>
                <a:moveTo>
                  <a:pt x="2013093" y="3774587"/>
                </a:moveTo>
                <a:cubicBezTo>
                  <a:pt x="2008310" y="3775297"/>
                  <a:pt x="2004185" y="3780119"/>
                  <a:pt x="2003926" y="3785302"/>
                </a:cubicBezTo>
                <a:cubicBezTo>
                  <a:pt x="2003667" y="3790485"/>
                  <a:pt x="2004257" y="3791340"/>
                  <a:pt x="2005238" y="3787201"/>
                </a:cubicBezTo>
                <a:cubicBezTo>
                  <a:pt x="2006219" y="3783063"/>
                  <a:pt x="2010344" y="3778241"/>
                  <a:pt x="2014405" y="3776486"/>
                </a:cubicBezTo>
                <a:cubicBezTo>
                  <a:pt x="2019760" y="3774171"/>
                  <a:pt x="2019399" y="3773649"/>
                  <a:pt x="2013093" y="3774587"/>
                </a:cubicBezTo>
                <a:close/>
                <a:moveTo>
                  <a:pt x="2633998" y="3759906"/>
                </a:moveTo>
                <a:cubicBezTo>
                  <a:pt x="2637606" y="3759906"/>
                  <a:pt x="2640558" y="3764179"/>
                  <a:pt x="2640558" y="3769402"/>
                </a:cubicBezTo>
                <a:cubicBezTo>
                  <a:pt x="2640558" y="3774625"/>
                  <a:pt x="2637606" y="3778898"/>
                  <a:pt x="2633998" y="3778898"/>
                </a:cubicBezTo>
                <a:cubicBezTo>
                  <a:pt x="2630391" y="3778898"/>
                  <a:pt x="2627439" y="3774625"/>
                  <a:pt x="2627439" y="3769402"/>
                </a:cubicBezTo>
                <a:cubicBezTo>
                  <a:pt x="2627439" y="3764179"/>
                  <a:pt x="2630391" y="3759906"/>
                  <a:pt x="2633998" y="3759906"/>
                </a:cubicBezTo>
                <a:close/>
                <a:moveTo>
                  <a:pt x="4107673" y="3751286"/>
                </a:moveTo>
                <a:cubicBezTo>
                  <a:pt x="4115157" y="3755443"/>
                  <a:pt x="4115150" y="3755412"/>
                  <a:pt x="4111580" y="3768885"/>
                </a:cubicBezTo>
                <a:cubicBezTo>
                  <a:pt x="4107513" y="3784222"/>
                  <a:pt x="4101115" y="3780789"/>
                  <a:pt x="4101115" y="3763270"/>
                </a:cubicBezTo>
                <a:cubicBezTo>
                  <a:pt x="4101115" y="3751979"/>
                  <a:pt x="4102934" y="3748653"/>
                  <a:pt x="4107673" y="3751286"/>
                </a:cubicBezTo>
                <a:close/>
                <a:moveTo>
                  <a:pt x="1769471" y="3740913"/>
                </a:moveTo>
                <a:cubicBezTo>
                  <a:pt x="1760672" y="3740913"/>
                  <a:pt x="1759276" y="3754454"/>
                  <a:pt x="1766156" y="3773065"/>
                </a:cubicBezTo>
                <a:cubicBezTo>
                  <a:pt x="1769816" y="3782965"/>
                  <a:pt x="1772397" y="3784085"/>
                  <a:pt x="1779275" y="3778756"/>
                </a:cubicBezTo>
                <a:cubicBezTo>
                  <a:pt x="1783984" y="3775107"/>
                  <a:pt x="1787837" y="3768519"/>
                  <a:pt x="1787837" y="3764115"/>
                </a:cubicBezTo>
                <a:cubicBezTo>
                  <a:pt x="1787837" y="3752569"/>
                  <a:pt x="1778610" y="3740913"/>
                  <a:pt x="1769471" y="3740913"/>
                </a:cubicBezTo>
                <a:close/>
                <a:moveTo>
                  <a:pt x="2273182" y="3737793"/>
                </a:moveTo>
                <a:cubicBezTo>
                  <a:pt x="2270804" y="3739920"/>
                  <a:pt x="2268859" y="3744341"/>
                  <a:pt x="2268859" y="3747618"/>
                </a:cubicBezTo>
                <a:cubicBezTo>
                  <a:pt x="2268859" y="3756725"/>
                  <a:pt x="2271994" y="3754718"/>
                  <a:pt x="2274901" y="3743750"/>
                </a:cubicBezTo>
                <a:cubicBezTo>
                  <a:pt x="2276394" y="3738116"/>
                  <a:pt x="2275661" y="3735575"/>
                  <a:pt x="2273182" y="3737793"/>
                </a:cubicBezTo>
                <a:close/>
                <a:moveTo>
                  <a:pt x="2067015" y="3729938"/>
                </a:moveTo>
                <a:cubicBezTo>
                  <a:pt x="2065032" y="3730426"/>
                  <a:pt x="2062949" y="3732424"/>
                  <a:pt x="2060477" y="3736003"/>
                </a:cubicBezTo>
                <a:cubicBezTo>
                  <a:pt x="2051676" y="3748743"/>
                  <a:pt x="2056577" y="3772567"/>
                  <a:pt x="2067999" y="3772567"/>
                </a:cubicBezTo>
                <a:cubicBezTo>
                  <a:pt x="2072647" y="3772567"/>
                  <a:pt x="2076450" y="3775416"/>
                  <a:pt x="2076450" y="3778898"/>
                </a:cubicBezTo>
                <a:cubicBezTo>
                  <a:pt x="2076450" y="3786965"/>
                  <a:pt x="2077951" y="3786852"/>
                  <a:pt x="2091750" y="3777750"/>
                </a:cubicBezTo>
                <a:cubicBezTo>
                  <a:pt x="2106590" y="3767961"/>
                  <a:pt x="2105195" y="3745019"/>
                  <a:pt x="2089569" y="3741890"/>
                </a:cubicBezTo>
                <a:cubicBezTo>
                  <a:pt x="2083556" y="3740685"/>
                  <a:pt x="2076078" y="3736657"/>
                  <a:pt x="2072951" y="3732937"/>
                </a:cubicBezTo>
                <a:cubicBezTo>
                  <a:pt x="2070881" y="3730474"/>
                  <a:pt x="2068998" y="3729451"/>
                  <a:pt x="2067015" y="3729938"/>
                </a:cubicBezTo>
                <a:close/>
                <a:moveTo>
                  <a:pt x="1479546" y="3728251"/>
                </a:moveTo>
                <a:cubicBezTo>
                  <a:pt x="1483154" y="3728251"/>
                  <a:pt x="1486105" y="3732524"/>
                  <a:pt x="1486105" y="3737748"/>
                </a:cubicBezTo>
                <a:cubicBezTo>
                  <a:pt x="1486105" y="3742971"/>
                  <a:pt x="1483154" y="3747244"/>
                  <a:pt x="1479546" y="3747244"/>
                </a:cubicBezTo>
                <a:cubicBezTo>
                  <a:pt x="1475938" y="3747244"/>
                  <a:pt x="1472986" y="3742971"/>
                  <a:pt x="1472986" y="3737748"/>
                </a:cubicBezTo>
                <a:cubicBezTo>
                  <a:pt x="1472986" y="3732524"/>
                  <a:pt x="1475938" y="3728251"/>
                  <a:pt x="1479546" y="3728251"/>
                </a:cubicBezTo>
                <a:close/>
                <a:moveTo>
                  <a:pt x="2608904" y="3725099"/>
                </a:moveTo>
                <a:cubicBezTo>
                  <a:pt x="2610542" y="3726827"/>
                  <a:pt x="2610330" y="3730229"/>
                  <a:pt x="2607432" y="3734424"/>
                </a:cubicBezTo>
                <a:cubicBezTo>
                  <a:pt x="2605168" y="3737704"/>
                  <a:pt x="2600706" y="3738052"/>
                  <a:pt x="2597518" y="3735200"/>
                </a:cubicBezTo>
                <a:cubicBezTo>
                  <a:pt x="2592964" y="3731125"/>
                  <a:pt x="2593340" y="3729115"/>
                  <a:pt x="2599274" y="3725818"/>
                </a:cubicBezTo>
                <a:cubicBezTo>
                  <a:pt x="2603777" y="3723317"/>
                  <a:pt x="2607266" y="3723371"/>
                  <a:pt x="2608904" y="3725099"/>
                </a:cubicBezTo>
                <a:close/>
                <a:moveTo>
                  <a:pt x="2581523" y="3714641"/>
                </a:moveTo>
                <a:cubicBezTo>
                  <a:pt x="2583808" y="3714641"/>
                  <a:pt x="2586382" y="3717703"/>
                  <a:pt x="2587244" y="3721446"/>
                </a:cubicBezTo>
                <a:cubicBezTo>
                  <a:pt x="2588106" y="3725189"/>
                  <a:pt x="2585532" y="3728251"/>
                  <a:pt x="2581523" y="3728251"/>
                </a:cubicBezTo>
                <a:cubicBezTo>
                  <a:pt x="2577515" y="3728251"/>
                  <a:pt x="2574940" y="3725189"/>
                  <a:pt x="2575802" y="3721446"/>
                </a:cubicBezTo>
                <a:cubicBezTo>
                  <a:pt x="2576664" y="3717703"/>
                  <a:pt x="2579238" y="3714641"/>
                  <a:pt x="2581523" y="3714641"/>
                </a:cubicBezTo>
                <a:close/>
                <a:moveTo>
                  <a:pt x="1636912" y="3707003"/>
                </a:moveTo>
                <a:cubicBezTo>
                  <a:pt x="1641037" y="3704711"/>
                  <a:pt x="1642869" y="3705686"/>
                  <a:pt x="1641308" y="3709343"/>
                </a:cubicBezTo>
                <a:cubicBezTo>
                  <a:pt x="1639836" y="3712791"/>
                  <a:pt x="1643575" y="3718335"/>
                  <a:pt x="1649617" y="3721661"/>
                </a:cubicBezTo>
                <a:cubicBezTo>
                  <a:pt x="1655660" y="3724987"/>
                  <a:pt x="1663448" y="3735671"/>
                  <a:pt x="1666924" y="3745404"/>
                </a:cubicBezTo>
                <a:cubicBezTo>
                  <a:pt x="1670401" y="3755137"/>
                  <a:pt x="1677383" y="3768522"/>
                  <a:pt x="1682439" y="3775146"/>
                </a:cubicBezTo>
                <a:cubicBezTo>
                  <a:pt x="1687496" y="3781772"/>
                  <a:pt x="1691633" y="3792215"/>
                  <a:pt x="1691633" y="3798355"/>
                </a:cubicBezTo>
                <a:cubicBezTo>
                  <a:pt x="1691633" y="3819130"/>
                  <a:pt x="1696899" y="3829545"/>
                  <a:pt x="1707406" y="3829545"/>
                </a:cubicBezTo>
                <a:cubicBezTo>
                  <a:pt x="1722195" y="3829545"/>
                  <a:pt x="1720827" y="3847204"/>
                  <a:pt x="1705845" y="3849700"/>
                </a:cubicBezTo>
                <a:cubicBezTo>
                  <a:pt x="1697234" y="3851135"/>
                  <a:pt x="1693422" y="3855749"/>
                  <a:pt x="1692422" y="3865948"/>
                </a:cubicBezTo>
                <a:cubicBezTo>
                  <a:pt x="1690837" y="3882100"/>
                  <a:pt x="1690316" y="3882167"/>
                  <a:pt x="1670861" y="3868731"/>
                </a:cubicBezTo>
                <a:cubicBezTo>
                  <a:pt x="1663044" y="3863332"/>
                  <a:pt x="1656649" y="3855297"/>
                  <a:pt x="1656649" y="3850875"/>
                </a:cubicBezTo>
                <a:cubicBezTo>
                  <a:pt x="1656649" y="3846454"/>
                  <a:pt x="1653206" y="3839680"/>
                  <a:pt x="1648997" y="3835823"/>
                </a:cubicBezTo>
                <a:cubicBezTo>
                  <a:pt x="1643517" y="3830801"/>
                  <a:pt x="1642896" y="3827866"/>
                  <a:pt x="1646810" y="3825485"/>
                </a:cubicBezTo>
                <a:cubicBezTo>
                  <a:pt x="1649816" y="3823656"/>
                  <a:pt x="1652276" y="3817048"/>
                  <a:pt x="1652276" y="3810800"/>
                </a:cubicBezTo>
                <a:cubicBezTo>
                  <a:pt x="1652276" y="3794762"/>
                  <a:pt x="1642985" y="3785837"/>
                  <a:pt x="1632598" y="3791898"/>
                </a:cubicBezTo>
                <a:cubicBezTo>
                  <a:pt x="1619750" y="3799395"/>
                  <a:pt x="1617293" y="3798890"/>
                  <a:pt x="1617293" y="3788754"/>
                </a:cubicBezTo>
                <a:cubicBezTo>
                  <a:pt x="1617293" y="3783728"/>
                  <a:pt x="1621429" y="3775422"/>
                  <a:pt x="1626485" y="3770295"/>
                </a:cubicBezTo>
                <a:cubicBezTo>
                  <a:pt x="1634218" y="3762454"/>
                  <a:pt x="1635214" y="3757000"/>
                  <a:pt x="1632758" y="3735953"/>
                </a:cubicBezTo>
                <a:cubicBezTo>
                  <a:pt x="1630444" y="3716125"/>
                  <a:pt x="1631307" y="3710117"/>
                  <a:pt x="1636912" y="3707003"/>
                </a:cubicBezTo>
                <a:close/>
                <a:moveTo>
                  <a:pt x="777691" y="3702928"/>
                </a:moveTo>
                <a:cubicBezTo>
                  <a:pt x="783522" y="3702928"/>
                  <a:pt x="786437" y="3707149"/>
                  <a:pt x="786437" y="3715590"/>
                </a:cubicBezTo>
                <a:cubicBezTo>
                  <a:pt x="786437" y="3729940"/>
                  <a:pt x="781903" y="3731816"/>
                  <a:pt x="774193" y="3720654"/>
                </a:cubicBezTo>
                <a:cubicBezTo>
                  <a:pt x="766484" y="3709493"/>
                  <a:pt x="767779" y="3702928"/>
                  <a:pt x="777691" y="3702928"/>
                </a:cubicBezTo>
                <a:close/>
                <a:moveTo>
                  <a:pt x="2265717" y="3690468"/>
                </a:moveTo>
                <a:cubicBezTo>
                  <a:pt x="2258314" y="3690659"/>
                  <a:pt x="2258307" y="3691087"/>
                  <a:pt x="2265579" y="3699080"/>
                </a:cubicBezTo>
                <a:cubicBezTo>
                  <a:pt x="2269788" y="3703705"/>
                  <a:pt x="2273387" y="3711449"/>
                  <a:pt x="2273577" y="3716288"/>
                </a:cubicBezTo>
                <a:cubicBezTo>
                  <a:pt x="2273840" y="3722989"/>
                  <a:pt x="2274459" y="3723150"/>
                  <a:pt x="2276176" y="3716964"/>
                </a:cubicBezTo>
                <a:cubicBezTo>
                  <a:pt x="2277416" y="3712496"/>
                  <a:pt x="2277322" y="3704662"/>
                  <a:pt x="2275968" y="3699554"/>
                </a:cubicBezTo>
                <a:cubicBezTo>
                  <a:pt x="2274614" y="3694446"/>
                  <a:pt x="2270001" y="3690357"/>
                  <a:pt x="2265717" y="3690468"/>
                </a:cubicBezTo>
                <a:close/>
                <a:moveTo>
                  <a:pt x="4393541" y="3685390"/>
                </a:moveTo>
                <a:cubicBezTo>
                  <a:pt x="4407007" y="3683826"/>
                  <a:pt x="4408035" y="3684924"/>
                  <a:pt x="4405396" y="3698051"/>
                </a:cubicBezTo>
                <a:cubicBezTo>
                  <a:pt x="4396982" y="3739892"/>
                  <a:pt x="4397299" y="3752219"/>
                  <a:pt x="4406971" y="3759714"/>
                </a:cubicBezTo>
                <a:cubicBezTo>
                  <a:pt x="4414177" y="3765297"/>
                  <a:pt x="4416149" y="3771834"/>
                  <a:pt x="4415127" y="3786745"/>
                </a:cubicBezTo>
                <a:cubicBezTo>
                  <a:pt x="4413808" y="3805985"/>
                  <a:pt x="4407473" y="3815139"/>
                  <a:pt x="4401479" y="3806464"/>
                </a:cubicBezTo>
                <a:cubicBezTo>
                  <a:pt x="4399826" y="3804070"/>
                  <a:pt x="4398473" y="3794243"/>
                  <a:pt x="4398473" y="3784626"/>
                </a:cubicBezTo>
                <a:cubicBezTo>
                  <a:pt x="4398473" y="3775009"/>
                  <a:pt x="4395522" y="3762868"/>
                  <a:pt x="4391914" y="3757645"/>
                </a:cubicBezTo>
                <a:cubicBezTo>
                  <a:pt x="4388306" y="3752422"/>
                  <a:pt x="4385355" y="3739398"/>
                  <a:pt x="4385355" y="3728704"/>
                </a:cubicBezTo>
                <a:cubicBezTo>
                  <a:pt x="4385355" y="3715640"/>
                  <a:pt x="4383203" y="3709259"/>
                  <a:pt x="4378795" y="3709259"/>
                </a:cubicBezTo>
                <a:cubicBezTo>
                  <a:pt x="4375187" y="3709259"/>
                  <a:pt x="4372266" y="3707123"/>
                  <a:pt x="4372303" y="3704511"/>
                </a:cubicBezTo>
                <a:cubicBezTo>
                  <a:pt x="4372456" y="3693518"/>
                  <a:pt x="4379702" y="3686995"/>
                  <a:pt x="4393541" y="3685390"/>
                </a:cubicBezTo>
                <a:close/>
                <a:moveTo>
                  <a:pt x="444041" y="3678411"/>
                </a:moveTo>
                <a:cubicBezTo>
                  <a:pt x="446083" y="3677038"/>
                  <a:pt x="449144" y="3679301"/>
                  <a:pt x="453220" y="3685202"/>
                </a:cubicBezTo>
                <a:cubicBezTo>
                  <a:pt x="461267" y="3696852"/>
                  <a:pt x="459463" y="3709259"/>
                  <a:pt x="449722" y="3709259"/>
                </a:cubicBezTo>
                <a:cubicBezTo>
                  <a:pt x="443308" y="3709259"/>
                  <a:pt x="440976" y="3705038"/>
                  <a:pt x="440976" y="3693432"/>
                </a:cubicBezTo>
                <a:cubicBezTo>
                  <a:pt x="440976" y="3684792"/>
                  <a:pt x="441999" y="3679784"/>
                  <a:pt x="444041" y="3678411"/>
                </a:cubicBezTo>
                <a:close/>
                <a:moveTo>
                  <a:pt x="4470885" y="3671274"/>
                </a:moveTo>
                <a:cubicBezTo>
                  <a:pt x="4471945" y="3671274"/>
                  <a:pt x="4472813" y="3674122"/>
                  <a:pt x="4472813" y="3677605"/>
                </a:cubicBezTo>
                <a:cubicBezTo>
                  <a:pt x="4472813" y="3681087"/>
                  <a:pt x="4470729" y="3683935"/>
                  <a:pt x="4468182" y="3683935"/>
                </a:cubicBezTo>
                <a:cubicBezTo>
                  <a:pt x="4465635" y="3683935"/>
                  <a:pt x="4464767" y="3681087"/>
                  <a:pt x="4466253" y="3677605"/>
                </a:cubicBezTo>
                <a:cubicBezTo>
                  <a:pt x="4467740" y="3674122"/>
                  <a:pt x="4469825" y="3671274"/>
                  <a:pt x="4470885" y="3671274"/>
                </a:cubicBezTo>
                <a:close/>
                <a:moveTo>
                  <a:pt x="4171728" y="3669684"/>
                </a:moveTo>
                <a:cubicBezTo>
                  <a:pt x="4182148" y="3673629"/>
                  <a:pt x="4193120" y="3699191"/>
                  <a:pt x="4194226" y="3722097"/>
                </a:cubicBezTo>
                <a:cubicBezTo>
                  <a:pt x="4194724" y="3732432"/>
                  <a:pt x="4196608" y="3740894"/>
                  <a:pt x="4198412" y="3740901"/>
                </a:cubicBezTo>
                <a:cubicBezTo>
                  <a:pt x="4200216" y="3740907"/>
                  <a:pt x="4201692" y="3745186"/>
                  <a:pt x="4201692" y="3750410"/>
                </a:cubicBezTo>
                <a:cubicBezTo>
                  <a:pt x="4201692" y="3755633"/>
                  <a:pt x="4198741" y="3759906"/>
                  <a:pt x="4195132" y="3759906"/>
                </a:cubicBezTo>
                <a:cubicBezTo>
                  <a:pt x="4191525" y="3759906"/>
                  <a:pt x="4188573" y="3755633"/>
                  <a:pt x="4188573" y="3750410"/>
                </a:cubicBezTo>
                <a:cubicBezTo>
                  <a:pt x="4188573" y="3745186"/>
                  <a:pt x="4186391" y="3740913"/>
                  <a:pt x="4183725" y="3740913"/>
                </a:cubicBezTo>
                <a:cubicBezTo>
                  <a:pt x="4180698" y="3740913"/>
                  <a:pt x="4179943" y="3734777"/>
                  <a:pt x="4181714" y="3724559"/>
                </a:cubicBezTo>
                <a:cubicBezTo>
                  <a:pt x="4183943" y="3711701"/>
                  <a:pt x="4182736" y="3707519"/>
                  <a:pt x="4176068" y="3704994"/>
                </a:cubicBezTo>
                <a:cubicBezTo>
                  <a:pt x="4170917" y="3703045"/>
                  <a:pt x="4166888" y="3694907"/>
                  <a:pt x="4165810" y="3684278"/>
                </a:cubicBezTo>
                <a:cubicBezTo>
                  <a:pt x="4164369" y="3670065"/>
                  <a:pt x="4165483" y="3667320"/>
                  <a:pt x="4171728" y="3669684"/>
                </a:cubicBezTo>
                <a:close/>
                <a:moveTo>
                  <a:pt x="3781533" y="3666259"/>
                </a:moveTo>
                <a:cubicBezTo>
                  <a:pt x="3778911" y="3667379"/>
                  <a:pt x="3776058" y="3670574"/>
                  <a:pt x="3772184" y="3676181"/>
                </a:cubicBezTo>
                <a:cubicBezTo>
                  <a:pt x="3763730" y="3688422"/>
                  <a:pt x="3763132" y="3692204"/>
                  <a:pt x="3767900" y="3703257"/>
                </a:cubicBezTo>
                <a:cubicBezTo>
                  <a:pt x="3770948" y="3710324"/>
                  <a:pt x="3772274" y="3718838"/>
                  <a:pt x="3770849" y="3722178"/>
                </a:cubicBezTo>
                <a:cubicBezTo>
                  <a:pt x="3769423" y="3725518"/>
                  <a:pt x="3770340" y="3728251"/>
                  <a:pt x="3772888" y="3728251"/>
                </a:cubicBezTo>
                <a:cubicBezTo>
                  <a:pt x="3775434" y="3728251"/>
                  <a:pt x="3777518" y="3731574"/>
                  <a:pt x="3777518" y="3735634"/>
                </a:cubicBezTo>
                <a:cubicBezTo>
                  <a:pt x="3777518" y="3745550"/>
                  <a:pt x="3791721" y="3765852"/>
                  <a:pt x="3797197" y="3763763"/>
                </a:cubicBezTo>
                <a:cubicBezTo>
                  <a:pt x="3799601" y="3762847"/>
                  <a:pt x="3802141" y="3753769"/>
                  <a:pt x="3802839" y="3743591"/>
                </a:cubicBezTo>
                <a:cubicBezTo>
                  <a:pt x="3804782" y="3715301"/>
                  <a:pt x="3797843" y="3676411"/>
                  <a:pt x="3789493" y="3668785"/>
                </a:cubicBezTo>
                <a:cubicBezTo>
                  <a:pt x="3786545" y="3666092"/>
                  <a:pt x="3784154" y="3665138"/>
                  <a:pt x="3781533" y="3666259"/>
                </a:cubicBezTo>
                <a:close/>
                <a:moveTo>
                  <a:pt x="440976" y="3652281"/>
                </a:moveTo>
                <a:cubicBezTo>
                  <a:pt x="443381" y="3652281"/>
                  <a:pt x="445349" y="3654962"/>
                  <a:pt x="445349" y="3658238"/>
                </a:cubicBezTo>
                <a:cubicBezTo>
                  <a:pt x="445349" y="3661515"/>
                  <a:pt x="443381" y="3665956"/>
                  <a:pt x="440976" y="3668109"/>
                </a:cubicBezTo>
                <a:cubicBezTo>
                  <a:pt x="438571" y="3670260"/>
                  <a:pt x="436603" y="3667580"/>
                  <a:pt x="436603" y="3662151"/>
                </a:cubicBezTo>
                <a:cubicBezTo>
                  <a:pt x="436603" y="3656723"/>
                  <a:pt x="438571" y="3652281"/>
                  <a:pt x="440976" y="3652281"/>
                </a:cubicBezTo>
                <a:close/>
                <a:moveTo>
                  <a:pt x="3171373" y="3641045"/>
                </a:moveTo>
                <a:cubicBezTo>
                  <a:pt x="3176439" y="3643882"/>
                  <a:pt x="3179653" y="3659430"/>
                  <a:pt x="3181007" y="3687671"/>
                </a:cubicBezTo>
                <a:cubicBezTo>
                  <a:pt x="3181977" y="3707877"/>
                  <a:pt x="3184744" y="3727268"/>
                  <a:pt x="3187158" y="3730762"/>
                </a:cubicBezTo>
                <a:cubicBezTo>
                  <a:pt x="3194625" y="3741571"/>
                  <a:pt x="3192227" y="3759906"/>
                  <a:pt x="3183347" y="3759906"/>
                </a:cubicBezTo>
                <a:cubicBezTo>
                  <a:pt x="3177662" y="3759906"/>
                  <a:pt x="3174310" y="3753839"/>
                  <a:pt x="3172415" y="3740122"/>
                </a:cubicBezTo>
                <a:cubicBezTo>
                  <a:pt x="3170911" y="3729240"/>
                  <a:pt x="3169682" y="3712147"/>
                  <a:pt x="3169682" y="3702136"/>
                </a:cubicBezTo>
                <a:cubicBezTo>
                  <a:pt x="3169682" y="3692126"/>
                  <a:pt x="3167713" y="3683935"/>
                  <a:pt x="3165309" y="3683935"/>
                </a:cubicBezTo>
                <a:cubicBezTo>
                  <a:pt x="3159389" y="3683935"/>
                  <a:pt x="3159720" y="3647785"/>
                  <a:pt x="3165690" y="3642444"/>
                </a:cubicBezTo>
                <a:cubicBezTo>
                  <a:pt x="3167790" y="3640565"/>
                  <a:pt x="3169684" y="3640099"/>
                  <a:pt x="3171373" y="3641045"/>
                </a:cubicBezTo>
                <a:close/>
                <a:moveTo>
                  <a:pt x="4333348" y="3639619"/>
                </a:moveTo>
                <a:cubicBezTo>
                  <a:pt x="4335495" y="3639619"/>
                  <a:pt x="4337253" y="3646742"/>
                  <a:pt x="4337253" y="3655447"/>
                </a:cubicBezTo>
                <a:cubicBezTo>
                  <a:pt x="4337253" y="3671092"/>
                  <a:pt x="4331327" y="3676672"/>
                  <a:pt x="4326564" y="3665514"/>
                </a:cubicBezTo>
                <a:cubicBezTo>
                  <a:pt x="4323404" y="3658110"/>
                  <a:pt x="4328247" y="3639619"/>
                  <a:pt x="4333348" y="3639619"/>
                </a:cubicBezTo>
                <a:close/>
                <a:moveTo>
                  <a:pt x="3189618" y="3639619"/>
                </a:moveTo>
                <a:cubicBezTo>
                  <a:pt x="3190679" y="3639619"/>
                  <a:pt x="3191547" y="3642468"/>
                  <a:pt x="3191547" y="3645950"/>
                </a:cubicBezTo>
                <a:cubicBezTo>
                  <a:pt x="3191547" y="3649432"/>
                  <a:pt x="3189462" y="3652281"/>
                  <a:pt x="3186916" y="3652281"/>
                </a:cubicBezTo>
                <a:cubicBezTo>
                  <a:pt x="3184368" y="3652281"/>
                  <a:pt x="3183500" y="3649432"/>
                  <a:pt x="3184987" y="3645950"/>
                </a:cubicBezTo>
                <a:cubicBezTo>
                  <a:pt x="3186474" y="3642468"/>
                  <a:pt x="3188557" y="3639619"/>
                  <a:pt x="3189618" y="3639619"/>
                </a:cubicBezTo>
                <a:close/>
                <a:moveTo>
                  <a:pt x="682150" y="3636920"/>
                </a:moveTo>
                <a:cubicBezTo>
                  <a:pt x="682988" y="3635911"/>
                  <a:pt x="691160" y="3636436"/>
                  <a:pt x="700310" y="3638085"/>
                </a:cubicBezTo>
                <a:cubicBezTo>
                  <a:pt x="714294" y="3640607"/>
                  <a:pt x="716734" y="3643239"/>
                  <a:pt x="715615" y="3654597"/>
                </a:cubicBezTo>
                <a:cubicBezTo>
                  <a:pt x="713678" y="3674264"/>
                  <a:pt x="698421" y="3674483"/>
                  <a:pt x="688710" y="3654982"/>
                </a:cubicBezTo>
                <a:cubicBezTo>
                  <a:pt x="684265" y="3646057"/>
                  <a:pt x="681313" y="3637928"/>
                  <a:pt x="682150" y="3636920"/>
                </a:cubicBezTo>
                <a:close/>
                <a:moveTo>
                  <a:pt x="1590882" y="3636609"/>
                </a:moveTo>
                <a:cubicBezTo>
                  <a:pt x="1596011" y="3632020"/>
                  <a:pt x="1603945" y="3642372"/>
                  <a:pt x="1604107" y="3653864"/>
                </a:cubicBezTo>
                <a:cubicBezTo>
                  <a:pt x="1604200" y="3660428"/>
                  <a:pt x="1602682" y="3659892"/>
                  <a:pt x="1593415" y="3650082"/>
                </a:cubicBezTo>
                <a:cubicBezTo>
                  <a:pt x="1587302" y="3643611"/>
                  <a:pt x="1586691" y="3640359"/>
                  <a:pt x="1590882" y="3636609"/>
                </a:cubicBezTo>
                <a:close/>
                <a:moveTo>
                  <a:pt x="4351611" y="3620852"/>
                </a:moveTo>
                <a:cubicBezTo>
                  <a:pt x="4351946" y="3620814"/>
                  <a:pt x="4352455" y="3623386"/>
                  <a:pt x="4353385" y="3628541"/>
                </a:cubicBezTo>
                <a:cubicBezTo>
                  <a:pt x="4354486" y="3634634"/>
                  <a:pt x="4358948" y="3639620"/>
                  <a:pt x="4363301" y="3639620"/>
                </a:cubicBezTo>
                <a:cubicBezTo>
                  <a:pt x="4371610" y="3639620"/>
                  <a:pt x="4378995" y="3664825"/>
                  <a:pt x="4372776" y="3671956"/>
                </a:cubicBezTo>
                <a:cubicBezTo>
                  <a:pt x="4370826" y="3674193"/>
                  <a:pt x="4369697" y="3674781"/>
                  <a:pt x="4370269" y="3673264"/>
                </a:cubicBezTo>
                <a:cubicBezTo>
                  <a:pt x="4370841" y="3671748"/>
                  <a:pt x="4366598" y="3663687"/>
                  <a:pt x="4360839" y="3655351"/>
                </a:cubicBezTo>
                <a:cubicBezTo>
                  <a:pt x="4355082" y="3647015"/>
                  <a:pt x="4350599" y="3635080"/>
                  <a:pt x="4350879" y="3628828"/>
                </a:cubicBezTo>
                <a:cubicBezTo>
                  <a:pt x="4351115" y="3623540"/>
                  <a:pt x="4351276" y="3620890"/>
                  <a:pt x="4351611" y="3620852"/>
                </a:cubicBezTo>
                <a:close/>
                <a:moveTo>
                  <a:pt x="1737013" y="3614296"/>
                </a:moveTo>
                <a:cubicBezTo>
                  <a:pt x="1729036" y="3614296"/>
                  <a:pt x="1726616" y="3617735"/>
                  <a:pt x="1726616" y="3629068"/>
                </a:cubicBezTo>
                <a:cubicBezTo>
                  <a:pt x="1726616" y="3653909"/>
                  <a:pt x="1738955" y="3660646"/>
                  <a:pt x="1751414" y="3642608"/>
                </a:cubicBezTo>
                <a:cubicBezTo>
                  <a:pt x="1760065" y="3630084"/>
                  <a:pt x="1752034" y="3614296"/>
                  <a:pt x="1737013" y="3614296"/>
                </a:cubicBezTo>
                <a:close/>
                <a:moveTo>
                  <a:pt x="807126" y="3610806"/>
                </a:moveTo>
                <a:cubicBezTo>
                  <a:pt x="808349" y="3613130"/>
                  <a:pt x="808030" y="3617221"/>
                  <a:pt x="805224" y="3621284"/>
                </a:cubicBezTo>
                <a:cubicBezTo>
                  <a:pt x="802084" y="3625831"/>
                  <a:pt x="799638" y="3625940"/>
                  <a:pt x="797792" y="3621616"/>
                </a:cubicBezTo>
                <a:cubicBezTo>
                  <a:pt x="796279" y="3618071"/>
                  <a:pt x="797171" y="3613264"/>
                  <a:pt x="799775" y="3610934"/>
                </a:cubicBezTo>
                <a:cubicBezTo>
                  <a:pt x="803137" y="3607926"/>
                  <a:pt x="805903" y="3608482"/>
                  <a:pt x="807126" y="3610806"/>
                </a:cubicBezTo>
                <a:close/>
                <a:moveTo>
                  <a:pt x="2205452" y="3601634"/>
                </a:moveTo>
                <a:cubicBezTo>
                  <a:pt x="2201844" y="3601634"/>
                  <a:pt x="2198892" y="3604483"/>
                  <a:pt x="2198892" y="3607965"/>
                </a:cubicBezTo>
                <a:cubicBezTo>
                  <a:pt x="2198892" y="3611447"/>
                  <a:pt x="2201844" y="3614296"/>
                  <a:pt x="2205452" y="3614296"/>
                </a:cubicBezTo>
                <a:cubicBezTo>
                  <a:pt x="2209059" y="3614296"/>
                  <a:pt x="2212011" y="3611447"/>
                  <a:pt x="2212011" y="3607965"/>
                </a:cubicBezTo>
                <a:cubicBezTo>
                  <a:pt x="2212011" y="3604483"/>
                  <a:pt x="2209059" y="3601634"/>
                  <a:pt x="2205452" y="3601634"/>
                </a:cubicBezTo>
                <a:close/>
                <a:moveTo>
                  <a:pt x="2052748" y="3583925"/>
                </a:moveTo>
                <a:cubicBezTo>
                  <a:pt x="2039055" y="3586759"/>
                  <a:pt x="2037764" y="3623601"/>
                  <a:pt x="2050662" y="3643478"/>
                </a:cubicBezTo>
                <a:cubicBezTo>
                  <a:pt x="2061876" y="3660759"/>
                  <a:pt x="2072077" y="3663267"/>
                  <a:pt x="2072077" y="3648742"/>
                </a:cubicBezTo>
                <a:cubicBezTo>
                  <a:pt x="2072077" y="3643018"/>
                  <a:pt x="2074153" y="3640729"/>
                  <a:pt x="2077017" y="3643293"/>
                </a:cubicBezTo>
                <a:cubicBezTo>
                  <a:pt x="2079734" y="3645724"/>
                  <a:pt x="2081070" y="3645179"/>
                  <a:pt x="2079985" y="3642083"/>
                </a:cubicBezTo>
                <a:cubicBezTo>
                  <a:pt x="2078900" y="3638987"/>
                  <a:pt x="2074374" y="3624211"/>
                  <a:pt x="2069928" y="3609249"/>
                </a:cubicBezTo>
                <a:cubicBezTo>
                  <a:pt x="2063652" y="3588133"/>
                  <a:pt x="2059807" y="3582465"/>
                  <a:pt x="2052748" y="3583925"/>
                </a:cubicBezTo>
                <a:close/>
                <a:moveTo>
                  <a:pt x="2102688" y="3582642"/>
                </a:moveTo>
                <a:cubicBezTo>
                  <a:pt x="2091905" y="3582642"/>
                  <a:pt x="2087616" y="3595839"/>
                  <a:pt x="2091367" y="3617476"/>
                </a:cubicBezTo>
                <a:cubicBezTo>
                  <a:pt x="2093125" y="3627617"/>
                  <a:pt x="2097186" y="3633289"/>
                  <a:pt x="2102688" y="3633289"/>
                </a:cubicBezTo>
                <a:cubicBezTo>
                  <a:pt x="2108190" y="3633289"/>
                  <a:pt x="2112250" y="3627617"/>
                  <a:pt x="2114008" y="3617476"/>
                </a:cubicBezTo>
                <a:cubicBezTo>
                  <a:pt x="2117759" y="3595839"/>
                  <a:pt x="2113470" y="3582642"/>
                  <a:pt x="2102688" y="3582642"/>
                </a:cubicBezTo>
                <a:close/>
                <a:moveTo>
                  <a:pt x="2147146" y="3571020"/>
                </a:moveTo>
                <a:cubicBezTo>
                  <a:pt x="2141182" y="3572202"/>
                  <a:pt x="2137807" y="3585205"/>
                  <a:pt x="2137738" y="3608493"/>
                </a:cubicBezTo>
                <a:cubicBezTo>
                  <a:pt x="2137660" y="3635013"/>
                  <a:pt x="2140599" y="3640832"/>
                  <a:pt x="2152797" y="3638304"/>
                </a:cubicBezTo>
                <a:cubicBezTo>
                  <a:pt x="2160233" y="3636763"/>
                  <a:pt x="2161723" y="3631816"/>
                  <a:pt x="2161723" y="3608655"/>
                </a:cubicBezTo>
                <a:cubicBezTo>
                  <a:pt x="2161723" y="3588863"/>
                  <a:pt x="2159482" y="3578834"/>
                  <a:pt x="2153945" y="3573836"/>
                </a:cubicBezTo>
                <a:cubicBezTo>
                  <a:pt x="2151409" y="3571546"/>
                  <a:pt x="2149133" y="3570627"/>
                  <a:pt x="2147146" y="3571020"/>
                </a:cubicBezTo>
                <a:close/>
                <a:moveTo>
                  <a:pt x="1798001" y="3564738"/>
                </a:moveTo>
                <a:cubicBezTo>
                  <a:pt x="1781204" y="3569368"/>
                  <a:pt x="1787367" y="3690226"/>
                  <a:pt x="1804404" y="3690298"/>
                </a:cubicBezTo>
                <a:cubicBezTo>
                  <a:pt x="1808521" y="3690317"/>
                  <a:pt x="1817791" y="3697377"/>
                  <a:pt x="1825007" y="3705989"/>
                </a:cubicBezTo>
                <a:cubicBezTo>
                  <a:pt x="1839540" y="3723338"/>
                  <a:pt x="1848022" y="3724009"/>
                  <a:pt x="1854833" y="3708350"/>
                </a:cubicBezTo>
                <a:cubicBezTo>
                  <a:pt x="1858206" y="3700595"/>
                  <a:pt x="1857490" y="3695239"/>
                  <a:pt x="1852022" y="3687323"/>
                </a:cubicBezTo>
                <a:cubicBezTo>
                  <a:pt x="1847987" y="3681480"/>
                  <a:pt x="1844685" y="3672630"/>
                  <a:pt x="1844685" y="3667656"/>
                </a:cubicBezTo>
                <a:cubicBezTo>
                  <a:pt x="1844685" y="3662682"/>
                  <a:pt x="1842507" y="3658612"/>
                  <a:pt x="1839844" y="3658612"/>
                </a:cubicBezTo>
                <a:cubicBezTo>
                  <a:pt x="1837182" y="3658612"/>
                  <a:pt x="1836165" y="3654231"/>
                  <a:pt x="1837584" y="3648876"/>
                </a:cubicBezTo>
                <a:cubicBezTo>
                  <a:pt x="1839003" y="3643522"/>
                  <a:pt x="1837479" y="3637647"/>
                  <a:pt x="1834195" y="3635824"/>
                </a:cubicBezTo>
                <a:cubicBezTo>
                  <a:pt x="1830912" y="3634000"/>
                  <a:pt x="1827039" y="3621768"/>
                  <a:pt x="1825589" y="3608642"/>
                </a:cubicBezTo>
                <a:cubicBezTo>
                  <a:pt x="1822611" y="3581679"/>
                  <a:pt x="1809905" y="3561458"/>
                  <a:pt x="1798001" y="3564738"/>
                </a:cubicBezTo>
                <a:close/>
                <a:moveTo>
                  <a:pt x="4146521" y="3557318"/>
                </a:moveTo>
                <a:cubicBezTo>
                  <a:pt x="4149847" y="3557318"/>
                  <a:pt x="4153705" y="3563604"/>
                  <a:pt x="4155093" y="3571287"/>
                </a:cubicBezTo>
                <a:cubicBezTo>
                  <a:pt x="4158027" y="3587536"/>
                  <a:pt x="4158105" y="3587392"/>
                  <a:pt x="4148124" y="3584178"/>
                </a:cubicBezTo>
                <a:cubicBezTo>
                  <a:pt x="4139112" y="3581276"/>
                  <a:pt x="4137681" y="3557318"/>
                  <a:pt x="4146521" y="3557318"/>
                </a:cubicBezTo>
                <a:close/>
                <a:moveTo>
                  <a:pt x="1509191" y="3547053"/>
                </a:moveTo>
                <a:cubicBezTo>
                  <a:pt x="1508732" y="3547719"/>
                  <a:pt x="1508420" y="3549938"/>
                  <a:pt x="1508315" y="3553625"/>
                </a:cubicBezTo>
                <a:cubicBezTo>
                  <a:pt x="1508125" y="3560299"/>
                  <a:pt x="1509159" y="3564039"/>
                  <a:pt x="1510612" y="3561935"/>
                </a:cubicBezTo>
                <a:cubicBezTo>
                  <a:pt x="1512065" y="3559831"/>
                  <a:pt x="1512220" y="3554371"/>
                  <a:pt x="1510957" y="3549800"/>
                </a:cubicBezTo>
                <a:lnTo>
                  <a:pt x="1510957" y="3549800"/>
                </a:lnTo>
                <a:cubicBezTo>
                  <a:pt x="1510259" y="3547275"/>
                  <a:pt x="1509651" y="3546388"/>
                  <a:pt x="1509191" y="3547053"/>
                </a:cubicBezTo>
                <a:close/>
                <a:moveTo>
                  <a:pt x="4384535" y="3546663"/>
                </a:moveTo>
                <a:cubicBezTo>
                  <a:pt x="4381046" y="3548684"/>
                  <a:pt x="4382082" y="3550184"/>
                  <a:pt x="4387177" y="3550488"/>
                </a:cubicBezTo>
                <a:cubicBezTo>
                  <a:pt x="4391786" y="3550763"/>
                  <a:pt x="4394370" y="3549267"/>
                  <a:pt x="4392916" y="3547163"/>
                </a:cubicBezTo>
                <a:lnTo>
                  <a:pt x="4392916" y="3547162"/>
                </a:lnTo>
                <a:cubicBezTo>
                  <a:pt x="4391463" y="3545059"/>
                  <a:pt x="4387691" y="3544834"/>
                  <a:pt x="4384535" y="3546663"/>
                </a:cubicBezTo>
                <a:close/>
                <a:moveTo>
                  <a:pt x="2522488" y="3535161"/>
                </a:moveTo>
                <a:cubicBezTo>
                  <a:pt x="2507315" y="3535161"/>
                  <a:pt x="2502057" y="3552202"/>
                  <a:pt x="2512028" y="3569062"/>
                </a:cubicBezTo>
                <a:cubicBezTo>
                  <a:pt x="2521362" y="3584844"/>
                  <a:pt x="2530250" y="3584610"/>
                  <a:pt x="2537303" y="3568397"/>
                </a:cubicBezTo>
                <a:cubicBezTo>
                  <a:pt x="2543826" y="3553401"/>
                  <a:pt x="2535696" y="3535161"/>
                  <a:pt x="2522488" y="3535161"/>
                </a:cubicBezTo>
                <a:close/>
                <a:moveTo>
                  <a:pt x="4512472" y="3529100"/>
                </a:moveTo>
                <a:cubicBezTo>
                  <a:pt x="4518537" y="3534527"/>
                  <a:pt x="4517405" y="3538326"/>
                  <a:pt x="4509725" y="3538326"/>
                </a:cubicBezTo>
                <a:cubicBezTo>
                  <a:pt x="4505975" y="3538326"/>
                  <a:pt x="4504144" y="3535430"/>
                  <a:pt x="4505654" y="3531892"/>
                </a:cubicBezTo>
                <a:cubicBezTo>
                  <a:pt x="4507165" y="3528353"/>
                  <a:pt x="4510233" y="3527096"/>
                  <a:pt x="4512472" y="3529100"/>
                </a:cubicBezTo>
                <a:close/>
                <a:moveTo>
                  <a:pt x="1784685" y="3528061"/>
                </a:moveTo>
                <a:cubicBezTo>
                  <a:pt x="1785145" y="3527396"/>
                  <a:pt x="1785753" y="3528283"/>
                  <a:pt x="1786451" y="3530808"/>
                </a:cubicBezTo>
                <a:cubicBezTo>
                  <a:pt x="1787714" y="3535378"/>
                  <a:pt x="1787559" y="3540839"/>
                  <a:pt x="1786106" y="3542942"/>
                </a:cubicBezTo>
                <a:cubicBezTo>
                  <a:pt x="1784653" y="3545046"/>
                  <a:pt x="1783620" y="3541307"/>
                  <a:pt x="1783809" y="3534633"/>
                </a:cubicBezTo>
                <a:cubicBezTo>
                  <a:pt x="1783914" y="3530946"/>
                  <a:pt x="1784226" y="3528727"/>
                  <a:pt x="1784685" y="3528061"/>
                </a:cubicBezTo>
                <a:close/>
                <a:moveTo>
                  <a:pt x="2708921" y="3527919"/>
                </a:moveTo>
                <a:cubicBezTo>
                  <a:pt x="2712790" y="3526048"/>
                  <a:pt x="2717257" y="3527196"/>
                  <a:pt x="2719644" y="3532655"/>
                </a:cubicBezTo>
                <a:cubicBezTo>
                  <a:pt x="2725875" y="3546899"/>
                  <a:pt x="2724328" y="3550987"/>
                  <a:pt x="2712711" y="3550987"/>
                </a:cubicBezTo>
                <a:cubicBezTo>
                  <a:pt x="2705809" y="3550987"/>
                  <a:pt x="2701779" y="3547414"/>
                  <a:pt x="2701779" y="3541293"/>
                </a:cubicBezTo>
                <a:cubicBezTo>
                  <a:pt x="2701779" y="3534679"/>
                  <a:pt x="2705051" y="3529790"/>
                  <a:pt x="2708921" y="3527919"/>
                </a:cubicBezTo>
                <a:close/>
                <a:moveTo>
                  <a:pt x="4454649" y="3527292"/>
                </a:moveTo>
                <a:cubicBezTo>
                  <a:pt x="4457341" y="3526735"/>
                  <a:pt x="4459694" y="3529043"/>
                  <a:pt x="4459694" y="3534633"/>
                </a:cubicBezTo>
                <a:cubicBezTo>
                  <a:pt x="4459694" y="3540146"/>
                  <a:pt x="4456578" y="3544657"/>
                  <a:pt x="4452770" y="3544657"/>
                </a:cubicBezTo>
                <a:cubicBezTo>
                  <a:pt x="4448962" y="3544657"/>
                  <a:pt x="4446626" y="3541273"/>
                  <a:pt x="4447578" y="3537139"/>
                </a:cubicBezTo>
                <a:cubicBezTo>
                  <a:pt x="4448929" y="3531270"/>
                  <a:pt x="4451958" y="3527848"/>
                  <a:pt x="4454649" y="3527292"/>
                </a:cubicBezTo>
                <a:close/>
                <a:moveTo>
                  <a:pt x="4330693" y="3513002"/>
                </a:moveTo>
                <a:cubicBezTo>
                  <a:pt x="4334301" y="3513002"/>
                  <a:pt x="4337253" y="3517444"/>
                  <a:pt x="4337253" y="3522872"/>
                </a:cubicBezTo>
                <a:cubicBezTo>
                  <a:pt x="4337253" y="3528301"/>
                  <a:pt x="4339220" y="3530981"/>
                  <a:pt x="4341625" y="3528830"/>
                </a:cubicBezTo>
                <a:cubicBezTo>
                  <a:pt x="4344031" y="3526678"/>
                  <a:pt x="4345998" y="3527934"/>
                  <a:pt x="4345998" y="3531621"/>
                </a:cubicBezTo>
                <a:cubicBezTo>
                  <a:pt x="4345998" y="3538577"/>
                  <a:pt x="4344596" y="3538808"/>
                  <a:pt x="4331787" y="3533962"/>
                </a:cubicBezTo>
                <a:cubicBezTo>
                  <a:pt x="4322453" y="3530431"/>
                  <a:pt x="4321544" y="3513002"/>
                  <a:pt x="4330693" y="3513002"/>
                </a:cubicBezTo>
                <a:close/>
                <a:moveTo>
                  <a:pt x="1781278" y="3513002"/>
                </a:moveTo>
                <a:cubicBezTo>
                  <a:pt x="1778259" y="3513002"/>
                  <a:pt x="1773340" y="3517275"/>
                  <a:pt x="1770345" y="3522499"/>
                </a:cubicBezTo>
                <a:cubicBezTo>
                  <a:pt x="1766002" y="3530075"/>
                  <a:pt x="1766002" y="3533915"/>
                  <a:pt x="1770345" y="3541491"/>
                </a:cubicBezTo>
                <a:cubicBezTo>
                  <a:pt x="1773340" y="3546714"/>
                  <a:pt x="1778259" y="3550987"/>
                  <a:pt x="1781278" y="3550987"/>
                </a:cubicBezTo>
                <a:cubicBezTo>
                  <a:pt x="1784296" y="3550987"/>
                  <a:pt x="1789216" y="3546714"/>
                  <a:pt x="1792210" y="3541491"/>
                </a:cubicBezTo>
                <a:cubicBezTo>
                  <a:pt x="1796553" y="3533915"/>
                  <a:pt x="1796553" y="3530075"/>
                  <a:pt x="1792210" y="3522499"/>
                </a:cubicBezTo>
                <a:cubicBezTo>
                  <a:pt x="1789216" y="3517275"/>
                  <a:pt x="1784296" y="3513002"/>
                  <a:pt x="1781278" y="3513002"/>
                </a:cubicBezTo>
                <a:close/>
                <a:moveTo>
                  <a:pt x="2765727" y="3506671"/>
                </a:moveTo>
                <a:cubicBezTo>
                  <a:pt x="2772587" y="3506671"/>
                  <a:pt x="2773316" y="3511755"/>
                  <a:pt x="2771915" y="3549820"/>
                </a:cubicBezTo>
                <a:cubicBezTo>
                  <a:pt x="2771281" y="3567051"/>
                  <a:pt x="2773350" y="3581080"/>
                  <a:pt x="2777517" y="3587805"/>
                </a:cubicBezTo>
                <a:cubicBezTo>
                  <a:pt x="2785544" y="3600760"/>
                  <a:pt x="2785603" y="3645950"/>
                  <a:pt x="2777592" y="3645950"/>
                </a:cubicBezTo>
                <a:cubicBezTo>
                  <a:pt x="2774546" y="3645950"/>
                  <a:pt x="2769842" y="3639969"/>
                  <a:pt x="2767140" y="3632658"/>
                </a:cubicBezTo>
                <a:cubicBezTo>
                  <a:pt x="2763472" y="3622736"/>
                  <a:pt x="2759317" y="3620170"/>
                  <a:pt x="2750756" y="3622540"/>
                </a:cubicBezTo>
                <a:cubicBezTo>
                  <a:pt x="2743212" y="3624627"/>
                  <a:pt x="2737404" y="3622134"/>
                  <a:pt x="2733789" y="3615257"/>
                </a:cubicBezTo>
                <a:cubicBezTo>
                  <a:pt x="2726359" y="3601118"/>
                  <a:pt x="2726680" y="3595303"/>
                  <a:pt x="2734887" y="3595303"/>
                </a:cubicBezTo>
                <a:cubicBezTo>
                  <a:pt x="2747519" y="3595303"/>
                  <a:pt x="2755756" y="3575677"/>
                  <a:pt x="2757753" y="3540827"/>
                </a:cubicBezTo>
                <a:cubicBezTo>
                  <a:pt x="2759094" y="3517425"/>
                  <a:pt x="2761605" y="3506671"/>
                  <a:pt x="2765727" y="3506671"/>
                </a:cubicBezTo>
                <a:close/>
                <a:moveTo>
                  <a:pt x="740522" y="3475017"/>
                </a:moveTo>
                <a:cubicBezTo>
                  <a:pt x="744129" y="3475017"/>
                  <a:pt x="747081" y="3479290"/>
                  <a:pt x="747081" y="3484514"/>
                </a:cubicBezTo>
                <a:cubicBezTo>
                  <a:pt x="747081" y="3489737"/>
                  <a:pt x="744129" y="3494010"/>
                  <a:pt x="740522" y="3494010"/>
                </a:cubicBezTo>
                <a:cubicBezTo>
                  <a:pt x="736914" y="3494010"/>
                  <a:pt x="733962" y="3489737"/>
                  <a:pt x="733962" y="3484514"/>
                </a:cubicBezTo>
                <a:cubicBezTo>
                  <a:pt x="733962" y="3479290"/>
                  <a:pt x="736914" y="3475017"/>
                  <a:pt x="740522" y="3475017"/>
                </a:cubicBezTo>
                <a:close/>
                <a:moveTo>
                  <a:pt x="2881943" y="3462355"/>
                </a:moveTo>
                <a:cubicBezTo>
                  <a:pt x="2894195" y="3462355"/>
                  <a:pt x="2891755" y="3486670"/>
                  <a:pt x="2878636" y="3495324"/>
                </a:cubicBezTo>
                <a:cubicBezTo>
                  <a:pt x="2869292" y="3501488"/>
                  <a:pt x="2867766" y="3506034"/>
                  <a:pt x="2869346" y="3523011"/>
                </a:cubicBezTo>
                <a:cubicBezTo>
                  <a:pt x="2871849" y="3549903"/>
                  <a:pt x="2875441" y="3557318"/>
                  <a:pt x="2885957" y="3557318"/>
                </a:cubicBezTo>
                <a:cubicBezTo>
                  <a:pt x="2890768" y="3557318"/>
                  <a:pt x="2893487" y="3554470"/>
                  <a:pt x="2892001" y="3550987"/>
                </a:cubicBezTo>
                <a:cubicBezTo>
                  <a:pt x="2890515" y="3547505"/>
                  <a:pt x="2893450" y="3544657"/>
                  <a:pt x="2898525" y="3544657"/>
                </a:cubicBezTo>
                <a:cubicBezTo>
                  <a:pt x="2906735" y="3544657"/>
                  <a:pt x="2907560" y="3547620"/>
                  <a:pt x="2906022" y="3571563"/>
                </a:cubicBezTo>
                <a:cubicBezTo>
                  <a:pt x="2904716" y="3591896"/>
                  <a:pt x="2902259" y="3599006"/>
                  <a:pt x="2895961" y="3600666"/>
                </a:cubicBezTo>
                <a:cubicBezTo>
                  <a:pt x="2891378" y="3601875"/>
                  <a:pt x="2885758" y="3605436"/>
                  <a:pt x="2883473" y="3608579"/>
                </a:cubicBezTo>
                <a:cubicBezTo>
                  <a:pt x="2877147" y="3617286"/>
                  <a:pt x="2873437" y="3615573"/>
                  <a:pt x="2866193" y="3600603"/>
                </a:cubicBezTo>
                <a:cubicBezTo>
                  <a:pt x="2862551" y="3593071"/>
                  <a:pt x="2860640" y="3584400"/>
                  <a:pt x="2861950" y="3581332"/>
                </a:cubicBezTo>
                <a:cubicBezTo>
                  <a:pt x="2863259" y="3578266"/>
                  <a:pt x="2861976" y="3571647"/>
                  <a:pt x="2859095" y="3566625"/>
                </a:cubicBezTo>
                <a:cubicBezTo>
                  <a:pt x="2856216" y="3561602"/>
                  <a:pt x="2854647" y="3547741"/>
                  <a:pt x="2855607" y="3535822"/>
                </a:cubicBezTo>
                <a:cubicBezTo>
                  <a:pt x="2857084" y="3517519"/>
                  <a:pt x="2855474" y="3512542"/>
                  <a:pt x="2845247" y="3503796"/>
                </a:cubicBezTo>
                <a:cubicBezTo>
                  <a:pt x="2834450" y="3494563"/>
                  <a:pt x="2833721" y="3491927"/>
                  <a:pt x="2838518" y="3479481"/>
                </a:cubicBezTo>
                <a:cubicBezTo>
                  <a:pt x="2841477" y="3471803"/>
                  <a:pt x="2844199" y="3464611"/>
                  <a:pt x="2844567" y="3463500"/>
                </a:cubicBezTo>
                <a:cubicBezTo>
                  <a:pt x="2844933" y="3462388"/>
                  <a:pt x="2849312" y="3465166"/>
                  <a:pt x="2854296" y="3469672"/>
                </a:cubicBezTo>
                <a:cubicBezTo>
                  <a:pt x="2861447" y="3476138"/>
                  <a:pt x="2864488" y="3476230"/>
                  <a:pt x="2868715" y="3470111"/>
                </a:cubicBezTo>
                <a:cubicBezTo>
                  <a:pt x="2871661" y="3465846"/>
                  <a:pt x="2877614" y="3462355"/>
                  <a:pt x="2881943" y="3462355"/>
                </a:cubicBezTo>
                <a:close/>
                <a:moveTo>
                  <a:pt x="3212720" y="3424461"/>
                </a:moveTo>
                <a:cubicBezTo>
                  <a:pt x="3210761" y="3424317"/>
                  <a:pt x="3208239" y="3426087"/>
                  <a:pt x="3204212" y="3429702"/>
                </a:cubicBezTo>
                <a:cubicBezTo>
                  <a:pt x="3196994" y="3436182"/>
                  <a:pt x="3193983" y="3436409"/>
                  <a:pt x="3191529" y="3430662"/>
                </a:cubicBezTo>
                <a:cubicBezTo>
                  <a:pt x="3185716" y="3417044"/>
                  <a:pt x="3171810" y="3426461"/>
                  <a:pt x="3172515" y="3443537"/>
                </a:cubicBezTo>
                <a:cubicBezTo>
                  <a:pt x="3174170" y="3483584"/>
                  <a:pt x="3176852" y="3497988"/>
                  <a:pt x="3184563" y="3508254"/>
                </a:cubicBezTo>
                <a:cubicBezTo>
                  <a:pt x="3194326" y="3521253"/>
                  <a:pt x="3200919" y="3522226"/>
                  <a:pt x="3208164" y="3511736"/>
                </a:cubicBezTo>
                <a:cubicBezTo>
                  <a:pt x="3214518" y="3502537"/>
                  <a:pt x="3215128" y="3481348"/>
                  <a:pt x="3209038" y="3481348"/>
                </a:cubicBezTo>
                <a:cubicBezTo>
                  <a:pt x="3200919" y="3481348"/>
                  <a:pt x="3204591" y="3463861"/>
                  <a:pt x="3213411" y="3460521"/>
                </a:cubicBezTo>
                <a:cubicBezTo>
                  <a:pt x="3222848" y="3456948"/>
                  <a:pt x="3224502" y="3445839"/>
                  <a:pt x="3217851" y="3430701"/>
                </a:cubicBezTo>
                <a:cubicBezTo>
                  <a:pt x="3216075" y="3426661"/>
                  <a:pt x="3214679" y="3424604"/>
                  <a:pt x="3212720" y="3424461"/>
                </a:cubicBezTo>
                <a:close/>
                <a:moveTo>
                  <a:pt x="4431270" y="3405378"/>
                </a:moveTo>
                <a:cubicBezTo>
                  <a:pt x="4439132" y="3405378"/>
                  <a:pt x="4442203" y="3408789"/>
                  <a:pt x="4442203" y="3417522"/>
                </a:cubicBezTo>
                <a:cubicBezTo>
                  <a:pt x="4442203" y="3424201"/>
                  <a:pt x="4443397" y="3434172"/>
                  <a:pt x="4444857" y="3439680"/>
                </a:cubicBezTo>
                <a:cubicBezTo>
                  <a:pt x="4448227" y="3452396"/>
                  <a:pt x="4442500" y="3452457"/>
                  <a:pt x="4430057" y="3439839"/>
                </a:cubicBezTo>
                <a:cubicBezTo>
                  <a:pt x="4416418" y="3426008"/>
                  <a:pt x="4417145" y="3405378"/>
                  <a:pt x="4431270" y="3405378"/>
                </a:cubicBezTo>
                <a:close/>
                <a:moveTo>
                  <a:pt x="549890" y="3399047"/>
                </a:moveTo>
                <a:cubicBezTo>
                  <a:pt x="545314" y="3399047"/>
                  <a:pt x="544506" y="3420204"/>
                  <a:pt x="548842" y="3426481"/>
                </a:cubicBezTo>
                <a:cubicBezTo>
                  <a:pt x="550445" y="3428802"/>
                  <a:pt x="554873" y="3430371"/>
                  <a:pt x="558681" y="3429967"/>
                </a:cubicBezTo>
                <a:cubicBezTo>
                  <a:pt x="563849" y="3429419"/>
                  <a:pt x="563561" y="3428469"/>
                  <a:pt x="557546" y="3426224"/>
                </a:cubicBezTo>
                <a:cubicBezTo>
                  <a:pt x="552135" y="3424204"/>
                  <a:pt x="550205" y="3419246"/>
                  <a:pt x="551671" y="3411132"/>
                </a:cubicBezTo>
                <a:cubicBezTo>
                  <a:pt x="552871" y="3404485"/>
                  <a:pt x="552070" y="3399047"/>
                  <a:pt x="549890" y="3399047"/>
                </a:cubicBezTo>
                <a:close/>
                <a:moveTo>
                  <a:pt x="4493782" y="3361062"/>
                </a:moveTo>
                <a:cubicBezTo>
                  <a:pt x="4504549" y="3361062"/>
                  <a:pt x="4512737" y="3387401"/>
                  <a:pt x="4515201" y="3429955"/>
                </a:cubicBezTo>
                <a:cubicBezTo>
                  <a:pt x="4517467" y="3469086"/>
                  <a:pt x="4516864" y="3475017"/>
                  <a:pt x="4510617" y="3475017"/>
                </a:cubicBezTo>
                <a:cubicBezTo>
                  <a:pt x="4505926" y="3475017"/>
                  <a:pt x="4503423" y="3469697"/>
                  <a:pt x="4503423" y="3459717"/>
                </a:cubicBezTo>
                <a:cubicBezTo>
                  <a:pt x="4503423" y="3451303"/>
                  <a:pt x="4501737" y="3443469"/>
                  <a:pt x="4499676" y="3442307"/>
                </a:cubicBezTo>
                <a:cubicBezTo>
                  <a:pt x="4494542" y="3439417"/>
                  <a:pt x="4488859" y="3361062"/>
                  <a:pt x="4493782" y="3361062"/>
                </a:cubicBezTo>
                <a:close/>
                <a:moveTo>
                  <a:pt x="2909492" y="3361062"/>
                </a:moveTo>
                <a:cubicBezTo>
                  <a:pt x="2913574" y="3361062"/>
                  <a:pt x="2916052" y="3367041"/>
                  <a:pt x="2916052" y="3376889"/>
                </a:cubicBezTo>
                <a:cubicBezTo>
                  <a:pt x="2916052" y="3385593"/>
                  <a:pt x="2915560" y="3392491"/>
                  <a:pt x="2914958" y="3392216"/>
                </a:cubicBezTo>
                <a:cubicBezTo>
                  <a:pt x="2914358" y="3391942"/>
                  <a:pt x="2911405" y="3390279"/>
                  <a:pt x="2908399" y="3388523"/>
                </a:cubicBezTo>
                <a:cubicBezTo>
                  <a:pt x="2900670" y="3384008"/>
                  <a:pt x="2901584" y="3361062"/>
                  <a:pt x="2909492" y="3361062"/>
                </a:cubicBezTo>
                <a:close/>
                <a:moveTo>
                  <a:pt x="4276032" y="3354731"/>
                </a:moveTo>
                <a:cubicBezTo>
                  <a:pt x="4271735" y="3354731"/>
                  <a:pt x="4267027" y="3359237"/>
                  <a:pt x="4265567" y="3364745"/>
                </a:cubicBezTo>
                <a:cubicBezTo>
                  <a:pt x="4261468" y="3380210"/>
                  <a:pt x="4262429" y="3405378"/>
                  <a:pt x="4267117" y="3405378"/>
                </a:cubicBezTo>
                <a:cubicBezTo>
                  <a:pt x="4269429" y="3405378"/>
                  <a:pt x="4273441" y="3416773"/>
                  <a:pt x="4276032" y="3430701"/>
                </a:cubicBezTo>
                <a:cubicBezTo>
                  <a:pt x="4281041" y="3457634"/>
                  <a:pt x="4291986" y="3464466"/>
                  <a:pt x="4302037" y="3446933"/>
                </a:cubicBezTo>
                <a:cubicBezTo>
                  <a:pt x="4307700" y="3437054"/>
                  <a:pt x="4301464" y="3411709"/>
                  <a:pt x="4293369" y="3411709"/>
                </a:cubicBezTo>
                <a:cubicBezTo>
                  <a:pt x="4291049" y="3411709"/>
                  <a:pt x="4289150" y="3403395"/>
                  <a:pt x="4289150" y="3393234"/>
                </a:cubicBezTo>
                <a:cubicBezTo>
                  <a:pt x="4289150" y="3366871"/>
                  <a:pt x="4285014" y="3354731"/>
                  <a:pt x="4276032" y="3354731"/>
                </a:cubicBezTo>
                <a:close/>
                <a:moveTo>
                  <a:pt x="2669069" y="3336073"/>
                </a:moveTo>
                <a:cubicBezTo>
                  <a:pt x="2665559" y="3335774"/>
                  <a:pt x="2662564" y="3338266"/>
                  <a:pt x="2661312" y="3343652"/>
                </a:cubicBezTo>
                <a:cubicBezTo>
                  <a:pt x="2659866" y="3349871"/>
                  <a:pt x="2657960" y="3349759"/>
                  <a:pt x="2652411" y="3343129"/>
                </a:cubicBezTo>
                <a:cubicBezTo>
                  <a:pt x="2648409" y="3338348"/>
                  <a:pt x="2641470" y="3336475"/>
                  <a:pt x="2636395" y="3338808"/>
                </a:cubicBezTo>
                <a:cubicBezTo>
                  <a:pt x="2629019" y="3342196"/>
                  <a:pt x="2627439" y="3348247"/>
                  <a:pt x="2627439" y="3373095"/>
                </a:cubicBezTo>
                <a:cubicBezTo>
                  <a:pt x="2627439" y="3389690"/>
                  <a:pt x="2628751" y="3405167"/>
                  <a:pt x="2630354" y="3407488"/>
                </a:cubicBezTo>
                <a:cubicBezTo>
                  <a:pt x="2635193" y="3414494"/>
                  <a:pt x="2648560" y="3412235"/>
                  <a:pt x="2652210" y="3403795"/>
                </a:cubicBezTo>
                <a:cubicBezTo>
                  <a:pt x="2654092" y="3399442"/>
                  <a:pt x="2655684" y="3391608"/>
                  <a:pt x="2655748" y="3386385"/>
                </a:cubicBezTo>
                <a:cubicBezTo>
                  <a:pt x="2655811" y="3381162"/>
                  <a:pt x="2660148" y="3376006"/>
                  <a:pt x="2665384" y="3374926"/>
                </a:cubicBezTo>
                <a:cubicBezTo>
                  <a:pt x="2679476" y="3372021"/>
                  <a:pt x="2686749" y="3357158"/>
                  <a:pt x="2679914" y="3345235"/>
                </a:cubicBezTo>
                <a:cubicBezTo>
                  <a:pt x="2676604" y="3339460"/>
                  <a:pt x="2672579" y="3336371"/>
                  <a:pt x="2669069" y="3336073"/>
                </a:cubicBezTo>
                <a:close/>
                <a:moveTo>
                  <a:pt x="587549" y="3300251"/>
                </a:moveTo>
                <a:cubicBezTo>
                  <a:pt x="585292" y="3297131"/>
                  <a:pt x="581333" y="3297816"/>
                  <a:pt x="574278" y="3300379"/>
                </a:cubicBezTo>
                <a:cubicBezTo>
                  <a:pt x="564976" y="3303760"/>
                  <a:pt x="563120" y="3307703"/>
                  <a:pt x="564236" y="3321715"/>
                </a:cubicBezTo>
                <a:cubicBezTo>
                  <a:pt x="565211" y="3333958"/>
                  <a:pt x="568436" y="3339486"/>
                  <a:pt x="575444" y="3340927"/>
                </a:cubicBezTo>
                <a:cubicBezTo>
                  <a:pt x="581595" y="3342191"/>
                  <a:pt x="585283" y="3347337"/>
                  <a:pt x="585283" y="3354654"/>
                </a:cubicBezTo>
                <a:cubicBezTo>
                  <a:pt x="585283" y="3383278"/>
                  <a:pt x="595253" y="3394742"/>
                  <a:pt x="606273" y="3378788"/>
                </a:cubicBezTo>
                <a:cubicBezTo>
                  <a:pt x="614472" y="3366918"/>
                  <a:pt x="612474" y="3354943"/>
                  <a:pt x="601264" y="3348772"/>
                </a:cubicBezTo>
                <a:cubicBezTo>
                  <a:pt x="593614" y="3344562"/>
                  <a:pt x="590907" y="3338001"/>
                  <a:pt x="590611" y="3322956"/>
                </a:cubicBezTo>
                <a:cubicBezTo>
                  <a:pt x="590363" y="3310298"/>
                  <a:pt x="589807" y="3303372"/>
                  <a:pt x="587549" y="3300251"/>
                </a:cubicBezTo>
                <a:close/>
                <a:moveTo>
                  <a:pt x="4154664" y="3279903"/>
                </a:moveTo>
                <a:cubicBezTo>
                  <a:pt x="4140613" y="3277009"/>
                  <a:pt x="4136422" y="3296689"/>
                  <a:pt x="4148160" y="3310449"/>
                </a:cubicBezTo>
                <a:cubicBezTo>
                  <a:pt x="4155681" y="3319265"/>
                  <a:pt x="4156874" y="3325844"/>
                  <a:pt x="4154873" y="3347448"/>
                </a:cubicBezTo>
                <a:cubicBezTo>
                  <a:pt x="4153260" y="3364859"/>
                  <a:pt x="4154107" y="3373723"/>
                  <a:pt x="4157387" y="3373723"/>
                </a:cubicBezTo>
                <a:cubicBezTo>
                  <a:pt x="4160108" y="3373723"/>
                  <a:pt x="4162336" y="3382799"/>
                  <a:pt x="4162336" y="3393890"/>
                </a:cubicBezTo>
                <a:cubicBezTo>
                  <a:pt x="4162336" y="3405884"/>
                  <a:pt x="4166190" y="3419997"/>
                  <a:pt x="4171844" y="3428710"/>
                </a:cubicBezTo>
                <a:cubicBezTo>
                  <a:pt x="4183547" y="3446745"/>
                  <a:pt x="4187175" y="3447056"/>
                  <a:pt x="4190840" y="3430334"/>
                </a:cubicBezTo>
                <a:cubicBezTo>
                  <a:pt x="4194319" y="3414464"/>
                  <a:pt x="4189124" y="3354731"/>
                  <a:pt x="4184264" y="3354731"/>
                </a:cubicBezTo>
                <a:cubicBezTo>
                  <a:pt x="4182345" y="3354731"/>
                  <a:pt x="4179540" y="3347608"/>
                  <a:pt x="4178032" y="3338904"/>
                </a:cubicBezTo>
                <a:cubicBezTo>
                  <a:pt x="4176523" y="3330199"/>
                  <a:pt x="4172366" y="3323077"/>
                  <a:pt x="4168795" y="3323077"/>
                </a:cubicBezTo>
                <a:cubicBezTo>
                  <a:pt x="4164157" y="3323077"/>
                  <a:pt x="4162620" y="3317198"/>
                  <a:pt x="4163412" y="3302505"/>
                </a:cubicBezTo>
                <a:cubicBezTo>
                  <a:pt x="4164336" y="3285391"/>
                  <a:pt x="4162865" y="3281593"/>
                  <a:pt x="4154664" y="3279903"/>
                </a:cubicBezTo>
                <a:close/>
                <a:moveTo>
                  <a:pt x="3384462" y="3266400"/>
                </a:moveTo>
                <a:cubicBezTo>
                  <a:pt x="3382627" y="3266785"/>
                  <a:pt x="3381140" y="3268762"/>
                  <a:pt x="3379525" y="3272430"/>
                </a:cubicBezTo>
                <a:cubicBezTo>
                  <a:pt x="3373763" y="3285514"/>
                  <a:pt x="3374087" y="3353134"/>
                  <a:pt x="3379925" y="3355951"/>
                </a:cubicBezTo>
                <a:cubicBezTo>
                  <a:pt x="3382518" y="3357203"/>
                  <a:pt x="3384978" y="3368123"/>
                  <a:pt x="3385390" y="3380219"/>
                </a:cubicBezTo>
                <a:cubicBezTo>
                  <a:pt x="3386068" y="3400055"/>
                  <a:pt x="3384906" y="3402417"/>
                  <a:pt x="3373548" y="3404295"/>
                </a:cubicBezTo>
                <a:cubicBezTo>
                  <a:pt x="3361139" y="3406347"/>
                  <a:pt x="3360992" y="3406842"/>
                  <a:pt x="3363543" y="3438014"/>
                </a:cubicBezTo>
                <a:cubicBezTo>
                  <a:pt x="3365474" y="3461632"/>
                  <a:pt x="3368943" y="3472854"/>
                  <a:pt x="3377229" y="3482289"/>
                </a:cubicBezTo>
                <a:cubicBezTo>
                  <a:pt x="3383333" y="3489241"/>
                  <a:pt x="3388329" y="3500251"/>
                  <a:pt x="3388329" y="3506757"/>
                </a:cubicBezTo>
                <a:cubicBezTo>
                  <a:pt x="3388329" y="3513263"/>
                  <a:pt x="3390296" y="3520347"/>
                  <a:pt x="3392701" y="3522499"/>
                </a:cubicBezTo>
                <a:cubicBezTo>
                  <a:pt x="3395106" y="3524650"/>
                  <a:pt x="3397074" y="3531749"/>
                  <a:pt x="3397074" y="3538273"/>
                </a:cubicBezTo>
                <a:cubicBezTo>
                  <a:pt x="3397074" y="3544797"/>
                  <a:pt x="3401009" y="3551943"/>
                  <a:pt x="3405820" y="3554153"/>
                </a:cubicBezTo>
                <a:cubicBezTo>
                  <a:pt x="3410630" y="3556363"/>
                  <a:pt x="3414566" y="3563678"/>
                  <a:pt x="3414566" y="3570407"/>
                </a:cubicBezTo>
                <a:cubicBezTo>
                  <a:pt x="3414566" y="3577136"/>
                  <a:pt x="3416533" y="3582642"/>
                  <a:pt x="3418939" y="3582642"/>
                </a:cubicBezTo>
                <a:cubicBezTo>
                  <a:pt x="3421344" y="3582642"/>
                  <a:pt x="3423312" y="3589289"/>
                  <a:pt x="3423312" y="3597414"/>
                </a:cubicBezTo>
                <a:cubicBezTo>
                  <a:pt x="3423312" y="3605538"/>
                  <a:pt x="3424623" y="3614085"/>
                  <a:pt x="3426227" y="3616406"/>
                </a:cubicBezTo>
                <a:cubicBezTo>
                  <a:pt x="3431633" y="3624232"/>
                  <a:pt x="3444220" y="3620704"/>
                  <a:pt x="3446895" y="3610613"/>
                </a:cubicBezTo>
                <a:cubicBezTo>
                  <a:pt x="3450838" y="3595735"/>
                  <a:pt x="3450106" y="3569980"/>
                  <a:pt x="3445741" y="3569980"/>
                </a:cubicBezTo>
                <a:cubicBezTo>
                  <a:pt x="3443646" y="3569980"/>
                  <a:pt x="3440597" y="3552886"/>
                  <a:pt x="3438964" y="3531995"/>
                </a:cubicBezTo>
                <a:cubicBezTo>
                  <a:pt x="3437332" y="3511103"/>
                  <a:pt x="3434331" y="3494010"/>
                  <a:pt x="3432296" y="3494010"/>
                </a:cubicBezTo>
                <a:cubicBezTo>
                  <a:pt x="3430260" y="3494010"/>
                  <a:pt x="3427201" y="3471219"/>
                  <a:pt x="3425497" y="3443363"/>
                </a:cubicBezTo>
                <a:cubicBezTo>
                  <a:pt x="3423795" y="3415507"/>
                  <a:pt x="3420637" y="3392716"/>
                  <a:pt x="3418484" y="3392716"/>
                </a:cubicBezTo>
                <a:cubicBezTo>
                  <a:pt x="3416328" y="3392716"/>
                  <a:pt x="3414566" y="3384519"/>
                  <a:pt x="3414566" y="3374498"/>
                </a:cubicBezTo>
                <a:cubicBezTo>
                  <a:pt x="3414566" y="3364479"/>
                  <a:pt x="3411711" y="3352852"/>
                  <a:pt x="3408222" y="3348660"/>
                </a:cubicBezTo>
                <a:cubicBezTo>
                  <a:pt x="3404618" y="3344329"/>
                  <a:pt x="3401314" y="3327191"/>
                  <a:pt x="3400570" y="3308969"/>
                </a:cubicBezTo>
                <a:cubicBezTo>
                  <a:pt x="3399653" y="3286524"/>
                  <a:pt x="3396926" y="3274803"/>
                  <a:pt x="3391484" y="3269917"/>
                </a:cubicBezTo>
                <a:cubicBezTo>
                  <a:pt x="3388479" y="3267220"/>
                  <a:pt x="3386297" y="3266014"/>
                  <a:pt x="3384462" y="3266400"/>
                </a:cubicBezTo>
                <a:close/>
                <a:moveTo>
                  <a:pt x="3348864" y="3248793"/>
                </a:moveTo>
                <a:cubicBezTo>
                  <a:pt x="3345735" y="3247498"/>
                  <a:pt x="3342333" y="3248277"/>
                  <a:pt x="3339131" y="3252124"/>
                </a:cubicBezTo>
                <a:cubicBezTo>
                  <a:pt x="3328886" y="3264436"/>
                  <a:pt x="3334271" y="3297753"/>
                  <a:pt x="3346508" y="3297753"/>
                </a:cubicBezTo>
                <a:cubicBezTo>
                  <a:pt x="3349679" y="3297753"/>
                  <a:pt x="3354371" y="3294095"/>
                  <a:pt x="3356934" y="3289624"/>
                </a:cubicBezTo>
                <a:cubicBezTo>
                  <a:pt x="3365185" y="3275229"/>
                  <a:pt x="3358250" y="3252677"/>
                  <a:pt x="3348864" y="3248793"/>
                </a:cubicBezTo>
                <a:close/>
                <a:moveTo>
                  <a:pt x="313287" y="3234445"/>
                </a:moveTo>
                <a:cubicBezTo>
                  <a:pt x="307242" y="3234445"/>
                  <a:pt x="305415" y="3239467"/>
                  <a:pt x="305415" y="3256085"/>
                </a:cubicBezTo>
                <a:cubicBezTo>
                  <a:pt x="305415" y="3285553"/>
                  <a:pt x="309257" y="3297753"/>
                  <a:pt x="318534" y="3297753"/>
                </a:cubicBezTo>
                <a:cubicBezTo>
                  <a:pt x="322830" y="3297753"/>
                  <a:pt x="327539" y="3293247"/>
                  <a:pt x="328998" y="3287739"/>
                </a:cubicBezTo>
                <a:cubicBezTo>
                  <a:pt x="336318" y="3260124"/>
                  <a:pt x="328747" y="3234445"/>
                  <a:pt x="313287" y="3234445"/>
                </a:cubicBezTo>
                <a:close/>
                <a:moveTo>
                  <a:pt x="4380392" y="3159521"/>
                </a:moveTo>
                <a:cubicBezTo>
                  <a:pt x="4370345" y="3161580"/>
                  <a:pt x="4370094" y="3163088"/>
                  <a:pt x="4371629" y="3212287"/>
                </a:cubicBezTo>
                <a:cubicBezTo>
                  <a:pt x="4372498" y="3240143"/>
                  <a:pt x="4374957" y="3263884"/>
                  <a:pt x="4377095" y="3265043"/>
                </a:cubicBezTo>
                <a:cubicBezTo>
                  <a:pt x="4379233" y="3266204"/>
                  <a:pt x="4380982" y="3271100"/>
                  <a:pt x="4380982" y="3275924"/>
                </a:cubicBezTo>
                <a:cubicBezTo>
                  <a:pt x="4380982" y="3287969"/>
                  <a:pt x="4393153" y="3280395"/>
                  <a:pt x="4396210" y="3266447"/>
                </a:cubicBezTo>
                <a:cubicBezTo>
                  <a:pt x="4400868" y="3245201"/>
                  <a:pt x="4400394" y="3171384"/>
                  <a:pt x="4395554" y="3164378"/>
                </a:cubicBezTo>
                <a:cubicBezTo>
                  <a:pt x="4392905" y="3160541"/>
                  <a:pt x="4386082" y="3158356"/>
                  <a:pt x="4380392" y="3159521"/>
                </a:cubicBezTo>
                <a:close/>
                <a:moveTo>
                  <a:pt x="608431" y="3076110"/>
                </a:moveTo>
                <a:cubicBezTo>
                  <a:pt x="606192" y="3077029"/>
                  <a:pt x="604049" y="3079406"/>
                  <a:pt x="602272" y="3083464"/>
                </a:cubicBezTo>
                <a:cubicBezTo>
                  <a:pt x="597025" y="3095452"/>
                  <a:pt x="597492" y="3125259"/>
                  <a:pt x="603005" y="3130192"/>
                </a:cubicBezTo>
                <a:cubicBezTo>
                  <a:pt x="605537" y="3132458"/>
                  <a:pt x="606802" y="3137611"/>
                  <a:pt x="605816" y="3141644"/>
                </a:cubicBezTo>
                <a:cubicBezTo>
                  <a:pt x="604830" y="3145678"/>
                  <a:pt x="612106" y="3161798"/>
                  <a:pt x="621984" y="3177467"/>
                </a:cubicBezTo>
                <a:lnTo>
                  <a:pt x="639944" y="3205956"/>
                </a:lnTo>
                <a:lnTo>
                  <a:pt x="626855" y="3208107"/>
                </a:lnTo>
                <a:cubicBezTo>
                  <a:pt x="616428" y="3209822"/>
                  <a:pt x="611314" y="3206007"/>
                  <a:pt x="601711" y="3189354"/>
                </a:cubicBezTo>
                <a:cubicBezTo>
                  <a:pt x="595080" y="3177856"/>
                  <a:pt x="589531" y="3171190"/>
                  <a:pt x="589378" y="3174540"/>
                </a:cubicBezTo>
                <a:cubicBezTo>
                  <a:pt x="589226" y="3177891"/>
                  <a:pt x="587275" y="3174039"/>
                  <a:pt x="585043" y="3165981"/>
                </a:cubicBezTo>
                <a:cubicBezTo>
                  <a:pt x="582810" y="3157923"/>
                  <a:pt x="579284" y="3152851"/>
                  <a:pt x="577206" y="3154710"/>
                </a:cubicBezTo>
                <a:cubicBezTo>
                  <a:pt x="575127" y="3156570"/>
                  <a:pt x="574357" y="3151055"/>
                  <a:pt x="575492" y="3142456"/>
                </a:cubicBezTo>
                <a:cubicBezTo>
                  <a:pt x="576628" y="3133856"/>
                  <a:pt x="579295" y="3126820"/>
                  <a:pt x="581420" y="3126820"/>
                </a:cubicBezTo>
                <a:cubicBezTo>
                  <a:pt x="589701" y="3126820"/>
                  <a:pt x="584711" y="3109483"/>
                  <a:pt x="574489" y="3102739"/>
                </a:cubicBezTo>
                <a:cubicBezTo>
                  <a:pt x="565212" y="3096621"/>
                  <a:pt x="562753" y="3097566"/>
                  <a:pt x="556997" y="3109463"/>
                </a:cubicBezTo>
                <a:cubicBezTo>
                  <a:pt x="548748" y="3126512"/>
                  <a:pt x="548298" y="3140196"/>
                  <a:pt x="556129" y="3135846"/>
                </a:cubicBezTo>
                <a:cubicBezTo>
                  <a:pt x="560434" y="3133454"/>
                  <a:pt x="561446" y="3137659"/>
                  <a:pt x="560000" y="3151929"/>
                </a:cubicBezTo>
                <a:cubicBezTo>
                  <a:pt x="558904" y="3162741"/>
                  <a:pt x="560595" y="3175707"/>
                  <a:pt x="563838" y="3181366"/>
                </a:cubicBezTo>
                <a:cubicBezTo>
                  <a:pt x="567027" y="3186928"/>
                  <a:pt x="571680" y="3196390"/>
                  <a:pt x="574180" y="3202392"/>
                </a:cubicBezTo>
                <a:cubicBezTo>
                  <a:pt x="591104" y="3243042"/>
                  <a:pt x="597600" y="3253960"/>
                  <a:pt x="600152" y="3246045"/>
                </a:cubicBezTo>
                <a:cubicBezTo>
                  <a:pt x="601648" y="3241406"/>
                  <a:pt x="602050" y="3244020"/>
                  <a:pt x="601046" y="3251855"/>
                </a:cubicBezTo>
                <a:cubicBezTo>
                  <a:pt x="600042" y="3259689"/>
                  <a:pt x="600966" y="3266099"/>
                  <a:pt x="603100" y="3266099"/>
                </a:cubicBezTo>
                <a:cubicBezTo>
                  <a:pt x="605235" y="3266099"/>
                  <a:pt x="608273" y="3273933"/>
                  <a:pt x="609854" y="3283509"/>
                </a:cubicBezTo>
                <a:cubicBezTo>
                  <a:pt x="611433" y="3293085"/>
                  <a:pt x="614664" y="3304479"/>
                  <a:pt x="617032" y="3308832"/>
                </a:cubicBezTo>
                <a:cubicBezTo>
                  <a:pt x="619400" y="3313184"/>
                  <a:pt x="619811" y="3316746"/>
                  <a:pt x="617946" y="3316746"/>
                </a:cubicBezTo>
                <a:cubicBezTo>
                  <a:pt x="616081" y="3316746"/>
                  <a:pt x="618792" y="3322066"/>
                  <a:pt x="623970" y="3328567"/>
                </a:cubicBezTo>
                <a:cubicBezTo>
                  <a:pt x="629148" y="3335070"/>
                  <a:pt x="633385" y="3345990"/>
                  <a:pt x="633385" y="3352836"/>
                </a:cubicBezTo>
                <a:cubicBezTo>
                  <a:pt x="633385" y="3373477"/>
                  <a:pt x="639067" y="3377284"/>
                  <a:pt x="658577" y="3369716"/>
                </a:cubicBezTo>
                <a:cubicBezTo>
                  <a:pt x="664086" y="3367578"/>
                  <a:pt x="669621" y="3359206"/>
                  <a:pt x="671077" y="3350809"/>
                </a:cubicBezTo>
                <a:cubicBezTo>
                  <a:pt x="674135" y="3333168"/>
                  <a:pt x="679944" y="3331754"/>
                  <a:pt x="690819" y="3346003"/>
                </a:cubicBezTo>
                <a:cubicBezTo>
                  <a:pt x="707087" y="3367317"/>
                  <a:pt x="719876" y="3339683"/>
                  <a:pt x="704860" y="3315662"/>
                </a:cubicBezTo>
                <a:cubicBezTo>
                  <a:pt x="696086" y="3301624"/>
                  <a:pt x="686481" y="3300707"/>
                  <a:pt x="683069" y="3313581"/>
                </a:cubicBezTo>
                <a:cubicBezTo>
                  <a:pt x="677390" y="3335002"/>
                  <a:pt x="653576" y="3313004"/>
                  <a:pt x="648396" y="3281551"/>
                </a:cubicBezTo>
                <a:cubicBezTo>
                  <a:pt x="646709" y="3271312"/>
                  <a:pt x="642464" y="3258153"/>
                  <a:pt x="638964" y="3252310"/>
                </a:cubicBezTo>
                <a:cubicBezTo>
                  <a:pt x="634458" y="3244789"/>
                  <a:pt x="633839" y="3238477"/>
                  <a:pt x="636844" y="3230703"/>
                </a:cubicBezTo>
                <a:cubicBezTo>
                  <a:pt x="640711" y="3220699"/>
                  <a:pt x="641357" y="3220941"/>
                  <a:pt x="644091" y="3233414"/>
                </a:cubicBezTo>
                <a:cubicBezTo>
                  <a:pt x="645742" y="3240944"/>
                  <a:pt x="649912" y="3247106"/>
                  <a:pt x="653357" y="3247106"/>
                </a:cubicBezTo>
                <a:cubicBezTo>
                  <a:pt x="656803" y="3247106"/>
                  <a:pt x="659622" y="3250938"/>
                  <a:pt x="659622" y="3255622"/>
                </a:cubicBezTo>
                <a:cubicBezTo>
                  <a:pt x="659622" y="3260305"/>
                  <a:pt x="663668" y="3269437"/>
                  <a:pt x="668613" y="3275916"/>
                </a:cubicBezTo>
                <a:cubicBezTo>
                  <a:pt x="676292" y="3285977"/>
                  <a:pt x="678929" y="3286497"/>
                  <a:pt x="686690" y="3279479"/>
                </a:cubicBezTo>
                <a:cubicBezTo>
                  <a:pt x="693647" y="3273190"/>
                  <a:pt x="696533" y="3273031"/>
                  <a:pt x="698996" y="3278800"/>
                </a:cubicBezTo>
                <a:cubicBezTo>
                  <a:pt x="704713" y="3292193"/>
                  <a:pt x="718657" y="3283123"/>
                  <a:pt x="718657" y="3266012"/>
                </a:cubicBezTo>
                <a:cubicBezTo>
                  <a:pt x="718657" y="3252393"/>
                  <a:pt x="716447" y="3250007"/>
                  <a:pt x="702258" y="3248307"/>
                </a:cubicBezTo>
                <a:cubicBezTo>
                  <a:pt x="686019" y="3246361"/>
                  <a:pt x="685860" y="3246074"/>
                  <a:pt x="685860" y="3218686"/>
                </a:cubicBezTo>
                <a:cubicBezTo>
                  <a:pt x="685860" y="3195981"/>
                  <a:pt x="683223" y="3186983"/>
                  <a:pt x="671132" y="3168421"/>
                </a:cubicBezTo>
                <a:cubicBezTo>
                  <a:pt x="663031" y="3155986"/>
                  <a:pt x="653493" y="3145813"/>
                  <a:pt x="649936" y="3145813"/>
                </a:cubicBezTo>
                <a:cubicBezTo>
                  <a:pt x="638352" y="3145813"/>
                  <a:pt x="625360" y="3123579"/>
                  <a:pt x="623889" y="3101236"/>
                </a:cubicBezTo>
                <a:cubicBezTo>
                  <a:pt x="622735" y="3083732"/>
                  <a:pt x="615150" y="3073356"/>
                  <a:pt x="608431" y="3076110"/>
                </a:cubicBezTo>
                <a:close/>
                <a:moveTo>
                  <a:pt x="299116" y="2844933"/>
                </a:moveTo>
                <a:cubicBezTo>
                  <a:pt x="303196" y="2846859"/>
                  <a:pt x="305415" y="2851711"/>
                  <a:pt x="305415" y="2859317"/>
                </a:cubicBezTo>
                <a:cubicBezTo>
                  <a:pt x="305415" y="2865615"/>
                  <a:pt x="308538" y="2877223"/>
                  <a:pt x="312354" y="2885111"/>
                </a:cubicBezTo>
                <a:cubicBezTo>
                  <a:pt x="317852" y="2896473"/>
                  <a:pt x="318194" y="2901370"/>
                  <a:pt x="314006" y="2908678"/>
                </a:cubicBezTo>
                <a:cubicBezTo>
                  <a:pt x="311097" y="2913751"/>
                  <a:pt x="306217" y="2917902"/>
                  <a:pt x="303161" y="2917902"/>
                </a:cubicBezTo>
                <a:cubicBezTo>
                  <a:pt x="300106" y="2917902"/>
                  <a:pt x="296536" y="2921936"/>
                  <a:pt x="295229" y="2926867"/>
                </a:cubicBezTo>
                <a:cubicBezTo>
                  <a:pt x="292244" y="2938128"/>
                  <a:pt x="296760" y="3007519"/>
                  <a:pt x="301032" y="3016030"/>
                </a:cubicBezTo>
                <a:cubicBezTo>
                  <a:pt x="302780" y="3019512"/>
                  <a:pt x="305502" y="3030195"/>
                  <a:pt x="307082" y="3039770"/>
                </a:cubicBezTo>
                <a:cubicBezTo>
                  <a:pt x="308662" y="3049346"/>
                  <a:pt x="311885" y="3057181"/>
                  <a:pt x="314244" y="3057181"/>
                </a:cubicBezTo>
                <a:cubicBezTo>
                  <a:pt x="321268" y="3057181"/>
                  <a:pt x="319314" y="3111671"/>
                  <a:pt x="311975" y="3120489"/>
                </a:cubicBezTo>
                <a:cubicBezTo>
                  <a:pt x="302206" y="3132227"/>
                  <a:pt x="303689" y="3156344"/>
                  <a:pt x="314431" y="3160411"/>
                </a:cubicBezTo>
                <a:cubicBezTo>
                  <a:pt x="319389" y="3162288"/>
                  <a:pt x="323092" y="3167606"/>
                  <a:pt x="322659" y="3172228"/>
                </a:cubicBezTo>
                <a:cubicBezTo>
                  <a:pt x="320920" y="3190782"/>
                  <a:pt x="323366" y="3196459"/>
                  <a:pt x="333101" y="3196459"/>
                </a:cubicBezTo>
                <a:cubicBezTo>
                  <a:pt x="346142" y="3196459"/>
                  <a:pt x="355695" y="3221025"/>
                  <a:pt x="351673" y="3244221"/>
                </a:cubicBezTo>
                <a:cubicBezTo>
                  <a:pt x="349397" y="3257353"/>
                  <a:pt x="350784" y="3263404"/>
                  <a:pt x="357674" y="3270391"/>
                </a:cubicBezTo>
                <a:cubicBezTo>
                  <a:pt x="368216" y="3281081"/>
                  <a:pt x="369336" y="3294899"/>
                  <a:pt x="360077" y="3300043"/>
                </a:cubicBezTo>
                <a:cubicBezTo>
                  <a:pt x="350697" y="3305254"/>
                  <a:pt x="351979" y="3331760"/>
                  <a:pt x="362263" y="3345235"/>
                </a:cubicBezTo>
                <a:cubicBezTo>
                  <a:pt x="367074" y="3351537"/>
                  <a:pt x="371009" y="3363374"/>
                  <a:pt x="371009" y="3371539"/>
                </a:cubicBezTo>
                <a:cubicBezTo>
                  <a:pt x="371009" y="3383203"/>
                  <a:pt x="368637" y="3386385"/>
                  <a:pt x="359940" y="3386385"/>
                </a:cubicBezTo>
                <a:cubicBezTo>
                  <a:pt x="348442" y="3386385"/>
                  <a:pt x="339041" y="3405778"/>
                  <a:pt x="348358" y="3410274"/>
                </a:cubicBezTo>
                <a:cubicBezTo>
                  <a:pt x="351196" y="3411643"/>
                  <a:pt x="353518" y="3421320"/>
                  <a:pt x="353518" y="3431779"/>
                </a:cubicBezTo>
                <a:cubicBezTo>
                  <a:pt x="353518" y="3446987"/>
                  <a:pt x="356080" y="3452194"/>
                  <a:pt x="366316" y="3457788"/>
                </a:cubicBezTo>
                <a:cubicBezTo>
                  <a:pt x="378646" y="3464526"/>
                  <a:pt x="388501" y="3484868"/>
                  <a:pt x="388501" y="3503581"/>
                </a:cubicBezTo>
                <a:cubicBezTo>
                  <a:pt x="388501" y="3508518"/>
                  <a:pt x="392437" y="3515606"/>
                  <a:pt x="397247" y="3519333"/>
                </a:cubicBezTo>
                <a:cubicBezTo>
                  <a:pt x="402057" y="3523060"/>
                  <a:pt x="405993" y="3531897"/>
                  <a:pt x="405993" y="3538971"/>
                </a:cubicBezTo>
                <a:cubicBezTo>
                  <a:pt x="405993" y="3546044"/>
                  <a:pt x="410912" y="3561170"/>
                  <a:pt x="416925" y="3572583"/>
                </a:cubicBezTo>
                <a:cubicBezTo>
                  <a:pt x="438773" y="3614051"/>
                  <a:pt x="425890" y="3621313"/>
                  <a:pt x="400289" y="3581960"/>
                </a:cubicBezTo>
                <a:cubicBezTo>
                  <a:pt x="391139" y="3567895"/>
                  <a:pt x="379425" y="3544489"/>
                  <a:pt x="374258" y="3529946"/>
                </a:cubicBezTo>
                <a:cubicBezTo>
                  <a:pt x="369091" y="3515404"/>
                  <a:pt x="361327" y="3499784"/>
                  <a:pt x="357004" y="3495233"/>
                </a:cubicBezTo>
                <a:cubicBezTo>
                  <a:pt x="352682" y="3490684"/>
                  <a:pt x="349145" y="3480338"/>
                  <a:pt x="349145" y="3472244"/>
                </a:cubicBezTo>
                <a:cubicBezTo>
                  <a:pt x="349145" y="3462865"/>
                  <a:pt x="343594" y="3451398"/>
                  <a:pt x="333840" y="3440626"/>
                </a:cubicBezTo>
                <a:cubicBezTo>
                  <a:pt x="325355" y="3431258"/>
                  <a:pt x="318534" y="3418093"/>
                  <a:pt x="318534" y="3411084"/>
                </a:cubicBezTo>
                <a:cubicBezTo>
                  <a:pt x="318534" y="3404131"/>
                  <a:pt x="313615" y="3391841"/>
                  <a:pt x="307602" y="3383774"/>
                </a:cubicBezTo>
                <a:cubicBezTo>
                  <a:pt x="301589" y="3375707"/>
                  <a:pt x="296670" y="3365833"/>
                  <a:pt x="296670" y="3361833"/>
                </a:cubicBezTo>
                <a:cubicBezTo>
                  <a:pt x="296670" y="3357832"/>
                  <a:pt x="294210" y="3348528"/>
                  <a:pt x="291204" y="3341156"/>
                </a:cubicBezTo>
                <a:cubicBezTo>
                  <a:pt x="286831" y="3330434"/>
                  <a:pt x="286831" y="3327180"/>
                  <a:pt x="291204" y="3324887"/>
                </a:cubicBezTo>
                <a:cubicBezTo>
                  <a:pt x="297713" y="3321474"/>
                  <a:pt x="298538" y="3293842"/>
                  <a:pt x="292297" y="3288257"/>
                </a:cubicBezTo>
                <a:cubicBezTo>
                  <a:pt x="289891" y="3286105"/>
                  <a:pt x="287924" y="3277123"/>
                  <a:pt x="287924" y="3268298"/>
                </a:cubicBezTo>
                <a:cubicBezTo>
                  <a:pt x="287924" y="3257662"/>
                  <a:pt x="285022" y="3251153"/>
                  <a:pt x="279316" y="3248993"/>
                </a:cubicBezTo>
                <a:cubicBezTo>
                  <a:pt x="271869" y="3246174"/>
                  <a:pt x="270836" y="3240854"/>
                  <a:pt x="271663" y="3209582"/>
                </a:cubicBezTo>
                <a:cubicBezTo>
                  <a:pt x="272576" y="3175025"/>
                  <a:pt x="271877" y="3172444"/>
                  <a:pt x="255824" y="3151135"/>
                </a:cubicBezTo>
                <a:cubicBezTo>
                  <a:pt x="243739" y="3135092"/>
                  <a:pt x="239448" y="3124700"/>
                  <a:pt x="240519" y="3114065"/>
                </a:cubicBezTo>
                <a:cubicBezTo>
                  <a:pt x="242026" y="3099109"/>
                  <a:pt x="262146" y="3077495"/>
                  <a:pt x="275363" y="3076636"/>
                </a:cubicBezTo>
                <a:cubicBezTo>
                  <a:pt x="279277" y="3076381"/>
                  <a:pt x="284521" y="3072612"/>
                  <a:pt x="287016" y="3068260"/>
                </a:cubicBezTo>
                <a:cubicBezTo>
                  <a:pt x="293564" y="3056837"/>
                  <a:pt x="281862" y="3019213"/>
                  <a:pt x="271736" y="3019134"/>
                </a:cubicBezTo>
                <a:cubicBezTo>
                  <a:pt x="267411" y="3019102"/>
                  <a:pt x="256985" y="3007731"/>
                  <a:pt x="248567" y="2993872"/>
                </a:cubicBezTo>
                <a:cubicBezTo>
                  <a:pt x="236873" y="2974617"/>
                  <a:pt x="230028" y="2968658"/>
                  <a:pt x="219553" y="2968611"/>
                </a:cubicBezTo>
                <a:cubicBezTo>
                  <a:pt x="209719" y="2968566"/>
                  <a:pt x="203783" y="2963994"/>
                  <a:pt x="198550" y="2952433"/>
                </a:cubicBezTo>
                <a:cubicBezTo>
                  <a:pt x="188371" y="2929942"/>
                  <a:pt x="193259" y="2911571"/>
                  <a:pt x="209422" y="2911571"/>
                </a:cubicBezTo>
                <a:cubicBezTo>
                  <a:pt x="219680" y="2911571"/>
                  <a:pt x="222747" y="2908178"/>
                  <a:pt x="225158" y="2894161"/>
                </a:cubicBezTo>
                <a:cubicBezTo>
                  <a:pt x="228039" y="2877407"/>
                  <a:pt x="237932" y="2861545"/>
                  <a:pt x="245762" y="2861125"/>
                </a:cubicBezTo>
                <a:cubicBezTo>
                  <a:pt x="247826" y="2861014"/>
                  <a:pt x="248389" y="2867420"/>
                  <a:pt x="247013" y="2875360"/>
                </a:cubicBezTo>
                <a:cubicBezTo>
                  <a:pt x="240820" y="2911084"/>
                  <a:pt x="258686" y="2935855"/>
                  <a:pt x="275118" y="2914326"/>
                </a:cubicBezTo>
                <a:cubicBezTo>
                  <a:pt x="285388" y="2900871"/>
                  <a:pt x="285718" y="2890590"/>
                  <a:pt x="276532" y="2870294"/>
                </a:cubicBezTo>
                <a:cubicBezTo>
                  <a:pt x="269749" y="2855307"/>
                  <a:pt x="269922" y="2854561"/>
                  <a:pt x="281659" y="2848100"/>
                </a:cubicBezTo>
                <a:cubicBezTo>
                  <a:pt x="289097" y="2844006"/>
                  <a:pt x="295037" y="2843007"/>
                  <a:pt x="299116" y="2844933"/>
                </a:cubicBezTo>
                <a:close/>
                <a:moveTo>
                  <a:pt x="4347140" y="2808314"/>
                </a:moveTo>
                <a:cubicBezTo>
                  <a:pt x="4337315" y="2807335"/>
                  <a:pt x="4335235" y="2809562"/>
                  <a:pt x="4335975" y="2820272"/>
                </a:cubicBezTo>
                <a:cubicBezTo>
                  <a:pt x="4336814" y="2832429"/>
                  <a:pt x="4335100" y="2833218"/>
                  <a:pt x="4313472" y="2830622"/>
                </a:cubicBezTo>
                <a:cubicBezTo>
                  <a:pt x="4292375" y="2828089"/>
                  <a:pt x="4289759" y="2829181"/>
                  <a:pt x="4287024" y="2841656"/>
                </a:cubicBezTo>
                <a:cubicBezTo>
                  <a:pt x="4285062" y="2850604"/>
                  <a:pt x="4286448" y="2859434"/>
                  <a:pt x="4290942" y="2866625"/>
                </a:cubicBezTo>
                <a:cubicBezTo>
                  <a:pt x="4298778" y="2879159"/>
                  <a:pt x="4300112" y="2892578"/>
                  <a:pt x="4293523" y="2892578"/>
                </a:cubicBezTo>
                <a:cubicBezTo>
                  <a:pt x="4285230" y="2892578"/>
                  <a:pt x="4289172" y="2910727"/>
                  <a:pt x="4298383" y="2914961"/>
                </a:cubicBezTo>
                <a:cubicBezTo>
                  <a:pt x="4308883" y="2919785"/>
                  <a:pt x="4326494" y="2899832"/>
                  <a:pt x="4316481" y="2894457"/>
                </a:cubicBezTo>
                <a:cubicBezTo>
                  <a:pt x="4307136" y="2889442"/>
                  <a:pt x="4310473" y="2873571"/>
                  <a:pt x="4322232" y="2867098"/>
                </a:cubicBezTo>
                <a:cubicBezTo>
                  <a:pt x="4337564" y="2858659"/>
                  <a:pt x="4336902" y="2858163"/>
                  <a:pt x="4344228" y="2883547"/>
                </a:cubicBezTo>
                <a:cubicBezTo>
                  <a:pt x="4350698" y="2905968"/>
                  <a:pt x="4349183" y="2930563"/>
                  <a:pt x="4341331" y="2930563"/>
                </a:cubicBezTo>
                <a:cubicBezTo>
                  <a:pt x="4336075" y="2930563"/>
                  <a:pt x="4335993" y="2947834"/>
                  <a:pt x="4341235" y="2950611"/>
                </a:cubicBezTo>
                <a:cubicBezTo>
                  <a:pt x="4343426" y="2951772"/>
                  <a:pt x="4345760" y="2964117"/>
                  <a:pt x="4346422" y="2978045"/>
                </a:cubicBezTo>
                <a:cubicBezTo>
                  <a:pt x="4347085" y="2991973"/>
                  <a:pt x="4349414" y="3006834"/>
                  <a:pt x="4351599" y="3011069"/>
                </a:cubicBezTo>
                <a:cubicBezTo>
                  <a:pt x="4353784" y="3015304"/>
                  <a:pt x="4354720" y="3022427"/>
                  <a:pt x="4353681" y="3026896"/>
                </a:cubicBezTo>
                <a:cubicBezTo>
                  <a:pt x="4352641" y="3031366"/>
                  <a:pt x="4354914" y="3038493"/>
                  <a:pt x="4358733" y="3042735"/>
                </a:cubicBezTo>
                <a:cubicBezTo>
                  <a:pt x="4367551" y="3052530"/>
                  <a:pt x="4367318" y="3052543"/>
                  <a:pt x="4374735" y="3041806"/>
                </a:cubicBezTo>
                <a:cubicBezTo>
                  <a:pt x="4381984" y="3031311"/>
                  <a:pt x="4382916" y="3015342"/>
                  <a:pt x="4376609" y="3009699"/>
                </a:cubicBezTo>
                <a:cubicBezTo>
                  <a:pt x="4374203" y="3007547"/>
                  <a:pt x="4372236" y="2993135"/>
                  <a:pt x="4372236" y="2977671"/>
                </a:cubicBezTo>
                <a:cubicBezTo>
                  <a:pt x="4372236" y="2962208"/>
                  <a:pt x="4374203" y="2949556"/>
                  <a:pt x="4376609" y="2949556"/>
                </a:cubicBezTo>
                <a:cubicBezTo>
                  <a:pt x="4382749" y="2949556"/>
                  <a:pt x="4382065" y="2928334"/>
                  <a:pt x="4375625" y="2919010"/>
                </a:cubicBezTo>
                <a:cubicBezTo>
                  <a:pt x="4371800" y="2913473"/>
                  <a:pt x="4371563" y="2908132"/>
                  <a:pt x="4374793" y="2900334"/>
                </a:cubicBezTo>
                <a:cubicBezTo>
                  <a:pt x="4380909" y="2885567"/>
                  <a:pt x="4382369" y="2841931"/>
                  <a:pt x="4376745" y="2841931"/>
                </a:cubicBezTo>
                <a:cubicBezTo>
                  <a:pt x="4374265" y="2841931"/>
                  <a:pt x="4372236" y="2838879"/>
                  <a:pt x="4372236" y="2835149"/>
                </a:cubicBezTo>
                <a:cubicBezTo>
                  <a:pt x="4372236" y="2823118"/>
                  <a:pt x="4359546" y="2809548"/>
                  <a:pt x="4347140" y="2808314"/>
                </a:cubicBezTo>
                <a:close/>
                <a:moveTo>
                  <a:pt x="185194" y="2800466"/>
                </a:moveTo>
                <a:cubicBezTo>
                  <a:pt x="189412" y="2798867"/>
                  <a:pt x="195472" y="2799995"/>
                  <a:pt x="202843" y="2804051"/>
                </a:cubicBezTo>
                <a:cubicBezTo>
                  <a:pt x="212914" y="2809595"/>
                  <a:pt x="214175" y="2812194"/>
                  <a:pt x="209063" y="2816874"/>
                </a:cubicBezTo>
                <a:cubicBezTo>
                  <a:pt x="198483" y="2826562"/>
                  <a:pt x="178601" y="2824192"/>
                  <a:pt x="178601" y="2813244"/>
                </a:cubicBezTo>
                <a:cubicBezTo>
                  <a:pt x="178601" y="2806392"/>
                  <a:pt x="180976" y="2802066"/>
                  <a:pt x="185194" y="2800466"/>
                </a:cubicBezTo>
                <a:close/>
                <a:moveTo>
                  <a:pt x="222256" y="2788186"/>
                </a:moveTo>
                <a:cubicBezTo>
                  <a:pt x="224620" y="2786070"/>
                  <a:pt x="233475" y="2786219"/>
                  <a:pt x="241934" y="2788517"/>
                </a:cubicBezTo>
                <a:cubicBezTo>
                  <a:pt x="255309" y="2792149"/>
                  <a:pt x="257313" y="2795077"/>
                  <a:pt x="257313" y="2810982"/>
                </a:cubicBezTo>
                <a:cubicBezTo>
                  <a:pt x="257313" y="2824652"/>
                  <a:pt x="255240" y="2829270"/>
                  <a:pt x="249103" y="2829270"/>
                </a:cubicBezTo>
                <a:cubicBezTo>
                  <a:pt x="244587" y="2829270"/>
                  <a:pt x="238443" y="2824997"/>
                  <a:pt x="235449" y="2819774"/>
                </a:cubicBezTo>
                <a:cubicBezTo>
                  <a:pt x="232454" y="2814551"/>
                  <a:pt x="227294" y="2810277"/>
                  <a:pt x="223981" y="2810277"/>
                </a:cubicBezTo>
                <a:cubicBezTo>
                  <a:pt x="217082" y="2810277"/>
                  <a:pt x="215807" y="2793955"/>
                  <a:pt x="222256" y="2788186"/>
                </a:cubicBezTo>
                <a:close/>
                <a:moveTo>
                  <a:pt x="4412081" y="2689991"/>
                </a:moveTo>
                <a:cubicBezTo>
                  <a:pt x="4424157" y="2689991"/>
                  <a:pt x="4429546" y="2714850"/>
                  <a:pt x="4428685" y="2766566"/>
                </a:cubicBezTo>
                <a:cubicBezTo>
                  <a:pt x="4427818" y="2818737"/>
                  <a:pt x="4424057" y="2832168"/>
                  <a:pt x="4416240" y="2811021"/>
                </a:cubicBezTo>
                <a:cubicBezTo>
                  <a:pt x="4413745" y="2804271"/>
                  <a:pt x="4410404" y="2774278"/>
                  <a:pt x="4408816" y="2744370"/>
                </a:cubicBezTo>
                <a:cubicBezTo>
                  <a:pt x="4406454" y="2699871"/>
                  <a:pt x="4407047" y="2689991"/>
                  <a:pt x="4412081" y="2689991"/>
                </a:cubicBezTo>
                <a:close/>
                <a:moveTo>
                  <a:pt x="127218" y="2621494"/>
                </a:moveTo>
                <a:cubicBezTo>
                  <a:pt x="145820" y="2625318"/>
                  <a:pt x="141816" y="2670565"/>
                  <a:pt x="122846" y="2670901"/>
                </a:cubicBezTo>
                <a:cubicBezTo>
                  <a:pt x="119358" y="2670964"/>
                  <a:pt x="117380" y="2661676"/>
                  <a:pt x="117380" y="2645235"/>
                </a:cubicBezTo>
                <a:cubicBezTo>
                  <a:pt x="117380" y="2622138"/>
                  <a:pt x="118398" y="2619680"/>
                  <a:pt x="127218" y="2621494"/>
                </a:cubicBezTo>
                <a:close/>
                <a:moveTo>
                  <a:pt x="202062" y="2494799"/>
                </a:moveTo>
                <a:cubicBezTo>
                  <a:pt x="208110" y="2493113"/>
                  <a:pt x="209587" y="2496021"/>
                  <a:pt x="208469" y="2507415"/>
                </a:cubicBezTo>
                <a:cubicBezTo>
                  <a:pt x="207535" y="2516934"/>
                  <a:pt x="210532" y="2526344"/>
                  <a:pt x="216859" y="2533762"/>
                </a:cubicBezTo>
                <a:cubicBezTo>
                  <a:pt x="222273" y="2540108"/>
                  <a:pt x="226703" y="2550221"/>
                  <a:pt x="226703" y="2556236"/>
                </a:cubicBezTo>
                <a:cubicBezTo>
                  <a:pt x="226703" y="2562251"/>
                  <a:pt x="228904" y="2570359"/>
                  <a:pt x="231595" y="2574254"/>
                </a:cubicBezTo>
                <a:cubicBezTo>
                  <a:pt x="235202" y="2579476"/>
                  <a:pt x="234053" y="2592559"/>
                  <a:pt x="227222" y="2624068"/>
                </a:cubicBezTo>
                <a:cubicBezTo>
                  <a:pt x="216136" y="2675200"/>
                  <a:pt x="215791" y="2685838"/>
                  <a:pt x="224867" y="2696743"/>
                </a:cubicBezTo>
                <a:cubicBezTo>
                  <a:pt x="230186" y="2703134"/>
                  <a:pt x="234717" y="2703439"/>
                  <a:pt x="244545" y="2698068"/>
                </a:cubicBezTo>
                <a:cubicBezTo>
                  <a:pt x="256458" y="2691558"/>
                  <a:pt x="257313" y="2692114"/>
                  <a:pt x="257313" y="2706368"/>
                </a:cubicBezTo>
                <a:cubicBezTo>
                  <a:pt x="257313" y="2719409"/>
                  <a:pt x="255216" y="2721645"/>
                  <a:pt x="242983" y="2721645"/>
                </a:cubicBezTo>
                <a:cubicBezTo>
                  <a:pt x="233167" y="2721645"/>
                  <a:pt x="224127" y="2727629"/>
                  <a:pt x="214289" y="2740638"/>
                </a:cubicBezTo>
                <a:cubicBezTo>
                  <a:pt x="193758" y="2767786"/>
                  <a:pt x="187346" y="2765651"/>
                  <a:pt x="187346" y="2731669"/>
                </a:cubicBezTo>
                <a:cubicBezTo>
                  <a:pt x="187346" y="2716208"/>
                  <a:pt x="185096" y="2702622"/>
                  <a:pt x="182313" y="2701279"/>
                </a:cubicBezTo>
                <a:cubicBezTo>
                  <a:pt x="179544" y="2699942"/>
                  <a:pt x="176345" y="2682559"/>
                  <a:pt x="175205" y="2662649"/>
                </a:cubicBezTo>
                <a:cubicBezTo>
                  <a:pt x="174064" y="2642739"/>
                  <a:pt x="171410" y="2624909"/>
                  <a:pt x="169307" y="2623027"/>
                </a:cubicBezTo>
                <a:cubicBezTo>
                  <a:pt x="167203" y="2621144"/>
                  <a:pt x="165482" y="2611226"/>
                  <a:pt x="165482" y="2600985"/>
                </a:cubicBezTo>
                <a:cubicBezTo>
                  <a:pt x="165482" y="2585465"/>
                  <a:pt x="167258" y="2582366"/>
                  <a:pt x="176156" y="2582366"/>
                </a:cubicBezTo>
                <a:cubicBezTo>
                  <a:pt x="190305" y="2582366"/>
                  <a:pt x="193356" y="2573656"/>
                  <a:pt x="193816" y="2531949"/>
                </a:cubicBezTo>
                <a:cubicBezTo>
                  <a:pt x="194128" y="2503601"/>
                  <a:pt x="195688" y="2496576"/>
                  <a:pt x="202062" y="2494799"/>
                </a:cubicBezTo>
                <a:close/>
                <a:moveTo>
                  <a:pt x="154003" y="2487403"/>
                </a:moveTo>
                <a:cubicBezTo>
                  <a:pt x="160250" y="2487403"/>
                  <a:pt x="165482" y="2513730"/>
                  <a:pt x="165482" y="2545173"/>
                </a:cubicBezTo>
                <a:cubicBezTo>
                  <a:pt x="165482" y="2564737"/>
                  <a:pt x="159039" y="2567728"/>
                  <a:pt x="140337" y="2556845"/>
                </a:cubicBezTo>
                <a:cubicBezTo>
                  <a:pt x="128127" y="2549740"/>
                  <a:pt x="127849" y="2541455"/>
                  <a:pt x="139428" y="2529713"/>
                </a:cubicBezTo>
                <a:cubicBezTo>
                  <a:pt x="144340" y="2524732"/>
                  <a:pt x="148043" y="2518161"/>
                  <a:pt x="147656" y="2515110"/>
                </a:cubicBezTo>
                <a:cubicBezTo>
                  <a:pt x="145740" y="2499961"/>
                  <a:pt x="148616" y="2487403"/>
                  <a:pt x="154003" y="2487403"/>
                </a:cubicBezTo>
                <a:close/>
                <a:moveTo>
                  <a:pt x="4489212" y="2459669"/>
                </a:moveTo>
                <a:cubicBezTo>
                  <a:pt x="4506938" y="2465803"/>
                  <a:pt x="4507796" y="2467224"/>
                  <a:pt x="4507796" y="2490415"/>
                </a:cubicBezTo>
                <a:cubicBezTo>
                  <a:pt x="4507796" y="2502106"/>
                  <a:pt x="4510118" y="2512793"/>
                  <a:pt x="4512956" y="2514162"/>
                </a:cubicBezTo>
                <a:cubicBezTo>
                  <a:pt x="4516322" y="2515787"/>
                  <a:pt x="4516842" y="2520920"/>
                  <a:pt x="4514448" y="2528934"/>
                </a:cubicBezTo>
                <a:cubicBezTo>
                  <a:pt x="4512431" y="2535689"/>
                  <a:pt x="4511135" y="2543535"/>
                  <a:pt x="4511569" y="2546369"/>
                </a:cubicBezTo>
                <a:cubicBezTo>
                  <a:pt x="4512002" y="2549203"/>
                  <a:pt x="4510191" y="2563161"/>
                  <a:pt x="4507545" y="2577386"/>
                </a:cubicBezTo>
                <a:cubicBezTo>
                  <a:pt x="4503120" y="2601177"/>
                  <a:pt x="4503569" y="2604315"/>
                  <a:pt x="4513150" y="2616549"/>
                </a:cubicBezTo>
                <a:cubicBezTo>
                  <a:pt x="4518879" y="2623863"/>
                  <a:pt x="4527279" y="2632901"/>
                  <a:pt x="4531819" y="2636631"/>
                </a:cubicBezTo>
                <a:cubicBezTo>
                  <a:pt x="4536358" y="2640362"/>
                  <a:pt x="4541899" y="2651342"/>
                  <a:pt x="4544130" y="2661031"/>
                </a:cubicBezTo>
                <a:cubicBezTo>
                  <a:pt x="4547409" y="2675279"/>
                  <a:pt x="4546498" y="2681091"/>
                  <a:pt x="4539364" y="2691419"/>
                </a:cubicBezTo>
                <a:cubicBezTo>
                  <a:pt x="4529460" y="2705758"/>
                  <a:pt x="4520915" y="2701899"/>
                  <a:pt x="4520915" y="2683088"/>
                </a:cubicBezTo>
                <a:cubicBezTo>
                  <a:pt x="4520915" y="2676220"/>
                  <a:pt x="4517964" y="2668962"/>
                  <a:pt x="4514355" y="2666957"/>
                </a:cubicBezTo>
                <a:cubicBezTo>
                  <a:pt x="4510748" y="2664953"/>
                  <a:pt x="4507796" y="2656729"/>
                  <a:pt x="4507796" y="2648681"/>
                </a:cubicBezTo>
                <a:cubicBezTo>
                  <a:pt x="4507796" y="2612677"/>
                  <a:pt x="4491969" y="2602005"/>
                  <a:pt x="4476606" y="2627651"/>
                </a:cubicBezTo>
                <a:cubicBezTo>
                  <a:pt x="4467602" y="2642680"/>
                  <a:pt x="4466499" y="2649522"/>
                  <a:pt x="4472248" y="2654666"/>
                </a:cubicBezTo>
                <a:cubicBezTo>
                  <a:pt x="4474343" y="2656540"/>
                  <a:pt x="4477189" y="2666270"/>
                  <a:pt x="4478572" y="2676289"/>
                </a:cubicBezTo>
                <a:cubicBezTo>
                  <a:pt x="4481394" y="2696713"/>
                  <a:pt x="4501448" y="2712864"/>
                  <a:pt x="4516779" y="2707060"/>
                </a:cubicBezTo>
                <a:cubicBezTo>
                  <a:pt x="4528708" y="2702543"/>
                  <a:pt x="4532889" y="2718650"/>
                  <a:pt x="4523632" y="2733459"/>
                </a:cubicBezTo>
                <a:cubicBezTo>
                  <a:pt x="4519041" y="2740804"/>
                  <a:pt x="4516542" y="2756205"/>
                  <a:pt x="4516542" y="2777165"/>
                </a:cubicBezTo>
                <a:cubicBezTo>
                  <a:pt x="4516542" y="2814008"/>
                  <a:pt x="4512711" y="2820860"/>
                  <a:pt x="4500806" y="2805311"/>
                </a:cubicBezTo>
                <a:lnTo>
                  <a:pt x="4500806" y="2805310"/>
                </a:lnTo>
                <a:cubicBezTo>
                  <a:pt x="4496233" y="2799337"/>
                  <a:pt x="4490031" y="2794165"/>
                  <a:pt x="4487024" y="2793817"/>
                </a:cubicBezTo>
                <a:cubicBezTo>
                  <a:pt x="4484019" y="2793469"/>
                  <a:pt x="4478608" y="2792757"/>
                  <a:pt x="4475000" y="2792234"/>
                </a:cubicBezTo>
                <a:cubicBezTo>
                  <a:pt x="4471093" y="2791669"/>
                  <a:pt x="4468440" y="2784883"/>
                  <a:pt x="4468440" y="2775457"/>
                </a:cubicBezTo>
                <a:cubicBezTo>
                  <a:pt x="4468440" y="2766753"/>
                  <a:pt x="4466472" y="2759630"/>
                  <a:pt x="4464067" y="2759630"/>
                </a:cubicBezTo>
                <a:cubicBezTo>
                  <a:pt x="4461662" y="2759630"/>
                  <a:pt x="4459694" y="2754101"/>
                  <a:pt x="4459694" y="2747342"/>
                </a:cubicBezTo>
                <a:cubicBezTo>
                  <a:pt x="4459694" y="2740584"/>
                  <a:pt x="4461662" y="2733293"/>
                  <a:pt x="4464067" y="2731141"/>
                </a:cubicBezTo>
                <a:cubicBezTo>
                  <a:pt x="4470062" y="2725778"/>
                  <a:pt x="4469618" y="2689991"/>
                  <a:pt x="4463558" y="2689991"/>
                </a:cubicBezTo>
                <a:cubicBezTo>
                  <a:pt x="4460828" y="2689991"/>
                  <a:pt x="4459682" y="2684408"/>
                  <a:pt x="4460961" y="2677329"/>
                </a:cubicBezTo>
                <a:cubicBezTo>
                  <a:pt x="4462219" y="2670365"/>
                  <a:pt x="4461465" y="2664667"/>
                  <a:pt x="4459285" y="2664667"/>
                </a:cubicBezTo>
                <a:cubicBezTo>
                  <a:pt x="4457105" y="2664667"/>
                  <a:pt x="4455321" y="2648666"/>
                  <a:pt x="4455321" y="2629110"/>
                </a:cubicBezTo>
                <a:cubicBezTo>
                  <a:pt x="4455321" y="2595782"/>
                  <a:pt x="4455915" y="2593776"/>
                  <a:pt x="4464775" y="2597130"/>
                </a:cubicBezTo>
                <a:cubicBezTo>
                  <a:pt x="4485373" y="2604929"/>
                  <a:pt x="4498727" y="2574663"/>
                  <a:pt x="4484058" y="2553425"/>
                </a:cubicBezTo>
                <a:cubicBezTo>
                  <a:pt x="4476151" y="2541978"/>
                  <a:pt x="4473076" y="2542075"/>
                  <a:pt x="4463930" y="2554058"/>
                </a:cubicBezTo>
                <a:cubicBezTo>
                  <a:pt x="4453905" y="2567191"/>
                  <a:pt x="4440547" y="2559078"/>
                  <a:pt x="4417058" y="2525589"/>
                </a:cubicBezTo>
                <a:cubicBezTo>
                  <a:pt x="4405156" y="2508619"/>
                  <a:pt x="4398473" y="2493472"/>
                  <a:pt x="4398473" y="2483464"/>
                </a:cubicBezTo>
                <a:cubicBezTo>
                  <a:pt x="4398473" y="2469034"/>
                  <a:pt x="4399645" y="2468156"/>
                  <a:pt x="4413779" y="2471995"/>
                </a:cubicBezTo>
                <a:cubicBezTo>
                  <a:pt x="4423811" y="2474719"/>
                  <a:pt x="4429084" y="2473727"/>
                  <a:pt x="4429084" y="2469116"/>
                </a:cubicBezTo>
                <a:cubicBezTo>
                  <a:pt x="4429084" y="2457459"/>
                  <a:pt x="4442832" y="2461193"/>
                  <a:pt x="4451173" y="2475117"/>
                </a:cubicBezTo>
                <a:cubicBezTo>
                  <a:pt x="4457941" y="2486414"/>
                  <a:pt x="4460198" y="2487055"/>
                  <a:pt x="4468085" y="2479925"/>
                </a:cubicBezTo>
                <a:cubicBezTo>
                  <a:pt x="4473091" y="2475399"/>
                  <a:pt x="4477186" y="2468054"/>
                  <a:pt x="4477186" y="2463602"/>
                </a:cubicBezTo>
                <a:cubicBezTo>
                  <a:pt x="4477186" y="2457984"/>
                  <a:pt x="4480865" y="2456781"/>
                  <a:pt x="4489212" y="2459669"/>
                </a:cubicBezTo>
                <a:close/>
                <a:moveTo>
                  <a:pt x="7746" y="2436756"/>
                </a:moveTo>
                <a:cubicBezTo>
                  <a:pt x="16623" y="2436756"/>
                  <a:pt x="17123" y="2439343"/>
                  <a:pt x="15909" y="2478985"/>
                </a:cubicBezTo>
                <a:cubicBezTo>
                  <a:pt x="15090" y="2505722"/>
                  <a:pt x="12610" y="2522174"/>
                  <a:pt x="9149" y="2523829"/>
                </a:cubicBezTo>
                <a:cubicBezTo>
                  <a:pt x="5287" y="2525677"/>
                  <a:pt x="3666" y="2517470"/>
                  <a:pt x="3624" y="2495844"/>
                </a:cubicBezTo>
                <a:cubicBezTo>
                  <a:pt x="3589" y="2479015"/>
                  <a:pt x="2378" y="2458836"/>
                  <a:pt x="927" y="2451001"/>
                </a:cubicBezTo>
                <a:cubicBezTo>
                  <a:pt x="-1212" y="2439444"/>
                  <a:pt x="75" y="2436756"/>
                  <a:pt x="7746" y="2436756"/>
                </a:cubicBezTo>
                <a:close/>
                <a:moveTo>
                  <a:pt x="4451449" y="2180169"/>
                </a:moveTo>
                <a:cubicBezTo>
                  <a:pt x="4454310" y="2178602"/>
                  <a:pt x="4458375" y="2179294"/>
                  <a:pt x="4461168" y="2183599"/>
                </a:cubicBezTo>
                <a:cubicBezTo>
                  <a:pt x="4465043" y="2189569"/>
                  <a:pt x="4464951" y="2192127"/>
                  <a:pt x="4460788" y="2194337"/>
                </a:cubicBezTo>
                <a:cubicBezTo>
                  <a:pt x="4457782" y="2195933"/>
                  <a:pt x="4455322" y="2206973"/>
                  <a:pt x="4455322" y="2218869"/>
                </a:cubicBezTo>
                <a:cubicBezTo>
                  <a:pt x="4455322" y="2230767"/>
                  <a:pt x="4453354" y="2240500"/>
                  <a:pt x="4450949" y="2240500"/>
                </a:cubicBezTo>
                <a:cubicBezTo>
                  <a:pt x="4444202" y="2240500"/>
                  <a:pt x="4445778" y="2263314"/>
                  <a:pt x="4453135" y="2272154"/>
                </a:cubicBezTo>
                <a:cubicBezTo>
                  <a:pt x="4461664" y="2282403"/>
                  <a:pt x="4461501" y="2295119"/>
                  <a:pt x="4452776" y="2299966"/>
                </a:cubicBezTo>
                <a:cubicBezTo>
                  <a:pt x="4448972" y="2302079"/>
                  <a:pt x="4445529" y="2303584"/>
                  <a:pt x="4445124" y="2303309"/>
                </a:cubicBezTo>
                <a:cubicBezTo>
                  <a:pt x="4444722" y="2303034"/>
                  <a:pt x="4441928" y="2301372"/>
                  <a:pt x="4438922" y="2299616"/>
                </a:cubicBezTo>
                <a:lnTo>
                  <a:pt x="4438923" y="2299616"/>
                </a:lnTo>
                <a:cubicBezTo>
                  <a:pt x="4431949" y="2295542"/>
                  <a:pt x="4431791" y="2258106"/>
                  <a:pt x="4438704" y="2248097"/>
                </a:cubicBezTo>
                <a:cubicBezTo>
                  <a:pt x="4442786" y="2242188"/>
                  <a:pt x="4442786" y="2240500"/>
                  <a:pt x="4438704" y="2240500"/>
                </a:cubicBezTo>
                <a:cubicBezTo>
                  <a:pt x="4435818" y="2240500"/>
                  <a:pt x="4433457" y="2234802"/>
                  <a:pt x="4433457" y="2227838"/>
                </a:cubicBezTo>
                <a:cubicBezTo>
                  <a:pt x="4433457" y="2220875"/>
                  <a:pt x="4435424" y="2215176"/>
                  <a:pt x="4437830" y="2215176"/>
                </a:cubicBezTo>
                <a:cubicBezTo>
                  <a:pt x="4440235" y="2215176"/>
                  <a:pt x="4442203" y="2210903"/>
                  <a:pt x="4442203" y="2205680"/>
                </a:cubicBezTo>
                <a:cubicBezTo>
                  <a:pt x="4442203" y="2200458"/>
                  <a:pt x="4444287" y="2196184"/>
                  <a:pt x="4446833" y="2196184"/>
                </a:cubicBezTo>
                <a:cubicBezTo>
                  <a:pt x="4449381" y="2196184"/>
                  <a:pt x="4450332" y="2193532"/>
                  <a:pt x="4448948" y="2190290"/>
                </a:cubicBezTo>
                <a:cubicBezTo>
                  <a:pt x="4446930" y="2185561"/>
                  <a:pt x="4448588" y="2181735"/>
                  <a:pt x="4451449" y="2180169"/>
                </a:cubicBezTo>
                <a:close/>
                <a:moveTo>
                  <a:pt x="34606" y="2069567"/>
                </a:moveTo>
                <a:cubicBezTo>
                  <a:pt x="41993" y="2069567"/>
                  <a:pt x="50608" y="2073128"/>
                  <a:pt x="53749" y="2077480"/>
                </a:cubicBezTo>
                <a:cubicBezTo>
                  <a:pt x="56890" y="2081833"/>
                  <a:pt x="63637" y="2089584"/>
                  <a:pt x="68742" y="2094705"/>
                </a:cubicBezTo>
                <a:cubicBezTo>
                  <a:pt x="73846" y="2099827"/>
                  <a:pt x="78086" y="2108373"/>
                  <a:pt x="78162" y="2113698"/>
                </a:cubicBezTo>
                <a:cubicBezTo>
                  <a:pt x="78239" y="2119023"/>
                  <a:pt x="81191" y="2128909"/>
                  <a:pt x="84722" y="2135668"/>
                </a:cubicBezTo>
                <a:cubicBezTo>
                  <a:pt x="88253" y="2142427"/>
                  <a:pt x="91142" y="2152969"/>
                  <a:pt x="91142" y="2159094"/>
                </a:cubicBezTo>
                <a:cubicBezTo>
                  <a:pt x="91142" y="2165220"/>
                  <a:pt x="94520" y="2172968"/>
                  <a:pt x="98649" y="2176313"/>
                </a:cubicBezTo>
                <a:cubicBezTo>
                  <a:pt x="105049" y="2181498"/>
                  <a:pt x="105348" y="2184580"/>
                  <a:pt x="100678" y="2197213"/>
                </a:cubicBezTo>
                <a:cubicBezTo>
                  <a:pt x="97665" y="2205363"/>
                  <a:pt x="94779" y="2224821"/>
                  <a:pt x="94264" y="2240455"/>
                </a:cubicBezTo>
                <a:cubicBezTo>
                  <a:pt x="93470" y="2264584"/>
                  <a:pt x="94825" y="2269837"/>
                  <a:pt x="103228" y="2275221"/>
                </a:cubicBezTo>
                <a:cubicBezTo>
                  <a:pt x="108672" y="2278708"/>
                  <a:pt x="112240" y="2284908"/>
                  <a:pt x="111157" y="2288996"/>
                </a:cubicBezTo>
                <a:cubicBezTo>
                  <a:pt x="110073" y="2293084"/>
                  <a:pt x="111871" y="2297922"/>
                  <a:pt x="115154" y="2299745"/>
                </a:cubicBezTo>
                <a:cubicBezTo>
                  <a:pt x="119360" y="2302082"/>
                  <a:pt x="120743" y="2312515"/>
                  <a:pt x="119839" y="2335089"/>
                </a:cubicBezTo>
                <a:cubicBezTo>
                  <a:pt x="119133" y="2352705"/>
                  <a:pt x="119767" y="2367139"/>
                  <a:pt x="121247" y="2367166"/>
                </a:cubicBezTo>
                <a:cubicBezTo>
                  <a:pt x="127529" y="2367282"/>
                  <a:pt x="134871" y="2403761"/>
                  <a:pt x="134871" y="2434853"/>
                </a:cubicBezTo>
                <a:cubicBezTo>
                  <a:pt x="134871" y="2471186"/>
                  <a:pt x="136638" y="2469452"/>
                  <a:pt x="105354" y="2463831"/>
                </a:cubicBezTo>
                <a:cubicBezTo>
                  <a:pt x="92947" y="2461602"/>
                  <a:pt x="91142" y="2458917"/>
                  <a:pt x="91142" y="2442687"/>
                </a:cubicBezTo>
                <a:cubicBezTo>
                  <a:pt x="91142" y="2432461"/>
                  <a:pt x="89019" y="2424095"/>
                  <a:pt x="86424" y="2424095"/>
                </a:cubicBezTo>
                <a:cubicBezTo>
                  <a:pt x="83339" y="2424095"/>
                  <a:pt x="82204" y="2407647"/>
                  <a:pt x="83144" y="2376598"/>
                </a:cubicBezTo>
                <a:cubicBezTo>
                  <a:pt x="83935" y="2350476"/>
                  <a:pt x="83105" y="2329109"/>
                  <a:pt x="81303" y="2329117"/>
                </a:cubicBezTo>
                <a:cubicBezTo>
                  <a:pt x="79499" y="2329123"/>
                  <a:pt x="78023" y="2308310"/>
                  <a:pt x="78023" y="2282860"/>
                </a:cubicBezTo>
                <a:cubicBezTo>
                  <a:pt x="78023" y="2233532"/>
                  <a:pt x="74047" y="2219757"/>
                  <a:pt x="56084" y="2206845"/>
                </a:cubicBezTo>
                <a:cubicBezTo>
                  <a:pt x="46323" y="2199829"/>
                  <a:pt x="45006" y="2194261"/>
                  <a:pt x="43040" y="2151714"/>
                </a:cubicBezTo>
                <a:cubicBezTo>
                  <a:pt x="41048" y="2108581"/>
                  <a:pt x="39981" y="2104207"/>
                  <a:pt x="31014" y="2102364"/>
                </a:cubicBezTo>
                <a:cubicBezTo>
                  <a:pt x="23893" y="2100899"/>
                  <a:pt x="21175" y="2096091"/>
                  <a:pt x="21175" y="2084954"/>
                </a:cubicBezTo>
                <a:cubicBezTo>
                  <a:pt x="21175" y="2071998"/>
                  <a:pt x="23298" y="2069567"/>
                  <a:pt x="34606" y="2069567"/>
                </a:cubicBezTo>
                <a:close/>
                <a:moveTo>
                  <a:pt x="4460614" y="2037913"/>
                </a:moveTo>
                <a:cubicBezTo>
                  <a:pt x="4468293" y="2037913"/>
                  <a:pt x="4468881" y="2040781"/>
                  <a:pt x="4466134" y="2064819"/>
                </a:cubicBezTo>
                <a:cubicBezTo>
                  <a:pt x="4462464" y="2096925"/>
                  <a:pt x="4460963" y="2101221"/>
                  <a:pt x="4453412" y="2101221"/>
                </a:cubicBezTo>
                <a:cubicBezTo>
                  <a:pt x="4450241" y="2101221"/>
                  <a:pt x="4445196" y="2105495"/>
                  <a:pt x="4442203" y="2110717"/>
                </a:cubicBezTo>
                <a:cubicBezTo>
                  <a:pt x="4439209" y="2115941"/>
                  <a:pt x="4435031" y="2120214"/>
                  <a:pt x="4432921" y="2120214"/>
                </a:cubicBezTo>
                <a:cubicBezTo>
                  <a:pt x="4430811" y="2120214"/>
                  <a:pt x="4429084" y="2115941"/>
                  <a:pt x="4429084" y="2110717"/>
                </a:cubicBezTo>
                <a:cubicBezTo>
                  <a:pt x="4429084" y="2105495"/>
                  <a:pt x="4427116" y="2101221"/>
                  <a:pt x="4424711" y="2101221"/>
                </a:cubicBezTo>
                <a:cubicBezTo>
                  <a:pt x="4422306" y="2101221"/>
                  <a:pt x="4420338" y="2097185"/>
                  <a:pt x="4420338" y="2092252"/>
                </a:cubicBezTo>
                <a:cubicBezTo>
                  <a:pt x="4420338" y="2087320"/>
                  <a:pt x="4418016" y="2082163"/>
                  <a:pt x="4415178" y="2080794"/>
                </a:cubicBezTo>
                <a:cubicBezTo>
                  <a:pt x="4404971" y="2075869"/>
                  <a:pt x="4415475" y="2056905"/>
                  <a:pt x="4428412" y="2056905"/>
                </a:cubicBezTo>
                <a:cubicBezTo>
                  <a:pt x="4435408" y="2056905"/>
                  <a:pt x="4443582" y="2052632"/>
                  <a:pt x="4446576" y="2047409"/>
                </a:cubicBezTo>
                <a:cubicBezTo>
                  <a:pt x="4449569" y="2042186"/>
                  <a:pt x="4455887" y="2037913"/>
                  <a:pt x="4460614" y="2037913"/>
                </a:cubicBezTo>
                <a:close/>
                <a:moveTo>
                  <a:pt x="103803" y="1997172"/>
                </a:moveTo>
                <a:cubicBezTo>
                  <a:pt x="108304" y="1993144"/>
                  <a:pt x="113732" y="2009429"/>
                  <a:pt x="109790" y="2015136"/>
                </a:cubicBezTo>
                <a:cubicBezTo>
                  <a:pt x="105098" y="2021929"/>
                  <a:pt x="99888" y="2019120"/>
                  <a:pt x="99888" y="2009798"/>
                </a:cubicBezTo>
                <a:cubicBezTo>
                  <a:pt x="99888" y="2004780"/>
                  <a:pt x="101649" y="1999099"/>
                  <a:pt x="103803" y="1997172"/>
                </a:cubicBezTo>
                <a:close/>
                <a:moveTo>
                  <a:pt x="4417411" y="1842865"/>
                </a:moveTo>
                <a:cubicBezTo>
                  <a:pt x="4426211" y="1841865"/>
                  <a:pt x="4436219" y="1843425"/>
                  <a:pt x="4440321" y="1848354"/>
                </a:cubicBezTo>
                <a:cubicBezTo>
                  <a:pt x="4444542" y="1853425"/>
                  <a:pt x="4446576" y="1868924"/>
                  <a:pt x="4446576" y="1896026"/>
                </a:cubicBezTo>
                <a:cubicBezTo>
                  <a:pt x="4446576" y="1932005"/>
                  <a:pt x="4445226" y="1938181"/>
                  <a:pt x="4433604" y="1955393"/>
                </a:cubicBezTo>
                <a:cubicBezTo>
                  <a:pt x="4420486" y="1974823"/>
                  <a:pt x="4415431" y="1978051"/>
                  <a:pt x="4410134" y="1970383"/>
                </a:cubicBezTo>
                <a:cubicBezTo>
                  <a:pt x="4408531" y="1968063"/>
                  <a:pt x="4407219" y="1958295"/>
                  <a:pt x="4407219" y="1948678"/>
                </a:cubicBezTo>
                <a:cubicBezTo>
                  <a:pt x="4407219" y="1939061"/>
                  <a:pt x="4404268" y="1926919"/>
                  <a:pt x="4400659" y="1921696"/>
                </a:cubicBezTo>
                <a:cubicBezTo>
                  <a:pt x="4393356" y="1911121"/>
                  <a:pt x="4391547" y="1860649"/>
                  <a:pt x="4398473" y="1860649"/>
                </a:cubicBezTo>
                <a:cubicBezTo>
                  <a:pt x="4400878" y="1860649"/>
                  <a:pt x="4402354" y="1857087"/>
                  <a:pt x="4401754" y="1852735"/>
                </a:cubicBezTo>
                <a:cubicBezTo>
                  <a:pt x="4401020" y="1847424"/>
                  <a:pt x="4408611" y="1843865"/>
                  <a:pt x="4417411" y="1842865"/>
                </a:cubicBezTo>
                <a:close/>
                <a:moveTo>
                  <a:pt x="4344905" y="1614950"/>
                </a:moveTo>
                <a:cubicBezTo>
                  <a:pt x="4349115" y="1616124"/>
                  <a:pt x="4352557" y="1621279"/>
                  <a:pt x="4352557" y="1626407"/>
                </a:cubicBezTo>
                <a:cubicBezTo>
                  <a:pt x="4352557" y="1631535"/>
                  <a:pt x="4349115" y="1636690"/>
                  <a:pt x="4344905" y="1637863"/>
                </a:cubicBezTo>
                <a:cubicBezTo>
                  <a:pt x="4339535" y="1639360"/>
                  <a:pt x="4337253" y="1635942"/>
                  <a:pt x="4337253" y="1626407"/>
                </a:cubicBezTo>
                <a:cubicBezTo>
                  <a:pt x="4337253" y="1616872"/>
                  <a:pt x="4339535" y="1613453"/>
                  <a:pt x="4344905" y="1614950"/>
                </a:cubicBezTo>
                <a:close/>
                <a:moveTo>
                  <a:pt x="4204363" y="1582188"/>
                </a:moveTo>
                <a:cubicBezTo>
                  <a:pt x="4197064" y="1582102"/>
                  <a:pt x="4196393" y="1585598"/>
                  <a:pt x="4198605" y="1612163"/>
                </a:cubicBezTo>
                <a:cubicBezTo>
                  <a:pt x="4200911" y="1639834"/>
                  <a:pt x="4214478" y="1693454"/>
                  <a:pt x="4221888" y="1704182"/>
                </a:cubicBezTo>
                <a:cubicBezTo>
                  <a:pt x="4226089" y="1710263"/>
                  <a:pt x="4227977" y="1709597"/>
                  <a:pt x="4243234" y="1696654"/>
                </a:cubicBezTo>
                <a:cubicBezTo>
                  <a:pt x="4250450" y="1690534"/>
                  <a:pt x="4257024" y="1680517"/>
                  <a:pt x="4257843" y="1674394"/>
                </a:cubicBezTo>
                <a:cubicBezTo>
                  <a:pt x="4259456" y="1662329"/>
                  <a:pt x="4242669" y="1632479"/>
                  <a:pt x="4235464" y="1634601"/>
                </a:cubicBezTo>
                <a:cubicBezTo>
                  <a:pt x="4233031" y="1635317"/>
                  <a:pt x="4229173" y="1625936"/>
                  <a:pt x="4226892" y="1613755"/>
                </a:cubicBezTo>
                <a:cubicBezTo>
                  <a:pt x="4222385" y="1589697"/>
                  <a:pt x="4217133" y="1582337"/>
                  <a:pt x="4204363" y="1582188"/>
                </a:cubicBezTo>
                <a:close/>
                <a:moveTo>
                  <a:pt x="4407219" y="1487128"/>
                </a:moveTo>
                <a:cubicBezTo>
                  <a:pt x="4409624" y="1487128"/>
                  <a:pt x="4411592" y="1491402"/>
                  <a:pt x="4411592" y="1496625"/>
                </a:cubicBezTo>
                <a:cubicBezTo>
                  <a:pt x="4411592" y="1501848"/>
                  <a:pt x="4409624" y="1506120"/>
                  <a:pt x="4407219" y="1506120"/>
                </a:cubicBezTo>
                <a:cubicBezTo>
                  <a:pt x="4404814" y="1506120"/>
                  <a:pt x="4402846" y="1501848"/>
                  <a:pt x="4402846" y="1496625"/>
                </a:cubicBezTo>
                <a:cubicBezTo>
                  <a:pt x="4402846" y="1491402"/>
                  <a:pt x="4404814" y="1487128"/>
                  <a:pt x="4407219" y="1487128"/>
                </a:cubicBezTo>
                <a:close/>
                <a:moveTo>
                  <a:pt x="4317718" y="1474466"/>
                </a:moveTo>
                <a:cubicBezTo>
                  <a:pt x="4321431" y="1474466"/>
                  <a:pt x="4345998" y="1512422"/>
                  <a:pt x="4345998" y="1518157"/>
                </a:cubicBezTo>
                <a:cubicBezTo>
                  <a:pt x="4345998" y="1527487"/>
                  <a:pt x="4336171" y="1526974"/>
                  <a:pt x="4327663" y="1517200"/>
                </a:cubicBezTo>
                <a:cubicBezTo>
                  <a:pt x="4322087" y="1510793"/>
                  <a:pt x="4313633" y="1474466"/>
                  <a:pt x="4317718" y="1474466"/>
                </a:cubicBezTo>
                <a:close/>
                <a:moveTo>
                  <a:pt x="4293987" y="1306730"/>
                </a:moveTo>
                <a:cubicBezTo>
                  <a:pt x="4296786" y="1305175"/>
                  <a:pt x="4300348" y="1306376"/>
                  <a:pt x="4303395" y="1311043"/>
                </a:cubicBezTo>
                <a:cubicBezTo>
                  <a:pt x="4314481" y="1328015"/>
                  <a:pt x="4320345" y="1352557"/>
                  <a:pt x="4318980" y="1376275"/>
                </a:cubicBezTo>
                <a:cubicBezTo>
                  <a:pt x="4317138" y="1408262"/>
                  <a:pt x="4308655" y="1411397"/>
                  <a:pt x="4300491" y="1383107"/>
                </a:cubicBezTo>
                <a:cubicBezTo>
                  <a:pt x="4296020" y="1367613"/>
                  <a:pt x="4291151" y="1360511"/>
                  <a:pt x="4285001" y="1360511"/>
                </a:cubicBezTo>
                <a:cubicBezTo>
                  <a:pt x="4274509" y="1360511"/>
                  <a:pt x="4273177" y="1346499"/>
                  <a:pt x="4282590" y="1335187"/>
                </a:cubicBezTo>
                <a:cubicBezTo>
                  <a:pt x="4286199" y="1330853"/>
                  <a:pt x="4289150" y="1323550"/>
                  <a:pt x="4289150" y="1318959"/>
                </a:cubicBezTo>
                <a:cubicBezTo>
                  <a:pt x="4289150" y="1312598"/>
                  <a:pt x="4291188" y="1308286"/>
                  <a:pt x="4293987" y="1306730"/>
                </a:cubicBezTo>
                <a:close/>
                <a:moveTo>
                  <a:pt x="4289150" y="1180082"/>
                </a:moveTo>
                <a:cubicBezTo>
                  <a:pt x="4291556" y="1177930"/>
                  <a:pt x="4293523" y="1180610"/>
                  <a:pt x="4293523" y="1186038"/>
                </a:cubicBezTo>
                <a:cubicBezTo>
                  <a:pt x="4293523" y="1191467"/>
                  <a:pt x="4291556" y="1195908"/>
                  <a:pt x="4289150" y="1195908"/>
                </a:cubicBezTo>
                <a:cubicBezTo>
                  <a:pt x="4286745" y="1195908"/>
                  <a:pt x="4284778" y="1193228"/>
                  <a:pt x="4284778" y="1189951"/>
                </a:cubicBezTo>
                <a:cubicBezTo>
                  <a:pt x="4284778" y="1186675"/>
                  <a:pt x="4286745" y="1182233"/>
                  <a:pt x="4289150" y="1180082"/>
                </a:cubicBezTo>
                <a:close/>
                <a:moveTo>
                  <a:pt x="4345236" y="1176916"/>
                </a:moveTo>
                <a:cubicBezTo>
                  <a:pt x="4356140" y="1176916"/>
                  <a:pt x="4373988" y="1205488"/>
                  <a:pt x="4370740" y="1217745"/>
                </a:cubicBezTo>
                <a:cubicBezTo>
                  <a:pt x="4367336" y="1230589"/>
                  <a:pt x="4345998" y="1230866"/>
                  <a:pt x="4345998" y="1218067"/>
                </a:cubicBezTo>
                <a:cubicBezTo>
                  <a:pt x="4345998" y="1212843"/>
                  <a:pt x="4344031" y="1208570"/>
                  <a:pt x="4341625" y="1208570"/>
                </a:cubicBezTo>
                <a:cubicBezTo>
                  <a:pt x="4339220" y="1208570"/>
                  <a:pt x="4337253" y="1201448"/>
                  <a:pt x="4337253" y="1192743"/>
                </a:cubicBezTo>
                <a:cubicBezTo>
                  <a:pt x="4337253" y="1181640"/>
                  <a:pt x="4339636" y="1176916"/>
                  <a:pt x="4345236" y="1176916"/>
                </a:cubicBezTo>
                <a:close/>
                <a:moveTo>
                  <a:pt x="4039894" y="1107277"/>
                </a:moveTo>
                <a:cubicBezTo>
                  <a:pt x="4046077" y="1107277"/>
                  <a:pt x="4045347" y="1153828"/>
                  <a:pt x="4039019" y="1162988"/>
                </a:cubicBezTo>
                <a:cubicBezTo>
                  <a:pt x="4031817" y="1173414"/>
                  <a:pt x="4029404" y="1172663"/>
                  <a:pt x="4019800" y="1156998"/>
                </a:cubicBezTo>
                <a:cubicBezTo>
                  <a:pt x="4013808" y="1147226"/>
                  <a:pt x="4013004" y="1142635"/>
                  <a:pt x="4016936" y="1140644"/>
                </a:cubicBezTo>
                <a:cubicBezTo>
                  <a:pt x="4019942" y="1139122"/>
                  <a:pt x="4022402" y="1133840"/>
                  <a:pt x="4022402" y="1128907"/>
                </a:cubicBezTo>
                <a:cubicBezTo>
                  <a:pt x="4022402" y="1123974"/>
                  <a:pt x="4025354" y="1119938"/>
                  <a:pt x="4028961" y="1119938"/>
                </a:cubicBezTo>
                <a:cubicBezTo>
                  <a:pt x="4032569" y="1119938"/>
                  <a:pt x="4035521" y="1117089"/>
                  <a:pt x="4035521" y="1113607"/>
                </a:cubicBezTo>
                <a:cubicBezTo>
                  <a:pt x="4035521" y="1110125"/>
                  <a:pt x="4037488" y="1107277"/>
                  <a:pt x="4039894" y="1107277"/>
                </a:cubicBezTo>
                <a:close/>
                <a:moveTo>
                  <a:pt x="4144916" y="1053528"/>
                </a:moveTo>
                <a:cubicBezTo>
                  <a:pt x="4149806" y="1057904"/>
                  <a:pt x="4146596" y="1069291"/>
                  <a:pt x="4140471" y="1069291"/>
                </a:cubicBezTo>
                <a:cubicBezTo>
                  <a:pt x="4138350" y="1069291"/>
                  <a:pt x="4135483" y="1066639"/>
                  <a:pt x="4134098" y="1063398"/>
                </a:cubicBezTo>
                <a:cubicBezTo>
                  <a:pt x="4130865" y="1055823"/>
                  <a:pt x="4139091" y="1048316"/>
                  <a:pt x="4144916" y="1053528"/>
                </a:cubicBezTo>
                <a:close/>
                <a:moveTo>
                  <a:pt x="3987419" y="990156"/>
                </a:moveTo>
                <a:cubicBezTo>
                  <a:pt x="3985013" y="988004"/>
                  <a:pt x="3983046" y="989260"/>
                  <a:pt x="3983046" y="992947"/>
                </a:cubicBezTo>
                <a:cubicBezTo>
                  <a:pt x="3983046" y="996635"/>
                  <a:pt x="3985013" y="999652"/>
                  <a:pt x="3987419" y="999652"/>
                </a:cubicBezTo>
                <a:cubicBezTo>
                  <a:pt x="3989824" y="999652"/>
                  <a:pt x="3991792" y="998396"/>
                  <a:pt x="3991792" y="996860"/>
                </a:cubicBezTo>
                <a:cubicBezTo>
                  <a:pt x="3991792" y="995325"/>
                  <a:pt x="3989824" y="992307"/>
                  <a:pt x="3987419" y="990156"/>
                </a:cubicBezTo>
                <a:close/>
                <a:moveTo>
                  <a:pt x="4173388" y="892398"/>
                </a:moveTo>
                <a:cubicBezTo>
                  <a:pt x="4176923" y="893423"/>
                  <a:pt x="4180831" y="898778"/>
                  <a:pt x="4182372" y="907667"/>
                </a:cubicBezTo>
                <a:cubicBezTo>
                  <a:pt x="4184110" y="917692"/>
                  <a:pt x="4182681" y="926784"/>
                  <a:pt x="4178395" y="932991"/>
                </a:cubicBezTo>
                <a:cubicBezTo>
                  <a:pt x="4168370" y="947502"/>
                  <a:pt x="4160861" y="945131"/>
                  <a:pt x="4163952" y="928430"/>
                </a:cubicBezTo>
                <a:cubicBezTo>
                  <a:pt x="4165402" y="920596"/>
                  <a:pt x="4166617" y="909200"/>
                  <a:pt x="4166648" y="903107"/>
                </a:cubicBezTo>
                <a:cubicBezTo>
                  <a:pt x="4166694" y="894677"/>
                  <a:pt x="4169854" y="891373"/>
                  <a:pt x="4173388" y="892398"/>
                </a:cubicBezTo>
                <a:close/>
                <a:moveTo>
                  <a:pt x="4006132" y="869101"/>
                </a:moveTo>
                <a:cubicBezTo>
                  <a:pt x="4005672" y="869767"/>
                  <a:pt x="4005361" y="871985"/>
                  <a:pt x="4005256" y="875673"/>
                </a:cubicBezTo>
                <a:cubicBezTo>
                  <a:pt x="4005065" y="882347"/>
                  <a:pt x="4006100" y="886085"/>
                  <a:pt x="4007552" y="883982"/>
                </a:cubicBezTo>
                <a:cubicBezTo>
                  <a:pt x="4009005" y="881878"/>
                  <a:pt x="4009160" y="876418"/>
                  <a:pt x="4007897" y="871848"/>
                </a:cubicBezTo>
                <a:lnTo>
                  <a:pt x="4007897" y="871848"/>
                </a:lnTo>
                <a:cubicBezTo>
                  <a:pt x="4007199" y="869323"/>
                  <a:pt x="4006592" y="868435"/>
                  <a:pt x="4006132" y="869101"/>
                </a:cubicBezTo>
                <a:close/>
                <a:moveTo>
                  <a:pt x="4268481" y="836466"/>
                </a:moveTo>
                <a:cubicBezTo>
                  <a:pt x="4270763" y="838424"/>
                  <a:pt x="4271747" y="843443"/>
                  <a:pt x="4272461" y="852405"/>
                </a:cubicBezTo>
                <a:cubicBezTo>
                  <a:pt x="4274274" y="875150"/>
                  <a:pt x="4288053" y="879265"/>
                  <a:pt x="4298063" y="860052"/>
                </a:cubicBezTo>
                <a:cubicBezTo>
                  <a:pt x="4311044" y="835139"/>
                  <a:pt x="4319761" y="847756"/>
                  <a:pt x="4319761" y="891455"/>
                </a:cubicBezTo>
                <a:cubicBezTo>
                  <a:pt x="4319761" y="912251"/>
                  <a:pt x="4317633" y="931169"/>
                  <a:pt x="4315033" y="933496"/>
                </a:cubicBezTo>
                <a:cubicBezTo>
                  <a:pt x="4312432" y="935823"/>
                  <a:pt x="4304257" y="929581"/>
                  <a:pt x="4296867" y="919625"/>
                </a:cubicBezTo>
                <a:cubicBezTo>
                  <a:pt x="4287877" y="907516"/>
                  <a:pt x="4284326" y="905176"/>
                  <a:pt x="4286139" y="912555"/>
                </a:cubicBezTo>
                <a:cubicBezTo>
                  <a:pt x="4287631" y="918623"/>
                  <a:pt x="4286316" y="927016"/>
                  <a:pt x="4283218" y="931206"/>
                </a:cubicBezTo>
                <a:cubicBezTo>
                  <a:pt x="4278637" y="937401"/>
                  <a:pt x="4278846" y="940959"/>
                  <a:pt x="4284339" y="950245"/>
                </a:cubicBezTo>
                <a:cubicBezTo>
                  <a:pt x="4292546" y="964120"/>
                  <a:pt x="4305993" y="965152"/>
                  <a:pt x="4309434" y="952171"/>
                </a:cubicBezTo>
                <a:cubicBezTo>
                  <a:pt x="4312086" y="942162"/>
                  <a:pt x="4324134" y="938818"/>
                  <a:pt x="4324134" y="948089"/>
                </a:cubicBezTo>
                <a:cubicBezTo>
                  <a:pt x="4324134" y="951068"/>
                  <a:pt x="4330529" y="956148"/>
                  <a:pt x="4338345" y="959380"/>
                </a:cubicBezTo>
                <a:cubicBezTo>
                  <a:pt x="4347889" y="963325"/>
                  <a:pt x="4353004" y="969714"/>
                  <a:pt x="4353914" y="978828"/>
                </a:cubicBezTo>
                <a:cubicBezTo>
                  <a:pt x="4354660" y="986294"/>
                  <a:pt x="4358103" y="995806"/>
                  <a:pt x="4361566" y="999968"/>
                </a:cubicBezTo>
                <a:cubicBezTo>
                  <a:pt x="4365030" y="1004128"/>
                  <a:pt x="4367863" y="1012679"/>
                  <a:pt x="4367863" y="1018968"/>
                </a:cubicBezTo>
                <a:cubicBezTo>
                  <a:pt x="4367863" y="1025256"/>
                  <a:pt x="4370672" y="1034469"/>
                  <a:pt x="4374106" y="1039440"/>
                </a:cubicBezTo>
                <a:cubicBezTo>
                  <a:pt x="4382062" y="1050959"/>
                  <a:pt x="4388092" y="1094615"/>
                  <a:pt x="4381726" y="1094615"/>
                </a:cubicBezTo>
                <a:cubicBezTo>
                  <a:pt x="4379196" y="1094615"/>
                  <a:pt x="4375865" y="1091664"/>
                  <a:pt x="4374326" y="1088058"/>
                </a:cubicBezTo>
                <a:cubicBezTo>
                  <a:pt x="4372787" y="1084452"/>
                  <a:pt x="4364307" y="1081952"/>
                  <a:pt x="4355483" y="1082503"/>
                </a:cubicBezTo>
                <a:cubicBezTo>
                  <a:pt x="4346659" y="1083055"/>
                  <a:pt x="4323735" y="1081281"/>
                  <a:pt x="4304542" y="1078559"/>
                </a:cubicBezTo>
                <a:cubicBezTo>
                  <a:pt x="4271459" y="1073869"/>
                  <a:pt x="4270039" y="1074181"/>
                  <a:pt x="4277212" y="1084565"/>
                </a:cubicBezTo>
                <a:cubicBezTo>
                  <a:pt x="4281373" y="1090590"/>
                  <a:pt x="4284778" y="1098653"/>
                  <a:pt x="4284778" y="1102482"/>
                </a:cubicBezTo>
                <a:cubicBezTo>
                  <a:pt x="4284778" y="1106311"/>
                  <a:pt x="4288045" y="1114672"/>
                  <a:pt x="4292039" y="1121061"/>
                </a:cubicBezTo>
                <a:cubicBezTo>
                  <a:pt x="4301680" y="1136485"/>
                  <a:pt x="4298237" y="1140004"/>
                  <a:pt x="4280650" y="1132702"/>
                </a:cubicBezTo>
                <a:cubicBezTo>
                  <a:pt x="4271423" y="1128871"/>
                  <a:pt x="4263302" y="1128910"/>
                  <a:pt x="4258269" y="1132810"/>
                </a:cubicBezTo>
                <a:cubicBezTo>
                  <a:pt x="4244828" y="1143225"/>
                  <a:pt x="4242260" y="1139931"/>
                  <a:pt x="4239604" y="1108859"/>
                </a:cubicBezTo>
                <a:cubicBezTo>
                  <a:pt x="4238189" y="1092320"/>
                  <a:pt x="4237659" y="1068817"/>
                  <a:pt x="4238427" y="1056630"/>
                </a:cubicBezTo>
                <a:cubicBezTo>
                  <a:pt x="4239195" y="1044443"/>
                  <a:pt x="4238397" y="1013105"/>
                  <a:pt x="4236655" y="986990"/>
                </a:cubicBezTo>
                <a:cubicBezTo>
                  <a:pt x="4234913" y="960875"/>
                  <a:pt x="4235189" y="936803"/>
                  <a:pt x="4237269" y="933495"/>
                </a:cubicBezTo>
                <a:cubicBezTo>
                  <a:pt x="4239347" y="930187"/>
                  <a:pt x="4241048" y="922352"/>
                  <a:pt x="4241048" y="916085"/>
                </a:cubicBezTo>
                <a:cubicBezTo>
                  <a:pt x="4241048" y="909817"/>
                  <a:pt x="4243016" y="904689"/>
                  <a:pt x="4245421" y="904689"/>
                </a:cubicBezTo>
                <a:cubicBezTo>
                  <a:pt x="4247827" y="904689"/>
                  <a:pt x="4249794" y="890749"/>
                  <a:pt x="4249794" y="873712"/>
                </a:cubicBezTo>
                <a:cubicBezTo>
                  <a:pt x="4249794" y="851305"/>
                  <a:pt x="4251707" y="841672"/>
                  <a:pt x="4256711" y="838893"/>
                </a:cubicBezTo>
                <a:cubicBezTo>
                  <a:pt x="4262618" y="835611"/>
                  <a:pt x="4266199" y="834508"/>
                  <a:pt x="4268481" y="836466"/>
                </a:cubicBezTo>
                <a:close/>
                <a:moveTo>
                  <a:pt x="1503102" y="801258"/>
                </a:moveTo>
                <a:cubicBezTo>
                  <a:pt x="1488778" y="800264"/>
                  <a:pt x="1488325" y="800958"/>
                  <a:pt x="1489315" y="822388"/>
                </a:cubicBezTo>
                <a:cubicBezTo>
                  <a:pt x="1489878" y="834575"/>
                  <a:pt x="1490478" y="849818"/>
                  <a:pt x="1490647" y="856262"/>
                </a:cubicBezTo>
                <a:cubicBezTo>
                  <a:pt x="1491505" y="888858"/>
                  <a:pt x="1511509" y="893844"/>
                  <a:pt x="1530226" y="866125"/>
                </a:cubicBezTo>
                <a:cubicBezTo>
                  <a:pt x="1544790" y="844556"/>
                  <a:pt x="1545333" y="830570"/>
                  <a:pt x="1532021" y="819901"/>
                </a:cubicBezTo>
                <a:cubicBezTo>
                  <a:pt x="1527211" y="816046"/>
                  <a:pt x="1522069" y="810505"/>
                  <a:pt x="1520594" y="807589"/>
                </a:cubicBezTo>
                <a:cubicBezTo>
                  <a:pt x="1519119" y="804671"/>
                  <a:pt x="1511248" y="801823"/>
                  <a:pt x="1503102" y="801258"/>
                </a:cubicBezTo>
                <a:close/>
                <a:moveTo>
                  <a:pt x="3729804" y="798436"/>
                </a:moveTo>
                <a:cubicBezTo>
                  <a:pt x="3720308" y="798826"/>
                  <a:pt x="3717720" y="801396"/>
                  <a:pt x="3719615" y="808547"/>
                </a:cubicBezTo>
                <a:cubicBezTo>
                  <a:pt x="3721273" y="814804"/>
                  <a:pt x="3720379" y="816544"/>
                  <a:pt x="3717041" y="813557"/>
                </a:cubicBezTo>
                <a:cubicBezTo>
                  <a:pt x="3709675" y="806967"/>
                  <a:pt x="3710735" y="819762"/>
                  <a:pt x="3718483" y="830980"/>
                </a:cubicBezTo>
                <a:cubicBezTo>
                  <a:pt x="3725695" y="841420"/>
                  <a:pt x="3727207" y="854042"/>
                  <a:pt x="3721246" y="854042"/>
                </a:cubicBezTo>
                <a:cubicBezTo>
                  <a:pt x="3713880" y="854042"/>
                  <a:pt x="3712066" y="907075"/>
                  <a:pt x="3718912" y="922278"/>
                </a:cubicBezTo>
                <a:cubicBezTo>
                  <a:pt x="3722484" y="930211"/>
                  <a:pt x="3724299" y="939297"/>
                  <a:pt x="3722944" y="942470"/>
                </a:cubicBezTo>
                <a:cubicBezTo>
                  <a:pt x="3720559" y="948057"/>
                  <a:pt x="3741606" y="980659"/>
                  <a:pt x="3747598" y="980659"/>
                </a:cubicBezTo>
                <a:cubicBezTo>
                  <a:pt x="3749230" y="980659"/>
                  <a:pt x="3753678" y="978930"/>
                  <a:pt x="3757482" y="976816"/>
                </a:cubicBezTo>
                <a:cubicBezTo>
                  <a:pt x="3765240" y="972507"/>
                  <a:pt x="3767398" y="927111"/>
                  <a:pt x="3760153" y="920630"/>
                </a:cubicBezTo>
                <a:cubicBezTo>
                  <a:pt x="3757818" y="918540"/>
                  <a:pt x="3754613" y="902703"/>
                  <a:pt x="3753030" y="885437"/>
                </a:cubicBezTo>
                <a:cubicBezTo>
                  <a:pt x="3751448" y="868170"/>
                  <a:pt x="3748439" y="854042"/>
                  <a:pt x="3746345" y="854042"/>
                </a:cubicBezTo>
                <a:cubicBezTo>
                  <a:pt x="3744249" y="854042"/>
                  <a:pt x="3742535" y="841413"/>
                  <a:pt x="3742535" y="825977"/>
                </a:cubicBezTo>
                <a:cubicBezTo>
                  <a:pt x="3742535" y="799084"/>
                  <a:pt x="3742003" y="797933"/>
                  <a:pt x="3729804" y="798436"/>
                </a:cubicBezTo>
                <a:close/>
                <a:moveTo>
                  <a:pt x="4044267" y="755914"/>
                </a:moveTo>
                <a:cubicBezTo>
                  <a:pt x="4047874" y="755914"/>
                  <a:pt x="4051454" y="762324"/>
                  <a:pt x="4052223" y="770158"/>
                </a:cubicBezTo>
                <a:cubicBezTo>
                  <a:pt x="4053299" y="781121"/>
                  <a:pt x="4051466" y="784403"/>
                  <a:pt x="4044267" y="784403"/>
                </a:cubicBezTo>
                <a:cubicBezTo>
                  <a:pt x="4037067" y="784403"/>
                  <a:pt x="4035234" y="781121"/>
                  <a:pt x="4036310" y="770158"/>
                </a:cubicBezTo>
                <a:cubicBezTo>
                  <a:pt x="4037079" y="762324"/>
                  <a:pt x="4040659" y="755914"/>
                  <a:pt x="4044267" y="755914"/>
                </a:cubicBezTo>
                <a:close/>
                <a:moveTo>
                  <a:pt x="4191963" y="753633"/>
                </a:moveTo>
                <a:cubicBezTo>
                  <a:pt x="4198131" y="750512"/>
                  <a:pt x="4210791" y="769985"/>
                  <a:pt x="4213395" y="793226"/>
                </a:cubicBezTo>
                <a:cubicBezTo>
                  <a:pt x="4215517" y="812150"/>
                  <a:pt x="4214647" y="816057"/>
                  <a:pt x="4208313" y="816057"/>
                </a:cubicBezTo>
                <a:cubicBezTo>
                  <a:pt x="4202539" y="816057"/>
                  <a:pt x="4201178" y="812225"/>
                  <a:pt x="4202744" y="800369"/>
                </a:cubicBezTo>
                <a:cubicBezTo>
                  <a:pt x="4204246" y="788989"/>
                  <a:pt x="4202585" y="783657"/>
                  <a:pt x="4196694" y="780951"/>
                </a:cubicBezTo>
                <a:cubicBezTo>
                  <a:pt x="4192228" y="778898"/>
                  <a:pt x="4188573" y="771713"/>
                  <a:pt x="4188573" y="764983"/>
                </a:cubicBezTo>
                <a:cubicBezTo>
                  <a:pt x="4188573" y="758225"/>
                  <a:pt x="4189907" y="754674"/>
                  <a:pt x="4191963" y="753633"/>
                </a:cubicBezTo>
                <a:close/>
                <a:moveTo>
                  <a:pt x="2207638" y="740087"/>
                </a:moveTo>
                <a:cubicBezTo>
                  <a:pt x="2205233" y="740087"/>
                  <a:pt x="2203265" y="744151"/>
                  <a:pt x="2203265" y="749119"/>
                </a:cubicBezTo>
                <a:cubicBezTo>
                  <a:pt x="2203265" y="754087"/>
                  <a:pt x="2199821" y="759454"/>
                  <a:pt x="2195613" y="761046"/>
                </a:cubicBezTo>
                <a:cubicBezTo>
                  <a:pt x="2189736" y="763269"/>
                  <a:pt x="2189533" y="764112"/>
                  <a:pt x="2194738" y="764676"/>
                </a:cubicBezTo>
                <a:cubicBezTo>
                  <a:pt x="2198466" y="765080"/>
                  <a:pt x="2203877" y="761992"/>
                  <a:pt x="2206763" y="757813"/>
                </a:cubicBezTo>
                <a:cubicBezTo>
                  <a:pt x="2213149" y="748569"/>
                  <a:pt x="2213567" y="740087"/>
                  <a:pt x="2207638" y="740087"/>
                </a:cubicBezTo>
                <a:close/>
                <a:moveTo>
                  <a:pt x="2492685" y="661279"/>
                </a:moveTo>
                <a:cubicBezTo>
                  <a:pt x="2490926" y="662292"/>
                  <a:pt x="2489272" y="665607"/>
                  <a:pt x="2487033" y="671621"/>
                </a:cubicBezTo>
                <a:cubicBezTo>
                  <a:pt x="2484033" y="679681"/>
                  <a:pt x="2481367" y="692814"/>
                  <a:pt x="2481109" y="700808"/>
                </a:cubicBezTo>
                <a:cubicBezTo>
                  <a:pt x="2480723" y="712774"/>
                  <a:pt x="2482598" y="715011"/>
                  <a:pt x="2491725" y="713470"/>
                </a:cubicBezTo>
                <a:cubicBezTo>
                  <a:pt x="2500563" y="711977"/>
                  <a:pt x="2503077" y="707639"/>
                  <a:pt x="2504127" y="692066"/>
                </a:cubicBezTo>
                <a:cubicBezTo>
                  <a:pt x="2504906" y="680506"/>
                  <a:pt x="2502800" y="669357"/>
                  <a:pt x="2498966" y="664751"/>
                </a:cubicBezTo>
                <a:cubicBezTo>
                  <a:pt x="2496307" y="661557"/>
                  <a:pt x="2494444" y="660267"/>
                  <a:pt x="2492685" y="661279"/>
                </a:cubicBezTo>
                <a:close/>
                <a:moveTo>
                  <a:pt x="1542281" y="646751"/>
                </a:moveTo>
                <a:cubicBezTo>
                  <a:pt x="1544973" y="646195"/>
                  <a:pt x="1547326" y="648503"/>
                  <a:pt x="1547326" y="654093"/>
                </a:cubicBezTo>
                <a:cubicBezTo>
                  <a:pt x="1547326" y="659605"/>
                  <a:pt x="1544211" y="664117"/>
                  <a:pt x="1540402" y="664117"/>
                </a:cubicBezTo>
                <a:cubicBezTo>
                  <a:pt x="1536594" y="664117"/>
                  <a:pt x="1534257" y="660733"/>
                  <a:pt x="1535210" y="656599"/>
                </a:cubicBezTo>
                <a:cubicBezTo>
                  <a:pt x="1536561" y="650729"/>
                  <a:pt x="1539590" y="647308"/>
                  <a:pt x="1542281" y="646751"/>
                </a:cubicBezTo>
                <a:close/>
                <a:moveTo>
                  <a:pt x="4233596" y="626131"/>
                </a:moveTo>
                <a:cubicBezTo>
                  <a:pt x="4240376" y="626131"/>
                  <a:pt x="4297896" y="709201"/>
                  <a:pt x="4297896" y="718993"/>
                </a:cubicBezTo>
                <a:cubicBezTo>
                  <a:pt x="4297896" y="722885"/>
                  <a:pt x="4294945" y="727710"/>
                  <a:pt x="4291336" y="729715"/>
                </a:cubicBezTo>
                <a:cubicBezTo>
                  <a:pt x="4287249" y="731985"/>
                  <a:pt x="4284778" y="741642"/>
                  <a:pt x="4284778" y="755341"/>
                </a:cubicBezTo>
                <a:cubicBezTo>
                  <a:pt x="4284778" y="782795"/>
                  <a:pt x="4281153" y="786183"/>
                  <a:pt x="4266012" y="772883"/>
                </a:cubicBezTo>
                <a:cubicBezTo>
                  <a:pt x="4259427" y="767098"/>
                  <a:pt x="4254990" y="758777"/>
                  <a:pt x="4256152" y="754391"/>
                </a:cubicBezTo>
                <a:cubicBezTo>
                  <a:pt x="4257314" y="750006"/>
                  <a:pt x="4256359" y="746418"/>
                  <a:pt x="4254030" y="746418"/>
                </a:cubicBezTo>
                <a:cubicBezTo>
                  <a:pt x="4251700" y="746418"/>
                  <a:pt x="4249794" y="739206"/>
                  <a:pt x="4249794" y="730392"/>
                </a:cubicBezTo>
                <a:cubicBezTo>
                  <a:pt x="4249794" y="720839"/>
                  <a:pt x="4246703" y="712787"/>
                  <a:pt x="4242141" y="710456"/>
                </a:cubicBezTo>
                <a:cubicBezTo>
                  <a:pt x="4229647" y="704072"/>
                  <a:pt x="4214811" y="681755"/>
                  <a:pt x="4214811" y="669344"/>
                </a:cubicBezTo>
                <a:cubicBezTo>
                  <a:pt x="4214811" y="662987"/>
                  <a:pt x="4216566" y="657786"/>
                  <a:pt x="4218709" y="657786"/>
                </a:cubicBezTo>
                <a:cubicBezTo>
                  <a:pt x="4220854" y="657786"/>
                  <a:pt x="4223843" y="650663"/>
                  <a:pt x="4225352" y="641959"/>
                </a:cubicBezTo>
                <a:cubicBezTo>
                  <a:pt x="4226861" y="633254"/>
                  <a:pt x="4230571" y="626131"/>
                  <a:pt x="4233596" y="626131"/>
                </a:cubicBezTo>
                <a:close/>
                <a:moveTo>
                  <a:pt x="2100311" y="609600"/>
                </a:moveTo>
                <a:cubicBezTo>
                  <a:pt x="2101797" y="608433"/>
                  <a:pt x="2104256" y="608884"/>
                  <a:pt x="2108154" y="610589"/>
                </a:cubicBezTo>
                <a:cubicBezTo>
                  <a:pt x="2121281" y="616331"/>
                  <a:pt x="2126172" y="623548"/>
                  <a:pt x="2122602" y="631911"/>
                </a:cubicBezTo>
                <a:cubicBezTo>
                  <a:pt x="2119357" y="639510"/>
                  <a:pt x="2105807" y="641198"/>
                  <a:pt x="2101230" y="634573"/>
                </a:cubicBezTo>
                <a:cubicBezTo>
                  <a:pt x="2099627" y="632251"/>
                  <a:pt x="2098315" y="624937"/>
                  <a:pt x="2098315" y="618319"/>
                </a:cubicBezTo>
                <a:cubicBezTo>
                  <a:pt x="2098315" y="613552"/>
                  <a:pt x="2098826" y="610767"/>
                  <a:pt x="2100311" y="609600"/>
                </a:cubicBezTo>
                <a:close/>
                <a:moveTo>
                  <a:pt x="4009611" y="608352"/>
                </a:moveTo>
                <a:cubicBezTo>
                  <a:pt x="4012197" y="609600"/>
                  <a:pt x="4014312" y="613327"/>
                  <a:pt x="4014312" y="616635"/>
                </a:cubicBezTo>
                <a:cubicBezTo>
                  <a:pt x="4014312" y="619943"/>
                  <a:pt x="4012197" y="623670"/>
                  <a:pt x="4009611" y="624918"/>
                </a:cubicBezTo>
                <a:cubicBezTo>
                  <a:pt x="4007026" y="626166"/>
                  <a:pt x="4004911" y="622439"/>
                  <a:pt x="4004911" y="616635"/>
                </a:cubicBezTo>
                <a:cubicBezTo>
                  <a:pt x="4004911" y="610832"/>
                  <a:pt x="4007026" y="607104"/>
                  <a:pt x="4009611" y="608352"/>
                </a:cubicBezTo>
                <a:close/>
                <a:moveTo>
                  <a:pt x="4096448" y="583964"/>
                </a:moveTo>
                <a:cubicBezTo>
                  <a:pt x="4099965" y="584780"/>
                  <a:pt x="4102840" y="587903"/>
                  <a:pt x="4107195" y="593827"/>
                </a:cubicBezTo>
                <a:cubicBezTo>
                  <a:pt x="4112580" y="601148"/>
                  <a:pt x="4122107" y="607139"/>
                  <a:pt x="4128369" y="607139"/>
                </a:cubicBezTo>
                <a:cubicBezTo>
                  <a:pt x="4146484" y="607139"/>
                  <a:pt x="4153590" y="613678"/>
                  <a:pt x="4153590" y="630348"/>
                </a:cubicBezTo>
                <a:cubicBezTo>
                  <a:pt x="4153590" y="639262"/>
                  <a:pt x="4151695" y="644176"/>
                  <a:pt x="4149141" y="641890"/>
                </a:cubicBezTo>
                <a:cubicBezTo>
                  <a:pt x="4146693" y="639701"/>
                  <a:pt x="4133816" y="639877"/>
                  <a:pt x="4120525" y="642281"/>
                </a:cubicBezTo>
                <a:cubicBezTo>
                  <a:pt x="4092856" y="647286"/>
                  <a:pt x="4071898" y="671436"/>
                  <a:pt x="4067481" y="703404"/>
                </a:cubicBezTo>
                <a:cubicBezTo>
                  <a:pt x="4064125" y="727699"/>
                  <a:pt x="4035521" y="746365"/>
                  <a:pt x="4035521" y="724260"/>
                </a:cubicBezTo>
                <a:cubicBezTo>
                  <a:pt x="4035521" y="719037"/>
                  <a:pt x="4037488" y="714763"/>
                  <a:pt x="4039894" y="714763"/>
                </a:cubicBezTo>
                <a:cubicBezTo>
                  <a:pt x="4045855" y="714763"/>
                  <a:pt x="4045426" y="685624"/>
                  <a:pt x="4039254" y="671317"/>
                </a:cubicBezTo>
                <a:cubicBezTo>
                  <a:pt x="4033742" y="658539"/>
                  <a:pt x="4037738" y="623455"/>
                  <a:pt x="4044061" y="629112"/>
                </a:cubicBezTo>
                <a:cubicBezTo>
                  <a:pt x="4046212" y="631037"/>
                  <a:pt x="4052090" y="624236"/>
                  <a:pt x="4057125" y="614000"/>
                </a:cubicBezTo>
                <a:cubicBezTo>
                  <a:pt x="4062159" y="603764"/>
                  <a:pt x="4073282" y="592043"/>
                  <a:pt x="4081844" y="587951"/>
                </a:cubicBezTo>
                <a:cubicBezTo>
                  <a:pt x="4088770" y="584642"/>
                  <a:pt x="4092930" y="583149"/>
                  <a:pt x="4096448" y="583964"/>
                </a:cubicBezTo>
                <a:close/>
                <a:moveTo>
                  <a:pt x="3399607" y="565410"/>
                </a:moveTo>
                <a:cubicBezTo>
                  <a:pt x="3391884" y="563769"/>
                  <a:pt x="3387224" y="579464"/>
                  <a:pt x="3390710" y="595369"/>
                </a:cubicBezTo>
                <a:cubicBezTo>
                  <a:pt x="3394209" y="611327"/>
                  <a:pt x="3408911" y="610296"/>
                  <a:pt x="3412518" y="593840"/>
                </a:cubicBezTo>
                <a:cubicBezTo>
                  <a:pt x="3415603" y="579774"/>
                  <a:pt x="3410090" y="567638"/>
                  <a:pt x="3399607" y="565410"/>
                </a:cubicBezTo>
                <a:close/>
                <a:moveTo>
                  <a:pt x="3753272" y="543830"/>
                </a:moveTo>
                <a:cubicBezTo>
                  <a:pt x="3760971" y="543830"/>
                  <a:pt x="3790344" y="587515"/>
                  <a:pt x="3790519" y="599225"/>
                </a:cubicBezTo>
                <a:cubicBezTo>
                  <a:pt x="3790583" y="603578"/>
                  <a:pt x="3792516" y="607139"/>
                  <a:pt x="3794812" y="607139"/>
                </a:cubicBezTo>
                <a:cubicBezTo>
                  <a:pt x="3798720" y="607139"/>
                  <a:pt x="3806586" y="648938"/>
                  <a:pt x="3804642" y="659368"/>
                </a:cubicBezTo>
                <a:cubicBezTo>
                  <a:pt x="3804155" y="661980"/>
                  <a:pt x="3805723" y="664117"/>
                  <a:pt x="3808129" y="664117"/>
                </a:cubicBezTo>
                <a:cubicBezTo>
                  <a:pt x="3810534" y="664117"/>
                  <a:pt x="3812502" y="671239"/>
                  <a:pt x="3812502" y="679944"/>
                </a:cubicBezTo>
                <a:cubicBezTo>
                  <a:pt x="3812502" y="689792"/>
                  <a:pt x="3810023" y="695771"/>
                  <a:pt x="3805943" y="695771"/>
                </a:cubicBezTo>
                <a:cubicBezTo>
                  <a:pt x="3802334" y="695771"/>
                  <a:pt x="3799383" y="691458"/>
                  <a:pt x="3799383" y="686189"/>
                </a:cubicBezTo>
                <a:cubicBezTo>
                  <a:pt x="3799383" y="680918"/>
                  <a:pt x="3797558" y="671660"/>
                  <a:pt x="3795328" y="665613"/>
                </a:cubicBezTo>
                <a:cubicBezTo>
                  <a:pt x="3793100" y="659567"/>
                  <a:pt x="3790199" y="649592"/>
                  <a:pt x="3788882" y="643446"/>
                </a:cubicBezTo>
                <a:cubicBezTo>
                  <a:pt x="3787566" y="637300"/>
                  <a:pt x="3781819" y="629702"/>
                  <a:pt x="3776114" y="626562"/>
                </a:cubicBezTo>
                <a:cubicBezTo>
                  <a:pt x="3770409" y="623421"/>
                  <a:pt x="3762196" y="609932"/>
                  <a:pt x="3757864" y="596585"/>
                </a:cubicBezTo>
                <a:cubicBezTo>
                  <a:pt x="3753532" y="583239"/>
                  <a:pt x="3748025" y="570470"/>
                  <a:pt x="3745624" y="568210"/>
                </a:cubicBezTo>
                <a:cubicBezTo>
                  <a:pt x="3739464" y="562409"/>
                  <a:pt x="3745291" y="543830"/>
                  <a:pt x="3753272" y="543830"/>
                </a:cubicBezTo>
                <a:close/>
                <a:moveTo>
                  <a:pt x="2508411" y="515434"/>
                </a:moveTo>
                <a:cubicBezTo>
                  <a:pt x="2504104" y="514401"/>
                  <a:pt x="2499878" y="515729"/>
                  <a:pt x="2493352" y="518847"/>
                </a:cubicBezTo>
                <a:cubicBezTo>
                  <a:pt x="2482992" y="523798"/>
                  <a:pt x="2476746" y="523968"/>
                  <a:pt x="2472948" y="519406"/>
                </a:cubicBezTo>
                <a:cubicBezTo>
                  <a:pt x="2468354" y="513886"/>
                  <a:pt x="2443606" y="526013"/>
                  <a:pt x="2426655" y="542091"/>
                </a:cubicBezTo>
                <a:cubicBezTo>
                  <a:pt x="2421983" y="546522"/>
                  <a:pt x="2417762" y="622657"/>
                  <a:pt x="2421860" y="628589"/>
                </a:cubicBezTo>
                <a:cubicBezTo>
                  <a:pt x="2424293" y="632112"/>
                  <a:pt x="2426284" y="641221"/>
                  <a:pt x="2426284" y="648832"/>
                </a:cubicBezTo>
                <a:cubicBezTo>
                  <a:pt x="2426284" y="661372"/>
                  <a:pt x="2431239" y="679043"/>
                  <a:pt x="2440777" y="700519"/>
                </a:cubicBezTo>
                <a:cubicBezTo>
                  <a:pt x="2445394" y="710913"/>
                  <a:pt x="2451698" y="710530"/>
                  <a:pt x="2459393" y="699389"/>
                </a:cubicBezTo>
                <a:cubicBezTo>
                  <a:pt x="2467519" y="687625"/>
                  <a:pt x="2467369" y="667744"/>
                  <a:pt x="2459081" y="657786"/>
                </a:cubicBezTo>
                <a:cubicBezTo>
                  <a:pt x="2450414" y="647372"/>
                  <a:pt x="2450672" y="636411"/>
                  <a:pt x="2459470" y="641298"/>
                </a:cubicBezTo>
                <a:cubicBezTo>
                  <a:pt x="2463325" y="643440"/>
                  <a:pt x="2471373" y="639515"/>
                  <a:pt x="2477551" y="632480"/>
                </a:cubicBezTo>
                <a:cubicBezTo>
                  <a:pt x="2483674" y="625506"/>
                  <a:pt x="2486451" y="619800"/>
                  <a:pt x="2483722" y="619800"/>
                </a:cubicBezTo>
                <a:cubicBezTo>
                  <a:pt x="2480682" y="619800"/>
                  <a:pt x="2478759" y="607536"/>
                  <a:pt x="2478759" y="588146"/>
                </a:cubicBezTo>
                <a:cubicBezTo>
                  <a:pt x="2478759" y="564230"/>
                  <a:pt x="2480363" y="556492"/>
                  <a:pt x="2485319" y="556492"/>
                </a:cubicBezTo>
                <a:cubicBezTo>
                  <a:pt x="2488926" y="556492"/>
                  <a:pt x="2491878" y="560167"/>
                  <a:pt x="2491878" y="564659"/>
                </a:cubicBezTo>
                <a:cubicBezTo>
                  <a:pt x="2491878" y="569151"/>
                  <a:pt x="2499398" y="584856"/>
                  <a:pt x="2508588" y="599558"/>
                </a:cubicBezTo>
                <a:lnTo>
                  <a:pt x="2525299" y="626289"/>
                </a:lnTo>
                <a:lnTo>
                  <a:pt x="2539199" y="616250"/>
                </a:lnTo>
                <a:cubicBezTo>
                  <a:pt x="2553351" y="606030"/>
                  <a:pt x="2558554" y="581112"/>
                  <a:pt x="2548428" y="572052"/>
                </a:cubicBezTo>
                <a:cubicBezTo>
                  <a:pt x="2545859" y="569754"/>
                  <a:pt x="2544897" y="563571"/>
                  <a:pt x="2546291" y="558312"/>
                </a:cubicBezTo>
                <a:cubicBezTo>
                  <a:pt x="2548026" y="551769"/>
                  <a:pt x="2546810" y="549871"/>
                  <a:pt x="2542439" y="552299"/>
                </a:cubicBezTo>
                <a:cubicBezTo>
                  <a:pt x="2538651" y="554404"/>
                  <a:pt x="2536783" y="552759"/>
                  <a:pt x="2537847" y="548256"/>
                </a:cubicBezTo>
                <a:cubicBezTo>
                  <a:pt x="2538834" y="544081"/>
                  <a:pt x="2532586" y="534151"/>
                  <a:pt x="2523962" y="526189"/>
                </a:cubicBezTo>
                <a:cubicBezTo>
                  <a:pt x="2517108" y="519862"/>
                  <a:pt x="2512719" y="516468"/>
                  <a:pt x="2508411" y="515434"/>
                </a:cubicBezTo>
                <a:close/>
                <a:moveTo>
                  <a:pt x="3394917" y="499514"/>
                </a:moveTo>
                <a:cubicBezTo>
                  <a:pt x="3385202" y="499514"/>
                  <a:pt x="3378100" y="529260"/>
                  <a:pt x="3385075" y="540733"/>
                </a:cubicBezTo>
                <a:cubicBezTo>
                  <a:pt x="3393394" y="554416"/>
                  <a:pt x="3400986" y="551857"/>
                  <a:pt x="3404022" y="534348"/>
                </a:cubicBezTo>
                <a:cubicBezTo>
                  <a:pt x="3407506" y="514244"/>
                  <a:pt x="3403656" y="499514"/>
                  <a:pt x="3394917" y="499514"/>
                </a:cubicBezTo>
                <a:close/>
                <a:moveTo>
                  <a:pt x="2473972" y="490389"/>
                </a:moveTo>
                <a:cubicBezTo>
                  <a:pt x="2471843" y="492294"/>
                  <a:pt x="2472541" y="497688"/>
                  <a:pt x="2475523" y="502376"/>
                </a:cubicBezTo>
                <a:cubicBezTo>
                  <a:pt x="2482232" y="512920"/>
                  <a:pt x="2484208" y="510938"/>
                  <a:pt x="2480591" y="497291"/>
                </a:cubicBezTo>
                <a:cubicBezTo>
                  <a:pt x="2479079" y="491590"/>
                  <a:pt x="2476101" y="488484"/>
                  <a:pt x="2473972" y="490389"/>
                </a:cubicBezTo>
                <a:close/>
                <a:moveTo>
                  <a:pt x="2576610" y="482359"/>
                </a:moveTo>
                <a:cubicBezTo>
                  <a:pt x="2571620" y="489583"/>
                  <a:pt x="2578946" y="505856"/>
                  <a:pt x="2586852" y="505111"/>
                </a:cubicBezTo>
                <a:cubicBezTo>
                  <a:pt x="2594153" y="504423"/>
                  <a:pt x="2594161" y="504195"/>
                  <a:pt x="2586989" y="501481"/>
                </a:cubicBezTo>
                <a:cubicBezTo>
                  <a:pt x="2582780" y="499888"/>
                  <a:pt x="2579336" y="494047"/>
                  <a:pt x="2579336" y="488499"/>
                </a:cubicBezTo>
                <a:cubicBezTo>
                  <a:pt x="2579336" y="482950"/>
                  <a:pt x="2578110" y="480188"/>
                  <a:pt x="2576610" y="482359"/>
                </a:cubicBezTo>
                <a:close/>
                <a:moveTo>
                  <a:pt x="2585636" y="469292"/>
                </a:moveTo>
                <a:cubicBezTo>
                  <a:pt x="2584175" y="471406"/>
                  <a:pt x="2586588" y="478477"/>
                  <a:pt x="2590998" y="485006"/>
                </a:cubicBezTo>
                <a:cubicBezTo>
                  <a:pt x="2595407" y="491535"/>
                  <a:pt x="2599735" y="494341"/>
                  <a:pt x="2600616" y="491243"/>
                </a:cubicBezTo>
                <a:cubicBezTo>
                  <a:pt x="2601496" y="488144"/>
                  <a:pt x="2599083" y="481073"/>
                  <a:pt x="2595253" y="475529"/>
                </a:cubicBezTo>
                <a:cubicBezTo>
                  <a:pt x="2591424" y="469984"/>
                  <a:pt x="2587096" y="467178"/>
                  <a:pt x="2585636" y="469292"/>
                </a:cubicBezTo>
                <a:close/>
                <a:moveTo>
                  <a:pt x="3422903" y="465059"/>
                </a:moveTo>
                <a:cubicBezTo>
                  <a:pt x="3420722" y="467011"/>
                  <a:pt x="3418939" y="472713"/>
                  <a:pt x="3418939" y="477730"/>
                </a:cubicBezTo>
                <a:cubicBezTo>
                  <a:pt x="3418939" y="490833"/>
                  <a:pt x="3421910" y="488965"/>
                  <a:pt x="3424580" y="474182"/>
                </a:cubicBezTo>
                <a:cubicBezTo>
                  <a:pt x="3425839" y="467213"/>
                  <a:pt x="3425085" y="463108"/>
                  <a:pt x="3422903" y="465059"/>
                </a:cubicBezTo>
                <a:close/>
                <a:moveTo>
                  <a:pt x="3788764" y="436206"/>
                </a:moveTo>
                <a:cubicBezTo>
                  <a:pt x="3792030" y="436206"/>
                  <a:pt x="3797049" y="442616"/>
                  <a:pt x="3799916" y="450450"/>
                </a:cubicBezTo>
                <a:cubicBezTo>
                  <a:pt x="3802782" y="458284"/>
                  <a:pt x="3808936" y="469529"/>
                  <a:pt x="3813589" y="475438"/>
                </a:cubicBezTo>
                <a:cubicBezTo>
                  <a:pt x="3818243" y="481347"/>
                  <a:pt x="3820770" y="489181"/>
                  <a:pt x="3819205" y="492847"/>
                </a:cubicBezTo>
                <a:cubicBezTo>
                  <a:pt x="3815196" y="502237"/>
                  <a:pt x="3802588" y="500707"/>
                  <a:pt x="3796103" y="490044"/>
                </a:cubicBezTo>
                <a:cubicBezTo>
                  <a:pt x="3793097" y="485101"/>
                  <a:pt x="3790637" y="478436"/>
                  <a:pt x="3790637" y="475233"/>
                </a:cubicBezTo>
                <a:cubicBezTo>
                  <a:pt x="3790637" y="472031"/>
                  <a:pt x="3787802" y="466004"/>
                  <a:pt x="3784337" y="461842"/>
                </a:cubicBezTo>
                <a:cubicBezTo>
                  <a:pt x="3777074" y="453114"/>
                  <a:pt x="3779994" y="436206"/>
                  <a:pt x="3788764" y="436206"/>
                </a:cubicBezTo>
                <a:close/>
                <a:moveTo>
                  <a:pt x="2416536" y="393600"/>
                </a:moveTo>
                <a:cubicBezTo>
                  <a:pt x="2419357" y="392997"/>
                  <a:pt x="2421911" y="396309"/>
                  <a:pt x="2421911" y="404024"/>
                </a:cubicBezTo>
                <a:cubicBezTo>
                  <a:pt x="2421911" y="411800"/>
                  <a:pt x="2419088" y="417213"/>
                  <a:pt x="2415031" y="417213"/>
                </a:cubicBezTo>
                <a:cubicBezTo>
                  <a:pt x="2410959" y="417213"/>
                  <a:pt x="2408728" y="412906"/>
                  <a:pt x="2409565" y="406659"/>
                </a:cubicBezTo>
                <a:cubicBezTo>
                  <a:pt x="2410629" y="398718"/>
                  <a:pt x="2413716" y="394202"/>
                  <a:pt x="2416536" y="393600"/>
                </a:cubicBezTo>
                <a:close/>
                <a:moveTo>
                  <a:pt x="3384911" y="341340"/>
                </a:moveTo>
                <a:cubicBezTo>
                  <a:pt x="3374162" y="341236"/>
                  <a:pt x="3368359" y="354420"/>
                  <a:pt x="3372417" y="369731"/>
                </a:cubicBezTo>
                <a:cubicBezTo>
                  <a:pt x="3373802" y="374955"/>
                  <a:pt x="3377455" y="379003"/>
                  <a:pt x="3380538" y="378728"/>
                </a:cubicBezTo>
                <a:cubicBezTo>
                  <a:pt x="3384927" y="378337"/>
                  <a:pt x="3384957" y="377536"/>
                  <a:pt x="3380675" y="375035"/>
                </a:cubicBezTo>
                <a:lnTo>
                  <a:pt x="3380675" y="375035"/>
                </a:lnTo>
                <a:cubicBezTo>
                  <a:pt x="3377669" y="373279"/>
                  <a:pt x="3375209" y="366213"/>
                  <a:pt x="3375209" y="359334"/>
                </a:cubicBezTo>
                <a:cubicBezTo>
                  <a:pt x="3375209" y="352455"/>
                  <a:pt x="3376779" y="348231"/>
                  <a:pt x="3378698" y="349948"/>
                </a:cubicBezTo>
                <a:cubicBezTo>
                  <a:pt x="3380617" y="351665"/>
                  <a:pt x="3385044" y="350452"/>
                  <a:pt x="3388537" y="347252"/>
                </a:cubicBezTo>
                <a:cubicBezTo>
                  <a:pt x="3393480" y="342726"/>
                  <a:pt x="3392677" y="341415"/>
                  <a:pt x="3384911" y="341340"/>
                </a:cubicBezTo>
                <a:close/>
                <a:moveTo>
                  <a:pt x="3481752" y="328581"/>
                </a:moveTo>
                <a:cubicBezTo>
                  <a:pt x="3478562" y="328581"/>
                  <a:pt x="3474719" y="335704"/>
                  <a:pt x="3473209" y="344408"/>
                </a:cubicBezTo>
                <a:cubicBezTo>
                  <a:pt x="3470799" y="358313"/>
                  <a:pt x="3468111" y="360235"/>
                  <a:pt x="3451077" y="360235"/>
                </a:cubicBezTo>
                <a:cubicBezTo>
                  <a:pt x="3440413" y="360235"/>
                  <a:pt x="3429123" y="363704"/>
                  <a:pt x="3425989" y="367943"/>
                </a:cubicBezTo>
                <a:cubicBezTo>
                  <a:pt x="3418508" y="378060"/>
                  <a:pt x="3424306" y="416876"/>
                  <a:pt x="3435239" y="429875"/>
                </a:cubicBezTo>
                <a:cubicBezTo>
                  <a:pt x="3441469" y="437282"/>
                  <a:pt x="3442631" y="444595"/>
                  <a:pt x="3440516" y="463112"/>
                </a:cubicBezTo>
                <a:cubicBezTo>
                  <a:pt x="3438509" y="480705"/>
                  <a:pt x="3439327" y="486853"/>
                  <a:pt x="3443678" y="486853"/>
                </a:cubicBezTo>
                <a:cubicBezTo>
                  <a:pt x="3446913" y="486853"/>
                  <a:pt x="3449549" y="493485"/>
                  <a:pt x="3449549" y="501624"/>
                </a:cubicBezTo>
                <a:cubicBezTo>
                  <a:pt x="3449549" y="520284"/>
                  <a:pt x="3453399" y="525859"/>
                  <a:pt x="3464675" y="523522"/>
                </a:cubicBezTo>
                <a:cubicBezTo>
                  <a:pt x="3472450" y="521910"/>
                  <a:pt x="3473771" y="516371"/>
                  <a:pt x="3474924" y="480522"/>
                </a:cubicBezTo>
                <a:cubicBezTo>
                  <a:pt x="3475653" y="457889"/>
                  <a:pt x="3478112" y="436665"/>
                  <a:pt x="3480390" y="433357"/>
                </a:cubicBezTo>
                <a:cubicBezTo>
                  <a:pt x="3482669" y="430049"/>
                  <a:pt x="3484532" y="420790"/>
                  <a:pt x="3484532" y="412781"/>
                </a:cubicBezTo>
                <a:cubicBezTo>
                  <a:pt x="3484532" y="404214"/>
                  <a:pt x="3487169" y="398220"/>
                  <a:pt x="3490938" y="398220"/>
                </a:cubicBezTo>
                <a:cubicBezTo>
                  <a:pt x="3498511" y="398220"/>
                  <a:pt x="3506292" y="379500"/>
                  <a:pt x="3504808" y="364853"/>
                </a:cubicBezTo>
                <a:cubicBezTo>
                  <a:pt x="3503420" y="351174"/>
                  <a:pt x="3489060" y="328581"/>
                  <a:pt x="3481752" y="328581"/>
                </a:cubicBezTo>
                <a:close/>
                <a:moveTo>
                  <a:pt x="3250209" y="322250"/>
                </a:moveTo>
                <a:cubicBezTo>
                  <a:pt x="3243214" y="322250"/>
                  <a:pt x="3227889" y="333810"/>
                  <a:pt x="3218734" y="345991"/>
                </a:cubicBezTo>
                <a:cubicBezTo>
                  <a:pt x="3215463" y="350343"/>
                  <a:pt x="3210413" y="353905"/>
                  <a:pt x="3207511" y="353905"/>
                </a:cubicBezTo>
                <a:cubicBezTo>
                  <a:pt x="3200783" y="353905"/>
                  <a:pt x="3188954" y="373794"/>
                  <a:pt x="3185026" y="391710"/>
                </a:cubicBezTo>
                <a:cubicBezTo>
                  <a:pt x="3182959" y="401144"/>
                  <a:pt x="3184556" y="409295"/>
                  <a:pt x="3190049" y="417333"/>
                </a:cubicBezTo>
                <a:cubicBezTo>
                  <a:pt x="3198704" y="429998"/>
                  <a:pt x="3209038" y="433607"/>
                  <a:pt x="3209038" y="423965"/>
                </a:cubicBezTo>
                <a:cubicBezTo>
                  <a:pt x="3209038" y="420714"/>
                  <a:pt x="3214450" y="417153"/>
                  <a:pt x="3221064" y="416051"/>
                </a:cubicBezTo>
                <a:cubicBezTo>
                  <a:pt x="3230509" y="414477"/>
                  <a:pt x="3233387" y="410312"/>
                  <a:pt x="3234472" y="396638"/>
                </a:cubicBezTo>
                <a:cubicBezTo>
                  <a:pt x="3236215" y="374710"/>
                  <a:pt x="3252767" y="371301"/>
                  <a:pt x="3252767" y="392871"/>
                </a:cubicBezTo>
                <a:cubicBezTo>
                  <a:pt x="3252767" y="406113"/>
                  <a:pt x="3253025" y="406177"/>
                  <a:pt x="3261513" y="395055"/>
                </a:cubicBezTo>
                <a:cubicBezTo>
                  <a:pt x="3277567" y="374022"/>
                  <a:pt x="3269528" y="322250"/>
                  <a:pt x="3250209" y="322250"/>
                </a:cubicBezTo>
                <a:close/>
                <a:moveTo>
                  <a:pt x="3735611" y="303258"/>
                </a:moveTo>
                <a:cubicBezTo>
                  <a:pt x="3739420" y="303258"/>
                  <a:pt x="3742535" y="307294"/>
                  <a:pt x="3742535" y="312227"/>
                </a:cubicBezTo>
                <a:cubicBezTo>
                  <a:pt x="3742535" y="317159"/>
                  <a:pt x="3744851" y="322313"/>
                  <a:pt x="3747682" y="323679"/>
                </a:cubicBezTo>
                <a:cubicBezTo>
                  <a:pt x="3750513" y="325045"/>
                  <a:pt x="3751381" y="329556"/>
                  <a:pt x="3749611" y="333703"/>
                </a:cubicBezTo>
                <a:cubicBezTo>
                  <a:pt x="3745013" y="344472"/>
                  <a:pt x="3739615" y="343017"/>
                  <a:pt x="3736483" y="330164"/>
                </a:cubicBezTo>
                <a:cubicBezTo>
                  <a:pt x="3734998" y="324070"/>
                  <a:pt x="3732636" y="315524"/>
                  <a:pt x="3731235" y="311171"/>
                </a:cubicBezTo>
                <a:cubicBezTo>
                  <a:pt x="3729770" y="306619"/>
                  <a:pt x="3731629" y="303258"/>
                  <a:pt x="3735611" y="303258"/>
                </a:cubicBezTo>
                <a:close/>
                <a:moveTo>
                  <a:pt x="2667524" y="278974"/>
                </a:moveTo>
                <a:cubicBezTo>
                  <a:pt x="2661560" y="280156"/>
                  <a:pt x="2658185" y="293159"/>
                  <a:pt x="2658117" y="316447"/>
                </a:cubicBezTo>
                <a:cubicBezTo>
                  <a:pt x="2658039" y="342968"/>
                  <a:pt x="2660977" y="348786"/>
                  <a:pt x="2673175" y="346258"/>
                </a:cubicBezTo>
                <a:cubicBezTo>
                  <a:pt x="2680611" y="344717"/>
                  <a:pt x="2682100" y="339770"/>
                  <a:pt x="2682100" y="316609"/>
                </a:cubicBezTo>
                <a:cubicBezTo>
                  <a:pt x="2682100" y="296817"/>
                  <a:pt x="2679861" y="286788"/>
                  <a:pt x="2674323" y="281790"/>
                </a:cubicBezTo>
                <a:cubicBezTo>
                  <a:pt x="2671787" y="279500"/>
                  <a:pt x="2669512" y="278580"/>
                  <a:pt x="2667524" y="278974"/>
                </a:cubicBezTo>
                <a:close/>
                <a:moveTo>
                  <a:pt x="2403748" y="222584"/>
                </a:moveTo>
                <a:cubicBezTo>
                  <a:pt x="2406439" y="222027"/>
                  <a:pt x="2408792" y="224335"/>
                  <a:pt x="2408792" y="229925"/>
                </a:cubicBezTo>
                <a:cubicBezTo>
                  <a:pt x="2408792" y="235438"/>
                  <a:pt x="2405677" y="239949"/>
                  <a:pt x="2401869" y="239949"/>
                </a:cubicBezTo>
                <a:cubicBezTo>
                  <a:pt x="2398060" y="239949"/>
                  <a:pt x="2395724" y="236566"/>
                  <a:pt x="2396676" y="232431"/>
                </a:cubicBezTo>
                <a:cubicBezTo>
                  <a:pt x="2398027" y="226562"/>
                  <a:pt x="2401056" y="223140"/>
                  <a:pt x="2403748" y="222584"/>
                </a:cubicBezTo>
                <a:close/>
                <a:moveTo>
                  <a:pt x="3661635" y="214625"/>
                </a:moveTo>
                <a:cubicBezTo>
                  <a:pt x="3665279" y="214625"/>
                  <a:pt x="3668195" y="220253"/>
                  <a:pt x="3668195" y="227287"/>
                </a:cubicBezTo>
                <a:cubicBezTo>
                  <a:pt x="3668195" y="234321"/>
                  <a:pt x="3665279" y="239949"/>
                  <a:pt x="3661635" y="239949"/>
                </a:cubicBezTo>
                <a:cubicBezTo>
                  <a:pt x="3657991" y="239949"/>
                  <a:pt x="3655077" y="234321"/>
                  <a:pt x="3655077" y="227287"/>
                </a:cubicBezTo>
                <a:cubicBezTo>
                  <a:pt x="3655077" y="220253"/>
                  <a:pt x="3657991" y="214625"/>
                  <a:pt x="3661635" y="214625"/>
                </a:cubicBezTo>
                <a:close/>
                <a:moveTo>
                  <a:pt x="2458546" y="189624"/>
                </a:moveTo>
                <a:cubicBezTo>
                  <a:pt x="2461856" y="188735"/>
                  <a:pt x="2465760" y="190792"/>
                  <a:pt x="2468139" y="196363"/>
                </a:cubicBezTo>
                <a:cubicBezTo>
                  <a:pt x="2469953" y="200613"/>
                  <a:pt x="2478604" y="202209"/>
                  <a:pt x="2489869" y="200371"/>
                </a:cubicBezTo>
                <a:cubicBezTo>
                  <a:pt x="2506662" y="197630"/>
                  <a:pt x="2509560" y="199226"/>
                  <a:pt x="2518076" y="215902"/>
                </a:cubicBezTo>
                <a:cubicBezTo>
                  <a:pt x="2523296" y="226123"/>
                  <a:pt x="2526486" y="238565"/>
                  <a:pt x="2525165" y="243549"/>
                </a:cubicBezTo>
                <a:cubicBezTo>
                  <a:pt x="2521689" y="256664"/>
                  <a:pt x="2516449" y="254691"/>
                  <a:pt x="2511500" y="238403"/>
                </a:cubicBezTo>
                <a:cubicBezTo>
                  <a:pt x="2504650" y="215859"/>
                  <a:pt x="2492282" y="216449"/>
                  <a:pt x="2489102" y="239473"/>
                </a:cubicBezTo>
                <a:cubicBezTo>
                  <a:pt x="2485958" y="262227"/>
                  <a:pt x="2470013" y="267861"/>
                  <a:pt x="2470013" y="246218"/>
                </a:cubicBezTo>
                <a:cubicBezTo>
                  <a:pt x="2470013" y="239220"/>
                  <a:pt x="2466078" y="228616"/>
                  <a:pt x="2461268" y="222653"/>
                </a:cubicBezTo>
                <a:cubicBezTo>
                  <a:pt x="2456458" y="216690"/>
                  <a:pt x="2452522" y="206747"/>
                  <a:pt x="2452522" y="200557"/>
                </a:cubicBezTo>
                <a:cubicBezTo>
                  <a:pt x="2452522" y="194347"/>
                  <a:pt x="2455237" y="190513"/>
                  <a:pt x="2458546" y="189624"/>
                </a:cubicBezTo>
                <a:close/>
                <a:moveTo>
                  <a:pt x="2511298" y="176640"/>
                </a:moveTo>
                <a:cubicBezTo>
                  <a:pt x="2515048" y="176640"/>
                  <a:pt x="2518116" y="179489"/>
                  <a:pt x="2518116" y="182971"/>
                </a:cubicBezTo>
                <a:cubicBezTo>
                  <a:pt x="2518116" y="186454"/>
                  <a:pt x="2516264" y="189302"/>
                  <a:pt x="2514001" y="189302"/>
                </a:cubicBezTo>
                <a:cubicBezTo>
                  <a:pt x="2511738" y="189302"/>
                  <a:pt x="2508670" y="186454"/>
                  <a:pt x="2507183" y="182971"/>
                </a:cubicBezTo>
                <a:cubicBezTo>
                  <a:pt x="2505697" y="179489"/>
                  <a:pt x="2507548" y="176640"/>
                  <a:pt x="2511298" y="176640"/>
                </a:cubicBezTo>
                <a:close/>
                <a:moveTo>
                  <a:pt x="2555929" y="171777"/>
                </a:moveTo>
                <a:cubicBezTo>
                  <a:pt x="2566610" y="171004"/>
                  <a:pt x="2578329" y="172802"/>
                  <a:pt x="2582482" y="177792"/>
                </a:cubicBezTo>
                <a:cubicBezTo>
                  <a:pt x="2587445" y="183755"/>
                  <a:pt x="2586019" y="186637"/>
                  <a:pt x="2574699" y="193528"/>
                </a:cubicBezTo>
                <a:cubicBezTo>
                  <a:pt x="2558114" y="203624"/>
                  <a:pt x="2558671" y="203563"/>
                  <a:pt x="2555286" y="195633"/>
                </a:cubicBezTo>
                <a:cubicBezTo>
                  <a:pt x="2553799" y="192151"/>
                  <a:pt x="2548763" y="189302"/>
                  <a:pt x="2544095" y="189302"/>
                </a:cubicBezTo>
                <a:cubicBezTo>
                  <a:pt x="2539427" y="189302"/>
                  <a:pt x="2535607" y="185648"/>
                  <a:pt x="2535607" y="181183"/>
                </a:cubicBezTo>
                <a:cubicBezTo>
                  <a:pt x="2535607" y="175892"/>
                  <a:pt x="2545249" y="172549"/>
                  <a:pt x="2555929" y="171777"/>
                </a:cubicBezTo>
                <a:close/>
                <a:moveTo>
                  <a:pt x="2651238" y="166688"/>
                </a:moveTo>
                <a:cubicBezTo>
                  <a:pt x="2657528" y="168492"/>
                  <a:pt x="2662423" y="175539"/>
                  <a:pt x="2662423" y="186823"/>
                </a:cubicBezTo>
                <a:cubicBezTo>
                  <a:pt x="2662423" y="195151"/>
                  <a:pt x="2660493" y="201964"/>
                  <a:pt x="2658132" y="201964"/>
                </a:cubicBezTo>
                <a:cubicBezTo>
                  <a:pt x="2655774" y="201964"/>
                  <a:pt x="2652609" y="209086"/>
                  <a:pt x="2651099" y="217791"/>
                </a:cubicBezTo>
                <a:cubicBezTo>
                  <a:pt x="2648579" y="232326"/>
                  <a:pt x="2632643" y="241240"/>
                  <a:pt x="2631294" y="228870"/>
                </a:cubicBezTo>
                <a:cubicBezTo>
                  <a:pt x="2631009" y="226259"/>
                  <a:pt x="2631009" y="221985"/>
                  <a:pt x="2631294" y="219374"/>
                </a:cubicBezTo>
                <a:cubicBezTo>
                  <a:pt x="2631578" y="216762"/>
                  <a:pt x="2629844" y="214625"/>
                  <a:pt x="2627439" y="214625"/>
                </a:cubicBezTo>
                <a:cubicBezTo>
                  <a:pt x="2620291" y="214625"/>
                  <a:pt x="2622736" y="193545"/>
                  <a:pt x="2631687" y="178004"/>
                </a:cubicBezTo>
                <a:cubicBezTo>
                  <a:pt x="2637265" y="168321"/>
                  <a:pt x="2644949" y="164883"/>
                  <a:pt x="2651238" y="166688"/>
                </a:cubicBezTo>
                <a:close/>
                <a:moveTo>
                  <a:pt x="3294675" y="163979"/>
                </a:moveTo>
                <a:cubicBezTo>
                  <a:pt x="3302396" y="163979"/>
                  <a:pt x="3301052" y="177608"/>
                  <a:pt x="3292944" y="181520"/>
                </a:cubicBezTo>
                <a:cubicBezTo>
                  <a:pt x="3290088" y="182899"/>
                  <a:pt x="3287751" y="179516"/>
                  <a:pt x="3287751" y="174003"/>
                </a:cubicBezTo>
                <a:cubicBezTo>
                  <a:pt x="3287751" y="168490"/>
                  <a:pt x="3290866" y="163979"/>
                  <a:pt x="3294675" y="163979"/>
                </a:cubicBezTo>
                <a:close/>
                <a:moveTo>
                  <a:pt x="3593184" y="152944"/>
                </a:moveTo>
                <a:cubicBezTo>
                  <a:pt x="3595875" y="152388"/>
                  <a:pt x="3598229" y="154696"/>
                  <a:pt x="3598229" y="160286"/>
                </a:cubicBezTo>
                <a:cubicBezTo>
                  <a:pt x="3598229" y="165799"/>
                  <a:pt x="3595112" y="170310"/>
                  <a:pt x="3591305" y="170310"/>
                </a:cubicBezTo>
                <a:cubicBezTo>
                  <a:pt x="3587497" y="170310"/>
                  <a:pt x="3585159" y="166926"/>
                  <a:pt x="3586112" y="162792"/>
                </a:cubicBezTo>
                <a:cubicBezTo>
                  <a:pt x="3587463" y="156923"/>
                  <a:pt x="3590492" y="153501"/>
                  <a:pt x="3593184" y="152944"/>
                </a:cubicBezTo>
                <a:close/>
                <a:moveTo>
                  <a:pt x="2447768" y="122488"/>
                </a:moveTo>
                <a:cubicBezTo>
                  <a:pt x="2454976" y="128937"/>
                  <a:pt x="2453468" y="151317"/>
                  <a:pt x="2445825" y="151317"/>
                </a:cubicBezTo>
                <a:cubicBezTo>
                  <a:pt x="2442142" y="151317"/>
                  <a:pt x="2437945" y="146852"/>
                  <a:pt x="2436499" y="141395"/>
                </a:cubicBezTo>
                <a:cubicBezTo>
                  <a:pt x="2433343" y="129488"/>
                  <a:pt x="2441081" y="116504"/>
                  <a:pt x="2447768" y="122488"/>
                </a:cubicBezTo>
                <a:close/>
                <a:moveTo>
                  <a:pt x="2758453" y="113837"/>
                </a:moveTo>
                <a:cubicBezTo>
                  <a:pt x="2758489" y="112848"/>
                  <a:pt x="2756442" y="113310"/>
                  <a:pt x="2752343" y="114355"/>
                </a:cubicBezTo>
                <a:cubicBezTo>
                  <a:pt x="2743193" y="116691"/>
                  <a:pt x="2733150" y="156532"/>
                  <a:pt x="2739995" y="163342"/>
                </a:cubicBezTo>
                <a:cubicBezTo>
                  <a:pt x="2746060" y="169373"/>
                  <a:pt x="2753611" y="202383"/>
                  <a:pt x="2756797" y="236783"/>
                </a:cubicBezTo>
                <a:cubicBezTo>
                  <a:pt x="2760450" y="276217"/>
                  <a:pt x="2765335" y="286290"/>
                  <a:pt x="2776577" y="277579"/>
                </a:cubicBezTo>
                <a:cubicBezTo>
                  <a:pt x="2782786" y="272768"/>
                  <a:pt x="2784864" y="264163"/>
                  <a:pt x="2784864" y="243265"/>
                </a:cubicBezTo>
                <a:cubicBezTo>
                  <a:pt x="2784864" y="227925"/>
                  <a:pt x="2786832" y="213612"/>
                  <a:pt x="2789237" y="211460"/>
                </a:cubicBezTo>
                <a:cubicBezTo>
                  <a:pt x="2796011" y="205400"/>
                  <a:pt x="2794395" y="176679"/>
                  <a:pt x="2787050" y="172599"/>
                </a:cubicBezTo>
                <a:cubicBezTo>
                  <a:pt x="2783443" y="170595"/>
                  <a:pt x="2780492" y="164868"/>
                  <a:pt x="2780492" y="159871"/>
                </a:cubicBezTo>
                <a:cubicBezTo>
                  <a:pt x="2780492" y="143577"/>
                  <a:pt x="2765437" y="126054"/>
                  <a:pt x="2754010" y="129045"/>
                </a:cubicBezTo>
                <a:cubicBezTo>
                  <a:pt x="2743566" y="131779"/>
                  <a:pt x="2743521" y="131619"/>
                  <a:pt x="2752067" y="122018"/>
                </a:cubicBezTo>
                <a:cubicBezTo>
                  <a:pt x="2756299" y="117264"/>
                  <a:pt x="2758418" y="114826"/>
                  <a:pt x="2758453" y="113837"/>
                </a:cubicBezTo>
                <a:close/>
                <a:moveTo>
                  <a:pt x="3208103" y="91897"/>
                </a:moveTo>
                <a:cubicBezTo>
                  <a:pt x="3213281" y="90045"/>
                  <a:pt x="3217784" y="97707"/>
                  <a:pt x="3217784" y="116250"/>
                </a:cubicBezTo>
                <a:cubicBezTo>
                  <a:pt x="3217784" y="127720"/>
                  <a:pt x="3220735" y="140651"/>
                  <a:pt x="3224343" y="144986"/>
                </a:cubicBezTo>
                <a:cubicBezTo>
                  <a:pt x="3227951" y="149321"/>
                  <a:pt x="3230903" y="159844"/>
                  <a:pt x="3230903" y="168372"/>
                </a:cubicBezTo>
                <a:cubicBezTo>
                  <a:pt x="3230903" y="176899"/>
                  <a:pt x="3233854" y="188149"/>
                  <a:pt x="3237462" y="193372"/>
                </a:cubicBezTo>
                <a:cubicBezTo>
                  <a:pt x="3244242" y="203188"/>
                  <a:pt x="3246531" y="221731"/>
                  <a:pt x="3240742" y="219944"/>
                </a:cubicBezTo>
                <a:cubicBezTo>
                  <a:pt x="3238938" y="219386"/>
                  <a:pt x="3231221" y="217798"/>
                  <a:pt x="3223595" y="216414"/>
                </a:cubicBezTo>
                <a:cubicBezTo>
                  <a:pt x="3203557" y="212779"/>
                  <a:pt x="3185757" y="185085"/>
                  <a:pt x="3189004" y="162600"/>
                </a:cubicBezTo>
                <a:cubicBezTo>
                  <a:pt x="3190402" y="152912"/>
                  <a:pt x="3192816" y="135822"/>
                  <a:pt x="3194368" y="124622"/>
                </a:cubicBezTo>
                <a:cubicBezTo>
                  <a:pt x="3197072" y="105112"/>
                  <a:pt x="3202925" y="93748"/>
                  <a:pt x="3208103" y="91897"/>
                </a:cubicBezTo>
                <a:close/>
                <a:moveTo>
                  <a:pt x="3421125" y="62685"/>
                </a:moveTo>
                <a:cubicBezTo>
                  <a:pt x="3424732" y="62685"/>
                  <a:pt x="3427684" y="66958"/>
                  <a:pt x="3427684" y="72181"/>
                </a:cubicBezTo>
                <a:cubicBezTo>
                  <a:pt x="3427684" y="77405"/>
                  <a:pt x="3429221" y="81678"/>
                  <a:pt x="3431098" y="81678"/>
                </a:cubicBezTo>
                <a:cubicBezTo>
                  <a:pt x="3435608" y="81678"/>
                  <a:pt x="3445240" y="118931"/>
                  <a:pt x="3441509" y="121946"/>
                </a:cubicBezTo>
                <a:cubicBezTo>
                  <a:pt x="3439919" y="123233"/>
                  <a:pt x="3436145" y="123001"/>
                  <a:pt x="3433123" y="121434"/>
                </a:cubicBezTo>
                <a:cubicBezTo>
                  <a:pt x="3430102" y="119865"/>
                  <a:pt x="3428743" y="115976"/>
                  <a:pt x="3430102" y="112791"/>
                </a:cubicBezTo>
                <a:cubicBezTo>
                  <a:pt x="3431461" y="109606"/>
                  <a:pt x="3430490" y="107001"/>
                  <a:pt x="3427942" y="107001"/>
                </a:cubicBezTo>
                <a:cubicBezTo>
                  <a:pt x="3425395" y="107001"/>
                  <a:pt x="3423312" y="101303"/>
                  <a:pt x="3423312" y="94339"/>
                </a:cubicBezTo>
                <a:cubicBezTo>
                  <a:pt x="3423312" y="87375"/>
                  <a:pt x="3421344" y="81678"/>
                  <a:pt x="3418939" y="81678"/>
                </a:cubicBezTo>
                <a:cubicBezTo>
                  <a:pt x="3416533" y="81678"/>
                  <a:pt x="3414566" y="77405"/>
                  <a:pt x="3414566" y="72181"/>
                </a:cubicBezTo>
                <a:cubicBezTo>
                  <a:pt x="3414566" y="66958"/>
                  <a:pt x="3417517" y="62685"/>
                  <a:pt x="3421125" y="62685"/>
                </a:cubicBezTo>
                <a:close/>
                <a:moveTo>
                  <a:pt x="3123228" y="39762"/>
                </a:moveTo>
                <a:cubicBezTo>
                  <a:pt x="3124340" y="38590"/>
                  <a:pt x="3126716" y="40562"/>
                  <a:pt x="3129915" y="46141"/>
                </a:cubicBezTo>
                <a:cubicBezTo>
                  <a:pt x="3133020" y="51558"/>
                  <a:pt x="3133456" y="56718"/>
                  <a:pt x="3130996" y="58920"/>
                </a:cubicBezTo>
                <a:cubicBezTo>
                  <a:pt x="3128726" y="60950"/>
                  <a:pt x="3125632" y="57947"/>
                  <a:pt x="3124122" y="52246"/>
                </a:cubicBezTo>
                <a:cubicBezTo>
                  <a:pt x="3122267" y="45250"/>
                  <a:pt x="3122116" y="40934"/>
                  <a:pt x="3123228" y="39762"/>
                </a:cubicBezTo>
                <a:close/>
                <a:moveTo>
                  <a:pt x="3491456" y="6650"/>
                </a:moveTo>
                <a:cubicBezTo>
                  <a:pt x="3493713" y="7680"/>
                  <a:pt x="3496272" y="11147"/>
                  <a:pt x="3502024" y="18369"/>
                </a:cubicBezTo>
                <a:cubicBezTo>
                  <a:pt x="3507571" y="25333"/>
                  <a:pt x="3514759" y="31031"/>
                  <a:pt x="3517999" y="31031"/>
                </a:cubicBezTo>
                <a:cubicBezTo>
                  <a:pt x="3521238" y="31031"/>
                  <a:pt x="3523889" y="33879"/>
                  <a:pt x="3523889" y="37362"/>
                </a:cubicBezTo>
                <a:cubicBezTo>
                  <a:pt x="3523889" y="40844"/>
                  <a:pt x="3526840" y="43693"/>
                  <a:pt x="3530448" y="43693"/>
                </a:cubicBezTo>
                <a:cubicBezTo>
                  <a:pt x="3534146" y="43693"/>
                  <a:pt x="3537008" y="49356"/>
                  <a:pt x="3537008" y="56677"/>
                </a:cubicBezTo>
                <a:cubicBezTo>
                  <a:pt x="3537008" y="68583"/>
                  <a:pt x="3565454" y="113232"/>
                  <a:pt x="3573084" y="113301"/>
                </a:cubicBezTo>
                <a:cubicBezTo>
                  <a:pt x="3574888" y="113318"/>
                  <a:pt x="3576364" y="117914"/>
                  <a:pt x="3576364" y="123514"/>
                </a:cubicBezTo>
                <a:cubicBezTo>
                  <a:pt x="3576364" y="131092"/>
                  <a:pt x="3573688" y="132724"/>
                  <a:pt x="3565906" y="129897"/>
                </a:cubicBezTo>
                <a:cubicBezTo>
                  <a:pt x="3556533" y="126491"/>
                  <a:pt x="3555257" y="128464"/>
                  <a:pt x="3553610" y="148893"/>
                </a:cubicBezTo>
                <a:cubicBezTo>
                  <a:pt x="3552230" y="165993"/>
                  <a:pt x="3553751" y="173479"/>
                  <a:pt x="3559695" y="178853"/>
                </a:cubicBezTo>
                <a:cubicBezTo>
                  <a:pt x="3568675" y="186973"/>
                  <a:pt x="3570011" y="202298"/>
                  <a:pt x="3562664" y="212934"/>
                </a:cubicBezTo>
                <a:cubicBezTo>
                  <a:pt x="3556064" y="222489"/>
                  <a:pt x="3561075" y="239949"/>
                  <a:pt x="3570416" y="239949"/>
                </a:cubicBezTo>
                <a:cubicBezTo>
                  <a:pt x="3574511" y="239949"/>
                  <a:pt x="3581581" y="235077"/>
                  <a:pt x="3586126" y="229122"/>
                </a:cubicBezTo>
                <a:cubicBezTo>
                  <a:pt x="3593093" y="219993"/>
                  <a:pt x="3594988" y="219697"/>
                  <a:pt x="3598207" y="227237"/>
                </a:cubicBezTo>
                <a:cubicBezTo>
                  <a:pt x="3600306" y="232155"/>
                  <a:pt x="3600918" y="238770"/>
                  <a:pt x="3599566" y="241937"/>
                </a:cubicBezTo>
                <a:cubicBezTo>
                  <a:pt x="3596331" y="249514"/>
                  <a:pt x="3606716" y="258723"/>
                  <a:pt x="3618632" y="258845"/>
                </a:cubicBezTo>
                <a:cubicBezTo>
                  <a:pt x="3629513" y="258956"/>
                  <a:pt x="3661535" y="300242"/>
                  <a:pt x="3665357" y="319085"/>
                </a:cubicBezTo>
                <a:cubicBezTo>
                  <a:pt x="3666770" y="326049"/>
                  <a:pt x="3666225" y="342430"/>
                  <a:pt x="3664147" y="355487"/>
                </a:cubicBezTo>
                <a:cubicBezTo>
                  <a:pt x="3661949" y="369306"/>
                  <a:pt x="3662006" y="379228"/>
                  <a:pt x="3664283" y="379228"/>
                </a:cubicBezTo>
                <a:cubicBezTo>
                  <a:pt x="3666434" y="379228"/>
                  <a:pt x="3668196" y="383501"/>
                  <a:pt x="3668196" y="388724"/>
                </a:cubicBezTo>
                <a:cubicBezTo>
                  <a:pt x="3668196" y="393948"/>
                  <a:pt x="3670163" y="398220"/>
                  <a:pt x="3672568" y="398220"/>
                </a:cubicBezTo>
                <a:cubicBezTo>
                  <a:pt x="3674973" y="398220"/>
                  <a:pt x="3676941" y="408680"/>
                  <a:pt x="3676941" y="421463"/>
                </a:cubicBezTo>
                <a:cubicBezTo>
                  <a:pt x="3676941" y="434246"/>
                  <a:pt x="3679674" y="449202"/>
                  <a:pt x="3683014" y="454700"/>
                </a:cubicBezTo>
                <a:cubicBezTo>
                  <a:pt x="3686353" y="460197"/>
                  <a:pt x="3690445" y="473953"/>
                  <a:pt x="3692108" y="485270"/>
                </a:cubicBezTo>
                <a:cubicBezTo>
                  <a:pt x="3694511" y="501645"/>
                  <a:pt x="3693718" y="505845"/>
                  <a:pt x="3688220" y="505845"/>
                </a:cubicBezTo>
                <a:cubicBezTo>
                  <a:pt x="3684422" y="505845"/>
                  <a:pt x="3681806" y="502731"/>
                  <a:pt x="3682407" y="498925"/>
                </a:cubicBezTo>
                <a:cubicBezTo>
                  <a:pt x="3684346" y="486656"/>
                  <a:pt x="3669145" y="476556"/>
                  <a:pt x="3660542" y="484398"/>
                </a:cubicBezTo>
                <a:cubicBezTo>
                  <a:pt x="3649957" y="494048"/>
                  <a:pt x="3648855" y="508671"/>
                  <a:pt x="3656943" y="532140"/>
                </a:cubicBezTo>
                <a:cubicBezTo>
                  <a:pt x="3660727" y="543122"/>
                  <a:pt x="3663823" y="559054"/>
                  <a:pt x="3663823" y="567545"/>
                </a:cubicBezTo>
                <a:cubicBezTo>
                  <a:pt x="3663823" y="576036"/>
                  <a:pt x="3667758" y="590227"/>
                  <a:pt x="3672568" y="599081"/>
                </a:cubicBezTo>
                <a:cubicBezTo>
                  <a:pt x="3677379" y="607934"/>
                  <a:pt x="3681314" y="620323"/>
                  <a:pt x="3681314" y="626611"/>
                </a:cubicBezTo>
                <a:cubicBezTo>
                  <a:pt x="3681314" y="632900"/>
                  <a:pt x="3683281" y="639807"/>
                  <a:pt x="3685687" y="641959"/>
                </a:cubicBezTo>
                <a:cubicBezTo>
                  <a:pt x="3688092" y="644110"/>
                  <a:pt x="3690060" y="652384"/>
                  <a:pt x="3690060" y="660343"/>
                </a:cubicBezTo>
                <a:cubicBezTo>
                  <a:pt x="3690060" y="678177"/>
                  <a:pt x="3704117" y="697639"/>
                  <a:pt x="3714879" y="694706"/>
                </a:cubicBezTo>
                <a:cubicBezTo>
                  <a:pt x="3719266" y="693510"/>
                  <a:pt x="3724799" y="686138"/>
                  <a:pt x="3727174" y="678324"/>
                </a:cubicBezTo>
                <a:cubicBezTo>
                  <a:pt x="3729816" y="669628"/>
                  <a:pt x="3735329" y="664117"/>
                  <a:pt x="3741385" y="664117"/>
                </a:cubicBezTo>
                <a:cubicBezTo>
                  <a:pt x="3756867" y="664117"/>
                  <a:pt x="3753920" y="686819"/>
                  <a:pt x="3736264" y="703575"/>
                </a:cubicBezTo>
                <a:cubicBezTo>
                  <a:pt x="3719509" y="719476"/>
                  <a:pt x="3710769" y="756437"/>
                  <a:pt x="3721445" y="766238"/>
                </a:cubicBezTo>
                <a:cubicBezTo>
                  <a:pt x="3730163" y="774239"/>
                  <a:pt x="3743706" y="772450"/>
                  <a:pt x="3753209" y="762044"/>
                </a:cubicBezTo>
                <a:cubicBezTo>
                  <a:pt x="3769495" y="744212"/>
                  <a:pt x="3785979" y="753179"/>
                  <a:pt x="3792622" y="783484"/>
                </a:cubicBezTo>
                <a:cubicBezTo>
                  <a:pt x="3796816" y="802612"/>
                  <a:pt x="3814112" y="799777"/>
                  <a:pt x="3816087" y="779639"/>
                </a:cubicBezTo>
                <a:cubicBezTo>
                  <a:pt x="3816856" y="771797"/>
                  <a:pt x="3824235" y="757926"/>
                  <a:pt x="3832485" y="748816"/>
                </a:cubicBezTo>
                <a:cubicBezTo>
                  <a:pt x="3844749" y="735275"/>
                  <a:pt x="3847474" y="728059"/>
                  <a:pt x="3847425" y="709264"/>
                </a:cubicBezTo>
                <a:cubicBezTo>
                  <a:pt x="3847352" y="681364"/>
                  <a:pt x="3843200" y="656960"/>
                  <a:pt x="3839142" y="660590"/>
                </a:cubicBezTo>
                <a:cubicBezTo>
                  <a:pt x="3834328" y="664898"/>
                  <a:pt x="3838060" y="573936"/>
                  <a:pt x="3842989" y="566799"/>
                </a:cubicBezTo>
                <a:cubicBezTo>
                  <a:pt x="3845462" y="563219"/>
                  <a:pt x="3847485" y="555512"/>
                  <a:pt x="3847485" y="549670"/>
                </a:cubicBezTo>
                <a:cubicBezTo>
                  <a:pt x="3847485" y="543829"/>
                  <a:pt x="3850200" y="535788"/>
                  <a:pt x="3853517" y="531802"/>
                </a:cubicBezTo>
                <a:cubicBezTo>
                  <a:pt x="3861375" y="522361"/>
                  <a:pt x="3865336" y="492780"/>
                  <a:pt x="3861473" y="472401"/>
                </a:cubicBezTo>
                <a:cubicBezTo>
                  <a:pt x="3859792" y="463537"/>
                  <a:pt x="3851164" y="444615"/>
                  <a:pt x="3842299" y="430355"/>
                </a:cubicBezTo>
                <a:cubicBezTo>
                  <a:pt x="3833435" y="416093"/>
                  <a:pt x="3824791" y="398044"/>
                  <a:pt x="3823090" y="390244"/>
                </a:cubicBezTo>
                <a:cubicBezTo>
                  <a:pt x="3821387" y="382444"/>
                  <a:pt x="3816342" y="371455"/>
                  <a:pt x="3811876" y="365824"/>
                </a:cubicBezTo>
                <a:cubicBezTo>
                  <a:pt x="3807409" y="360192"/>
                  <a:pt x="3803756" y="351137"/>
                  <a:pt x="3803756" y="345701"/>
                </a:cubicBezTo>
                <a:cubicBezTo>
                  <a:pt x="3803756" y="340264"/>
                  <a:pt x="3801296" y="331942"/>
                  <a:pt x="3798290" y="327206"/>
                </a:cubicBezTo>
                <a:cubicBezTo>
                  <a:pt x="3787028" y="309466"/>
                  <a:pt x="3782277" y="290931"/>
                  <a:pt x="3783985" y="271395"/>
                </a:cubicBezTo>
                <a:cubicBezTo>
                  <a:pt x="3786140" y="246750"/>
                  <a:pt x="3789194" y="241660"/>
                  <a:pt x="3795958" y="251450"/>
                </a:cubicBezTo>
                <a:cubicBezTo>
                  <a:pt x="3798804" y="255570"/>
                  <a:pt x="3805835" y="258942"/>
                  <a:pt x="3811582" y="258942"/>
                </a:cubicBezTo>
                <a:cubicBezTo>
                  <a:pt x="3823136" y="258942"/>
                  <a:pt x="3838367" y="281252"/>
                  <a:pt x="3838594" y="298509"/>
                </a:cubicBezTo>
                <a:cubicBezTo>
                  <a:pt x="3838673" y="304603"/>
                  <a:pt x="3840707" y="309588"/>
                  <a:pt x="3843112" y="309588"/>
                </a:cubicBezTo>
                <a:cubicBezTo>
                  <a:pt x="3845518" y="309588"/>
                  <a:pt x="3847485" y="313965"/>
                  <a:pt x="3847485" y="319315"/>
                </a:cubicBezTo>
                <a:cubicBezTo>
                  <a:pt x="3847485" y="324665"/>
                  <a:pt x="3862335" y="350059"/>
                  <a:pt x="3880487" y="375747"/>
                </a:cubicBezTo>
                <a:lnTo>
                  <a:pt x="3913488" y="422452"/>
                </a:lnTo>
                <a:lnTo>
                  <a:pt x="3912190" y="462566"/>
                </a:lnTo>
                <a:lnTo>
                  <a:pt x="3910892" y="502680"/>
                </a:lnTo>
                <a:lnTo>
                  <a:pt x="3924010" y="504823"/>
                </a:lnTo>
                <a:cubicBezTo>
                  <a:pt x="3942999" y="507924"/>
                  <a:pt x="3948063" y="516714"/>
                  <a:pt x="3948063" y="546577"/>
                </a:cubicBezTo>
                <a:cubicBezTo>
                  <a:pt x="3948063" y="564774"/>
                  <a:pt x="3950947" y="577580"/>
                  <a:pt x="3957252" y="587378"/>
                </a:cubicBezTo>
                <a:cubicBezTo>
                  <a:pt x="3963929" y="597753"/>
                  <a:pt x="3965963" y="607602"/>
                  <a:pt x="3964689" y="623392"/>
                </a:cubicBezTo>
                <a:cubicBezTo>
                  <a:pt x="3963726" y="635344"/>
                  <a:pt x="3964510" y="645124"/>
                  <a:pt x="3966432" y="645124"/>
                </a:cubicBezTo>
                <a:cubicBezTo>
                  <a:pt x="3968354" y="645124"/>
                  <a:pt x="3969927" y="653671"/>
                  <a:pt x="3969927" y="664117"/>
                </a:cubicBezTo>
                <a:cubicBezTo>
                  <a:pt x="3969927" y="678989"/>
                  <a:pt x="3967999" y="683109"/>
                  <a:pt x="3961040" y="683109"/>
                </a:cubicBezTo>
                <a:cubicBezTo>
                  <a:pt x="3948054" y="683109"/>
                  <a:pt x="3943151" y="707199"/>
                  <a:pt x="3951373" y="730591"/>
                </a:cubicBezTo>
                <a:cubicBezTo>
                  <a:pt x="3955046" y="741036"/>
                  <a:pt x="3959445" y="753857"/>
                  <a:pt x="3961150" y="759079"/>
                </a:cubicBezTo>
                <a:cubicBezTo>
                  <a:pt x="3962855" y="764302"/>
                  <a:pt x="3969441" y="769474"/>
                  <a:pt x="3975786" y="770572"/>
                </a:cubicBezTo>
                <a:cubicBezTo>
                  <a:pt x="3982132" y="771671"/>
                  <a:pt x="3990139" y="778389"/>
                  <a:pt x="3993580" y="785503"/>
                </a:cubicBezTo>
                <a:cubicBezTo>
                  <a:pt x="3997023" y="792617"/>
                  <a:pt x="4001963" y="796536"/>
                  <a:pt x="4004560" y="794212"/>
                </a:cubicBezTo>
                <a:cubicBezTo>
                  <a:pt x="4014268" y="785527"/>
                  <a:pt x="4018223" y="797801"/>
                  <a:pt x="4011235" y="814926"/>
                </a:cubicBezTo>
                <a:cubicBezTo>
                  <a:pt x="4005848" y="828130"/>
                  <a:pt x="4005321" y="835790"/>
                  <a:pt x="4008872" y="849310"/>
                </a:cubicBezTo>
                <a:cubicBezTo>
                  <a:pt x="4014915" y="872322"/>
                  <a:pt x="4024350" y="871260"/>
                  <a:pt x="4041280" y="845658"/>
                </a:cubicBezTo>
                <a:cubicBezTo>
                  <a:pt x="4048936" y="834083"/>
                  <a:pt x="4058642" y="822777"/>
                  <a:pt x="4062851" y="820534"/>
                </a:cubicBezTo>
                <a:cubicBezTo>
                  <a:pt x="4067060" y="818290"/>
                  <a:pt x="4070504" y="810836"/>
                  <a:pt x="4070504" y="803968"/>
                </a:cubicBezTo>
                <a:cubicBezTo>
                  <a:pt x="4070504" y="797100"/>
                  <a:pt x="4072558" y="789643"/>
                  <a:pt x="4075068" y="787397"/>
                </a:cubicBezTo>
                <a:cubicBezTo>
                  <a:pt x="4082578" y="780678"/>
                  <a:pt x="4092369" y="797337"/>
                  <a:pt x="4092369" y="816832"/>
                </a:cubicBezTo>
                <a:cubicBezTo>
                  <a:pt x="4092369" y="826852"/>
                  <a:pt x="4094336" y="835050"/>
                  <a:pt x="4096742" y="835050"/>
                </a:cubicBezTo>
                <a:cubicBezTo>
                  <a:pt x="4099147" y="835050"/>
                  <a:pt x="4101115" y="838974"/>
                  <a:pt x="4101115" y="843771"/>
                </a:cubicBezTo>
                <a:cubicBezTo>
                  <a:pt x="4101115" y="848568"/>
                  <a:pt x="4103939" y="855887"/>
                  <a:pt x="4107393" y="860036"/>
                </a:cubicBezTo>
                <a:cubicBezTo>
                  <a:pt x="4110846" y="864184"/>
                  <a:pt x="4114938" y="875929"/>
                  <a:pt x="4116486" y="886134"/>
                </a:cubicBezTo>
                <a:cubicBezTo>
                  <a:pt x="4118035" y="896339"/>
                  <a:pt x="4120903" y="904689"/>
                  <a:pt x="4122859" y="904689"/>
                </a:cubicBezTo>
                <a:cubicBezTo>
                  <a:pt x="4129480" y="904689"/>
                  <a:pt x="4132273" y="926431"/>
                  <a:pt x="4126496" y="933011"/>
                </a:cubicBezTo>
                <a:cubicBezTo>
                  <a:pt x="4123360" y="936585"/>
                  <a:pt x="4120164" y="950905"/>
                  <a:pt x="4119395" y="964833"/>
                </a:cubicBezTo>
                <a:cubicBezTo>
                  <a:pt x="4118627" y="978760"/>
                  <a:pt x="4114199" y="996037"/>
                  <a:pt x="4109556" y="1003225"/>
                </a:cubicBezTo>
                <a:cubicBezTo>
                  <a:pt x="4102882" y="1013559"/>
                  <a:pt x="4101223" y="1024826"/>
                  <a:pt x="4101632" y="1057038"/>
                </a:cubicBezTo>
                <a:cubicBezTo>
                  <a:pt x="4102419" y="1118983"/>
                  <a:pt x="4105729" y="1134108"/>
                  <a:pt x="4119684" y="1139507"/>
                </a:cubicBezTo>
                <a:cubicBezTo>
                  <a:pt x="4129383" y="1143260"/>
                  <a:pt x="4133289" y="1141217"/>
                  <a:pt x="4139990" y="1128881"/>
                </a:cubicBezTo>
                <a:cubicBezTo>
                  <a:pt x="4149734" y="1110949"/>
                  <a:pt x="4161440" y="1109019"/>
                  <a:pt x="4165434" y="1124687"/>
                </a:cubicBezTo>
                <a:cubicBezTo>
                  <a:pt x="4166987" y="1130780"/>
                  <a:pt x="4169593" y="1137190"/>
                  <a:pt x="4171225" y="1138931"/>
                </a:cubicBezTo>
                <a:cubicBezTo>
                  <a:pt x="4172858" y="1140671"/>
                  <a:pt x="4175524" y="1152580"/>
                  <a:pt x="4177151" y="1165392"/>
                </a:cubicBezTo>
                <a:cubicBezTo>
                  <a:pt x="4179716" y="1185600"/>
                  <a:pt x="4178500" y="1190847"/>
                  <a:pt x="4167975" y="1204976"/>
                </a:cubicBezTo>
                <a:cubicBezTo>
                  <a:pt x="4149740" y="1229454"/>
                  <a:pt x="4143811" y="1222224"/>
                  <a:pt x="4151601" y="1185009"/>
                </a:cubicBezTo>
                <a:cubicBezTo>
                  <a:pt x="4157255" y="1157992"/>
                  <a:pt x="4122446" y="1148532"/>
                  <a:pt x="4115472" y="1175190"/>
                </a:cubicBezTo>
                <a:cubicBezTo>
                  <a:pt x="4111829" y="1189114"/>
                  <a:pt x="4103120" y="1202239"/>
                  <a:pt x="4097522" y="1202239"/>
                </a:cubicBezTo>
                <a:cubicBezTo>
                  <a:pt x="4090898" y="1202239"/>
                  <a:pt x="4088241" y="1185964"/>
                  <a:pt x="4090938" y="1161908"/>
                </a:cubicBezTo>
                <a:cubicBezTo>
                  <a:pt x="4092778" y="1145484"/>
                  <a:pt x="4091040" y="1135021"/>
                  <a:pt x="4084144" y="1120998"/>
                </a:cubicBezTo>
                <a:cubicBezTo>
                  <a:pt x="4079047" y="1110635"/>
                  <a:pt x="4074877" y="1098965"/>
                  <a:pt x="4074877" y="1095063"/>
                </a:cubicBezTo>
                <a:cubicBezTo>
                  <a:pt x="4074877" y="1091163"/>
                  <a:pt x="4069744" y="1085145"/>
                  <a:pt x="4063469" y="1081691"/>
                </a:cubicBezTo>
                <a:cubicBezTo>
                  <a:pt x="4054637" y="1076829"/>
                  <a:pt x="4053151" y="1073513"/>
                  <a:pt x="4056887" y="1066994"/>
                </a:cubicBezTo>
                <a:cubicBezTo>
                  <a:pt x="4060299" y="1061044"/>
                  <a:pt x="4060487" y="1044568"/>
                  <a:pt x="4057531" y="1010814"/>
                </a:cubicBezTo>
                <a:cubicBezTo>
                  <a:pt x="4055058" y="982581"/>
                  <a:pt x="4054928" y="955081"/>
                  <a:pt x="4057210" y="943558"/>
                </a:cubicBezTo>
                <a:cubicBezTo>
                  <a:pt x="4059334" y="932835"/>
                  <a:pt x="4059619" y="916195"/>
                  <a:pt x="4057842" y="906579"/>
                </a:cubicBezTo>
                <a:cubicBezTo>
                  <a:pt x="4055189" y="892214"/>
                  <a:pt x="4051242" y="888129"/>
                  <a:pt x="4035718" y="883685"/>
                </a:cubicBezTo>
                <a:cubicBezTo>
                  <a:pt x="4015653" y="877940"/>
                  <a:pt x="4009486" y="883293"/>
                  <a:pt x="4009350" y="906575"/>
                </a:cubicBezTo>
                <a:cubicBezTo>
                  <a:pt x="4009314" y="912836"/>
                  <a:pt x="4004078" y="924439"/>
                  <a:pt x="3997719" y="932360"/>
                </a:cubicBezTo>
                <a:cubicBezTo>
                  <a:pt x="3987364" y="945255"/>
                  <a:pt x="3986526" y="949361"/>
                  <a:pt x="3989704" y="971623"/>
                </a:cubicBezTo>
                <a:cubicBezTo>
                  <a:pt x="3991655" y="985298"/>
                  <a:pt x="3992795" y="1000315"/>
                  <a:pt x="3992236" y="1004994"/>
                </a:cubicBezTo>
                <a:cubicBezTo>
                  <a:pt x="3991480" y="1011323"/>
                  <a:pt x="3994652" y="1012410"/>
                  <a:pt x="4004625" y="1009239"/>
                </a:cubicBezTo>
                <a:cubicBezTo>
                  <a:pt x="4014796" y="1006005"/>
                  <a:pt x="4018029" y="1007202"/>
                  <a:pt x="4018029" y="1014201"/>
                </a:cubicBezTo>
                <a:cubicBezTo>
                  <a:pt x="4018029" y="1019274"/>
                  <a:pt x="4020980" y="1026971"/>
                  <a:pt x="4024588" y="1031306"/>
                </a:cubicBezTo>
                <a:cubicBezTo>
                  <a:pt x="4028195" y="1035641"/>
                  <a:pt x="4031148" y="1045961"/>
                  <a:pt x="4031148" y="1054239"/>
                </a:cubicBezTo>
                <a:cubicBezTo>
                  <a:pt x="4031148" y="1062518"/>
                  <a:pt x="4033115" y="1069291"/>
                  <a:pt x="4035521" y="1069291"/>
                </a:cubicBezTo>
                <a:cubicBezTo>
                  <a:pt x="4037926" y="1069291"/>
                  <a:pt x="4039924" y="1074277"/>
                  <a:pt x="4039960" y="1080371"/>
                </a:cubicBezTo>
                <a:cubicBezTo>
                  <a:pt x="4040018" y="1089839"/>
                  <a:pt x="4040644" y="1090069"/>
                  <a:pt x="4044266" y="1081953"/>
                </a:cubicBezTo>
                <a:cubicBezTo>
                  <a:pt x="4046597" y="1076730"/>
                  <a:pt x="4048506" y="1075306"/>
                  <a:pt x="4048506" y="1078788"/>
                </a:cubicBezTo>
                <a:cubicBezTo>
                  <a:pt x="4048506" y="1082270"/>
                  <a:pt x="4046736" y="1089167"/>
                  <a:pt x="4044572" y="1094114"/>
                </a:cubicBezTo>
                <a:cubicBezTo>
                  <a:pt x="4041220" y="1101781"/>
                  <a:pt x="4038992" y="1101547"/>
                  <a:pt x="4029488" y="1092532"/>
                </a:cubicBezTo>
                <a:cubicBezTo>
                  <a:pt x="4015693" y="1079445"/>
                  <a:pt x="4007592" y="1079142"/>
                  <a:pt x="4000537" y="1091450"/>
                </a:cubicBezTo>
                <a:cubicBezTo>
                  <a:pt x="3996171" y="1099065"/>
                  <a:pt x="3996280" y="1103016"/>
                  <a:pt x="4001086" y="1111401"/>
                </a:cubicBezTo>
                <a:cubicBezTo>
                  <a:pt x="4005450" y="1119012"/>
                  <a:pt x="4006701" y="1137522"/>
                  <a:pt x="4005684" y="1179458"/>
                </a:cubicBezTo>
                <a:cubicBezTo>
                  <a:pt x="4004605" y="1223959"/>
                  <a:pt x="4005818" y="1239939"/>
                  <a:pt x="4011018" y="1249721"/>
                </a:cubicBezTo>
                <a:cubicBezTo>
                  <a:pt x="4014722" y="1256685"/>
                  <a:pt x="4017814" y="1270025"/>
                  <a:pt x="4017890" y="1279365"/>
                </a:cubicBezTo>
                <a:cubicBezTo>
                  <a:pt x="4018066" y="1300837"/>
                  <a:pt x="4033415" y="1310120"/>
                  <a:pt x="4041682" y="1293755"/>
                </a:cubicBezTo>
                <a:cubicBezTo>
                  <a:pt x="4047438" y="1282358"/>
                  <a:pt x="4046028" y="1255210"/>
                  <a:pt x="4039371" y="1249254"/>
                </a:cubicBezTo>
                <a:cubicBezTo>
                  <a:pt x="4037254" y="1247358"/>
                  <a:pt x="4035521" y="1236005"/>
                  <a:pt x="4035521" y="1224024"/>
                </a:cubicBezTo>
                <a:cubicBezTo>
                  <a:pt x="4035521" y="1205626"/>
                  <a:pt x="4037056" y="1202239"/>
                  <a:pt x="4045401" y="1202239"/>
                </a:cubicBezTo>
                <a:cubicBezTo>
                  <a:pt x="4057146" y="1202239"/>
                  <a:pt x="4064388" y="1217175"/>
                  <a:pt x="4068670" y="1250220"/>
                </a:cubicBezTo>
                <a:cubicBezTo>
                  <a:pt x="4070396" y="1263538"/>
                  <a:pt x="4073870" y="1277631"/>
                  <a:pt x="4076391" y="1281537"/>
                </a:cubicBezTo>
                <a:cubicBezTo>
                  <a:pt x="4081652" y="1289690"/>
                  <a:pt x="4102235" y="1285958"/>
                  <a:pt x="4098627" y="1277505"/>
                </a:cubicBezTo>
                <a:cubicBezTo>
                  <a:pt x="4097315" y="1274432"/>
                  <a:pt x="4101765" y="1274842"/>
                  <a:pt x="4108517" y="1278416"/>
                </a:cubicBezTo>
                <a:cubicBezTo>
                  <a:pt x="4115269" y="1281992"/>
                  <a:pt x="4123474" y="1286290"/>
                  <a:pt x="4126752" y="1287969"/>
                </a:cubicBezTo>
                <a:cubicBezTo>
                  <a:pt x="4131236" y="1290267"/>
                  <a:pt x="4131496" y="1293137"/>
                  <a:pt x="4127806" y="1299575"/>
                </a:cubicBezTo>
                <a:cubicBezTo>
                  <a:pt x="4123857" y="1306464"/>
                  <a:pt x="4125038" y="1307538"/>
                  <a:pt x="4133874" y="1305093"/>
                </a:cubicBezTo>
                <a:cubicBezTo>
                  <a:pt x="4142564" y="1302688"/>
                  <a:pt x="4144844" y="1298264"/>
                  <a:pt x="4144844" y="1283803"/>
                </a:cubicBezTo>
                <a:cubicBezTo>
                  <a:pt x="4144844" y="1269988"/>
                  <a:pt x="4146897" y="1265548"/>
                  <a:pt x="4153286" y="1265548"/>
                </a:cubicBezTo>
                <a:cubicBezTo>
                  <a:pt x="4158698" y="1265548"/>
                  <a:pt x="4162229" y="1270637"/>
                  <a:pt x="4163125" y="1279728"/>
                </a:cubicBezTo>
                <a:cubicBezTo>
                  <a:pt x="4163894" y="1287527"/>
                  <a:pt x="4168126" y="1294902"/>
                  <a:pt x="4172531" y="1296118"/>
                </a:cubicBezTo>
                <a:cubicBezTo>
                  <a:pt x="4184376" y="1299388"/>
                  <a:pt x="4195852" y="1278682"/>
                  <a:pt x="4193740" y="1257851"/>
                </a:cubicBezTo>
                <a:cubicBezTo>
                  <a:pt x="4192698" y="1247574"/>
                  <a:pt x="4193984" y="1240225"/>
                  <a:pt x="4196823" y="1240225"/>
                </a:cubicBezTo>
                <a:cubicBezTo>
                  <a:pt x="4199501" y="1240225"/>
                  <a:pt x="4201692" y="1235951"/>
                  <a:pt x="4201692" y="1230729"/>
                </a:cubicBezTo>
                <a:cubicBezTo>
                  <a:pt x="4201692" y="1224953"/>
                  <a:pt x="4205761" y="1221232"/>
                  <a:pt x="4212078" y="1221232"/>
                </a:cubicBezTo>
                <a:cubicBezTo>
                  <a:pt x="4220211" y="1221232"/>
                  <a:pt x="4223056" y="1225522"/>
                  <a:pt x="4225197" y="1241016"/>
                </a:cubicBezTo>
                <a:cubicBezTo>
                  <a:pt x="4226700" y="1251897"/>
                  <a:pt x="4227930" y="1266397"/>
                  <a:pt x="4227930" y="1273238"/>
                </a:cubicBezTo>
                <a:cubicBezTo>
                  <a:pt x="4227930" y="1280079"/>
                  <a:pt x="4231767" y="1290406"/>
                  <a:pt x="4236457" y="1296187"/>
                </a:cubicBezTo>
                <a:cubicBezTo>
                  <a:pt x="4245384" y="1307189"/>
                  <a:pt x="4252446" y="1346846"/>
                  <a:pt x="4258151" y="1418012"/>
                </a:cubicBezTo>
                <a:cubicBezTo>
                  <a:pt x="4259989" y="1440933"/>
                  <a:pt x="4262713" y="1462544"/>
                  <a:pt x="4264204" y="1466038"/>
                </a:cubicBezTo>
                <a:cubicBezTo>
                  <a:pt x="4268527" y="1476166"/>
                  <a:pt x="4284247" y="1471595"/>
                  <a:pt x="4291061" y="1458229"/>
                </a:cubicBezTo>
                <a:cubicBezTo>
                  <a:pt x="4295881" y="1448777"/>
                  <a:pt x="4298507" y="1447689"/>
                  <a:pt x="4302556" y="1453466"/>
                </a:cubicBezTo>
                <a:cubicBezTo>
                  <a:pt x="4310667" y="1465041"/>
                  <a:pt x="4304179" y="1479710"/>
                  <a:pt x="4288263" y="1485776"/>
                </a:cubicBezTo>
                <a:lnTo>
                  <a:pt x="4273845" y="1491271"/>
                </a:lnTo>
                <a:lnTo>
                  <a:pt x="4274670" y="1576119"/>
                </a:lnTo>
                <a:cubicBezTo>
                  <a:pt x="4275187" y="1629302"/>
                  <a:pt x="4277226" y="1661803"/>
                  <a:pt x="4280135" y="1663208"/>
                </a:cubicBezTo>
                <a:cubicBezTo>
                  <a:pt x="4282689" y="1664439"/>
                  <a:pt x="4284786" y="1677318"/>
                  <a:pt x="4284796" y="1691826"/>
                </a:cubicBezTo>
                <a:cubicBezTo>
                  <a:pt x="4284805" y="1707440"/>
                  <a:pt x="4289315" y="1731050"/>
                  <a:pt x="4295844" y="1749682"/>
                </a:cubicBezTo>
                <a:cubicBezTo>
                  <a:pt x="4304028" y="1773035"/>
                  <a:pt x="4307579" y="1795505"/>
                  <a:pt x="4309600" y="1836731"/>
                </a:cubicBezTo>
                <a:cubicBezTo>
                  <a:pt x="4311099" y="1867296"/>
                  <a:pt x="4314087" y="1892303"/>
                  <a:pt x="4316241" y="1892303"/>
                </a:cubicBezTo>
                <a:cubicBezTo>
                  <a:pt x="4320687" y="1892303"/>
                  <a:pt x="4317040" y="1930980"/>
                  <a:pt x="4310107" y="1957356"/>
                </a:cubicBezTo>
                <a:cubicBezTo>
                  <a:pt x="4306458" y="1971241"/>
                  <a:pt x="4306914" y="1977217"/>
                  <a:pt x="4312284" y="1985845"/>
                </a:cubicBezTo>
                <a:cubicBezTo>
                  <a:pt x="4316021" y="1991849"/>
                  <a:pt x="4320430" y="2004597"/>
                  <a:pt x="4322081" y="2014172"/>
                </a:cubicBezTo>
                <a:cubicBezTo>
                  <a:pt x="4323731" y="2023747"/>
                  <a:pt x="4326836" y="2031582"/>
                  <a:pt x="4328981" y="2031582"/>
                </a:cubicBezTo>
                <a:cubicBezTo>
                  <a:pt x="4331125" y="2031582"/>
                  <a:pt x="4332880" y="2036931"/>
                  <a:pt x="4332880" y="2043469"/>
                </a:cubicBezTo>
                <a:cubicBezTo>
                  <a:pt x="4332880" y="2063669"/>
                  <a:pt x="4342559" y="2069939"/>
                  <a:pt x="4353651" y="2056924"/>
                </a:cubicBezTo>
                <a:cubicBezTo>
                  <a:pt x="4359063" y="2050574"/>
                  <a:pt x="4363490" y="2040761"/>
                  <a:pt x="4363490" y="2035116"/>
                </a:cubicBezTo>
                <a:cubicBezTo>
                  <a:pt x="4363490" y="2025830"/>
                  <a:pt x="4374965" y="2013985"/>
                  <a:pt x="4378404" y="2019721"/>
                </a:cubicBezTo>
                <a:cubicBezTo>
                  <a:pt x="4382680" y="2026854"/>
                  <a:pt x="4384603" y="2067785"/>
                  <a:pt x="4381043" y="2075898"/>
                </a:cubicBezTo>
                <a:cubicBezTo>
                  <a:pt x="4377629" y="2083677"/>
                  <a:pt x="4375302" y="2083981"/>
                  <a:pt x="4368169" y="2077583"/>
                </a:cubicBezTo>
                <a:cubicBezTo>
                  <a:pt x="4363381" y="2073287"/>
                  <a:pt x="4356207" y="2071582"/>
                  <a:pt x="4352226" y="2073792"/>
                </a:cubicBezTo>
                <a:cubicBezTo>
                  <a:pt x="4346268" y="2077103"/>
                  <a:pt x="4345547" y="2082948"/>
                  <a:pt x="4348141" y="2106926"/>
                </a:cubicBezTo>
                <a:cubicBezTo>
                  <a:pt x="4349873" y="2122939"/>
                  <a:pt x="4351206" y="2141026"/>
                  <a:pt x="4351103" y="2147120"/>
                </a:cubicBezTo>
                <a:cubicBezTo>
                  <a:pt x="4351000" y="2153213"/>
                  <a:pt x="4352761" y="2158199"/>
                  <a:pt x="4355016" y="2158199"/>
                </a:cubicBezTo>
                <a:cubicBezTo>
                  <a:pt x="4357271" y="2158199"/>
                  <a:pt x="4359117" y="2162472"/>
                  <a:pt x="4359117" y="2167695"/>
                </a:cubicBezTo>
                <a:cubicBezTo>
                  <a:pt x="4359117" y="2172918"/>
                  <a:pt x="4361085" y="2177191"/>
                  <a:pt x="4363490" y="2177191"/>
                </a:cubicBezTo>
                <a:cubicBezTo>
                  <a:pt x="4369461" y="2177191"/>
                  <a:pt x="4369033" y="2204620"/>
                  <a:pt x="4362923" y="2213465"/>
                </a:cubicBezTo>
                <a:cubicBezTo>
                  <a:pt x="4360191" y="2217421"/>
                  <a:pt x="4356771" y="2253115"/>
                  <a:pt x="4355271" y="2293337"/>
                </a:cubicBezTo>
                <a:cubicBezTo>
                  <a:pt x="4352827" y="2358834"/>
                  <a:pt x="4353334" y="2366758"/>
                  <a:pt x="4360370" y="2373116"/>
                </a:cubicBezTo>
                <a:cubicBezTo>
                  <a:pt x="4372985" y="2384514"/>
                  <a:pt x="4377570" y="2409853"/>
                  <a:pt x="4371450" y="2434355"/>
                </a:cubicBezTo>
                <a:cubicBezTo>
                  <a:pt x="4368511" y="2446121"/>
                  <a:pt x="4364534" y="2455749"/>
                  <a:pt x="4362612" y="2455749"/>
                </a:cubicBezTo>
                <a:cubicBezTo>
                  <a:pt x="4357631" y="2455749"/>
                  <a:pt x="4358275" y="2489982"/>
                  <a:pt x="4363396" y="2497396"/>
                </a:cubicBezTo>
                <a:cubicBezTo>
                  <a:pt x="4365748" y="2500803"/>
                  <a:pt x="4368713" y="2547510"/>
                  <a:pt x="4369984" y="2601191"/>
                </a:cubicBezTo>
                <a:cubicBezTo>
                  <a:pt x="4371255" y="2654871"/>
                  <a:pt x="4374095" y="2700403"/>
                  <a:pt x="4376297" y="2702374"/>
                </a:cubicBezTo>
                <a:cubicBezTo>
                  <a:pt x="4378499" y="2704344"/>
                  <a:pt x="4381707" y="2733701"/>
                  <a:pt x="4383427" y="2767613"/>
                </a:cubicBezTo>
                <a:cubicBezTo>
                  <a:pt x="4385146" y="2801524"/>
                  <a:pt x="4388251" y="2829270"/>
                  <a:pt x="4390327" y="2829270"/>
                </a:cubicBezTo>
                <a:cubicBezTo>
                  <a:pt x="4392403" y="2829270"/>
                  <a:pt x="4394101" y="2840524"/>
                  <a:pt x="4394101" y="2854279"/>
                </a:cubicBezTo>
                <a:cubicBezTo>
                  <a:pt x="4394101" y="2870956"/>
                  <a:pt x="4396509" y="2881239"/>
                  <a:pt x="4401330" y="2885145"/>
                </a:cubicBezTo>
                <a:cubicBezTo>
                  <a:pt x="4407551" y="2890184"/>
                  <a:pt x="4407887" y="2894843"/>
                  <a:pt x="4403735" y="2918518"/>
                </a:cubicBezTo>
                <a:cubicBezTo>
                  <a:pt x="4401082" y="2933652"/>
                  <a:pt x="4400307" y="2947539"/>
                  <a:pt x="4402014" y="2949378"/>
                </a:cubicBezTo>
                <a:cubicBezTo>
                  <a:pt x="4403720" y="2951217"/>
                  <a:pt x="4408989" y="2963405"/>
                  <a:pt x="4413722" y="2976462"/>
                </a:cubicBezTo>
                <a:cubicBezTo>
                  <a:pt x="4422755" y="3001383"/>
                  <a:pt x="4428254" y="3005204"/>
                  <a:pt x="4436955" y="2992606"/>
                </a:cubicBezTo>
                <a:cubicBezTo>
                  <a:pt x="4443008" y="2983844"/>
                  <a:pt x="4444037" y="2962218"/>
                  <a:pt x="4438402" y="2962218"/>
                </a:cubicBezTo>
                <a:cubicBezTo>
                  <a:pt x="4436311" y="2962218"/>
                  <a:pt x="4433493" y="2952336"/>
                  <a:pt x="4432140" y="2940257"/>
                </a:cubicBezTo>
                <a:cubicBezTo>
                  <a:pt x="4430785" y="2928178"/>
                  <a:pt x="4425583" y="2911933"/>
                  <a:pt x="4420579" y="2904157"/>
                </a:cubicBezTo>
                <a:lnTo>
                  <a:pt x="4411480" y="2890017"/>
                </a:lnTo>
                <a:lnTo>
                  <a:pt x="4423561" y="2875699"/>
                </a:lnTo>
                <a:cubicBezTo>
                  <a:pt x="4437451" y="2859237"/>
                  <a:pt x="4451949" y="2856909"/>
                  <a:pt x="4459419" y="2869941"/>
                </a:cubicBezTo>
                <a:cubicBezTo>
                  <a:pt x="4465644" y="2880798"/>
                  <a:pt x="4461173" y="2922996"/>
                  <a:pt x="4452464" y="2935605"/>
                </a:cubicBezTo>
                <a:cubicBezTo>
                  <a:pt x="4446070" y="2944861"/>
                  <a:pt x="4444467" y="2962218"/>
                  <a:pt x="4450005" y="2962218"/>
                </a:cubicBezTo>
                <a:cubicBezTo>
                  <a:pt x="4451892" y="2962218"/>
                  <a:pt x="4457000" y="2970952"/>
                  <a:pt x="4461356" y="2981627"/>
                </a:cubicBezTo>
                <a:cubicBezTo>
                  <a:pt x="4468620" y="2999432"/>
                  <a:pt x="4468698" y="3001959"/>
                  <a:pt x="4462298" y="3012197"/>
                </a:cubicBezTo>
                <a:cubicBezTo>
                  <a:pt x="4454880" y="3024065"/>
                  <a:pt x="4453231" y="3039382"/>
                  <a:pt x="4458544" y="3047075"/>
                </a:cubicBezTo>
                <a:cubicBezTo>
                  <a:pt x="4460317" y="3049641"/>
                  <a:pt x="4464114" y="3071903"/>
                  <a:pt x="4466982" y="3096545"/>
                </a:cubicBezTo>
                <a:cubicBezTo>
                  <a:pt x="4469850" y="3121186"/>
                  <a:pt x="4474231" y="3143169"/>
                  <a:pt x="4476717" y="3145393"/>
                </a:cubicBezTo>
                <a:cubicBezTo>
                  <a:pt x="4479207" y="3147621"/>
                  <a:pt x="4481629" y="3176354"/>
                  <a:pt x="4482109" y="3209351"/>
                </a:cubicBezTo>
                <a:cubicBezTo>
                  <a:pt x="4482824" y="3258484"/>
                  <a:pt x="4484503" y="3271734"/>
                  <a:pt x="4491442" y="3282990"/>
                </a:cubicBezTo>
                <a:cubicBezTo>
                  <a:pt x="4497783" y="3293278"/>
                  <a:pt x="4499162" y="3301605"/>
                  <a:pt x="4496943" y="3316228"/>
                </a:cubicBezTo>
                <a:cubicBezTo>
                  <a:pt x="4493270" y="3340439"/>
                  <a:pt x="4483514" y="3341615"/>
                  <a:pt x="4479522" y="3318328"/>
                </a:cubicBezTo>
                <a:cubicBezTo>
                  <a:pt x="4476154" y="3298680"/>
                  <a:pt x="4460893" y="3272430"/>
                  <a:pt x="4452840" y="3272430"/>
                </a:cubicBezTo>
                <a:cubicBezTo>
                  <a:pt x="4446154" y="3272430"/>
                  <a:pt x="4442203" y="3286899"/>
                  <a:pt x="4442203" y="3311385"/>
                </a:cubicBezTo>
                <a:cubicBezTo>
                  <a:pt x="4442203" y="3321795"/>
                  <a:pt x="4439184" y="3334682"/>
                  <a:pt x="4435495" y="3340023"/>
                </a:cubicBezTo>
                <a:cubicBezTo>
                  <a:pt x="4431661" y="3345574"/>
                  <a:pt x="4429909" y="3354850"/>
                  <a:pt x="4431405" y="3361676"/>
                </a:cubicBezTo>
                <a:cubicBezTo>
                  <a:pt x="4433651" y="3371920"/>
                  <a:pt x="4432582" y="3372853"/>
                  <a:pt x="4423901" y="3368237"/>
                </a:cubicBezTo>
                <a:cubicBezTo>
                  <a:pt x="4415737" y="3363896"/>
                  <a:pt x="4413356" y="3356944"/>
                  <a:pt x="4411592" y="3332307"/>
                </a:cubicBezTo>
                <a:cubicBezTo>
                  <a:pt x="4409698" y="3305849"/>
                  <a:pt x="4407865" y="3301168"/>
                  <a:pt x="4397896" y="3297338"/>
                </a:cubicBezTo>
                <a:cubicBezTo>
                  <a:pt x="4391566" y="3294906"/>
                  <a:pt x="4384072" y="3294987"/>
                  <a:pt x="4381244" y="3297518"/>
                </a:cubicBezTo>
                <a:cubicBezTo>
                  <a:pt x="4374953" y="3303147"/>
                  <a:pt x="4379280" y="3332143"/>
                  <a:pt x="4387970" y="3342585"/>
                </a:cubicBezTo>
                <a:cubicBezTo>
                  <a:pt x="4395032" y="3351070"/>
                  <a:pt x="4396573" y="3411709"/>
                  <a:pt x="4389728" y="3411709"/>
                </a:cubicBezTo>
                <a:cubicBezTo>
                  <a:pt x="4387322" y="3411709"/>
                  <a:pt x="4385355" y="3423104"/>
                  <a:pt x="4385355" y="3437032"/>
                </a:cubicBezTo>
                <a:cubicBezTo>
                  <a:pt x="4385355" y="3450960"/>
                  <a:pt x="4387322" y="3462355"/>
                  <a:pt x="4389728" y="3462355"/>
                </a:cubicBezTo>
                <a:cubicBezTo>
                  <a:pt x="4392133" y="3462355"/>
                  <a:pt x="4394101" y="3469316"/>
                  <a:pt x="4394101" y="3477824"/>
                </a:cubicBezTo>
                <a:cubicBezTo>
                  <a:pt x="4394101" y="3486331"/>
                  <a:pt x="4398166" y="3497414"/>
                  <a:pt x="4403134" y="3502453"/>
                </a:cubicBezTo>
                <a:cubicBezTo>
                  <a:pt x="4410497" y="3509918"/>
                  <a:pt x="4411638" y="3515708"/>
                  <a:pt x="4409301" y="3533741"/>
                </a:cubicBezTo>
                <a:cubicBezTo>
                  <a:pt x="4407513" y="3547540"/>
                  <a:pt x="4408278" y="3557518"/>
                  <a:pt x="4411334" y="3560252"/>
                </a:cubicBezTo>
                <a:cubicBezTo>
                  <a:pt x="4414360" y="3562961"/>
                  <a:pt x="4415160" y="3572918"/>
                  <a:pt x="4413426" y="3586301"/>
                </a:cubicBezTo>
                <a:cubicBezTo>
                  <a:pt x="4411232" y="3603235"/>
                  <a:pt x="4412068" y="3607965"/>
                  <a:pt x="4417255" y="3607965"/>
                </a:cubicBezTo>
                <a:cubicBezTo>
                  <a:pt x="4421739" y="3607965"/>
                  <a:pt x="4423150" y="3612073"/>
                  <a:pt x="4421605" y="3620627"/>
                </a:cubicBezTo>
                <a:cubicBezTo>
                  <a:pt x="4420347" y="3627590"/>
                  <a:pt x="4416534" y="3633289"/>
                  <a:pt x="4413131" y="3633289"/>
                </a:cubicBezTo>
                <a:cubicBezTo>
                  <a:pt x="4409728" y="3633289"/>
                  <a:pt x="4405812" y="3637562"/>
                  <a:pt x="4404428" y="3642785"/>
                </a:cubicBezTo>
                <a:cubicBezTo>
                  <a:pt x="4403043" y="3648008"/>
                  <a:pt x="4398186" y="3652281"/>
                  <a:pt x="4393632" y="3652281"/>
                </a:cubicBezTo>
                <a:cubicBezTo>
                  <a:pt x="4387073" y="3652281"/>
                  <a:pt x="4385355" y="3647639"/>
                  <a:pt x="4385355" y="3629925"/>
                </a:cubicBezTo>
                <a:cubicBezTo>
                  <a:pt x="4385355" y="3615892"/>
                  <a:pt x="4387797" y="3606211"/>
                  <a:pt x="4391914" y="3603924"/>
                </a:cubicBezTo>
                <a:cubicBezTo>
                  <a:pt x="4395522" y="3601919"/>
                  <a:pt x="4398473" y="3593562"/>
                  <a:pt x="4398473" y="3585352"/>
                </a:cubicBezTo>
                <a:cubicBezTo>
                  <a:pt x="4398473" y="3569607"/>
                  <a:pt x="4387338" y="3557318"/>
                  <a:pt x="4373070" y="3557318"/>
                </a:cubicBezTo>
                <a:cubicBezTo>
                  <a:pt x="4363359" y="3557318"/>
                  <a:pt x="4356613" y="3524686"/>
                  <a:pt x="4362940" y="3508318"/>
                </a:cubicBezTo>
                <a:cubicBezTo>
                  <a:pt x="4365415" y="3501914"/>
                  <a:pt x="4364319" y="3494494"/>
                  <a:pt x="4359759" y="3486782"/>
                </a:cubicBezTo>
                <a:cubicBezTo>
                  <a:pt x="4351128" y="3472190"/>
                  <a:pt x="4342550" y="3471843"/>
                  <a:pt x="4332004" y="3485660"/>
                </a:cubicBezTo>
                <a:cubicBezTo>
                  <a:pt x="4324352" y="3495687"/>
                  <a:pt x="4323493" y="3495504"/>
                  <a:pt x="4317200" y="3482495"/>
                </a:cubicBezTo>
                <a:cubicBezTo>
                  <a:pt x="4308990" y="3465526"/>
                  <a:pt x="4299650" y="3464775"/>
                  <a:pt x="4293795" y="3480613"/>
                </a:cubicBezTo>
                <a:cubicBezTo>
                  <a:pt x="4290442" y="3489683"/>
                  <a:pt x="4291971" y="3499914"/>
                  <a:pt x="4300183" y="3523346"/>
                </a:cubicBezTo>
                <a:cubicBezTo>
                  <a:pt x="4306120" y="3540290"/>
                  <a:pt x="4310987" y="3560395"/>
                  <a:pt x="4310997" y="3568024"/>
                </a:cubicBezTo>
                <a:cubicBezTo>
                  <a:pt x="4311006" y="3575652"/>
                  <a:pt x="4313015" y="3583684"/>
                  <a:pt x="4315459" y="3585871"/>
                </a:cubicBezTo>
                <a:cubicBezTo>
                  <a:pt x="4322971" y="3592592"/>
                  <a:pt x="4315546" y="3601634"/>
                  <a:pt x="4302514" y="3601634"/>
                </a:cubicBezTo>
                <a:cubicBezTo>
                  <a:pt x="4288527" y="3601634"/>
                  <a:pt x="4275275" y="3578803"/>
                  <a:pt x="4271659" y="3548478"/>
                </a:cubicBezTo>
                <a:cubicBezTo>
                  <a:pt x="4269223" y="3528055"/>
                  <a:pt x="4254451" y="3510564"/>
                  <a:pt x="4251054" y="3524081"/>
                </a:cubicBezTo>
                <a:cubicBezTo>
                  <a:pt x="4247155" y="3539593"/>
                  <a:pt x="4236675" y="3532372"/>
                  <a:pt x="4236675" y="3514175"/>
                </a:cubicBezTo>
                <a:cubicBezTo>
                  <a:pt x="4236675" y="3500042"/>
                  <a:pt x="4233508" y="3494168"/>
                  <a:pt x="4221370" y="3485789"/>
                </a:cubicBezTo>
                <a:cubicBezTo>
                  <a:pt x="4212952" y="3479977"/>
                  <a:pt x="4206065" y="3471169"/>
                  <a:pt x="4206065" y="3466216"/>
                </a:cubicBezTo>
                <a:cubicBezTo>
                  <a:pt x="4206065" y="3460319"/>
                  <a:pt x="4203038" y="3458355"/>
                  <a:pt x="4197295" y="3460530"/>
                </a:cubicBezTo>
                <a:cubicBezTo>
                  <a:pt x="4192472" y="3462356"/>
                  <a:pt x="4185586" y="3460316"/>
                  <a:pt x="4181991" y="3455997"/>
                </a:cubicBezTo>
                <a:cubicBezTo>
                  <a:pt x="4176441" y="3449329"/>
                  <a:pt x="4175454" y="3450970"/>
                  <a:pt x="4175454" y="3466856"/>
                </a:cubicBezTo>
                <a:cubicBezTo>
                  <a:pt x="4175454" y="3491796"/>
                  <a:pt x="4172119" y="3495286"/>
                  <a:pt x="4159615" y="3483426"/>
                </a:cubicBezTo>
                <a:cubicBezTo>
                  <a:pt x="4151211" y="3475452"/>
                  <a:pt x="4145688" y="3474774"/>
                  <a:pt x="4131533" y="3479975"/>
                </a:cubicBezTo>
                <a:cubicBezTo>
                  <a:pt x="4114648" y="3486180"/>
                  <a:pt x="4114037" y="3485884"/>
                  <a:pt x="4116891" y="3472870"/>
                </a:cubicBezTo>
                <a:cubicBezTo>
                  <a:pt x="4119527" y="3460840"/>
                  <a:pt x="4119047" y="3460276"/>
                  <a:pt x="4112678" y="3467929"/>
                </a:cubicBezTo>
                <a:cubicBezTo>
                  <a:pt x="4104758" y="3477444"/>
                  <a:pt x="4102969" y="3494010"/>
                  <a:pt x="4109861" y="3494010"/>
                </a:cubicBezTo>
                <a:cubicBezTo>
                  <a:pt x="4116533" y="3494010"/>
                  <a:pt x="4115068" y="3523551"/>
                  <a:pt x="4107881" y="3533957"/>
                </a:cubicBezTo>
                <a:cubicBezTo>
                  <a:pt x="4100407" y="3544778"/>
                  <a:pt x="4102028" y="3595604"/>
                  <a:pt x="4111751" y="3655281"/>
                </a:cubicBezTo>
                <a:cubicBezTo>
                  <a:pt x="4115140" y="3676081"/>
                  <a:pt x="4116973" y="3695300"/>
                  <a:pt x="4115825" y="3697990"/>
                </a:cubicBezTo>
                <a:cubicBezTo>
                  <a:pt x="4114676" y="3700681"/>
                  <a:pt x="4107924" y="3698531"/>
                  <a:pt x="4100821" y="3693212"/>
                </a:cubicBezTo>
                <a:cubicBezTo>
                  <a:pt x="4091076" y="3685916"/>
                  <a:pt x="4088184" y="3685533"/>
                  <a:pt x="4089044" y="3691653"/>
                </a:cubicBezTo>
                <a:cubicBezTo>
                  <a:pt x="4089670" y="3696113"/>
                  <a:pt x="4086739" y="3699367"/>
                  <a:pt x="4082530" y="3698884"/>
                </a:cubicBezTo>
                <a:cubicBezTo>
                  <a:pt x="4073802" y="3697881"/>
                  <a:pt x="4072115" y="3706871"/>
                  <a:pt x="4080291" y="3710817"/>
                </a:cubicBezTo>
                <a:cubicBezTo>
                  <a:pt x="4084569" y="3712881"/>
                  <a:pt x="4084588" y="3716981"/>
                  <a:pt x="4080385" y="3730337"/>
                </a:cubicBezTo>
                <a:cubicBezTo>
                  <a:pt x="4073328" y="3752763"/>
                  <a:pt x="4066131" y="3751823"/>
                  <a:pt x="4066131" y="3728475"/>
                </a:cubicBezTo>
                <a:cubicBezTo>
                  <a:pt x="4066131" y="3716097"/>
                  <a:pt x="4063111" y="3707364"/>
                  <a:pt x="4057262" y="3702834"/>
                </a:cubicBezTo>
                <a:cubicBezTo>
                  <a:pt x="4052386" y="3699054"/>
                  <a:pt x="4049550" y="3693256"/>
                  <a:pt x="4050961" y="3689949"/>
                </a:cubicBezTo>
                <a:cubicBezTo>
                  <a:pt x="4052374" y="3686641"/>
                  <a:pt x="4051925" y="3683935"/>
                  <a:pt x="4049965" y="3683935"/>
                </a:cubicBezTo>
                <a:cubicBezTo>
                  <a:pt x="4048005" y="3683935"/>
                  <a:pt x="4043619" y="3674838"/>
                  <a:pt x="4040220" y="3663718"/>
                </a:cubicBezTo>
                <a:cubicBezTo>
                  <a:pt x="4035659" y="3648798"/>
                  <a:pt x="4035379" y="3642854"/>
                  <a:pt x="4039152" y="3641032"/>
                </a:cubicBezTo>
                <a:cubicBezTo>
                  <a:pt x="4047499" y="3637004"/>
                  <a:pt x="4045039" y="3623665"/>
                  <a:pt x="4032349" y="3604142"/>
                </a:cubicBezTo>
                <a:cubicBezTo>
                  <a:pt x="4025795" y="3594058"/>
                  <a:pt x="4020937" y="3583403"/>
                  <a:pt x="4021554" y="3580466"/>
                </a:cubicBezTo>
                <a:cubicBezTo>
                  <a:pt x="4022171" y="3577528"/>
                  <a:pt x="4020172" y="3576331"/>
                  <a:pt x="4017114" y="3577808"/>
                </a:cubicBezTo>
                <a:cubicBezTo>
                  <a:pt x="4014056" y="3579284"/>
                  <a:pt x="4009389" y="3591658"/>
                  <a:pt x="4006744" y="3605307"/>
                </a:cubicBezTo>
                <a:cubicBezTo>
                  <a:pt x="4004099" y="3618956"/>
                  <a:pt x="3999454" y="3630123"/>
                  <a:pt x="3996422" y="3630123"/>
                </a:cubicBezTo>
                <a:cubicBezTo>
                  <a:pt x="3990802" y="3630123"/>
                  <a:pt x="3981850" y="3596880"/>
                  <a:pt x="3976929" y="3557734"/>
                </a:cubicBezTo>
                <a:cubicBezTo>
                  <a:pt x="3975426" y="3545775"/>
                  <a:pt x="3970962" y="3530818"/>
                  <a:pt x="3967010" y="3524497"/>
                </a:cubicBezTo>
                <a:cubicBezTo>
                  <a:pt x="3958306" y="3510570"/>
                  <a:pt x="3940001" y="3509385"/>
                  <a:pt x="3936518" y="3522521"/>
                </a:cubicBezTo>
                <a:cubicBezTo>
                  <a:pt x="3933561" y="3533681"/>
                  <a:pt x="3950462" y="3588973"/>
                  <a:pt x="3956830" y="3588973"/>
                </a:cubicBezTo>
                <a:cubicBezTo>
                  <a:pt x="3959223" y="3588973"/>
                  <a:pt x="3961181" y="3595657"/>
                  <a:pt x="3961181" y="3603827"/>
                </a:cubicBezTo>
                <a:cubicBezTo>
                  <a:pt x="3961181" y="3619866"/>
                  <a:pt x="3973035" y="3658612"/>
                  <a:pt x="3977941" y="3658612"/>
                </a:cubicBezTo>
                <a:cubicBezTo>
                  <a:pt x="3985899" y="3658612"/>
                  <a:pt x="3992240" y="3686672"/>
                  <a:pt x="3989531" y="3709893"/>
                </a:cubicBezTo>
                <a:cubicBezTo>
                  <a:pt x="3986582" y="3735163"/>
                  <a:pt x="3978673" y="3744302"/>
                  <a:pt x="3978673" y="3722438"/>
                </a:cubicBezTo>
                <a:cubicBezTo>
                  <a:pt x="3978673" y="3700687"/>
                  <a:pt x="3973564" y="3690266"/>
                  <a:pt x="3962900" y="3690266"/>
                </a:cubicBezTo>
                <a:cubicBezTo>
                  <a:pt x="3957144" y="3690266"/>
                  <a:pt x="3952435" y="3687472"/>
                  <a:pt x="3952435" y="3684056"/>
                </a:cubicBezTo>
                <a:cubicBezTo>
                  <a:pt x="3952435" y="3680641"/>
                  <a:pt x="3947777" y="3676154"/>
                  <a:pt x="3942083" y="3674084"/>
                </a:cubicBezTo>
                <a:cubicBezTo>
                  <a:pt x="3934704" y="3671403"/>
                  <a:pt x="3928399" y="3674792"/>
                  <a:pt x="3920131" y="3685884"/>
                </a:cubicBezTo>
                <a:cubicBezTo>
                  <a:pt x="3909683" y="3699904"/>
                  <a:pt x="3909042" y="3703246"/>
                  <a:pt x="3913664" y="3719597"/>
                </a:cubicBezTo>
                <a:cubicBezTo>
                  <a:pt x="3916487" y="3729580"/>
                  <a:pt x="3919379" y="3740597"/>
                  <a:pt x="3920091" y="3744079"/>
                </a:cubicBezTo>
                <a:cubicBezTo>
                  <a:pt x="3920802" y="3747560"/>
                  <a:pt x="3922697" y="3756820"/>
                  <a:pt x="3924301" y="3764654"/>
                </a:cubicBezTo>
                <a:cubicBezTo>
                  <a:pt x="3926643" y="3776090"/>
                  <a:pt x="3925490" y="3778898"/>
                  <a:pt x="3918458" y="3778898"/>
                </a:cubicBezTo>
                <a:cubicBezTo>
                  <a:pt x="3911412" y="3778898"/>
                  <a:pt x="3909114" y="3773252"/>
                  <a:pt x="3906709" y="3750028"/>
                </a:cubicBezTo>
                <a:cubicBezTo>
                  <a:pt x="3904118" y="3725019"/>
                  <a:pt x="3902442" y="3721419"/>
                  <a:pt x="3894186" y="3723122"/>
                </a:cubicBezTo>
                <a:cubicBezTo>
                  <a:pt x="3888079" y="3724380"/>
                  <a:pt x="3884139" y="3730344"/>
                  <a:pt x="3883222" y="3739717"/>
                </a:cubicBezTo>
                <a:cubicBezTo>
                  <a:pt x="3882435" y="3747765"/>
                  <a:pt x="3879004" y="3755896"/>
                  <a:pt x="3875601" y="3757787"/>
                </a:cubicBezTo>
                <a:cubicBezTo>
                  <a:pt x="3871514" y="3760058"/>
                  <a:pt x="3870305" y="3766378"/>
                  <a:pt x="3872041" y="3776393"/>
                </a:cubicBezTo>
                <a:cubicBezTo>
                  <a:pt x="3874722" y="3791853"/>
                  <a:pt x="3867240" y="3798390"/>
                  <a:pt x="3863739" y="3783647"/>
                </a:cubicBezTo>
                <a:cubicBezTo>
                  <a:pt x="3862704" y="3779294"/>
                  <a:pt x="3862320" y="3780006"/>
                  <a:pt x="3862885" y="3785229"/>
                </a:cubicBezTo>
                <a:cubicBezTo>
                  <a:pt x="3865164" y="3806327"/>
                  <a:pt x="3867477" y="3814146"/>
                  <a:pt x="3874122" y="3823214"/>
                </a:cubicBezTo>
                <a:cubicBezTo>
                  <a:pt x="3881165" y="3832827"/>
                  <a:pt x="3889126" y="3899185"/>
                  <a:pt x="3883234" y="3899185"/>
                </a:cubicBezTo>
                <a:cubicBezTo>
                  <a:pt x="3875651" y="3899185"/>
                  <a:pt x="3865380" y="3872580"/>
                  <a:pt x="3862599" y="3845738"/>
                </a:cubicBezTo>
                <a:cubicBezTo>
                  <a:pt x="3860945" y="3829762"/>
                  <a:pt x="3857211" y="3814599"/>
                  <a:pt x="3854301" y="3812039"/>
                </a:cubicBezTo>
                <a:cubicBezTo>
                  <a:pt x="3851392" y="3809480"/>
                  <a:pt x="3847730" y="3802337"/>
                  <a:pt x="3846160" y="3796165"/>
                </a:cubicBezTo>
                <a:cubicBezTo>
                  <a:pt x="3839709" y="3770764"/>
                  <a:pt x="3813703" y="3779786"/>
                  <a:pt x="3819335" y="3805472"/>
                </a:cubicBezTo>
                <a:cubicBezTo>
                  <a:pt x="3821147" y="3813738"/>
                  <a:pt x="3818322" y="3822521"/>
                  <a:pt x="3810462" y="3833067"/>
                </a:cubicBezTo>
                <a:cubicBezTo>
                  <a:pt x="3795842" y="3852685"/>
                  <a:pt x="3792272" y="3852500"/>
                  <a:pt x="3788709" y="3831946"/>
                </a:cubicBezTo>
                <a:cubicBezTo>
                  <a:pt x="3785389" y="3812796"/>
                  <a:pt x="3776330" y="3797899"/>
                  <a:pt x="3767992" y="3797873"/>
                </a:cubicBezTo>
                <a:cubicBezTo>
                  <a:pt x="3761233" y="3797854"/>
                  <a:pt x="3744123" y="3762433"/>
                  <a:pt x="3746015" y="3752380"/>
                </a:cubicBezTo>
                <a:cubicBezTo>
                  <a:pt x="3747342" y="3745323"/>
                  <a:pt x="3717953" y="3702928"/>
                  <a:pt x="3711733" y="3702928"/>
                </a:cubicBezTo>
                <a:cubicBezTo>
                  <a:pt x="3709826" y="3702928"/>
                  <a:pt x="3705154" y="3704657"/>
                  <a:pt x="3701350" y="3706771"/>
                </a:cubicBezTo>
                <a:cubicBezTo>
                  <a:pt x="3693795" y="3710968"/>
                  <a:pt x="3691748" y="3728251"/>
                  <a:pt x="3698806" y="3728251"/>
                </a:cubicBezTo>
                <a:cubicBezTo>
                  <a:pt x="3701211" y="3728251"/>
                  <a:pt x="3703179" y="3736798"/>
                  <a:pt x="3703179" y="3747244"/>
                </a:cubicBezTo>
                <a:cubicBezTo>
                  <a:pt x="3703179" y="3757690"/>
                  <a:pt x="3705146" y="3766237"/>
                  <a:pt x="3707552" y="3766237"/>
                </a:cubicBezTo>
                <a:cubicBezTo>
                  <a:pt x="3709957" y="3766237"/>
                  <a:pt x="3711925" y="3770678"/>
                  <a:pt x="3711925" y="3776107"/>
                </a:cubicBezTo>
                <a:cubicBezTo>
                  <a:pt x="3711925" y="3781535"/>
                  <a:pt x="3713898" y="3784211"/>
                  <a:pt x="3716310" y="3782052"/>
                </a:cubicBezTo>
                <a:cubicBezTo>
                  <a:pt x="3718931" y="3779707"/>
                  <a:pt x="3719941" y="3784017"/>
                  <a:pt x="3718822" y="3792758"/>
                </a:cubicBezTo>
                <a:cubicBezTo>
                  <a:pt x="3717790" y="3800803"/>
                  <a:pt x="3716800" y="3810948"/>
                  <a:pt x="3716622" y="3815301"/>
                </a:cubicBezTo>
                <a:cubicBezTo>
                  <a:pt x="3716443" y="3819653"/>
                  <a:pt x="3713017" y="3823214"/>
                  <a:pt x="3709009" y="3823214"/>
                </a:cubicBezTo>
                <a:cubicBezTo>
                  <a:pt x="3705001" y="3823214"/>
                  <a:pt x="3703040" y="3825124"/>
                  <a:pt x="3704652" y="3827457"/>
                </a:cubicBezTo>
                <a:cubicBezTo>
                  <a:pt x="3706263" y="3829790"/>
                  <a:pt x="3704599" y="3838290"/>
                  <a:pt x="3700954" y="3846344"/>
                </a:cubicBezTo>
                <a:cubicBezTo>
                  <a:pt x="3697308" y="3854399"/>
                  <a:pt x="3692816" y="3871511"/>
                  <a:pt x="3690971" y="3884370"/>
                </a:cubicBezTo>
                <a:cubicBezTo>
                  <a:pt x="3686870" y="3912945"/>
                  <a:pt x="3678481" y="3918531"/>
                  <a:pt x="3672702" y="3896534"/>
                </a:cubicBezTo>
                <a:cubicBezTo>
                  <a:pt x="3670343" y="3887546"/>
                  <a:pt x="3666625" y="3880192"/>
                  <a:pt x="3664440" y="3880192"/>
                </a:cubicBezTo>
                <a:cubicBezTo>
                  <a:pt x="3662255" y="3880192"/>
                  <a:pt x="3659099" y="3861675"/>
                  <a:pt x="3657424" y="3839042"/>
                </a:cubicBezTo>
                <a:cubicBezTo>
                  <a:pt x="3655749" y="3816409"/>
                  <a:pt x="3652569" y="3797891"/>
                  <a:pt x="3650356" y="3797891"/>
                </a:cubicBezTo>
                <a:cubicBezTo>
                  <a:pt x="3648141" y="3797891"/>
                  <a:pt x="3646331" y="3789841"/>
                  <a:pt x="3646331" y="3780002"/>
                </a:cubicBezTo>
                <a:cubicBezTo>
                  <a:pt x="3646331" y="3769489"/>
                  <a:pt x="3642158" y="3756438"/>
                  <a:pt x="3636210" y="3748347"/>
                </a:cubicBezTo>
                <a:cubicBezTo>
                  <a:pt x="3625768" y="3734148"/>
                  <a:pt x="3617509" y="3729740"/>
                  <a:pt x="3622279" y="3740913"/>
                </a:cubicBezTo>
                <a:cubicBezTo>
                  <a:pt x="3623765" y="3744395"/>
                  <a:pt x="3622898" y="3747244"/>
                  <a:pt x="3620351" y="3747244"/>
                </a:cubicBezTo>
                <a:cubicBezTo>
                  <a:pt x="3617803" y="3747244"/>
                  <a:pt x="3615720" y="3743784"/>
                  <a:pt x="3615720" y="3739557"/>
                </a:cubicBezTo>
                <a:cubicBezTo>
                  <a:pt x="3615720" y="3734292"/>
                  <a:pt x="3613677" y="3734828"/>
                  <a:pt x="3609235" y="3741257"/>
                </a:cubicBezTo>
                <a:cubicBezTo>
                  <a:pt x="3600172" y="3754379"/>
                  <a:pt x="3598396" y="3868396"/>
                  <a:pt x="3607022" y="3883441"/>
                </a:cubicBezTo>
                <a:cubicBezTo>
                  <a:pt x="3610343" y="3889233"/>
                  <a:pt x="3616619" y="3908678"/>
                  <a:pt x="3620970" y="3926650"/>
                </a:cubicBezTo>
                <a:cubicBezTo>
                  <a:pt x="3625320" y="3944623"/>
                  <a:pt x="3631822" y="3962491"/>
                  <a:pt x="3635418" y="3966357"/>
                </a:cubicBezTo>
                <a:cubicBezTo>
                  <a:pt x="3639015" y="3970222"/>
                  <a:pt x="3641958" y="3977641"/>
                  <a:pt x="3641958" y="3982842"/>
                </a:cubicBezTo>
                <a:cubicBezTo>
                  <a:pt x="3641958" y="3988043"/>
                  <a:pt x="3647035" y="4000231"/>
                  <a:pt x="3653242" y="4009926"/>
                </a:cubicBezTo>
                <a:cubicBezTo>
                  <a:pt x="3661280" y="4022483"/>
                  <a:pt x="3663686" y="4031399"/>
                  <a:pt x="3661604" y="4040922"/>
                </a:cubicBezTo>
                <a:cubicBezTo>
                  <a:pt x="3655493" y="4068883"/>
                  <a:pt x="3657180" y="4079123"/>
                  <a:pt x="3669309" y="4087671"/>
                </a:cubicBezTo>
                <a:cubicBezTo>
                  <a:pt x="3679320" y="4094727"/>
                  <a:pt x="3680875" y="4098933"/>
                  <a:pt x="3678511" y="4112573"/>
                </a:cubicBezTo>
                <a:cubicBezTo>
                  <a:pt x="3676264" y="4125528"/>
                  <a:pt x="3676951" y="4127890"/>
                  <a:pt x="3681769" y="4123786"/>
                </a:cubicBezTo>
                <a:cubicBezTo>
                  <a:pt x="3685629" y="4120499"/>
                  <a:pt x="3685184" y="4123062"/>
                  <a:pt x="3680561" y="4130756"/>
                </a:cubicBezTo>
                <a:cubicBezTo>
                  <a:pt x="3674333" y="4141118"/>
                  <a:pt x="3673955" y="4147383"/>
                  <a:pt x="3678018" y="4172994"/>
                </a:cubicBezTo>
                <a:cubicBezTo>
                  <a:pt x="3680640" y="4189533"/>
                  <a:pt x="3684423" y="4203066"/>
                  <a:pt x="3686423" y="4203066"/>
                </a:cubicBezTo>
                <a:cubicBezTo>
                  <a:pt x="3690559" y="4203066"/>
                  <a:pt x="3691434" y="4236952"/>
                  <a:pt x="3687445" y="4242725"/>
                </a:cubicBezTo>
                <a:cubicBezTo>
                  <a:pt x="3683663" y="4248200"/>
                  <a:pt x="3672199" y="4240707"/>
                  <a:pt x="3674851" y="4234494"/>
                </a:cubicBezTo>
                <a:cubicBezTo>
                  <a:pt x="3676079" y="4231618"/>
                  <a:pt x="3675083" y="4227475"/>
                  <a:pt x="3672639" y="4225288"/>
                </a:cubicBezTo>
                <a:cubicBezTo>
                  <a:pt x="3670195" y="4223101"/>
                  <a:pt x="3668195" y="4216130"/>
                  <a:pt x="3668195" y="4209798"/>
                </a:cubicBezTo>
                <a:cubicBezTo>
                  <a:pt x="3668195" y="4203466"/>
                  <a:pt x="3665244" y="4194739"/>
                  <a:pt x="3661635" y="4190404"/>
                </a:cubicBezTo>
                <a:cubicBezTo>
                  <a:pt x="3658027" y="4186069"/>
                  <a:pt x="3655077" y="4174325"/>
                  <a:pt x="3655077" y="4164306"/>
                </a:cubicBezTo>
                <a:cubicBezTo>
                  <a:pt x="3655077" y="4154286"/>
                  <a:pt x="3653109" y="4146088"/>
                  <a:pt x="3650704" y="4146088"/>
                </a:cubicBezTo>
                <a:cubicBezTo>
                  <a:pt x="3648298" y="4146088"/>
                  <a:pt x="3646331" y="4137891"/>
                  <a:pt x="3646331" y="4127870"/>
                </a:cubicBezTo>
                <a:cubicBezTo>
                  <a:pt x="3646331" y="4117851"/>
                  <a:pt x="3643578" y="4106346"/>
                  <a:pt x="3640215" y="4102305"/>
                </a:cubicBezTo>
                <a:cubicBezTo>
                  <a:pt x="3634809" y="4095810"/>
                  <a:pt x="3629407" y="4062547"/>
                  <a:pt x="3628573" y="4030629"/>
                </a:cubicBezTo>
                <a:cubicBezTo>
                  <a:pt x="3628416" y="4024579"/>
                  <a:pt x="3624261" y="4015548"/>
                  <a:pt x="3619343" y="4010560"/>
                </a:cubicBezTo>
                <a:cubicBezTo>
                  <a:pt x="3614423" y="4005572"/>
                  <a:pt x="3611608" y="3998657"/>
                  <a:pt x="3613087" y="3995194"/>
                </a:cubicBezTo>
                <a:cubicBezTo>
                  <a:pt x="3614564" y="3991731"/>
                  <a:pt x="3613916" y="3987943"/>
                  <a:pt x="3611643" y="3986775"/>
                </a:cubicBezTo>
                <a:cubicBezTo>
                  <a:pt x="3609371" y="3985607"/>
                  <a:pt x="3606848" y="3977529"/>
                  <a:pt x="3606039" y="3968824"/>
                </a:cubicBezTo>
                <a:cubicBezTo>
                  <a:pt x="3603957" y="3946450"/>
                  <a:pt x="3599028" y="3937170"/>
                  <a:pt x="3589225" y="3937170"/>
                </a:cubicBezTo>
                <a:cubicBezTo>
                  <a:pt x="3583738" y="3937170"/>
                  <a:pt x="3580737" y="3932825"/>
                  <a:pt x="3580737" y="3924882"/>
                </a:cubicBezTo>
                <a:cubicBezTo>
                  <a:pt x="3580737" y="3918123"/>
                  <a:pt x="3579023" y="3911061"/>
                  <a:pt x="3576929" y="3909186"/>
                </a:cubicBezTo>
                <a:cubicBezTo>
                  <a:pt x="3574833" y="3907312"/>
                  <a:pt x="3571988" y="3897885"/>
                  <a:pt x="3570603" y="3888238"/>
                </a:cubicBezTo>
                <a:cubicBezTo>
                  <a:pt x="3569192" y="3878392"/>
                  <a:pt x="3562322" y="3865208"/>
                  <a:pt x="3554944" y="3858187"/>
                </a:cubicBezTo>
                <a:cubicBezTo>
                  <a:pt x="3535458" y="3839642"/>
                  <a:pt x="3529333" y="3819997"/>
                  <a:pt x="3538478" y="3805368"/>
                </a:cubicBezTo>
                <a:cubicBezTo>
                  <a:pt x="3548320" y="3789621"/>
                  <a:pt x="3547733" y="3784929"/>
                  <a:pt x="3533727" y="3767505"/>
                </a:cubicBezTo>
                <a:cubicBezTo>
                  <a:pt x="3523284" y="3754512"/>
                  <a:pt x="3521825" y="3748412"/>
                  <a:pt x="3522632" y="3721158"/>
                </a:cubicBezTo>
                <a:cubicBezTo>
                  <a:pt x="3523455" y="3693358"/>
                  <a:pt x="3522378" y="3689122"/>
                  <a:pt x="3513197" y="3684068"/>
                </a:cubicBezTo>
                <a:cubicBezTo>
                  <a:pt x="3506658" y="3680469"/>
                  <a:pt x="3501749" y="3671213"/>
                  <a:pt x="3499894" y="3658986"/>
                </a:cubicBezTo>
                <a:cubicBezTo>
                  <a:pt x="3496854" y="3638944"/>
                  <a:pt x="3482669" y="3628111"/>
                  <a:pt x="3469237" y="3635573"/>
                </a:cubicBezTo>
                <a:cubicBezTo>
                  <a:pt x="3461766" y="3639723"/>
                  <a:pt x="3460014" y="3680814"/>
                  <a:pt x="3467041" y="3687101"/>
                </a:cubicBezTo>
                <a:cubicBezTo>
                  <a:pt x="3469446" y="3689253"/>
                  <a:pt x="3471414" y="3697826"/>
                  <a:pt x="3471414" y="3706153"/>
                </a:cubicBezTo>
                <a:cubicBezTo>
                  <a:pt x="3471414" y="3714479"/>
                  <a:pt x="3473914" y="3723570"/>
                  <a:pt x="3476971" y="3726354"/>
                </a:cubicBezTo>
                <a:cubicBezTo>
                  <a:pt x="3484344" y="3733069"/>
                  <a:pt x="3494051" y="3765634"/>
                  <a:pt x="3490888" y="3773042"/>
                </a:cubicBezTo>
                <a:cubicBezTo>
                  <a:pt x="3489514" y="3776263"/>
                  <a:pt x="3490473" y="3778898"/>
                  <a:pt x="3493020" y="3778898"/>
                </a:cubicBezTo>
                <a:cubicBezTo>
                  <a:pt x="3495567" y="3778898"/>
                  <a:pt x="3497651" y="3785672"/>
                  <a:pt x="3497651" y="3793950"/>
                </a:cubicBezTo>
                <a:cubicBezTo>
                  <a:pt x="3497651" y="3802229"/>
                  <a:pt x="3500753" y="3812729"/>
                  <a:pt x="3504545" y="3817285"/>
                </a:cubicBezTo>
                <a:cubicBezTo>
                  <a:pt x="3509560" y="3823311"/>
                  <a:pt x="3510707" y="3831717"/>
                  <a:pt x="3508755" y="3848132"/>
                </a:cubicBezTo>
                <a:cubicBezTo>
                  <a:pt x="3506803" y="3864551"/>
                  <a:pt x="3507290" y="3868110"/>
                  <a:pt x="3510540" y="3861199"/>
                </a:cubicBezTo>
                <a:cubicBezTo>
                  <a:pt x="3514556" y="3852664"/>
                  <a:pt x="3517037" y="3856496"/>
                  <a:pt x="3515661" y="3869113"/>
                </a:cubicBezTo>
                <a:cubicBezTo>
                  <a:pt x="3515376" y="3871725"/>
                  <a:pt x="3517110" y="3873861"/>
                  <a:pt x="3519516" y="3873861"/>
                </a:cubicBezTo>
                <a:cubicBezTo>
                  <a:pt x="3521921" y="3873861"/>
                  <a:pt x="3523889" y="3878254"/>
                  <a:pt x="3523889" y="3883622"/>
                </a:cubicBezTo>
                <a:cubicBezTo>
                  <a:pt x="3523889" y="3888991"/>
                  <a:pt x="3527726" y="3899347"/>
                  <a:pt x="3532417" y="3906635"/>
                </a:cubicBezTo>
                <a:cubicBezTo>
                  <a:pt x="3537108" y="3913925"/>
                  <a:pt x="3542129" y="3928762"/>
                  <a:pt x="3543578" y="3939608"/>
                </a:cubicBezTo>
                <a:cubicBezTo>
                  <a:pt x="3550438" y="3991000"/>
                  <a:pt x="3561569" y="4033585"/>
                  <a:pt x="3572787" y="4051368"/>
                </a:cubicBezTo>
                <a:cubicBezTo>
                  <a:pt x="3579565" y="4062111"/>
                  <a:pt x="3585110" y="4076421"/>
                  <a:pt x="3585110" y="4083170"/>
                </a:cubicBezTo>
                <a:cubicBezTo>
                  <a:pt x="3585110" y="4089919"/>
                  <a:pt x="3586586" y="4095464"/>
                  <a:pt x="3588390" y="4095491"/>
                </a:cubicBezTo>
                <a:cubicBezTo>
                  <a:pt x="3593117" y="4095562"/>
                  <a:pt x="3602793" y="4127855"/>
                  <a:pt x="3600027" y="4134333"/>
                </a:cubicBezTo>
                <a:cubicBezTo>
                  <a:pt x="3595593" y="4144721"/>
                  <a:pt x="3580737" y="4126788"/>
                  <a:pt x="3580737" y="4111046"/>
                </a:cubicBezTo>
                <a:cubicBezTo>
                  <a:pt x="3580737" y="4102463"/>
                  <a:pt x="3578988" y="4095441"/>
                  <a:pt x="3576851" y="4095441"/>
                </a:cubicBezTo>
                <a:cubicBezTo>
                  <a:pt x="3574712" y="4095441"/>
                  <a:pt x="3571710" y="4085756"/>
                  <a:pt x="3570176" y="4073920"/>
                </a:cubicBezTo>
                <a:cubicBezTo>
                  <a:pt x="3566607" y="4046379"/>
                  <a:pt x="3557870" y="4035867"/>
                  <a:pt x="3543030" y="4041258"/>
                </a:cubicBezTo>
                <a:cubicBezTo>
                  <a:pt x="3532038" y="4045253"/>
                  <a:pt x="3531584" y="4044483"/>
                  <a:pt x="3534118" y="4026138"/>
                </a:cubicBezTo>
                <a:cubicBezTo>
                  <a:pt x="3536130" y="4011576"/>
                  <a:pt x="3535198" y="4006809"/>
                  <a:pt x="3530338" y="4006809"/>
                </a:cubicBezTo>
                <a:cubicBezTo>
                  <a:pt x="3522512" y="4006809"/>
                  <a:pt x="3522231" y="4000008"/>
                  <a:pt x="3529155" y="3978011"/>
                </a:cubicBezTo>
                <a:cubicBezTo>
                  <a:pt x="3533632" y="3963785"/>
                  <a:pt x="3533304" y="3960374"/>
                  <a:pt x="3526968" y="3955240"/>
                </a:cubicBezTo>
                <a:cubicBezTo>
                  <a:pt x="3522869" y="3951920"/>
                  <a:pt x="3519516" y="3943344"/>
                  <a:pt x="3519516" y="3936183"/>
                </a:cubicBezTo>
                <a:cubicBezTo>
                  <a:pt x="3519516" y="3929024"/>
                  <a:pt x="3514596" y="3917563"/>
                  <a:pt x="3508583" y="3910715"/>
                </a:cubicBezTo>
                <a:cubicBezTo>
                  <a:pt x="3502570" y="3903868"/>
                  <a:pt x="3497651" y="3894641"/>
                  <a:pt x="3497651" y="3890210"/>
                </a:cubicBezTo>
                <a:cubicBezTo>
                  <a:pt x="3497651" y="3878020"/>
                  <a:pt x="3482873" y="3861199"/>
                  <a:pt x="3472162" y="3861199"/>
                </a:cubicBezTo>
                <a:cubicBezTo>
                  <a:pt x="3465679" y="3861199"/>
                  <a:pt x="3462668" y="3857303"/>
                  <a:pt x="3462668" y="3848911"/>
                </a:cubicBezTo>
                <a:cubicBezTo>
                  <a:pt x="3462668" y="3842153"/>
                  <a:pt x="3460700" y="3834862"/>
                  <a:pt x="3458295" y="3832711"/>
                </a:cubicBezTo>
                <a:cubicBezTo>
                  <a:pt x="3455889" y="3830559"/>
                  <a:pt x="3453922" y="3822414"/>
                  <a:pt x="3453922" y="3814611"/>
                </a:cubicBezTo>
                <a:cubicBezTo>
                  <a:pt x="3453922" y="3806808"/>
                  <a:pt x="3452191" y="3797717"/>
                  <a:pt x="3450078" y="3794409"/>
                </a:cubicBezTo>
                <a:cubicBezTo>
                  <a:pt x="3447963" y="3791101"/>
                  <a:pt x="3443875" y="3777711"/>
                  <a:pt x="3440992" y="3764654"/>
                </a:cubicBezTo>
                <a:cubicBezTo>
                  <a:pt x="3438110" y="3751597"/>
                  <a:pt x="3433937" y="3740913"/>
                  <a:pt x="3431719" y="3740913"/>
                </a:cubicBezTo>
                <a:cubicBezTo>
                  <a:pt x="3429500" y="3740913"/>
                  <a:pt x="3427684" y="3734140"/>
                  <a:pt x="3427684" y="3725861"/>
                </a:cubicBezTo>
                <a:cubicBezTo>
                  <a:pt x="3427684" y="3717583"/>
                  <a:pt x="3424364" y="3706899"/>
                  <a:pt x="3420306" y="3702120"/>
                </a:cubicBezTo>
                <a:cubicBezTo>
                  <a:pt x="3413761" y="3694412"/>
                  <a:pt x="3413294" y="3694839"/>
                  <a:pt x="3416164" y="3705901"/>
                </a:cubicBezTo>
                <a:cubicBezTo>
                  <a:pt x="3417944" y="3712758"/>
                  <a:pt x="3418110" y="3716502"/>
                  <a:pt x="3416533" y="3714219"/>
                </a:cubicBezTo>
                <a:cubicBezTo>
                  <a:pt x="3414956" y="3711935"/>
                  <a:pt x="3408725" y="3712788"/>
                  <a:pt x="3402685" y="3716112"/>
                </a:cubicBezTo>
                <a:cubicBezTo>
                  <a:pt x="3394139" y="3720816"/>
                  <a:pt x="3392198" y="3720288"/>
                  <a:pt x="3393935" y="3713735"/>
                </a:cubicBezTo>
                <a:cubicBezTo>
                  <a:pt x="3395162" y="3709103"/>
                  <a:pt x="3392479" y="3698366"/>
                  <a:pt x="3387971" y="3689876"/>
                </a:cubicBezTo>
                <a:cubicBezTo>
                  <a:pt x="3382841" y="3680212"/>
                  <a:pt x="3379715" y="3663786"/>
                  <a:pt x="3379613" y="3645950"/>
                </a:cubicBezTo>
                <a:cubicBezTo>
                  <a:pt x="3379417" y="3612135"/>
                  <a:pt x="3374880" y="3599578"/>
                  <a:pt x="3363957" y="3602624"/>
                </a:cubicBezTo>
                <a:cubicBezTo>
                  <a:pt x="3358653" y="3604103"/>
                  <a:pt x="3354165" y="3614495"/>
                  <a:pt x="3350698" y="3633318"/>
                </a:cubicBezTo>
                <a:cubicBezTo>
                  <a:pt x="3347816" y="3648971"/>
                  <a:pt x="3345264" y="3656792"/>
                  <a:pt x="3345028" y="3650699"/>
                </a:cubicBezTo>
                <a:cubicBezTo>
                  <a:pt x="3344440" y="3635538"/>
                  <a:pt x="3332715" y="3636676"/>
                  <a:pt x="3329305" y="3652225"/>
                </a:cubicBezTo>
                <a:cubicBezTo>
                  <a:pt x="3325712" y="3668622"/>
                  <a:pt x="3329813" y="3677605"/>
                  <a:pt x="3340893" y="3677605"/>
                </a:cubicBezTo>
                <a:cubicBezTo>
                  <a:pt x="3346112" y="3677605"/>
                  <a:pt x="3350736" y="3682839"/>
                  <a:pt x="3352077" y="3690266"/>
                </a:cubicBezTo>
                <a:cubicBezTo>
                  <a:pt x="3353336" y="3697231"/>
                  <a:pt x="3355857" y="3702928"/>
                  <a:pt x="3357681" y="3702928"/>
                </a:cubicBezTo>
                <a:cubicBezTo>
                  <a:pt x="3359504" y="3702928"/>
                  <a:pt x="3362178" y="3711475"/>
                  <a:pt x="3363620" y="3721921"/>
                </a:cubicBezTo>
                <a:cubicBezTo>
                  <a:pt x="3365160" y="3733060"/>
                  <a:pt x="3369002" y="3740913"/>
                  <a:pt x="3372913" y="3740913"/>
                </a:cubicBezTo>
                <a:cubicBezTo>
                  <a:pt x="3380073" y="3740913"/>
                  <a:pt x="3380926" y="3749508"/>
                  <a:pt x="3375688" y="3768853"/>
                </a:cubicBezTo>
                <a:cubicBezTo>
                  <a:pt x="3370945" y="3786368"/>
                  <a:pt x="3327107" y="3789068"/>
                  <a:pt x="3327107" y="3771846"/>
                </a:cubicBezTo>
                <a:cubicBezTo>
                  <a:pt x="3327107" y="3765561"/>
                  <a:pt x="3321806" y="3753303"/>
                  <a:pt x="3315329" y="3744607"/>
                </a:cubicBezTo>
                <a:cubicBezTo>
                  <a:pt x="3304846" y="3730535"/>
                  <a:pt x="3304392" y="3728327"/>
                  <a:pt x="3311207" y="3724541"/>
                </a:cubicBezTo>
                <a:cubicBezTo>
                  <a:pt x="3315417" y="3722201"/>
                  <a:pt x="3317867" y="3716526"/>
                  <a:pt x="3316649" y="3711929"/>
                </a:cubicBezTo>
                <a:cubicBezTo>
                  <a:pt x="3315240" y="3706616"/>
                  <a:pt x="3316740" y="3704855"/>
                  <a:pt x="3320770" y="3707093"/>
                </a:cubicBezTo>
                <a:cubicBezTo>
                  <a:pt x="3324708" y="3709281"/>
                  <a:pt x="3327107" y="3706703"/>
                  <a:pt x="3327107" y="3700282"/>
                </a:cubicBezTo>
                <a:cubicBezTo>
                  <a:pt x="3327107" y="3693867"/>
                  <a:pt x="3322133" y="3688510"/>
                  <a:pt x="3313988" y="3686151"/>
                </a:cubicBezTo>
                <a:cubicBezTo>
                  <a:pt x="3306772" y="3684062"/>
                  <a:pt x="3300870" y="3678824"/>
                  <a:pt x="3300870" y="3674511"/>
                </a:cubicBezTo>
                <a:cubicBezTo>
                  <a:pt x="3300870" y="3670198"/>
                  <a:pt x="3295555" y="3658976"/>
                  <a:pt x="3289059" y="3649571"/>
                </a:cubicBezTo>
                <a:cubicBezTo>
                  <a:pt x="3277057" y="3632197"/>
                  <a:pt x="3272152" y="3614296"/>
                  <a:pt x="3279392" y="3614296"/>
                </a:cubicBezTo>
                <a:cubicBezTo>
                  <a:pt x="3281584" y="3614296"/>
                  <a:pt x="3283312" y="3610735"/>
                  <a:pt x="3283232" y="3606383"/>
                </a:cubicBezTo>
                <a:cubicBezTo>
                  <a:pt x="3283152" y="3602030"/>
                  <a:pt x="3279168" y="3605283"/>
                  <a:pt x="3274377" y="3613610"/>
                </a:cubicBezTo>
                <a:cubicBezTo>
                  <a:pt x="3264430" y="3630902"/>
                  <a:pt x="3262685" y="3630064"/>
                  <a:pt x="3260548" y="3606968"/>
                </a:cubicBezTo>
                <a:cubicBezTo>
                  <a:pt x="3259704" y="3597841"/>
                  <a:pt x="3256227" y="3585072"/>
                  <a:pt x="3252822" y="3578594"/>
                </a:cubicBezTo>
                <a:cubicBezTo>
                  <a:pt x="3248580" y="3570523"/>
                  <a:pt x="3248452" y="3569150"/>
                  <a:pt x="3252417" y="3574234"/>
                </a:cubicBezTo>
                <a:cubicBezTo>
                  <a:pt x="3255601" y="3578314"/>
                  <a:pt x="3260918" y="3580146"/>
                  <a:pt x="3264232" y="3578304"/>
                </a:cubicBezTo>
                <a:cubicBezTo>
                  <a:pt x="3267951" y="3576238"/>
                  <a:pt x="3270426" y="3579458"/>
                  <a:pt x="3270698" y="3586713"/>
                </a:cubicBezTo>
                <a:cubicBezTo>
                  <a:pt x="3270940" y="3593178"/>
                  <a:pt x="3272955" y="3587243"/>
                  <a:pt x="3275175" y="3573523"/>
                </a:cubicBezTo>
                <a:cubicBezTo>
                  <a:pt x="3278336" y="3554003"/>
                  <a:pt x="3277792" y="3546520"/>
                  <a:pt x="3272678" y="3539117"/>
                </a:cubicBezTo>
                <a:cubicBezTo>
                  <a:pt x="3267122" y="3531072"/>
                  <a:pt x="3264510" y="3530922"/>
                  <a:pt x="3255231" y="3538110"/>
                </a:cubicBezTo>
                <a:cubicBezTo>
                  <a:pt x="3246422" y="3544936"/>
                  <a:pt x="3243037" y="3545025"/>
                  <a:pt x="3237667" y="3538572"/>
                </a:cubicBezTo>
                <a:cubicBezTo>
                  <a:pt x="3225463" y="3523909"/>
                  <a:pt x="3218426" y="3535666"/>
                  <a:pt x="3215276" y="3575977"/>
                </a:cubicBezTo>
                <a:cubicBezTo>
                  <a:pt x="3212800" y="3607649"/>
                  <a:pt x="3210861" y="3614296"/>
                  <a:pt x="3204100" y="3614296"/>
                </a:cubicBezTo>
                <a:cubicBezTo>
                  <a:pt x="3198994" y="3614296"/>
                  <a:pt x="3195919" y="3609800"/>
                  <a:pt x="3195919" y="3602335"/>
                </a:cubicBezTo>
                <a:cubicBezTo>
                  <a:pt x="3195919" y="3595757"/>
                  <a:pt x="3192107" y="3583650"/>
                  <a:pt x="3187447" y="3575429"/>
                </a:cubicBezTo>
                <a:cubicBezTo>
                  <a:pt x="3180562" y="3563282"/>
                  <a:pt x="3177492" y="3561790"/>
                  <a:pt x="3171048" y="3567461"/>
                </a:cubicBezTo>
                <a:cubicBezTo>
                  <a:pt x="3161705" y="3575686"/>
                  <a:pt x="3158183" y="3600182"/>
                  <a:pt x="3164938" y="3609962"/>
                </a:cubicBezTo>
                <a:cubicBezTo>
                  <a:pt x="3171801" y="3619898"/>
                  <a:pt x="3170760" y="3633289"/>
                  <a:pt x="3163122" y="3633289"/>
                </a:cubicBezTo>
                <a:cubicBezTo>
                  <a:pt x="3159514" y="3633289"/>
                  <a:pt x="3156563" y="3630442"/>
                  <a:pt x="3156563" y="3626962"/>
                </a:cubicBezTo>
                <a:cubicBezTo>
                  <a:pt x="3156563" y="3618894"/>
                  <a:pt x="3124818" y="3621686"/>
                  <a:pt x="3120606" y="3630123"/>
                </a:cubicBezTo>
                <a:cubicBezTo>
                  <a:pt x="3116868" y="3637611"/>
                  <a:pt x="3121487" y="3704672"/>
                  <a:pt x="3126056" y="3709259"/>
                </a:cubicBezTo>
                <a:cubicBezTo>
                  <a:pt x="3130096" y="3713313"/>
                  <a:pt x="3144041" y="3803333"/>
                  <a:pt x="3143221" y="3820049"/>
                </a:cubicBezTo>
                <a:cubicBezTo>
                  <a:pt x="3142879" y="3827013"/>
                  <a:pt x="3142831" y="3854789"/>
                  <a:pt x="3143117" y="3881775"/>
                </a:cubicBezTo>
                <a:cubicBezTo>
                  <a:pt x="3143628" y="3930201"/>
                  <a:pt x="3143491" y="3930839"/>
                  <a:pt x="3132608" y="3930839"/>
                </a:cubicBezTo>
                <a:cubicBezTo>
                  <a:pt x="3122920" y="3930839"/>
                  <a:pt x="3121580" y="3928147"/>
                  <a:pt x="3121580" y="3908681"/>
                </a:cubicBezTo>
                <a:cubicBezTo>
                  <a:pt x="3121580" y="3896494"/>
                  <a:pt x="3119831" y="3886523"/>
                  <a:pt x="3117693" y="3886523"/>
                </a:cubicBezTo>
                <a:cubicBezTo>
                  <a:pt x="3115555" y="3886523"/>
                  <a:pt x="3112514" y="3876552"/>
                  <a:pt x="3110936" y="3864365"/>
                </a:cubicBezTo>
                <a:cubicBezTo>
                  <a:pt x="3109357" y="3852178"/>
                  <a:pt x="3106436" y="3842207"/>
                  <a:pt x="3104446" y="3842207"/>
                </a:cubicBezTo>
                <a:cubicBezTo>
                  <a:pt x="3102456" y="3842207"/>
                  <a:pt x="3099843" y="3827371"/>
                  <a:pt x="3098639" y="3809238"/>
                </a:cubicBezTo>
                <a:cubicBezTo>
                  <a:pt x="3097436" y="3791105"/>
                  <a:pt x="3094234" y="3775198"/>
                  <a:pt x="3091524" y="3773890"/>
                </a:cubicBezTo>
                <a:cubicBezTo>
                  <a:pt x="3088687" y="3772521"/>
                  <a:pt x="3086596" y="3757124"/>
                  <a:pt x="3086596" y="3737594"/>
                </a:cubicBezTo>
                <a:cubicBezTo>
                  <a:pt x="3086596" y="3718939"/>
                  <a:pt x="3084596" y="3701886"/>
                  <a:pt x="3082151" y="3699699"/>
                </a:cubicBezTo>
                <a:cubicBezTo>
                  <a:pt x="3079708" y="3697512"/>
                  <a:pt x="3078840" y="3693070"/>
                  <a:pt x="3080224" y="3689829"/>
                </a:cubicBezTo>
                <a:cubicBezTo>
                  <a:pt x="3081607" y="3686588"/>
                  <a:pt x="3080656" y="3683935"/>
                  <a:pt x="3078108" y="3683935"/>
                </a:cubicBezTo>
                <a:cubicBezTo>
                  <a:pt x="3075477" y="3683935"/>
                  <a:pt x="3073478" y="3670496"/>
                  <a:pt x="3073478" y="3652809"/>
                </a:cubicBezTo>
                <a:cubicBezTo>
                  <a:pt x="3073478" y="3634097"/>
                  <a:pt x="3071369" y="3620664"/>
                  <a:pt x="3068189" y="3619131"/>
                </a:cubicBezTo>
                <a:cubicBezTo>
                  <a:pt x="3065282" y="3617728"/>
                  <a:pt x="3062584" y="3609655"/>
                  <a:pt x="3062193" y="3601193"/>
                </a:cubicBezTo>
                <a:cubicBezTo>
                  <a:pt x="3061803" y="3592731"/>
                  <a:pt x="3060036" y="3580822"/>
                  <a:pt x="3058266" y="3574728"/>
                </a:cubicBezTo>
                <a:cubicBezTo>
                  <a:pt x="3056498" y="3568635"/>
                  <a:pt x="3056158" y="3559467"/>
                  <a:pt x="3057514" y="3554356"/>
                </a:cubicBezTo>
                <a:cubicBezTo>
                  <a:pt x="3058868" y="3549245"/>
                  <a:pt x="3058250" y="3543517"/>
                  <a:pt x="3056138" y="3541627"/>
                </a:cubicBezTo>
                <a:cubicBezTo>
                  <a:pt x="3054026" y="3539738"/>
                  <a:pt x="3050926" y="3519628"/>
                  <a:pt x="3049247" y="3496938"/>
                </a:cubicBezTo>
                <a:cubicBezTo>
                  <a:pt x="3045966" y="3452577"/>
                  <a:pt x="3037781" y="3437032"/>
                  <a:pt x="3017705" y="3437032"/>
                </a:cubicBezTo>
                <a:cubicBezTo>
                  <a:pt x="3004148" y="3437032"/>
                  <a:pt x="3001872" y="3448804"/>
                  <a:pt x="3009991" y="3476935"/>
                </a:cubicBezTo>
                <a:cubicBezTo>
                  <a:pt x="3016478" y="3499410"/>
                  <a:pt x="3016397" y="3500341"/>
                  <a:pt x="3007942" y="3500341"/>
                </a:cubicBezTo>
                <a:cubicBezTo>
                  <a:pt x="3002380" y="3500341"/>
                  <a:pt x="2999138" y="3504536"/>
                  <a:pt x="2999138" y="3511736"/>
                </a:cubicBezTo>
                <a:cubicBezTo>
                  <a:pt x="2999138" y="3518004"/>
                  <a:pt x="2996925" y="3526335"/>
                  <a:pt x="2994221" y="3530249"/>
                </a:cubicBezTo>
                <a:cubicBezTo>
                  <a:pt x="2990581" y="3535519"/>
                  <a:pt x="2990581" y="3542668"/>
                  <a:pt x="2994221" y="3557784"/>
                </a:cubicBezTo>
                <a:cubicBezTo>
                  <a:pt x="3005745" y="3605645"/>
                  <a:pt x="2994002" y="3637728"/>
                  <a:pt x="2981646" y="3592138"/>
                </a:cubicBezTo>
                <a:cubicBezTo>
                  <a:pt x="2978343" y="3579951"/>
                  <a:pt x="2974233" y="3569980"/>
                  <a:pt x="2972514" y="3569980"/>
                </a:cubicBezTo>
                <a:cubicBezTo>
                  <a:pt x="2970793" y="3569980"/>
                  <a:pt x="2968015" y="3552882"/>
                  <a:pt x="2966340" y="3531984"/>
                </a:cubicBezTo>
                <a:cubicBezTo>
                  <a:pt x="2964664" y="3511085"/>
                  <a:pt x="2961519" y="3492400"/>
                  <a:pt x="2959351" y="3490460"/>
                </a:cubicBezTo>
                <a:cubicBezTo>
                  <a:pt x="2957183" y="3488520"/>
                  <a:pt x="2955409" y="3469018"/>
                  <a:pt x="2955409" y="3447123"/>
                </a:cubicBezTo>
                <a:cubicBezTo>
                  <a:pt x="2955409" y="3416502"/>
                  <a:pt x="2953405" y="3403971"/>
                  <a:pt x="2946728" y="3392826"/>
                </a:cubicBezTo>
                <a:cubicBezTo>
                  <a:pt x="2941102" y="3383435"/>
                  <a:pt x="2938925" y="3373276"/>
                  <a:pt x="2940541" y="3363958"/>
                </a:cubicBezTo>
                <a:cubicBezTo>
                  <a:pt x="2943882" y="3344684"/>
                  <a:pt x="2934299" y="3317725"/>
                  <a:pt x="2928518" y="3330135"/>
                </a:cubicBezTo>
                <a:cubicBezTo>
                  <a:pt x="2925129" y="3337412"/>
                  <a:pt x="2924581" y="3337288"/>
                  <a:pt x="2925305" y="3329407"/>
                </a:cubicBezTo>
                <a:cubicBezTo>
                  <a:pt x="2925785" y="3324185"/>
                  <a:pt x="2924596" y="3314638"/>
                  <a:pt x="2922663" y="3308194"/>
                </a:cubicBezTo>
                <a:cubicBezTo>
                  <a:pt x="2920387" y="3300601"/>
                  <a:pt x="2921177" y="3294662"/>
                  <a:pt x="2924908" y="3291324"/>
                </a:cubicBezTo>
                <a:cubicBezTo>
                  <a:pt x="2932964" y="3284116"/>
                  <a:pt x="2918867" y="3253437"/>
                  <a:pt x="2907500" y="3253437"/>
                </a:cubicBezTo>
                <a:cubicBezTo>
                  <a:pt x="2894479" y="3253437"/>
                  <a:pt x="2891108" y="3278834"/>
                  <a:pt x="2902377" y="3292044"/>
                </a:cubicBezTo>
                <a:cubicBezTo>
                  <a:pt x="2918941" y="3311461"/>
                  <a:pt x="2910064" y="3321581"/>
                  <a:pt x="2888666" y="3307676"/>
                </a:cubicBezTo>
                <a:cubicBezTo>
                  <a:pt x="2873988" y="3298139"/>
                  <a:pt x="2866652" y="3315701"/>
                  <a:pt x="2869372" y="3353858"/>
                </a:cubicBezTo>
                <a:cubicBezTo>
                  <a:pt x="2871207" y="3379599"/>
                  <a:pt x="2870569" y="3386379"/>
                  <a:pt x="2866824" y="3380956"/>
                </a:cubicBezTo>
                <a:cubicBezTo>
                  <a:pt x="2853092" y="3361076"/>
                  <a:pt x="2836282" y="3385189"/>
                  <a:pt x="2845843" y="3411053"/>
                </a:cubicBezTo>
                <a:cubicBezTo>
                  <a:pt x="2853035" y="3430512"/>
                  <a:pt x="2851394" y="3443363"/>
                  <a:pt x="2841712" y="3443363"/>
                </a:cubicBezTo>
                <a:cubicBezTo>
                  <a:pt x="2836902" y="3443363"/>
                  <a:pt x="2832967" y="3439439"/>
                  <a:pt x="2832967" y="3434642"/>
                </a:cubicBezTo>
                <a:cubicBezTo>
                  <a:pt x="2832967" y="3429845"/>
                  <a:pt x="2829865" y="3422194"/>
                  <a:pt x="2826073" y="3417638"/>
                </a:cubicBezTo>
                <a:cubicBezTo>
                  <a:pt x="2821062" y="3411617"/>
                  <a:pt x="2819944" y="3403452"/>
                  <a:pt x="2821980" y="3387738"/>
                </a:cubicBezTo>
                <a:cubicBezTo>
                  <a:pt x="2824031" y="3371916"/>
                  <a:pt x="2822766" y="3362898"/>
                  <a:pt x="2817264" y="3354095"/>
                </a:cubicBezTo>
                <a:cubicBezTo>
                  <a:pt x="2813129" y="3347481"/>
                  <a:pt x="2811336" y="3342069"/>
                  <a:pt x="2813279" y="3342069"/>
                </a:cubicBezTo>
                <a:cubicBezTo>
                  <a:pt x="2815223" y="3342069"/>
                  <a:pt x="2812891" y="3337084"/>
                  <a:pt x="2808098" y="3330990"/>
                </a:cubicBezTo>
                <a:cubicBezTo>
                  <a:pt x="2803304" y="3324897"/>
                  <a:pt x="2798045" y="3312077"/>
                  <a:pt x="2796413" y="3302501"/>
                </a:cubicBezTo>
                <a:cubicBezTo>
                  <a:pt x="2794577" y="3291741"/>
                  <a:pt x="2790552" y="3285165"/>
                  <a:pt x="2785874" y="3285284"/>
                </a:cubicBezTo>
                <a:cubicBezTo>
                  <a:pt x="2778749" y="3285465"/>
                  <a:pt x="2778754" y="3285855"/>
                  <a:pt x="2785958" y="3291929"/>
                </a:cubicBezTo>
                <a:cubicBezTo>
                  <a:pt x="2793394" y="3298200"/>
                  <a:pt x="2796910" y="3323174"/>
                  <a:pt x="2790331" y="3322979"/>
                </a:cubicBezTo>
                <a:cubicBezTo>
                  <a:pt x="2784980" y="3322821"/>
                  <a:pt x="2777557" y="3314142"/>
                  <a:pt x="2775681" y="3305853"/>
                </a:cubicBezTo>
                <a:cubicBezTo>
                  <a:pt x="2774304" y="3299772"/>
                  <a:pt x="2771665" y="3299772"/>
                  <a:pt x="2763282" y="3305853"/>
                </a:cubicBezTo>
                <a:cubicBezTo>
                  <a:pt x="2753453" y="3312984"/>
                  <a:pt x="2752721" y="3316706"/>
                  <a:pt x="2753779" y="3354086"/>
                </a:cubicBezTo>
                <a:cubicBezTo>
                  <a:pt x="2754450" y="3377814"/>
                  <a:pt x="2757397" y="3398171"/>
                  <a:pt x="2760892" y="3403232"/>
                </a:cubicBezTo>
                <a:cubicBezTo>
                  <a:pt x="2764856" y="3408971"/>
                  <a:pt x="2766580" y="3424957"/>
                  <a:pt x="2766023" y="3450840"/>
                </a:cubicBezTo>
                <a:cubicBezTo>
                  <a:pt x="2765115" y="3493128"/>
                  <a:pt x="2757353" y="3506636"/>
                  <a:pt x="2750015" y="3478697"/>
                </a:cubicBezTo>
                <a:cubicBezTo>
                  <a:pt x="2747655" y="3469710"/>
                  <a:pt x="2742724" y="3462355"/>
                  <a:pt x="2739057" y="3462355"/>
                </a:cubicBezTo>
                <a:cubicBezTo>
                  <a:pt x="2735389" y="3462355"/>
                  <a:pt x="2732389" y="3458387"/>
                  <a:pt x="2732389" y="3453537"/>
                </a:cubicBezTo>
                <a:cubicBezTo>
                  <a:pt x="2732389" y="3444483"/>
                  <a:pt x="2723344" y="3437032"/>
                  <a:pt x="2712353" y="3437032"/>
                </a:cubicBezTo>
                <a:cubicBezTo>
                  <a:pt x="2708267" y="3437032"/>
                  <a:pt x="2706152" y="3444077"/>
                  <a:pt x="2706152" y="3457689"/>
                </a:cubicBezTo>
                <a:cubicBezTo>
                  <a:pt x="2706152" y="3473038"/>
                  <a:pt x="2703623" y="3479951"/>
                  <a:pt x="2696312" y="3484595"/>
                </a:cubicBezTo>
                <a:cubicBezTo>
                  <a:pt x="2688688" y="3489438"/>
                  <a:pt x="2686788" y="3495120"/>
                  <a:pt x="2687868" y="3509837"/>
                </a:cubicBezTo>
                <a:cubicBezTo>
                  <a:pt x="2688637" y="3520283"/>
                  <a:pt x="2689620" y="3541650"/>
                  <a:pt x="2690056" y="3557318"/>
                </a:cubicBezTo>
                <a:cubicBezTo>
                  <a:pt x="2690491" y="3572988"/>
                  <a:pt x="2692544" y="3589617"/>
                  <a:pt x="2694620" y="3594273"/>
                </a:cubicBezTo>
                <a:cubicBezTo>
                  <a:pt x="2699065" y="3604246"/>
                  <a:pt x="2694360" y="3612158"/>
                  <a:pt x="2682100" y="3615329"/>
                </a:cubicBezTo>
                <a:cubicBezTo>
                  <a:pt x="2672226" y="3617883"/>
                  <a:pt x="2667680" y="3643432"/>
                  <a:pt x="2675171" y="3654278"/>
                </a:cubicBezTo>
                <a:cubicBezTo>
                  <a:pt x="2677779" y="3658054"/>
                  <a:pt x="2680146" y="3672683"/>
                  <a:pt x="2680432" y="3686784"/>
                </a:cubicBezTo>
                <a:cubicBezTo>
                  <a:pt x="2680908" y="3710451"/>
                  <a:pt x="2681163" y="3710963"/>
                  <a:pt x="2683731" y="3693432"/>
                </a:cubicBezTo>
                <a:cubicBezTo>
                  <a:pt x="2685938" y="3678378"/>
                  <a:pt x="2689133" y="3674006"/>
                  <a:pt x="2699137" y="3672350"/>
                </a:cubicBezTo>
                <a:cubicBezTo>
                  <a:pt x="2710910" y="3670401"/>
                  <a:pt x="2711590" y="3671476"/>
                  <a:pt x="2709257" y="3688362"/>
                </a:cubicBezTo>
                <a:cubicBezTo>
                  <a:pt x="2707217" y="3703131"/>
                  <a:pt x="2709128" y="3709197"/>
                  <a:pt x="2719638" y="3721312"/>
                </a:cubicBezTo>
                <a:cubicBezTo>
                  <a:pt x="2726725" y="3729479"/>
                  <a:pt x="2732182" y="3739367"/>
                  <a:pt x="2731766" y="3743285"/>
                </a:cubicBezTo>
                <a:cubicBezTo>
                  <a:pt x="2731350" y="3747203"/>
                  <a:pt x="2732566" y="3755587"/>
                  <a:pt x="2734466" y="3761914"/>
                </a:cubicBezTo>
                <a:cubicBezTo>
                  <a:pt x="2736409" y="3768377"/>
                  <a:pt x="2735991" y="3776216"/>
                  <a:pt x="2733513" y="3779804"/>
                </a:cubicBezTo>
                <a:cubicBezTo>
                  <a:pt x="2730548" y="3784097"/>
                  <a:pt x="2727529" y="3779653"/>
                  <a:pt x="2724300" y="3766243"/>
                </a:cubicBezTo>
                <a:cubicBezTo>
                  <a:pt x="2721659" y="3755272"/>
                  <a:pt x="2714863" y="3738325"/>
                  <a:pt x="2709200" y="3728581"/>
                </a:cubicBezTo>
                <a:lnTo>
                  <a:pt x="2698904" y="3710865"/>
                </a:lnTo>
                <a:lnTo>
                  <a:pt x="2694804" y="3727472"/>
                </a:lnTo>
                <a:cubicBezTo>
                  <a:pt x="2690816" y="3743619"/>
                  <a:pt x="2695578" y="3792599"/>
                  <a:pt x="2703659" y="3818561"/>
                </a:cubicBezTo>
                <a:cubicBezTo>
                  <a:pt x="2705572" y="3824706"/>
                  <a:pt x="2706116" y="3835387"/>
                  <a:pt x="2704869" y="3842295"/>
                </a:cubicBezTo>
                <a:cubicBezTo>
                  <a:pt x="2703621" y="3849204"/>
                  <a:pt x="2704382" y="3856451"/>
                  <a:pt x="2706562" y="3858401"/>
                </a:cubicBezTo>
                <a:cubicBezTo>
                  <a:pt x="2713294" y="3864424"/>
                  <a:pt x="2711151" y="3892854"/>
                  <a:pt x="2703965" y="3892854"/>
                </a:cubicBezTo>
                <a:cubicBezTo>
                  <a:pt x="2700358" y="3892854"/>
                  <a:pt x="2697406" y="3889150"/>
                  <a:pt x="2697406" y="3884624"/>
                </a:cubicBezTo>
                <a:cubicBezTo>
                  <a:pt x="2697406" y="3880097"/>
                  <a:pt x="2695225" y="3873236"/>
                  <a:pt x="2692559" y="3869377"/>
                </a:cubicBezTo>
                <a:cubicBezTo>
                  <a:pt x="2689893" y="3865517"/>
                  <a:pt x="2686903" y="3847367"/>
                  <a:pt x="2685914" y="3829043"/>
                </a:cubicBezTo>
                <a:cubicBezTo>
                  <a:pt x="2684926" y="3810719"/>
                  <a:pt x="2682458" y="3792652"/>
                  <a:pt x="2680432" y="3788895"/>
                </a:cubicBezTo>
                <a:cubicBezTo>
                  <a:pt x="2678405" y="3785138"/>
                  <a:pt x="2675339" y="3773517"/>
                  <a:pt x="2673617" y="3763071"/>
                </a:cubicBezTo>
                <a:cubicBezTo>
                  <a:pt x="2671896" y="3752626"/>
                  <a:pt x="2667953" y="3739805"/>
                  <a:pt x="2664856" y="3734582"/>
                </a:cubicBezTo>
                <a:cubicBezTo>
                  <a:pt x="2661758" y="3729359"/>
                  <a:pt x="2657917" y="3717130"/>
                  <a:pt x="2656320" y="3707405"/>
                </a:cubicBezTo>
                <a:cubicBezTo>
                  <a:pt x="2652637" y="3684989"/>
                  <a:pt x="2642017" y="3678717"/>
                  <a:pt x="2633990" y="3694220"/>
                </a:cubicBezTo>
                <a:cubicBezTo>
                  <a:pt x="2628693" y="3704451"/>
                  <a:pt x="2628722" y="3707066"/>
                  <a:pt x="2634199" y="3713122"/>
                </a:cubicBezTo>
                <a:cubicBezTo>
                  <a:pt x="2637696" y="3716988"/>
                  <a:pt x="2640557" y="3728020"/>
                  <a:pt x="2640557" y="3737638"/>
                </a:cubicBezTo>
                <a:cubicBezTo>
                  <a:pt x="2640557" y="3752464"/>
                  <a:pt x="2639560" y="3753926"/>
                  <a:pt x="2633998" y="3747244"/>
                </a:cubicBezTo>
                <a:cubicBezTo>
                  <a:pt x="2630390" y="3742909"/>
                  <a:pt x="2627438" y="3735528"/>
                  <a:pt x="2627438" y="3730840"/>
                </a:cubicBezTo>
                <a:cubicBezTo>
                  <a:pt x="2627438" y="3726153"/>
                  <a:pt x="2624695" y="3723842"/>
                  <a:pt x="2621342" y="3725705"/>
                </a:cubicBezTo>
                <a:cubicBezTo>
                  <a:pt x="2616724" y="3728271"/>
                  <a:pt x="2614499" y="3719780"/>
                  <a:pt x="2612167" y="3690686"/>
                </a:cubicBezTo>
                <a:cubicBezTo>
                  <a:pt x="2610474" y="3669564"/>
                  <a:pt x="2607314" y="3652281"/>
                  <a:pt x="2605145" y="3652281"/>
                </a:cubicBezTo>
                <a:cubicBezTo>
                  <a:pt x="2602976" y="3652281"/>
                  <a:pt x="2601158" y="3644447"/>
                  <a:pt x="2601104" y="3634871"/>
                </a:cubicBezTo>
                <a:cubicBezTo>
                  <a:pt x="2600974" y="3611715"/>
                  <a:pt x="2587069" y="3585752"/>
                  <a:pt x="2577610" y="3591006"/>
                </a:cubicBezTo>
                <a:cubicBezTo>
                  <a:pt x="2566765" y="3597032"/>
                  <a:pt x="2564271" y="3613351"/>
                  <a:pt x="2572247" y="3626110"/>
                </a:cubicBezTo>
                <a:cubicBezTo>
                  <a:pt x="2580831" y="3639841"/>
                  <a:pt x="2581612" y="3664943"/>
                  <a:pt x="2573455" y="3664943"/>
                </a:cubicBezTo>
                <a:cubicBezTo>
                  <a:pt x="2565487" y="3664943"/>
                  <a:pt x="2553099" y="3644289"/>
                  <a:pt x="2553099" y="3631003"/>
                </a:cubicBezTo>
                <a:cubicBezTo>
                  <a:pt x="2553099" y="3625072"/>
                  <a:pt x="2548671" y="3617809"/>
                  <a:pt x="2543260" y="3614862"/>
                </a:cubicBezTo>
                <a:cubicBezTo>
                  <a:pt x="2530755" y="3608056"/>
                  <a:pt x="2523216" y="3623383"/>
                  <a:pt x="2530623" y="3640554"/>
                </a:cubicBezTo>
                <a:cubicBezTo>
                  <a:pt x="2539261" y="3660579"/>
                  <a:pt x="2536826" y="3698781"/>
                  <a:pt x="2526305" y="3708293"/>
                </a:cubicBezTo>
                <a:cubicBezTo>
                  <a:pt x="2518040" y="3715766"/>
                  <a:pt x="2517311" y="3720509"/>
                  <a:pt x="2519771" y="3750816"/>
                </a:cubicBezTo>
                <a:lnTo>
                  <a:pt x="2522540" y="3784928"/>
                </a:lnTo>
                <a:lnTo>
                  <a:pt x="2509726" y="3781217"/>
                </a:lnTo>
                <a:cubicBezTo>
                  <a:pt x="2491618" y="3775974"/>
                  <a:pt x="2485001" y="3787442"/>
                  <a:pt x="2486852" y="3820858"/>
                </a:cubicBezTo>
                <a:cubicBezTo>
                  <a:pt x="2488027" y="3842062"/>
                  <a:pt x="2486874" y="3848538"/>
                  <a:pt x="2481921" y="3848538"/>
                </a:cubicBezTo>
                <a:cubicBezTo>
                  <a:pt x="2473028" y="3848538"/>
                  <a:pt x="2466210" y="3835250"/>
                  <a:pt x="2462933" y="3811532"/>
                </a:cubicBezTo>
                <a:cubicBezTo>
                  <a:pt x="2461416" y="3800547"/>
                  <a:pt x="2458645" y="3791560"/>
                  <a:pt x="2456776" y="3791560"/>
                </a:cubicBezTo>
                <a:cubicBezTo>
                  <a:pt x="2454907" y="3791560"/>
                  <a:pt x="2451266" y="3782791"/>
                  <a:pt x="2448685" y="3772074"/>
                </a:cubicBezTo>
                <a:cubicBezTo>
                  <a:pt x="2443551" y="3750749"/>
                  <a:pt x="2429132" y="3747939"/>
                  <a:pt x="2427873" y="3768017"/>
                </a:cubicBezTo>
                <a:cubicBezTo>
                  <a:pt x="2427379" y="3775892"/>
                  <a:pt x="2427778" y="3776333"/>
                  <a:pt x="2429236" y="3769526"/>
                </a:cubicBezTo>
                <a:cubicBezTo>
                  <a:pt x="2431510" y="3758919"/>
                  <a:pt x="2443776" y="3756143"/>
                  <a:pt x="2443776" y="3766237"/>
                </a:cubicBezTo>
                <a:cubicBezTo>
                  <a:pt x="2443776" y="3769719"/>
                  <a:pt x="2442301" y="3772585"/>
                  <a:pt x="2440496" y="3772608"/>
                </a:cubicBezTo>
                <a:cubicBezTo>
                  <a:pt x="2438692" y="3772627"/>
                  <a:pt x="2433773" y="3781407"/>
                  <a:pt x="2429564" y="3792113"/>
                </a:cubicBezTo>
                <a:cubicBezTo>
                  <a:pt x="2419134" y="3818643"/>
                  <a:pt x="2419508" y="3859863"/>
                  <a:pt x="2430302" y="3873416"/>
                </a:cubicBezTo>
                <a:cubicBezTo>
                  <a:pt x="2435288" y="3879676"/>
                  <a:pt x="2440996" y="3900531"/>
                  <a:pt x="2444369" y="3924805"/>
                </a:cubicBezTo>
                <a:cubicBezTo>
                  <a:pt x="2447491" y="3947274"/>
                  <a:pt x="2451793" y="3967437"/>
                  <a:pt x="2453931" y="3969610"/>
                </a:cubicBezTo>
                <a:cubicBezTo>
                  <a:pt x="2456068" y="3971784"/>
                  <a:pt x="2454718" y="3980410"/>
                  <a:pt x="2450930" y="3988781"/>
                </a:cubicBezTo>
                <a:cubicBezTo>
                  <a:pt x="2443890" y="4004334"/>
                  <a:pt x="2442745" y="4083398"/>
                  <a:pt x="2449419" y="4093060"/>
                </a:cubicBezTo>
                <a:cubicBezTo>
                  <a:pt x="2454210" y="4099996"/>
                  <a:pt x="2453085" y="4138506"/>
                  <a:pt x="2447957" y="4143094"/>
                </a:cubicBezTo>
                <a:cubicBezTo>
                  <a:pt x="2441139" y="4149195"/>
                  <a:pt x="2430657" y="4133852"/>
                  <a:pt x="2430657" y="4117769"/>
                </a:cubicBezTo>
                <a:cubicBezTo>
                  <a:pt x="2430657" y="4094995"/>
                  <a:pt x="2421562" y="4063787"/>
                  <a:pt x="2414924" y="4063787"/>
                </a:cubicBezTo>
                <a:cubicBezTo>
                  <a:pt x="2411552" y="4063787"/>
                  <a:pt x="2408547" y="4060938"/>
                  <a:pt x="2408246" y="4057456"/>
                </a:cubicBezTo>
                <a:cubicBezTo>
                  <a:pt x="2407945" y="4053974"/>
                  <a:pt x="2407207" y="4048276"/>
                  <a:pt x="2406606" y="4044794"/>
                </a:cubicBezTo>
                <a:cubicBezTo>
                  <a:pt x="2406005" y="4041312"/>
                  <a:pt x="2405267" y="4017301"/>
                  <a:pt x="2404966" y="3991434"/>
                </a:cubicBezTo>
                <a:cubicBezTo>
                  <a:pt x="2404557" y="3956255"/>
                  <a:pt x="2402534" y="3941674"/>
                  <a:pt x="2396933" y="3933567"/>
                </a:cubicBezTo>
                <a:cubicBezTo>
                  <a:pt x="2392816" y="3927605"/>
                  <a:pt x="2389152" y="3919568"/>
                  <a:pt x="2388791" y="3915705"/>
                </a:cubicBezTo>
                <a:cubicBezTo>
                  <a:pt x="2388431" y="3911842"/>
                  <a:pt x="2386709" y="3884465"/>
                  <a:pt x="2384965" y="3854869"/>
                </a:cubicBezTo>
                <a:cubicBezTo>
                  <a:pt x="2381682" y="3799164"/>
                  <a:pt x="2376003" y="3782877"/>
                  <a:pt x="2358125" y="3777893"/>
                </a:cubicBezTo>
                <a:cubicBezTo>
                  <a:pt x="2353578" y="3776624"/>
                  <a:pt x="2349153" y="3769923"/>
                  <a:pt x="2348290" y="3762998"/>
                </a:cubicBezTo>
                <a:cubicBezTo>
                  <a:pt x="2346031" y="3744853"/>
                  <a:pt x="2340915" y="3739100"/>
                  <a:pt x="2331066" y="3743626"/>
                </a:cubicBezTo>
                <a:cubicBezTo>
                  <a:pt x="2323601" y="3747056"/>
                  <a:pt x="2322418" y="3753375"/>
                  <a:pt x="2322362" y="3790153"/>
                </a:cubicBezTo>
                <a:cubicBezTo>
                  <a:pt x="2322327" y="3813559"/>
                  <a:pt x="2323776" y="3835560"/>
                  <a:pt x="2325585" y="3839042"/>
                </a:cubicBezTo>
                <a:cubicBezTo>
                  <a:pt x="2330367" y="3848252"/>
                  <a:pt x="2334803" y="3904455"/>
                  <a:pt x="2331015" y="3907844"/>
                </a:cubicBezTo>
                <a:cubicBezTo>
                  <a:pt x="2325179" y="3913065"/>
                  <a:pt x="2314097" y="3896350"/>
                  <a:pt x="2310583" y="3877027"/>
                </a:cubicBezTo>
                <a:cubicBezTo>
                  <a:pt x="2308684" y="3866581"/>
                  <a:pt x="2307525" y="3841244"/>
                  <a:pt x="2308008" y="3820722"/>
                </a:cubicBezTo>
                <a:cubicBezTo>
                  <a:pt x="2308911" y="3782312"/>
                  <a:pt x="2305309" y="3772864"/>
                  <a:pt x="2289689" y="3772664"/>
                </a:cubicBezTo>
                <a:cubicBezTo>
                  <a:pt x="2281272" y="3772557"/>
                  <a:pt x="2267066" y="3813894"/>
                  <a:pt x="2271750" y="3824865"/>
                </a:cubicBezTo>
                <a:cubicBezTo>
                  <a:pt x="2273403" y="3828737"/>
                  <a:pt x="2272480" y="3829620"/>
                  <a:pt x="2269535" y="3826984"/>
                </a:cubicBezTo>
                <a:cubicBezTo>
                  <a:pt x="2266543" y="3824308"/>
                  <a:pt x="2264486" y="3826489"/>
                  <a:pt x="2264486" y="3832337"/>
                </a:cubicBezTo>
                <a:cubicBezTo>
                  <a:pt x="2264486" y="3837766"/>
                  <a:pt x="2262362" y="3842207"/>
                  <a:pt x="2259765" y="3842207"/>
                </a:cubicBezTo>
                <a:cubicBezTo>
                  <a:pt x="2256796" y="3842207"/>
                  <a:pt x="2256114" y="3835164"/>
                  <a:pt x="2257927" y="3823214"/>
                </a:cubicBezTo>
                <a:cubicBezTo>
                  <a:pt x="2259826" y="3810697"/>
                  <a:pt x="2259092" y="3804222"/>
                  <a:pt x="2255775" y="3804222"/>
                </a:cubicBezTo>
                <a:cubicBezTo>
                  <a:pt x="2253007" y="3804222"/>
                  <a:pt x="2247538" y="3799582"/>
                  <a:pt x="2243620" y="3793911"/>
                </a:cubicBezTo>
                <a:cubicBezTo>
                  <a:pt x="2237039" y="3784383"/>
                  <a:pt x="2237259" y="3782707"/>
                  <a:pt x="2246518" y="3771854"/>
                </a:cubicBezTo>
                <a:cubicBezTo>
                  <a:pt x="2255048" y="3761853"/>
                  <a:pt x="2256154" y="3756142"/>
                  <a:pt x="2253959" y="3733428"/>
                </a:cubicBezTo>
                <a:cubicBezTo>
                  <a:pt x="2252542" y="3718753"/>
                  <a:pt x="2249411" y="3703894"/>
                  <a:pt x="2247002" y="3700406"/>
                </a:cubicBezTo>
                <a:cubicBezTo>
                  <a:pt x="2244592" y="3696919"/>
                  <a:pt x="2242621" y="3689474"/>
                  <a:pt x="2242621" y="3683863"/>
                </a:cubicBezTo>
                <a:cubicBezTo>
                  <a:pt x="2242621" y="3678252"/>
                  <a:pt x="2238686" y="3667546"/>
                  <a:pt x="2233875" y="3660071"/>
                </a:cubicBezTo>
                <a:cubicBezTo>
                  <a:pt x="2229065" y="3652596"/>
                  <a:pt x="2225130" y="3640663"/>
                  <a:pt x="2225130" y="3633553"/>
                </a:cubicBezTo>
                <a:cubicBezTo>
                  <a:pt x="2225130" y="3626444"/>
                  <a:pt x="2223654" y="3620376"/>
                  <a:pt x="2221850" y="3620071"/>
                </a:cubicBezTo>
                <a:cubicBezTo>
                  <a:pt x="2220046" y="3619765"/>
                  <a:pt x="2211683" y="3619052"/>
                  <a:pt x="2203265" y="3618488"/>
                </a:cubicBezTo>
                <a:cubicBezTo>
                  <a:pt x="2188217" y="3617479"/>
                  <a:pt x="2187981" y="3617853"/>
                  <a:pt x="2189200" y="3640708"/>
                </a:cubicBezTo>
                <a:cubicBezTo>
                  <a:pt x="2190210" y="3659648"/>
                  <a:pt x="2188734" y="3664739"/>
                  <a:pt x="2181231" y="3668186"/>
                </a:cubicBezTo>
                <a:cubicBezTo>
                  <a:pt x="2175294" y="3670914"/>
                  <a:pt x="2172929" y="3675839"/>
                  <a:pt x="2174574" y="3682047"/>
                </a:cubicBezTo>
                <a:cubicBezTo>
                  <a:pt x="2176448" y="3689115"/>
                  <a:pt x="2175143" y="3690574"/>
                  <a:pt x="2169669" y="3687533"/>
                </a:cubicBezTo>
                <a:cubicBezTo>
                  <a:pt x="2163315" y="3684003"/>
                  <a:pt x="2163466" y="3685395"/>
                  <a:pt x="2170689" y="3696951"/>
                </a:cubicBezTo>
                <a:cubicBezTo>
                  <a:pt x="2177398" y="3707683"/>
                  <a:pt x="2182591" y="3709846"/>
                  <a:pt x="2195588" y="3707322"/>
                </a:cubicBezTo>
                <a:cubicBezTo>
                  <a:pt x="2211612" y="3704211"/>
                  <a:pt x="2212011" y="3704626"/>
                  <a:pt x="2212011" y="3724422"/>
                </a:cubicBezTo>
                <a:cubicBezTo>
                  <a:pt x="2212011" y="3735582"/>
                  <a:pt x="2214256" y="3747962"/>
                  <a:pt x="2216999" y="3751934"/>
                </a:cubicBezTo>
                <a:cubicBezTo>
                  <a:pt x="2223416" y="3761224"/>
                  <a:pt x="2224997" y="3835911"/>
                  <a:pt x="2218775" y="3835779"/>
                </a:cubicBezTo>
                <a:cubicBezTo>
                  <a:pt x="2208830" y="3835568"/>
                  <a:pt x="2204344" y="3825044"/>
                  <a:pt x="2201276" y="3794726"/>
                </a:cubicBezTo>
                <a:cubicBezTo>
                  <a:pt x="2197020" y="3752657"/>
                  <a:pt x="2193267" y="3746638"/>
                  <a:pt x="2176875" y="3755596"/>
                </a:cubicBezTo>
                <a:cubicBezTo>
                  <a:pt x="2161020" y="3764261"/>
                  <a:pt x="2155873" y="3758069"/>
                  <a:pt x="2138525" y="3709464"/>
                </a:cubicBezTo>
                <a:cubicBezTo>
                  <a:pt x="2123766" y="3668115"/>
                  <a:pt x="2115171" y="3658627"/>
                  <a:pt x="2105352" y="3672844"/>
                </a:cubicBezTo>
                <a:cubicBezTo>
                  <a:pt x="2098301" y="3683051"/>
                  <a:pt x="2099961" y="3702928"/>
                  <a:pt x="2107864" y="3702928"/>
                </a:cubicBezTo>
                <a:cubicBezTo>
                  <a:pt x="2110196" y="3702928"/>
                  <a:pt x="2111495" y="3713164"/>
                  <a:pt x="2110750" y="3725675"/>
                </a:cubicBezTo>
                <a:cubicBezTo>
                  <a:pt x="2109802" y="3741608"/>
                  <a:pt x="2111666" y="3750826"/>
                  <a:pt x="2116974" y="3756445"/>
                </a:cubicBezTo>
                <a:cubicBezTo>
                  <a:pt x="2121142" y="3760857"/>
                  <a:pt x="2124552" y="3770563"/>
                  <a:pt x="2124552" y="3778014"/>
                </a:cubicBezTo>
                <a:cubicBezTo>
                  <a:pt x="2124552" y="3788826"/>
                  <a:pt x="2121921" y="3791560"/>
                  <a:pt x="2111517" y="3791560"/>
                </a:cubicBezTo>
                <a:cubicBezTo>
                  <a:pt x="2101338" y="3791560"/>
                  <a:pt x="2097893" y="3794952"/>
                  <a:pt x="2095798" y="3807039"/>
                </a:cubicBezTo>
                <a:cubicBezTo>
                  <a:pt x="2094322" y="3815551"/>
                  <a:pt x="2089857" y="3823768"/>
                  <a:pt x="2085876" y="3825297"/>
                </a:cubicBezTo>
                <a:cubicBezTo>
                  <a:pt x="2080764" y="3827259"/>
                  <a:pt x="2081441" y="3828292"/>
                  <a:pt x="2088181" y="3828811"/>
                </a:cubicBezTo>
                <a:cubicBezTo>
                  <a:pt x="2093433" y="3829215"/>
                  <a:pt x="2098918" y="3834985"/>
                  <a:pt x="2100377" y="3841641"/>
                </a:cubicBezTo>
                <a:cubicBezTo>
                  <a:pt x="2101836" y="3848293"/>
                  <a:pt x="2107979" y="3858432"/>
                  <a:pt x="2114029" y="3864171"/>
                </a:cubicBezTo>
                <a:cubicBezTo>
                  <a:pt x="2123352" y="3873014"/>
                  <a:pt x="2124827" y="3878655"/>
                  <a:pt x="2123698" y="3901140"/>
                </a:cubicBezTo>
                <a:cubicBezTo>
                  <a:pt x="2122193" y="3931115"/>
                  <a:pt x="2110223" y="3939232"/>
                  <a:pt x="2107910" y="3911846"/>
                </a:cubicBezTo>
                <a:cubicBezTo>
                  <a:pt x="2104476" y="3871189"/>
                  <a:pt x="2098711" y="3858131"/>
                  <a:pt x="2080582" y="3849939"/>
                </a:cubicBezTo>
                <a:cubicBezTo>
                  <a:pt x="2061553" y="3841341"/>
                  <a:pt x="2054585" y="3843688"/>
                  <a:pt x="2054585" y="3858695"/>
                </a:cubicBezTo>
                <a:cubicBezTo>
                  <a:pt x="2054585" y="3866014"/>
                  <a:pt x="2051196" y="3867184"/>
                  <a:pt x="2039326" y="3863960"/>
                </a:cubicBezTo>
                <a:cubicBezTo>
                  <a:pt x="2027534" y="3860757"/>
                  <a:pt x="2023454" y="3862131"/>
                  <a:pt x="2021367" y="3870003"/>
                </a:cubicBezTo>
                <a:cubicBezTo>
                  <a:pt x="2017577" y="3884301"/>
                  <a:pt x="2006483" y="3882736"/>
                  <a:pt x="2006483" y="3867904"/>
                </a:cubicBezTo>
                <a:cubicBezTo>
                  <a:pt x="2006483" y="3861146"/>
                  <a:pt x="2004483" y="3853826"/>
                  <a:pt x="2002040" y="3851640"/>
                </a:cubicBezTo>
                <a:cubicBezTo>
                  <a:pt x="1999595" y="3849452"/>
                  <a:pt x="1998824" y="3844783"/>
                  <a:pt x="2000327" y="3841264"/>
                </a:cubicBezTo>
                <a:cubicBezTo>
                  <a:pt x="2001829" y="3837744"/>
                  <a:pt x="1998909" y="3830657"/>
                  <a:pt x="1993839" y="3825515"/>
                </a:cubicBezTo>
                <a:cubicBezTo>
                  <a:pt x="1987608" y="3819197"/>
                  <a:pt x="1984619" y="3809349"/>
                  <a:pt x="1984619" y="3795142"/>
                </a:cubicBezTo>
                <a:cubicBezTo>
                  <a:pt x="1984619" y="3769202"/>
                  <a:pt x="1974654" y="3754565"/>
                  <a:pt x="1964941" y="3766237"/>
                </a:cubicBezTo>
                <a:cubicBezTo>
                  <a:pt x="1961333" y="3770571"/>
                  <a:pt x="1958381" y="3778042"/>
                  <a:pt x="1958381" y="3782839"/>
                </a:cubicBezTo>
                <a:cubicBezTo>
                  <a:pt x="1958381" y="3787636"/>
                  <a:pt x="1955430" y="3791560"/>
                  <a:pt x="1951822" y="3791560"/>
                </a:cubicBezTo>
                <a:cubicBezTo>
                  <a:pt x="1948214" y="3791560"/>
                  <a:pt x="1945262" y="3788711"/>
                  <a:pt x="1945262" y="3785229"/>
                </a:cubicBezTo>
                <a:cubicBezTo>
                  <a:pt x="1945262" y="3781747"/>
                  <a:pt x="1939359" y="3778898"/>
                  <a:pt x="1932144" y="3778898"/>
                </a:cubicBezTo>
                <a:cubicBezTo>
                  <a:pt x="1921186" y="3778898"/>
                  <a:pt x="1919025" y="3776378"/>
                  <a:pt x="1919025" y="3763599"/>
                </a:cubicBezTo>
                <a:cubicBezTo>
                  <a:pt x="1919025" y="3755184"/>
                  <a:pt x="1921033" y="3747330"/>
                  <a:pt x="1923488" y="3746145"/>
                </a:cubicBezTo>
                <a:cubicBezTo>
                  <a:pt x="1930205" y="3742904"/>
                  <a:pt x="1918350" y="3709947"/>
                  <a:pt x="1908872" y="3705513"/>
                </a:cubicBezTo>
                <a:cubicBezTo>
                  <a:pt x="1899063" y="3700925"/>
                  <a:pt x="1884041" y="3719355"/>
                  <a:pt x="1884041" y="3735980"/>
                </a:cubicBezTo>
                <a:cubicBezTo>
                  <a:pt x="1884041" y="3742633"/>
                  <a:pt x="1886078" y="3753587"/>
                  <a:pt x="1888568" y="3760322"/>
                </a:cubicBezTo>
                <a:cubicBezTo>
                  <a:pt x="1893887" y="3774711"/>
                  <a:pt x="1885030" y="3777798"/>
                  <a:pt x="1875988" y="3764707"/>
                </a:cubicBezTo>
                <a:cubicBezTo>
                  <a:pt x="1871664" y="3758447"/>
                  <a:pt x="1869719" y="3758769"/>
                  <a:pt x="1866434" y="3766290"/>
                </a:cubicBezTo>
                <a:cubicBezTo>
                  <a:pt x="1861190" y="3778299"/>
                  <a:pt x="1860967" y="3797891"/>
                  <a:pt x="1866075" y="3797891"/>
                </a:cubicBezTo>
                <a:cubicBezTo>
                  <a:pt x="1868220" y="3797891"/>
                  <a:pt x="1871209" y="3805013"/>
                  <a:pt x="1872718" y="3813718"/>
                </a:cubicBezTo>
                <a:cubicBezTo>
                  <a:pt x="1874227" y="3822423"/>
                  <a:pt x="1877392" y="3829545"/>
                  <a:pt x="1879752" y="3829545"/>
                </a:cubicBezTo>
                <a:cubicBezTo>
                  <a:pt x="1882111" y="3829545"/>
                  <a:pt x="1884041" y="3836499"/>
                  <a:pt x="1884041" y="3844998"/>
                </a:cubicBezTo>
                <a:cubicBezTo>
                  <a:pt x="1884041" y="3853498"/>
                  <a:pt x="1886113" y="3862306"/>
                  <a:pt x="1888645" y="3864572"/>
                </a:cubicBezTo>
                <a:cubicBezTo>
                  <a:pt x="1891177" y="3866837"/>
                  <a:pt x="1892520" y="3871854"/>
                  <a:pt x="1891630" y="3875720"/>
                </a:cubicBezTo>
                <a:cubicBezTo>
                  <a:pt x="1889035" y="3886993"/>
                  <a:pt x="1902591" y="3905515"/>
                  <a:pt x="1913437" y="3905515"/>
                </a:cubicBezTo>
                <a:cubicBezTo>
                  <a:pt x="1919375" y="3905515"/>
                  <a:pt x="1923398" y="3909350"/>
                  <a:pt x="1923398" y="3915012"/>
                </a:cubicBezTo>
                <a:cubicBezTo>
                  <a:pt x="1923398" y="3920235"/>
                  <a:pt x="1925365" y="3924508"/>
                  <a:pt x="1927771" y="3924508"/>
                </a:cubicBezTo>
                <a:cubicBezTo>
                  <a:pt x="1930176" y="3924508"/>
                  <a:pt x="1932144" y="3930106"/>
                  <a:pt x="1932144" y="3936947"/>
                </a:cubicBezTo>
                <a:cubicBezTo>
                  <a:pt x="1932144" y="3943788"/>
                  <a:pt x="1936079" y="3952436"/>
                  <a:pt x="1940889" y="3956162"/>
                </a:cubicBezTo>
                <a:cubicBezTo>
                  <a:pt x="1954852" y="3966980"/>
                  <a:pt x="1951574" y="3977299"/>
                  <a:pt x="1935640" y="3972686"/>
                </a:cubicBezTo>
                <a:cubicBezTo>
                  <a:pt x="1927944" y="3970457"/>
                  <a:pt x="1920564" y="3966474"/>
                  <a:pt x="1919242" y="3963834"/>
                </a:cubicBezTo>
                <a:cubicBezTo>
                  <a:pt x="1917920" y="3961195"/>
                  <a:pt x="1911339" y="3953967"/>
                  <a:pt x="1904617" y="3947772"/>
                </a:cubicBezTo>
                <a:cubicBezTo>
                  <a:pt x="1897896" y="3941576"/>
                  <a:pt x="1890509" y="3929320"/>
                  <a:pt x="1888202" y="3920535"/>
                </a:cubicBezTo>
                <a:cubicBezTo>
                  <a:pt x="1883345" y="3902041"/>
                  <a:pt x="1873609" y="3886523"/>
                  <a:pt x="1866862" y="3886523"/>
                </a:cubicBezTo>
                <a:cubicBezTo>
                  <a:pt x="1864285" y="3886523"/>
                  <a:pt x="1862177" y="3881029"/>
                  <a:pt x="1862177" y="3874314"/>
                </a:cubicBezTo>
                <a:cubicBezTo>
                  <a:pt x="1862177" y="3867598"/>
                  <a:pt x="1859607" y="3858339"/>
                  <a:pt x="1856466" y="3853739"/>
                </a:cubicBezTo>
                <a:cubicBezTo>
                  <a:pt x="1853325" y="3849137"/>
                  <a:pt x="1849451" y="3840387"/>
                  <a:pt x="1847857" y="3834293"/>
                </a:cubicBezTo>
                <a:cubicBezTo>
                  <a:pt x="1844203" y="3820320"/>
                  <a:pt x="1827822" y="3819806"/>
                  <a:pt x="1824179" y="3833550"/>
                </a:cubicBezTo>
                <a:cubicBezTo>
                  <a:pt x="1822673" y="3839234"/>
                  <a:pt x="1823855" y="3849482"/>
                  <a:pt x="1826806" y="3856324"/>
                </a:cubicBezTo>
                <a:cubicBezTo>
                  <a:pt x="1829757" y="3863165"/>
                  <a:pt x="1830945" y="3870540"/>
                  <a:pt x="1829445" y="3872712"/>
                </a:cubicBezTo>
                <a:cubicBezTo>
                  <a:pt x="1827945" y="3874883"/>
                  <a:pt x="1825077" y="3872816"/>
                  <a:pt x="1823072" y="3868119"/>
                </a:cubicBezTo>
                <a:cubicBezTo>
                  <a:pt x="1818209" y="3856728"/>
                  <a:pt x="1809702" y="3865026"/>
                  <a:pt x="1809702" y="3881158"/>
                </a:cubicBezTo>
                <a:cubicBezTo>
                  <a:pt x="1809702" y="3888715"/>
                  <a:pt x="1813317" y="3895408"/>
                  <a:pt x="1818447" y="3897350"/>
                </a:cubicBezTo>
                <a:cubicBezTo>
                  <a:pt x="1824168" y="3899516"/>
                  <a:pt x="1827193" y="3905986"/>
                  <a:pt x="1827193" y="3916052"/>
                </a:cubicBezTo>
                <a:cubicBezTo>
                  <a:pt x="1827193" y="3932239"/>
                  <a:pt x="1846127" y="3962493"/>
                  <a:pt x="1856256" y="3962493"/>
                </a:cubicBezTo>
                <a:cubicBezTo>
                  <a:pt x="1859512" y="3962493"/>
                  <a:pt x="1862177" y="3968191"/>
                  <a:pt x="1862177" y="3975155"/>
                </a:cubicBezTo>
                <a:cubicBezTo>
                  <a:pt x="1862177" y="3984267"/>
                  <a:pt x="1859262" y="3987817"/>
                  <a:pt x="1851780" y="3987817"/>
                </a:cubicBezTo>
                <a:cubicBezTo>
                  <a:pt x="1846061" y="3987817"/>
                  <a:pt x="1838933" y="3992090"/>
                  <a:pt x="1835939" y="3997313"/>
                </a:cubicBezTo>
                <a:cubicBezTo>
                  <a:pt x="1832945" y="4002536"/>
                  <a:pt x="1828768" y="4006809"/>
                  <a:pt x="1826658" y="4006809"/>
                </a:cubicBezTo>
                <a:cubicBezTo>
                  <a:pt x="1824547" y="4006809"/>
                  <a:pt x="1822820" y="4002536"/>
                  <a:pt x="1822820" y="3997313"/>
                </a:cubicBezTo>
                <a:cubicBezTo>
                  <a:pt x="1822820" y="3992090"/>
                  <a:pt x="1820853" y="3987817"/>
                  <a:pt x="1818447" y="3987817"/>
                </a:cubicBezTo>
                <a:cubicBezTo>
                  <a:pt x="1816042" y="3987817"/>
                  <a:pt x="1814075" y="3983167"/>
                  <a:pt x="1814075" y="3977485"/>
                </a:cubicBezTo>
                <a:cubicBezTo>
                  <a:pt x="1814075" y="3964980"/>
                  <a:pt x="1797850" y="3925247"/>
                  <a:pt x="1786969" y="3911104"/>
                </a:cubicBezTo>
                <a:cubicBezTo>
                  <a:pt x="1782636" y="3905473"/>
                  <a:pt x="1779091" y="3894814"/>
                  <a:pt x="1779091" y="3887418"/>
                </a:cubicBezTo>
                <a:cubicBezTo>
                  <a:pt x="1779091" y="3875266"/>
                  <a:pt x="1765017" y="3844344"/>
                  <a:pt x="1741945" y="3805804"/>
                </a:cubicBezTo>
                <a:cubicBezTo>
                  <a:pt x="1737256" y="3797970"/>
                  <a:pt x="1729920" y="3791560"/>
                  <a:pt x="1725644" y="3791560"/>
                </a:cubicBezTo>
                <a:cubicBezTo>
                  <a:pt x="1721369" y="3791560"/>
                  <a:pt x="1717870" y="3787082"/>
                  <a:pt x="1717870" y="3781609"/>
                </a:cubicBezTo>
                <a:cubicBezTo>
                  <a:pt x="1717870" y="3769873"/>
                  <a:pt x="1697380" y="3717614"/>
                  <a:pt x="1690111" y="3710809"/>
                </a:cubicBezTo>
                <a:cubicBezTo>
                  <a:pt x="1687340" y="3708215"/>
                  <a:pt x="1682895" y="3700396"/>
                  <a:pt x="1680232" y="3693432"/>
                </a:cubicBezTo>
                <a:cubicBezTo>
                  <a:pt x="1677569" y="3686468"/>
                  <a:pt x="1671979" y="3679799"/>
                  <a:pt x="1667809" y="3678612"/>
                </a:cubicBezTo>
                <a:cubicBezTo>
                  <a:pt x="1659247" y="3676176"/>
                  <a:pt x="1643530" y="3655329"/>
                  <a:pt x="1643530" y="3646410"/>
                </a:cubicBezTo>
                <a:cubicBezTo>
                  <a:pt x="1643530" y="3643181"/>
                  <a:pt x="1638611" y="3634936"/>
                  <a:pt x="1632598" y="3628089"/>
                </a:cubicBezTo>
                <a:cubicBezTo>
                  <a:pt x="1626078" y="3620663"/>
                  <a:pt x="1621666" y="3609167"/>
                  <a:pt x="1621666" y="3599604"/>
                </a:cubicBezTo>
                <a:cubicBezTo>
                  <a:pt x="1621666" y="3587944"/>
                  <a:pt x="1617908" y="3580855"/>
                  <a:pt x="1607892" y="3573621"/>
                </a:cubicBezTo>
                <a:cubicBezTo>
                  <a:pt x="1592334" y="3562385"/>
                  <a:pt x="1582310" y="3568877"/>
                  <a:pt x="1582310" y="3590188"/>
                </a:cubicBezTo>
                <a:cubicBezTo>
                  <a:pt x="1582310" y="3608936"/>
                  <a:pt x="1563990" y="3602336"/>
                  <a:pt x="1556968" y="3581059"/>
                </a:cubicBezTo>
                <a:cubicBezTo>
                  <a:pt x="1553808" y="3571483"/>
                  <a:pt x="1549853" y="3563286"/>
                  <a:pt x="1548180" y="3562841"/>
                </a:cubicBezTo>
                <a:cubicBezTo>
                  <a:pt x="1534416" y="3559184"/>
                  <a:pt x="1525461" y="3559990"/>
                  <a:pt x="1525461" y="3564887"/>
                </a:cubicBezTo>
                <a:cubicBezTo>
                  <a:pt x="1525461" y="3568100"/>
                  <a:pt x="1523850" y="3569285"/>
                  <a:pt x="1521880" y="3567523"/>
                </a:cubicBezTo>
                <a:cubicBezTo>
                  <a:pt x="1515780" y="3562065"/>
                  <a:pt x="1521675" y="3600788"/>
                  <a:pt x="1528124" y="3608537"/>
                </a:cubicBezTo>
                <a:cubicBezTo>
                  <a:pt x="1531470" y="3612557"/>
                  <a:pt x="1534207" y="3621363"/>
                  <a:pt x="1534207" y="3628104"/>
                </a:cubicBezTo>
                <a:cubicBezTo>
                  <a:pt x="1534207" y="3634846"/>
                  <a:pt x="1540440" y="3651589"/>
                  <a:pt x="1548057" y="3665312"/>
                </a:cubicBezTo>
                <a:cubicBezTo>
                  <a:pt x="1555674" y="3679035"/>
                  <a:pt x="1562260" y="3695249"/>
                  <a:pt x="1562692" y="3701343"/>
                </a:cubicBezTo>
                <a:cubicBezTo>
                  <a:pt x="1563458" y="3712152"/>
                  <a:pt x="1570563" y="3739304"/>
                  <a:pt x="1578407" y="3761403"/>
                </a:cubicBezTo>
                <a:cubicBezTo>
                  <a:pt x="1580554" y="3767449"/>
                  <a:pt x="1582310" y="3778174"/>
                  <a:pt x="1582310" y="3785236"/>
                </a:cubicBezTo>
                <a:cubicBezTo>
                  <a:pt x="1582310" y="3792808"/>
                  <a:pt x="1587872" y="3802974"/>
                  <a:pt x="1595866" y="3810012"/>
                </a:cubicBezTo>
                <a:lnTo>
                  <a:pt x="1609422" y="3821947"/>
                </a:lnTo>
                <a:lnTo>
                  <a:pt x="1599783" y="3835903"/>
                </a:lnTo>
                <a:cubicBezTo>
                  <a:pt x="1592444" y="3846528"/>
                  <a:pt x="1590770" y="3854389"/>
                  <a:pt x="1592769" y="3868858"/>
                </a:cubicBezTo>
                <a:cubicBezTo>
                  <a:pt x="1594782" y="3883425"/>
                  <a:pt x="1593985" y="3887076"/>
                  <a:pt x="1589357" y="3884504"/>
                </a:cubicBezTo>
                <a:cubicBezTo>
                  <a:pt x="1584420" y="3881763"/>
                  <a:pt x="1584200" y="3884530"/>
                  <a:pt x="1588146" y="3899664"/>
                </a:cubicBezTo>
                <a:cubicBezTo>
                  <a:pt x="1591360" y="3911992"/>
                  <a:pt x="1596026" y="3918177"/>
                  <a:pt x="1602110" y="3918177"/>
                </a:cubicBezTo>
                <a:cubicBezTo>
                  <a:pt x="1615135" y="3918177"/>
                  <a:pt x="1626341" y="3931870"/>
                  <a:pt x="1628191" y="3950044"/>
                </a:cubicBezTo>
                <a:cubicBezTo>
                  <a:pt x="1629067" y="3958632"/>
                  <a:pt x="1631165" y="3976342"/>
                  <a:pt x="1632855" y="3989399"/>
                </a:cubicBezTo>
                <a:cubicBezTo>
                  <a:pt x="1634574" y="4002674"/>
                  <a:pt x="1634178" y="4013140"/>
                  <a:pt x="1631957" y="4013140"/>
                </a:cubicBezTo>
                <a:cubicBezTo>
                  <a:pt x="1622428" y="4013140"/>
                  <a:pt x="1608547" y="3992280"/>
                  <a:pt x="1608547" y="3977962"/>
                </a:cubicBezTo>
                <a:cubicBezTo>
                  <a:pt x="1608547" y="3969454"/>
                  <a:pt x="1606463" y="3962493"/>
                  <a:pt x="1603916" y="3962493"/>
                </a:cubicBezTo>
                <a:cubicBezTo>
                  <a:pt x="1601369" y="3962493"/>
                  <a:pt x="1600693" y="3959196"/>
                  <a:pt x="1602413" y="3955165"/>
                </a:cubicBezTo>
                <a:cubicBezTo>
                  <a:pt x="1604547" y="3950166"/>
                  <a:pt x="1602608" y="3948948"/>
                  <a:pt x="1596313" y="3951331"/>
                </a:cubicBezTo>
                <a:cubicBezTo>
                  <a:pt x="1589579" y="3953881"/>
                  <a:pt x="1585069" y="3950297"/>
                  <a:pt x="1579635" y="3938084"/>
                </a:cubicBezTo>
                <a:cubicBezTo>
                  <a:pt x="1575539" y="3928876"/>
                  <a:pt x="1569545" y="3919064"/>
                  <a:pt x="1566316" y="3916280"/>
                </a:cubicBezTo>
                <a:cubicBezTo>
                  <a:pt x="1563087" y="3913495"/>
                  <a:pt x="1560382" y="3903524"/>
                  <a:pt x="1560307" y="3894122"/>
                </a:cubicBezTo>
                <a:cubicBezTo>
                  <a:pt x="1560115" y="3870440"/>
                  <a:pt x="1542195" y="3842024"/>
                  <a:pt x="1530293" y="3846530"/>
                </a:cubicBezTo>
                <a:cubicBezTo>
                  <a:pt x="1517387" y="3851416"/>
                  <a:pt x="1518670" y="3838281"/>
                  <a:pt x="1532819" y="3820661"/>
                </a:cubicBezTo>
                <a:cubicBezTo>
                  <a:pt x="1544538" y="3806067"/>
                  <a:pt x="1544542" y="3806029"/>
                  <a:pt x="1536987" y="3782979"/>
                </a:cubicBezTo>
                <a:cubicBezTo>
                  <a:pt x="1530753" y="3763960"/>
                  <a:pt x="1527108" y="3759906"/>
                  <a:pt x="1516242" y="3759906"/>
                </a:cubicBezTo>
                <a:cubicBezTo>
                  <a:pt x="1503186" y="3759906"/>
                  <a:pt x="1503088" y="3759648"/>
                  <a:pt x="1505885" y="3732637"/>
                </a:cubicBezTo>
                <a:cubicBezTo>
                  <a:pt x="1509108" y="3701524"/>
                  <a:pt x="1501545" y="3686337"/>
                  <a:pt x="1486312" y="3693337"/>
                </a:cubicBezTo>
                <a:cubicBezTo>
                  <a:pt x="1477958" y="3697175"/>
                  <a:pt x="1451344" y="3676788"/>
                  <a:pt x="1447478" y="3663589"/>
                </a:cubicBezTo>
                <a:cubicBezTo>
                  <a:pt x="1446676" y="3660852"/>
                  <a:pt x="1443232" y="3658612"/>
                  <a:pt x="1439825" y="3658612"/>
                </a:cubicBezTo>
                <a:cubicBezTo>
                  <a:pt x="1429673" y="3658612"/>
                  <a:pt x="1432795" y="3646096"/>
                  <a:pt x="1444562" y="3639619"/>
                </a:cubicBezTo>
                <a:cubicBezTo>
                  <a:pt x="1450575" y="3636310"/>
                  <a:pt x="1455495" y="3629090"/>
                  <a:pt x="1455495" y="3623575"/>
                </a:cubicBezTo>
                <a:cubicBezTo>
                  <a:pt x="1455495" y="3617656"/>
                  <a:pt x="1457734" y="3615176"/>
                  <a:pt x="1460961" y="3617522"/>
                </a:cubicBezTo>
                <a:cubicBezTo>
                  <a:pt x="1463968" y="3619706"/>
                  <a:pt x="1460312" y="3613464"/>
                  <a:pt x="1452837" y="3603651"/>
                </a:cubicBezTo>
                <a:cubicBezTo>
                  <a:pt x="1442928" y="3590641"/>
                  <a:pt x="1438581" y="3578327"/>
                  <a:pt x="1436789" y="3558195"/>
                </a:cubicBezTo>
                <a:cubicBezTo>
                  <a:pt x="1433074" y="3516449"/>
                  <a:pt x="1404079" y="3477046"/>
                  <a:pt x="1396928" y="3504024"/>
                </a:cubicBezTo>
                <a:cubicBezTo>
                  <a:pt x="1392375" y="3521202"/>
                  <a:pt x="1393960" y="3531540"/>
                  <a:pt x="1403198" y="3544914"/>
                </a:cubicBezTo>
                <a:cubicBezTo>
                  <a:pt x="1410061" y="3554850"/>
                  <a:pt x="1412379" y="3567442"/>
                  <a:pt x="1413240" y="3599452"/>
                </a:cubicBezTo>
                <a:cubicBezTo>
                  <a:pt x="1414062" y="3630005"/>
                  <a:pt x="1416340" y="3643168"/>
                  <a:pt x="1421808" y="3648957"/>
                </a:cubicBezTo>
                <a:cubicBezTo>
                  <a:pt x="1429750" y="3657364"/>
                  <a:pt x="1431902" y="3671274"/>
                  <a:pt x="1425263" y="3671274"/>
                </a:cubicBezTo>
                <a:cubicBezTo>
                  <a:pt x="1423045" y="3671274"/>
                  <a:pt x="1422690" y="3679020"/>
                  <a:pt x="1424464" y="3688684"/>
                </a:cubicBezTo>
                <a:cubicBezTo>
                  <a:pt x="1426515" y="3699859"/>
                  <a:pt x="1431077" y="3706818"/>
                  <a:pt x="1437204" y="3708117"/>
                </a:cubicBezTo>
                <a:cubicBezTo>
                  <a:pt x="1444851" y="3709737"/>
                  <a:pt x="1446749" y="3714383"/>
                  <a:pt x="1446749" y="3731484"/>
                </a:cubicBezTo>
                <a:cubicBezTo>
                  <a:pt x="1446749" y="3743223"/>
                  <a:pt x="1448948" y="3754796"/>
                  <a:pt x="1451637" y="3757202"/>
                </a:cubicBezTo>
                <a:cubicBezTo>
                  <a:pt x="1454723" y="3759963"/>
                  <a:pt x="1455559" y="3771776"/>
                  <a:pt x="1453905" y="3789250"/>
                </a:cubicBezTo>
                <a:cubicBezTo>
                  <a:pt x="1451711" y="3812432"/>
                  <a:pt x="1452692" y="3818195"/>
                  <a:pt x="1459949" y="3824758"/>
                </a:cubicBezTo>
                <a:cubicBezTo>
                  <a:pt x="1464715" y="3829066"/>
                  <a:pt x="1468613" y="3835830"/>
                  <a:pt x="1468613" y="3839789"/>
                </a:cubicBezTo>
                <a:cubicBezTo>
                  <a:pt x="1468613" y="3843748"/>
                  <a:pt x="1471702" y="3850699"/>
                  <a:pt x="1475477" y="3855234"/>
                </a:cubicBezTo>
                <a:cubicBezTo>
                  <a:pt x="1479252" y="3859769"/>
                  <a:pt x="1481517" y="3868037"/>
                  <a:pt x="1480511" y="3873606"/>
                </a:cubicBezTo>
                <a:cubicBezTo>
                  <a:pt x="1478594" y="3884222"/>
                  <a:pt x="1486874" y="3899185"/>
                  <a:pt x="1494666" y="3899185"/>
                </a:cubicBezTo>
                <a:cubicBezTo>
                  <a:pt x="1497173" y="3899185"/>
                  <a:pt x="1499224" y="3909090"/>
                  <a:pt x="1499224" y="3921197"/>
                </a:cubicBezTo>
                <a:cubicBezTo>
                  <a:pt x="1499224" y="3937382"/>
                  <a:pt x="1501973" y="3945817"/>
                  <a:pt x="1509610" y="3953061"/>
                </a:cubicBezTo>
                <a:cubicBezTo>
                  <a:pt x="1519932" y="3962853"/>
                  <a:pt x="1524025" y="3990773"/>
                  <a:pt x="1516169" y="3997802"/>
                </a:cubicBezTo>
                <a:cubicBezTo>
                  <a:pt x="1514065" y="3999685"/>
                  <a:pt x="1512343" y="3998208"/>
                  <a:pt x="1512343" y="3994521"/>
                </a:cubicBezTo>
                <a:cubicBezTo>
                  <a:pt x="1512343" y="3990833"/>
                  <a:pt x="1509604" y="3987817"/>
                  <a:pt x="1506257" y="3987817"/>
                </a:cubicBezTo>
                <a:cubicBezTo>
                  <a:pt x="1502911" y="3987817"/>
                  <a:pt x="1499039" y="3981284"/>
                  <a:pt x="1497656" y="3973300"/>
                </a:cubicBezTo>
                <a:cubicBezTo>
                  <a:pt x="1496096" y="3964303"/>
                  <a:pt x="1488706" y="3954673"/>
                  <a:pt x="1478220" y="3947976"/>
                </a:cubicBezTo>
                <a:cubicBezTo>
                  <a:pt x="1456305" y="3933979"/>
                  <a:pt x="1452330" y="3934348"/>
                  <a:pt x="1448741" y="3950719"/>
                </a:cubicBezTo>
                <a:cubicBezTo>
                  <a:pt x="1446440" y="3961216"/>
                  <a:pt x="1449383" y="3969058"/>
                  <a:pt x="1461808" y="3985538"/>
                </a:cubicBezTo>
                <a:cubicBezTo>
                  <a:pt x="1470629" y="3997237"/>
                  <a:pt x="1479463" y="4006809"/>
                  <a:pt x="1481440" y="4006809"/>
                </a:cubicBezTo>
                <a:cubicBezTo>
                  <a:pt x="1487212" y="4006809"/>
                  <a:pt x="1493425" y="4021174"/>
                  <a:pt x="1496501" y="4041629"/>
                </a:cubicBezTo>
                <a:cubicBezTo>
                  <a:pt x="1499066" y="4058676"/>
                  <a:pt x="1498736" y="4059475"/>
                  <a:pt x="1493287" y="4049433"/>
                </a:cubicBezTo>
                <a:cubicBezTo>
                  <a:pt x="1482027" y="4028678"/>
                  <a:pt x="1472986" y="4042419"/>
                  <a:pt x="1472986" y="4080292"/>
                </a:cubicBezTo>
                <a:cubicBezTo>
                  <a:pt x="1472986" y="4117150"/>
                  <a:pt x="1471933" y="4118339"/>
                  <a:pt x="1442104" y="4115143"/>
                </a:cubicBezTo>
                <a:cubicBezTo>
                  <a:pt x="1435256" y="4114409"/>
                  <a:pt x="1426158" y="4120305"/>
                  <a:pt x="1418702" y="4130309"/>
                </a:cubicBezTo>
                <a:lnTo>
                  <a:pt x="1406504" y="4146676"/>
                </a:lnTo>
                <a:lnTo>
                  <a:pt x="1417881" y="4160828"/>
                </a:lnTo>
                <a:cubicBezTo>
                  <a:pt x="1424138" y="4168612"/>
                  <a:pt x="1429257" y="4177765"/>
                  <a:pt x="1429257" y="4181169"/>
                </a:cubicBezTo>
                <a:cubicBezTo>
                  <a:pt x="1429257" y="4184573"/>
                  <a:pt x="1433193" y="4190917"/>
                  <a:pt x="1438003" y="4195266"/>
                </a:cubicBezTo>
                <a:cubicBezTo>
                  <a:pt x="1447662" y="4204000"/>
                  <a:pt x="1449888" y="4222114"/>
                  <a:pt x="1441283" y="4221961"/>
                </a:cubicBezTo>
                <a:cubicBezTo>
                  <a:pt x="1432591" y="4221807"/>
                  <a:pt x="1426304" y="4213680"/>
                  <a:pt x="1422992" y="4198318"/>
                </a:cubicBezTo>
                <a:cubicBezTo>
                  <a:pt x="1421198" y="4189993"/>
                  <a:pt x="1416410" y="4184073"/>
                  <a:pt x="1411471" y="4184073"/>
                </a:cubicBezTo>
                <a:cubicBezTo>
                  <a:pt x="1406287" y="4184073"/>
                  <a:pt x="1403020" y="4179722"/>
                  <a:pt x="1403020" y="4172819"/>
                </a:cubicBezTo>
                <a:cubicBezTo>
                  <a:pt x="1403020" y="4161295"/>
                  <a:pt x="1385964" y="4135643"/>
                  <a:pt x="1380062" y="4138288"/>
                </a:cubicBezTo>
                <a:cubicBezTo>
                  <a:pt x="1378258" y="4139096"/>
                  <a:pt x="1376782" y="4135484"/>
                  <a:pt x="1376782" y="4130261"/>
                </a:cubicBezTo>
                <a:cubicBezTo>
                  <a:pt x="1376782" y="4125038"/>
                  <a:pt x="1373179" y="4120765"/>
                  <a:pt x="1368775" y="4120765"/>
                </a:cubicBezTo>
                <a:cubicBezTo>
                  <a:pt x="1356373" y="4120765"/>
                  <a:pt x="1348483" y="4094119"/>
                  <a:pt x="1354046" y="4071017"/>
                </a:cubicBezTo>
                <a:cubicBezTo>
                  <a:pt x="1357615" y="4056193"/>
                  <a:pt x="1357295" y="4050278"/>
                  <a:pt x="1352620" y="4044661"/>
                </a:cubicBezTo>
                <a:cubicBezTo>
                  <a:pt x="1342683" y="4032721"/>
                  <a:pt x="1331004" y="4040005"/>
                  <a:pt x="1329483" y="4059093"/>
                </a:cubicBezTo>
                <a:cubicBezTo>
                  <a:pt x="1328273" y="4074272"/>
                  <a:pt x="1324663" y="4078966"/>
                  <a:pt x="1315264" y="4077582"/>
                </a:cubicBezTo>
                <a:cubicBezTo>
                  <a:pt x="1310380" y="4076864"/>
                  <a:pt x="1316632" y="4114170"/>
                  <a:pt x="1322597" y="4121336"/>
                </a:cubicBezTo>
                <a:cubicBezTo>
                  <a:pt x="1325942" y="4125357"/>
                  <a:pt x="1328680" y="4133646"/>
                  <a:pt x="1328680" y="4139757"/>
                </a:cubicBezTo>
                <a:cubicBezTo>
                  <a:pt x="1328680" y="4145869"/>
                  <a:pt x="1331631" y="4154415"/>
                  <a:pt x="1335239" y="4158750"/>
                </a:cubicBezTo>
                <a:cubicBezTo>
                  <a:pt x="1338847" y="4163085"/>
                  <a:pt x="1341799" y="4173405"/>
                  <a:pt x="1341799" y="4181683"/>
                </a:cubicBezTo>
                <a:cubicBezTo>
                  <a:pt x="1341799" y="4189961"/>
                  <a:pt x="1343766" y="4196735"/>
                  <a:pt x="1346172" y="4196735"/>
                </a:cubicBezTo>
                <a:cubicBezTo>
                  <a:pt x="1348577" y="4196735"/>
                  <a:pt x="1350544" y="4201008"/>
                  <a:pt x="1350544" y="4206232"/>
                </a:cubicBezTo>
                <a:cubicBezTo>
                  <a:pt x="1350544" y="4211454"/>
                  <a:pt x="1352242" y="4215728"/>
                  <a:pt x="1354316" y="4215728"/>
                </a:cubicBezTo>
                <a:cubicBezTo>
                  <a:pt x="1359967" y="4215728"/>
                  <a:pt x="1364711" y="4286383"/>
                  <a:pt x="1359560" y="4293840"/>
                </a:cubicBezTo>
                <a:cubicBezTo>
                  <a:pt x="1356667" y="4298027"/>
                  <a:pt x="1354165" y="4296068"/>
                  <a:pt x="1352111" y="4288008"/>
                </a:cubicBezTo>
                <a:cubicBezTo>
                  <a:pt x="1350410" y="4281333"/>
                  <a:pt x="1346409" y="4273593"/>
                  <a:pt x="1343221" y="4270808"/>
                </a:cubicBezTo>
                <a:cubicBezTo>
                  <a:pt x="1340034" y="4268023"/>
                  <a:pt x="1337426" y="4260357"/>
                  <a:pt x="1337426" y="4253772"/>
                </a:cubicBezTo>
                <a:cubicBezTo>
                  <a:pt x="1337426" y="4247186"/>
                  <a:pt x="1335458" y="4240037"/>
                  <a:pt x="1333053" y="4237886"/>
                </a:cubicBezTo>
                <a:cubicBezTo>
                  <a:pt x="1330648" y="4235734"/>
                  <a:pt x="1328680" y="4228841"/>
                  <a:pt x="1328680" y="4222568"/>
                </a:cubicBezTo>
                <a:cubicBezTo>
                  <a:pt x="1328680" y="4216296"/>
                  <a:pt x="1323647" y="4200428"/>
                  <a:pt x="1317496" y="4187305"/>
                </a:cubicBezTo>
                <a:cubicBezTo>
                  <a:pt x="1311345" y="4174183"/>
                  <a:pt x="1307348" y="4159541"/>
                  <a:pt x="1308613" y="4154767"/>
                </a:cubicBezTo>
                <a:cubicBezTo>
                  <a:pt x="1309878" y="4149994"/>
                  <a:pt x="1309150" y="4146088"/>
                  <a:pt x="1306994" y="4146088"/>
                </a:cubicBezTo>
                <a:cubicBezTo>
                  <a:pt x="1304839" y="4146088"/>
                  <a:pt x="1299602" y="4134692"/>
                  <a:pt x="1295358" y="4120765"/>
                </a:cubicBezTo>
                <a:cubicBezTo>
                  <a:pt x="1291113" y="4106837"/>
                  <a:pt x="1286051" y="4095441"/>
                  <a:pt x="1284109" y="4095441"/>
                </a:cubicBezTo>
                <a:cubicBezTo>
                  <a:pt x="1282167" y="4095441"/>
                  <a:pt x="1280578" y="4091517"/>
                  <a:pt x="1280578" y="4086720"/>
                </a:cubicBezTo>
                <a:cubicBezTo>
                  <a:pt x="1280578" y="4081923"/>
                  <a:pt x="1277627" y="4074453"/>
                  <a:pt x="1274018" y="4070118"/>
                </a:cubicBezTo>
                <a:cubicBezTo>
                  <a:pt x="1270410" y="4065783"/>
                  <a:pt x="1267425" y="4054751"/>
                  <a:pt x="1267383" y="4045602"/>
                </a:cubicBezTo>
                <a:cubicBezTo>
                  <a:pt x="1267307" y="4028781"/>
                  <a:pt x="1254172" y="4006148"/>
                  <a:pt x="1240129" y="3998638"/>
                </a:cubicBezTo>
                <a:cubicBezTo>
                  <a:pt x="1235919" y="3996387"/>
                  <a:pt x="1232476" y="3988961"/>
                  <a:pt x="1232476" y="3982137"/>
                </a:cubicBezTo>
                <a:cubicBezTo>
                  <a:pt x="1232476" y="3962494"/>
                  <a:pt x="1220354" y="3949831"/>
                  <a:pt x="1201553" y="3949831"/>
                </a:cubicBezTo>
                <a:cubicBezTo>
                  <a:pt x="1183145" y="3949831"/>
                  <a:pt x="1179938" y="3942097"/>
                  <a:pt x="1191004" y="3924394"/>
                </a:cubicBezTo>
                <a:cubicBezTo>
                  <a:pt x="1196019" y="3916371"/>
                  <a:pt x="1196776" y="3907769"/>
                  <a:pt x="1194112" y="3889076"/>
                </a:cubicBezTo>
                <a:cubicBezTo>
                  <a:pt x="1191174" y="3868470"/>
                  <a:pt x="1188620" y="3864032"/>
                  <a:pt x="1178736" y="3862362"/>
                </a:cubicBezTo>
                <a:cubicBezTo>
                  <a:pt x="1167843" y="3860521"/>
                  <a:pt x="1166882" y="3862153"/>
                  <a:pt x="1166882" y="3882485"/>
                </a:cubicBezTo>
                <a:cubicBezTo>
                  <a:pt x="1166882" y="3894654"/>
                  <a:pt x="1169833" y="3908885"/>
                  <a:pt x="1173441" y="3914107"/>
                </a:cubicBezTo>
                <a:cubicBezTo>
                  <a:pt x="1181913" y="3926373"/>
                  <a:pt x="1181753" y="3928302"/>
                  <a:pt x="1170962" y="3943924"/>
                </a:cubicBezTo>
                <a:cubicBezTo>
                  <a:pt x="1163777" y="3954326"/>
                  <a:pt x="1162990" y="3958870"/>
                  <a:pt x="1167124" y="3966082"/>
                </a:cubicBezTo>
                <a:cubicBezTo>
                  <a:pt x="1169985" y="3971072"/>
                  <a:pt x="1175922" y="3975155"/>
                  <a:pt x="1180319" y="3975155"/>
                </a:cubicBezTo>
                <a:cubicBezTo>
                  <a:pt x="1184715" y="3975155"/>
                  <a:pt x="1189885" y="3978721"/>
                  <a:pt x="1191809" y="3983079"/>
                </a:cubicBezTo>
                <a:cubicBezTo>
                  <a:pt x="1193732" y="3987437"/>
                  <a:pt x="1200405" y="3994799"/>
                  <a:pt x="1206636" y="3999437"/>
                </a:cubicBezTo>
                <a:cubicBezTo>
                  <a:pt x="1215472" y="4006015"/>
                  <a:pt x="1218100" y="4012974"/>
                  <a:pt x="1218569" y="4031037"/>
                </a:cubicBezTo>
                <a:cubicBezTo>
                  <a:pt x="1218899" y="4043777"/>
                  <a:pt x="1221215" y="4055188"/>
                  <a:pt x="1223715" y="4056394"/>
                </a:cubicBezTo>
                <a:cubicBezTo>
                  <a:pt x="1226214" y="4057600"/>
                  <a:pt x="1231175" y="4062809"/>
                  <a:pt x="1234740" y="4067970"/>
                </a:cubicBezTo>
                <a:cubicBezTo>
                  <a:pt x="1240530" y="4076353"/>
                  <a:pt x="1241690" y="4084387"/>
                  <a:pt x="1243044" y="4125505"/>
                </a:cubicBezTo>
                <a:cubicBezTo>
                  <a:pt x="1243268" y="4132318"/>
                  <a:pt x="1240234" y="4136578"/>
                  <a:pt x="1235153" y="4136583"/>
                </a:cubicBezTo>
                <a:cubicBezTo>
                  <a:pt x="1223754" y="4136596"/>
                  <a:pt x="1215032" y="4157179"/>
                  <a:pt x="1223274" y="4164622"/>
                </a:cubicBezTo>
                <a:cubicBezTo>
                  <a:pt x="1233075" y="4173473"/>
                  <a:pt x="1225614" y="4192124"/>
                  <a:pt x="1214344" y="4186944"/>
                </a:cubicBezTo>
                <a:cubicBezTo>
                  <a:pt x="1206748" y="4183454"/>
                  <a:pt x="1205459" y="4184665"/>
                  <a:pt x="1207713" y="4193168"/>
                </a:cubicBezTo>
                <a:cubicBezTo>
                  <a:pt x="1209359" y="4199378"/>
                  <a:pt x="1208731" y="4202131"/>
                  <a:pt x="1206188" y="4199856"/>
                </a:cubicBezTo>
                <a:cubicBezTo>
                  <a:pt x="1203811" y="4197729"/>
                  <a:pt x="1201865" y="4200711"/>
                  <a:pt x="1201865" y="4206484"/>
                </a:cubicBezTo>
                <a:cubicBezTo>
                  <a:pt x="1201865" y="4219051"/>
                  <a:pt x="1226414" y="4253713"/>
                  <a:pt x="1235316" y="4253713"/>
                </a:cubicBezTo>
                <a:cubicBezTo>
                  <a:pt x="1238775" y="4253713"/>
                  <a:pt x="1241285" y="4257274"/>
                  <a:pt x="1240895" y="4261626"/>
                </a:cubicBezTo>
                <a:cubicBezTo>
                  <a:pt x="1239252" y="4279944"/>
                  <a:pt x="1241824" y="4285367"/>
                  <a:pt x="1252153" y="4285367"/>
                </a:cubicBezTo>
                <a:cubicBezTo>
                  <a:pt x="1259084" y="4285367"/>
                  <a:pt x="1263086" y="4288938"/>
                  <a:pt x="1263086" y="4295120"/>
                </a:cubicBezTo>
                <a:cubicBezTo>
                  <a:pt x="1263086" y="4302596"/>
                  <a:pt x="1258748" y="4304541"/>
                  <a:pt x="1244501" y="4303451"/>
                </a:cubicBezTo>
                <a:cubicBezTo>
                  <a:pt x="1223712" y="4301861"/>
                  <a:pt x="1210611" y="4292883"/>
                  <a:pt x="1210611" y="4280227"/>
                </a:cubicBezTo>
                <a:cubicBezTo>
                  <a:pt x="1210611" y="4275593"/>
                  <a:pt x="1207641" y="4267502"/>
                  <a:pt x="1204011" y="4262246"/>
                </a:cubicBezTo>
                <a:cubicBezTo>
                  <a:pt x="1200382" y="4256991"/>
                  <a:pt x="1198357" y="4250477"/>
                  <a:pt x="1199513" y="4247770"/>
                </a:cubicBezTo>
                <a:cubicBezTo>
                  <a:pt x="1200669" y="4245063"/>
                  <a:pt x="1192991" y="4229251"/>
                  <a:pt x="1182452" y="4212632"/>
                </a:cubicBezTo>
                <a:cubicBezTo>
                  <a:pt x="1165571" y="4186013"/>
                  <a:pt x="1161818" y="4182951"/>
                  <a:pt x="1150918" y="4186912"/>
                </a:cubicBezTo>
                <a:cubicBezTo>
                  <a:pt x="1144113" y="4189385"/>
                  <a:pt x="1137080" y="4194744"/>
                  <a:pt x="1135289" y="4198820"/>
                </a:cubicBezTo>
                <a:cubicBezTo>
                  <a:pt x="1129071" y="4212971"/>
                  <a:pt x="1131844" y="4240278"/>
                  <a:pt x="1140378" y="4248933"/>
                </a:cubicBezTo>
                <a:cubicBezTo>
                  <a:pt x="1145042" y="4253662"/>
                  <a:pt x="1149578" y="4265309"/>
                  <a:pt x="1150457" y="4274815"/>
                </a:cubicBezTo>
                <a:cubicBezTo>
                  <a:pt x="1151337" y="4284321"/>
                  <a:pt x="1155392" y="4297739"/>
                  <a:pt x="1159469" y="4304632"/>
                </a:cubicBezTo>
                <a:cubicBezTo>
                  <a:pt x="1163546" y="4311526"/>
                  <a:pt x="1166882" y="4321153"/>
                  <a:pt x="1166882" y="4326027"/>
                </a:cubicBezTo>
                <a:cubicBezTo>
                  <a:pt x="1166882" y="4330901"/>
                  <a:pt x="1172786" y="4342080"/>
                  <a:pt x="1180000" y="4350870"/>
                </a:cubicBezTo>
                <a:cubicBezTo>
                  <a:pt x="1187216" y="4359659"/>
                  <a:pt x="1193119" y="4369015"/>
                  <a:pt x="1193119" y="4371661"/>
                </a:cubicBezTo>
                <a:cubicBezTo>
                  <a:pt x="1193119" y="4374307"/>
                  <a:pt x="1198254" y="4384231"/>
                  <a:pt x="1204529" y="4393713"/>
                </a:cubicBezTo>
                <a:cubicBezTo>
                  <a:pt x="1215886" y="4410876"/>
                  <a:pt x="1215312" y="4428613"/>
                  <a:pt x="1203609" y="4422111"/>
                </a:cubicBezTo>
                <a:cubicBezTo>
                  <a:pt x="1200245" y="4420242"/>
                  <a:pt x="1197492" y="4421472"/>
                  <a:pt x="1197492" y="4424845"/>
                </a:cubicBezTo>
                <a:cubicBezTo>
                  <a:pt x="1197492" y="4432023"/>
                  <a:pt x="1181420" y="4433200"/>
                  <a:pt x="1178586" y="4426228"/>
                </a:cubicBezTo>
                <a:cubicBezTo>
                  <a:pt x="1177525" y="4423618"/>
                  <a:pt x="1175285" y="4412222"/>
                  <a:pt x="1173608" y="4400905"/>
                </a:cubicBezTo>
                <a:cubicBezTo>
                  <a:pt x="1171931" y="4389589"/>
                  <a:pt x="1169196" y="4380330"/>
                  <a:pt x="1167529" y="4380330"/>
                </a:cubicBezTo>
                <a:cubicBezTo>
                  <a:pt x="1165862" y="4380330"/>
                  <a:pt x="1160820" y="4370440"/>
                  <a:pt x="1156323" y="4358354"/>
                </a:cubicBezTo>
                <a:cubicBezTo>
                  <a:pt x="1151827" y="4346267"/>
                  <a:pt x="1146459" y="4337888"/>
                  <a:pt x="1144396" y="4339735"/>
                </a:cubicBezTo>
                <a:cubicBezTo>
                  <a:pt x="1142333" y="4341581"/>
                  <a:pt x="1140644" y="4340248"/>
                  <a:pt x="1140644" y="4336772"/>
                </a:cubicBezTo>
                <a:cubicBezTo>
                  <a:pt x="1140644" y="4333295"/>
                  <a:pt x="1132281" y="4330990"/>
                  <a:pt x="1122060" y="4331650"/>
                </a:cubicBezTo>
                <a:cubicBezTo>
                  <a:pt x="1108087" y="4332551"/>
                  <a:pt x="1103474" y="4330492"/>
                  <a:pt x="1103474" y="4323352"/>
                </a:cubicBezTo>
                <a:cubicBezTo>
                  <a:pt x="1103474" y="4317790"/>
                  <a:pt x="1108272" y="4313052"/>
                  <a:pt x="1115054" y="4311915"/>
                </a:cubicBezTo>
                <a:cubicBezTo>
                  <a:pt x="1128371" y="4309683"/>
                  <a:pt x="1134241" y="4289732"/>
                  <a:pt x="1124887" y="4278494"/>
                </a:cubicBezTo>
                <a:cubicBezTo>
                  <a:pt x="1121528" y="4274458"/>
                  <a:pt x="1118779" y="4267231"/>
                  <a:pt x="1118779" y="4262434"/>
                </a:cubicBezTo>
                <a:cubicBezTo>
                  <a:pt x="1118779" y="4257638"/>
                  <a:pt x="1116812" y="4253713"/>
                  <a:pt x="1114407" y="4253713"/>
                </a:cubicBezTo>
                <a:cubicBezTo>
                  <a:pt x="1112001" y="4253713"/>
                  <a:pt x="1110034" y="4249745"/>
                  <a:pt x="1110034" y="4244894"/>
                </a:cubicBezTo>
                <a:cubicBezTo>
                  <a:pt x="1110034" y="4240043"/>
                  <a:pt x="1106980" y="4234379"/>
                  <a:pt x="1103247" y="4232305"/>
                </a:cubicBezTo>
                <a:cubicBezTo>
                  <a:pt x="1098848" y="4229860"/>
                  <a:pt x="1097550" y="4231086"/>
                  <a:pt x="1099558" y="4235790"/>
                </a:cubicBezTo>
                <a:cubicBezTo>
                  <a:pt x="1101683" y="4240769"/>
                  <a:pt x="1099562" y="4241874"/>
                  <a:pt x="1092793" y="4239312"/>
                </a:cubicBezTo>
                <a:cubicBezTo>
                  <a:pt x="1084258" y="4236081"/>
                  <a:pt x="1083326" y="4237437"/>
                  <a:pt x="1085867" y="4249394"/>
                </a:cubicBezTo>
                <a:cubicBezTo>
                  <a:pt x="1089276" y="4265439"/>
                  <a:pt x="1089254" y="4268861"/>
                  <a:pt x="1085559" y="4296446"/>
                </a:cubicBezTo>
                <a:cubicBezTo>
                  <a:pt x="1084044" y="4307763"/>
                  <a:pt x="1081284" y="4317021"/>
                  <a:pt x="1079427" y="4317021"/>
                </a:cubicBezTo>
                <a:cubicBezTo>
                  <a:pt x="1066480" y="4317021"/>
                  <a:pt x="1026948" y="4271870"/>
                  <a:pt x="1026948" y="4257083"/>
                </a:cubicBezTo>
                <a:cubicBezTo>
                  <a:pt x="1026948" y="4251523"/>
                  <a:pt x="1023504" y="4244929"/>
                  <a:pt x="1019295" y="4242429"/>
                </a:cubicBezTo>
                <a:cubicBezTo>
                  <a:pt x="1015087" y="4239930"/>
                  <a:pt x="1011367" y="4235037"/>
                  <a:pt x="1011029" y="4231555"/>
                </a:cubicBezTo>
                <a:cubicBezTo>
                  <a:pt x="1010691" y="4228073"/>
                  <a:pt x="1009059" y="4215966"/>
                  <a:pt x="1007402" y="4204648"/>
                </a:cubicBezTo>
                <a:cubicBezTo>
                  <a:pt x="1005630" y="4192550"/>
                  <a:pt x="1006141" y="4184073"/>
                  <a:pt x="1008641" y="4184073"/>
                </a:cubicBezTo>
                <a:cubicBezTo>
                  <a:pt x="1017991" y="4184073"/>
                  <a:pt x="1017850" y="4163144"/>
                  <a:pt x="1008391" y="4147050"/>
                </a:cubicBezTo>
                <a:cubicBezTo>
                  <a:pt x="1001455" y="4135249"/>
                  <a:pt x="995116" y="4130833"/>
                  <a:pt x="987053" y="4132187"/>
                </a:cubicBezTo>
                <a:cubicBezTo>
                  <a:pt x="976259" y="4133999"/>
                  <a:pt x="975609" y="4132580"/>
                  <a:pt x="976052" y="4108153"/>
                </a:cubicBezTo>
                <a:cubicBezTo>
                  <a:pt x="976310" y="4093877"/>
                  <a:pt x="974249" y="4080161"/>
                  <a:pt x="971471" y="4077676"/>
                </a:cubicBezTo>
                <a:cubicBezTo>
                  <a:pt x="968693" y="4075190"/>
                  <a:pt x="965067" y="4065351"/>
                  <a:pt x="963413" y="4055810"/>
                </a:cubicBezTo>
                <a:cubicBezTo>
                  <a:pt x="961760" y="4046270"/>
                  <a:pt x="959132" y="4038463"/>
                  <a:pt x="957575" y="4038463"/>
                </a:cubicBezTo>
                <a:cubicBezTo>
                  <a:pt x="956018" y="4038463"/>
                  <a:pt x="952070" y="4029721"/>
                  <a:pt x="948803" y="4019035"/>
                </a:cubicBezTo>
                <a:cubicBezTo>
                  <a:pt x="945536" y="4008350"/>
                  <a:pt x="938168" y="3992810"/>
                  <a:pt x="932430" y="3984503"/>
                </a:cubicBezTo>
                <a:cubicBezTo>
                  <a:pt x="926693" y="3976196"/>
                  <a:pt x="922028" y="3965709"/>
                  <a:pt x="922065" y="3961198"/>
                </a:cubicBezTo>
                <a:cubicBezTo>
                  <a:pt x="922113" y="3955348"/>
                  <a:pt x="923347" y="3955719"/>
                  <a:pt x="926371" y="3962493"/>
                </a:cubicBezTo>
                <a:cubicBezTo>
                  <a:pt x="928702" y="3967716"/>
                  <a:pt x="930640" y="3968777"/>
                  <a:pt x="930677" y="3964851"/>
                </a:cubicBezTo>
                <a:cubicBezTo>
                  <a:pt x="930712" y="3960925"/>
                  <a:pt x="927792" y="3954166"/>
                  <a:pt x="924185" y="3949831"/>
                </a:cubicBezTo>
                <a:cubicBezTo>
                  <a:pt x="920577" y="3945497"/>
                  <a:pt x="917625" y="3937043"/>
                  <a:pt x="917625" y="3931045"/>
                </a:cubicBezTo>
                <a:cubicBezTo>
                  <a:pt x="917625" y="3925047"/>
                  <a:pt x="913690" y="3914983"/>
                  <a:pt x="908879" y="3908681"/>
                </a:cubicBezTo>
                <a:cubicBezTo>
                  <a:pt x="903383" y="3901480"/>
                  <a:pt x="900133" y="3889182"/>
                  <a:pt x="900133" y="3875582"/>
                </a:cubicBezTo>
                <a:cubicBezTo>
                  <a:pt x="900133" y="3858345"/>
                  <a:pt x="896574" y="3849317"/>
                  <a:pt x="882642" y="3831209"/>
                </a:cubicBezTo>
                <a:cubicBezTo>
                  <a:pt x="868169" y="3812400"/>
                  <a:pt x="865150" y="3804400"/>
                  <a:pt x="865150" y="3784868"/>
                </a:cubicBezTo>
                <a:cubicBezTo>
                  <a:pt x="865150" y="3769724"/>
                  <a:pt x="862798" y="3759954"/>
                  <a:pt x="858591" y="3757617"/>
                </a:cubicBezTo>
                <a:cubicBezTo>
                  <a:pt x="853801" y="3754956"/>
                  <a:pt x="852031" y="3744046"/>
                  <a:pt x="852031" y="3717196"/>
                </a:cubicBezTo>
                <a:cubicBezTo>
                  <a:pt x="852031" y="3688253"/>
                  <a:pt x="850168" y="3678109"/>
                  <a:pt x="843285" y="3669577"/>
                </a:cubicBezTo>
                <a:cubicBezTo>
                  <a:pt x="838475" y="3663615"/>
                  <a:pt x="834539" y="3654266"/>
                  <a:pt x="834539" y="3648804"/>
                </a:cubicBezTo>
                <a:cubicBezTo>
                  <a:pt x="834539" y="3643341"/>
                  <a:pt x="832856" y="3640378"/>
                  <a:pt x="830798" y="3642220"/>
                </a:cubicBezTo>
                <a:cubicBezTo>
                  <a:pt x="828740" y="3644061"/>
                  <a:pt x="827979" y="3638584"/>
                  <a:pt x="829106" y="3630048"/>
                </a:cubicBezTo>
                <a:cubicBezTo>
                  <a:pt x="834347" y="3590360"/>
                  <a:pt x="815210" y="3564788"/>
                  <a:pt x="803657" y="3596041"/>
                </a:cubicBezTo>
                <a:cubicBezTo>
                  <a:pt x="798876" y="3608974"/>
                  <a:pt x="797959" y="3608378"/>
                  <a:pt x="777265" y="3578868"/>
                </a:cubicBezTo>
                <a:cubicBezTo>
                  <a:pt x="765474" y="3562055"/>
                  <a:pt x="755827" y="3544630"/>
                  <a:pt x="755827" y="3540146"/>
                </a:cubicBezTo>
                <a:cubicBezTo>
                  <a:pt x="755827" y="3535663"/>
                  <a:pt x="753859" y="3531995"/>
                  <a:pt x="751454" y="3531995"/>
                </a:cubicBezTo>
                <a:cubicBezTo>
                  <a:pt x="749049" y="3531995"/>
                  <a:pt x="747081" y="3524872"/>
                  <a:pt x="747081" y="3516168"/>
                </a:cubicBezTo>
                <a:cubicBezTo>
                  <a:pt x="747081" y="3497574"/>
                  <a:pt x="748340" y="3497095"/>
                  <a:pt x="762326" y="3510362"/>
                </a:cubicBezTo>
                <a:cubicBezTo>
                  <a:pt x="778495" y="3525700"/>
                  <a:pt x="791643" y="3516911"/>
                  <a:pt x="789966" y="3491886"/>
                </a:cubicBezTo>
                <a:cubicBezTo>
                  <a:pt x="788864" y="3475439"/>
                  <a:pt x="786080" y="3470767"/>
                  <a:pt x="774412" y="3465794"/>
                </a:cubicBezTo>
                <a:cubicBezTo>
                  <a:pt x="763726" y="3461240"/>
                  <a:pt x="760200" y="3456135"/>
                  <a:pt x="760200" y="3445219"/>
                </a:cubicBezTo>
                <a:cubicBezTo>
                  <a:pt x="760200" y="3437234"/>
                  <a:pt x="762819" y="3430701"/>
                  <a:pt x="766020" y="3430701"/>
                </a:cubicBezTo>
                <a:cubicBezTo>
                  <a:pt x="769221" y="3430701"/>
                  <a:pt x="774526" y="3423437"/>
                  <a:pt x="777808" y="3414557"/>
                </a:cubicBezTo>
                <a:cubicBezTo>
                  <a:pt x="783331" y="3399618"/>
                  <a:pt x="782853" y="3397265"/>
                  <a:pt x="771392" y="3383009"/>
                </a:cubicBezTo>
                <a:cubicBezTo>
                  <a:pt x="761301" y="3370454"/>
                  <a:pt x="759990" y="3365890"/>
                  <a:pt x="764313" y="3358350"/>
                </a:cubicBezTo>
                <a:cubicBezTo>
                  <a:pt x="767230" y="3353261"/>
                  <a:pt x="768974" y="3342530"/>
                  <a:pt x="768188" y="3334504"/>
                </a:cubicBezTo>
                <a:cubicBezTo>
                  <a:pt x="766066" y="3312831"/>
                  <a:pt x="745481" y="3313854"/>
                  <a:pt x="743360" y="3335738"/>
                </a:cubicBezTo>
                <a:cubicBezTo>
                  <a:pt x="741520" y="3354721"/>
                  <a:pt x="735798" y="3360835"/>
                  <a:pt x="719750" y="3360965"/>
                </a:cubicBezTo>
                <a:cubicBezTo>
                  <a:pt x="709951" y="3361044"/>
                  <a:pt x="707725" y="3363908"/>
                  <a:pt x="707725" y="3376437"/>
                </a:cubicBezTo>
                <a:cubicBezTo>
                  <a:pt x="707725" y="3393857"/>
                  <a:pt x="718119" y="3411709"/>
                  <a:pt x="728262" y="3411709"/>
                </a:cubicBezTo>
                <a:cubicBezTo>
                  <a:pt x="733538" y="3411709"/>
                  <a:pt x="734445" y="3416127"/>
                  <a:pt x="732322" y="3431493"/>
                </a:cubicBezTo>
                <a:cubicBezTo>
                  <a:pt x="730819" y="3442374"/>
                  <a:pt x="729589" y="3453769"/>
                  <a:pt x="729589" y="3456816"/>
                </a:cubicBezTo>
                <a:cubicBezTo>
                  <a:pt x="729589" y="3459863"/>
                  <a:pt x="725810" y="3462355"/>
                  <a:pt x="721191" y="3462355"/>
                </a:cubicBezTo>
                <a:cubicBezTo>
                  <a:pt x="715415" y="3462355"/>
                  <a:pt x="711893" y="3456425"/>
                  <a:pt x="709911" y="3443363"/>
                </a:cubicBezTo>
                <a:cubicBezTo>
                  <a:pt x="708327" y="3432917"/>
                  <a:pt x="705432" y="3424370"/>
                  <a:pt x="703479" y="3424370"/>
                </a:cubicBezTo>
                <a:cubicBezTo>
                  <a:pt x="701525" y="3424370"/>
                  <a:pt x="698777" y="3417736"/>
                  <a:pt x="697371" y="3409629"/>
                </a:cubicBezTo>
                <a:cubicBezTo>
                  <a:pt x="694864" y="3395169"/>
                  <a:pt x="674734" y="3376173"/>
                  <a:pt x="671316" y="3385041"/>
                </a:cubicBezTo>
                <a:cubicBezTo>
                  <a:pt x="666955" y="3396354"/>
                  <a:pt x="664197" y="3424370"/>
                  <a:pt x="667444" y="3424370"/>
                </a:cubicBezTo>
                <a:cubicBezTo>
                  <a:pt x="669431" y="3424370"/>
                  <a:pt x="674531" y="3435766"/>
                  <a:pt x="678776" y="3449694"/>
                </a:cubicBezTo>
                <a:cubicBezTo>
                  <a:pt x="683020" y="3463622"/>
                  <a:pt x="688092" y="3475017"/>
                  <a:pt x="690046" y="3475017"/>
                </a:cubicBezTo>
                <a:cubicBezTo>
                  <a:pt x="691999" y="3475017"/>
                  <a:pt x="694933" y="3490487"/>
                  <a:pt x="696565" y="3509394"/>
                </a:cubicBezTo>
                <a:cubicBezTo>
                  <a:pt x="698196" y="3528301"/>
                  <a:pt x="702359" y="3547168"/>
                  <a:pt x="705815" y="3551320"/>
                </a:cubicBezTo>
                <a:cubicBezTo>
                  <a:pt x="716194" y="3563791"/>
                  <a:pt x="713062" y="3571842"/>
                  <a:pt x="699374" y="3567879"/>
                </a:cubicBezTo>
                <a:cubicBezTo>
                  <a:pt x="690482" y="3565304"/>
                  <a:pt x="685915" y="3566972"/>
                  <a:pt x="684206" y="3573418"/>
                </a:cubicBezTo>
                <a:cubicBezTo>
                  <a:pt x="682862" y="3578492"/>
                  <a:pt x="676913" y="3582642"/>
                  <a:pt x="670986" y="3582642"/>
                </a:cubicBezTo>
                <a:cubicBezTo>
                  <a:pt x="655359" y="3582642"/>
                  <a:pt x="651685" y="3560461"/>
                  <a:pt x="664136" y="3541275"/>
                </a:cubicBezTo>
                <a:cubicBezTo>
                  <a:pt x="669477" y="3533043"/>
                  <a:pt x="672781" y="3522286"/>
                  <a:pt x="671478" y="3517368"/>
                </a:cubicBezTo>
                <a:cubicBezTo>
                  <a:pt x="668773" y="3507163"/>
                  <a:pt x="650877" y="3498485"/>
                  <a:pt x="650877" y="3507379"/>
                </a:cubicBezTo>
                <a:cubicBezTo>
                  <a:pt x="650877" y="3510598"/>
                  <a:pt x="642514" y="3512469"/>
                  <a:pt x="632292" y="3511535"/>
                </a:cubicBezTo>
                <a:cubicBezTo>
                  <a:pt x="615743" y="3510023"/>
                  <a:pt x="613548" y="3511455"/>
                  <a:pt x="612262" y="3524603"/>
                </a:cubicBezTo>
                <a:cubicBezTo>
                  <a:pt x="611467" y="3532725"/>
                  <a:pt x="613547" y="3544121"/>
                  <a:pt x="616883" y="3549927"/>
                </a:cubicBezTo>
                <a:cubicBezTo>
                  <a:pt x="641170" y="3592201"/>
                  <a:pt x="630436" y="3620939"/>
                  <a:pt x="604596" y="3582818"/>
                </a:cubicBezTo>
                <a:cubicBezTo>
                  <a:pt x="596294" y="3570568"/>
                  <a:pt x="587264" y="3563869"/>
                  <a:pt x="578723" y="3563624"/>
                </a:cubicBezTo>
                <a:cubicBezTo>
                  <a:pt x="557396" y="3563010"/>
                  <a:pt x="550299" y="3550762"/>
                  <a:pt x="550299" y="3514565"/>
                </a:cubicBezTo>
                <a:cubicBezTo>
                  <a:pt x="550299" y="3492083"/>
                  <a:pt x="548369" y="3481630"/>
                  <a:pt x="543740" y="3479059"/>
                </a:cubicBezTo>
                <a:cubicBezTo>
                  <a:pt x="540132" y="3477054"/>
                  <a:pt x="537180" y="3468203"/>
                  <a:pt x="537180" y="3459388"/>
                </a:cubicBezTo>
                <a:cubicBezTo>
                  <a:pt x="537180" y="3450575"/>
                  <a:pt x="535213" y="3443363"/>
                  <a:pt x="532807" y="3443363"/>
                </a:cubicBezTo>
                <a:cubicBezTo>
                  <a:pt x="530402" y="3443363"/>
                  <a:pt x="528435" y="3438313"/>
                  <a:pt x="528435" y="3432141"/>
                </a:cubicBezTo>
                <a:cubicBezTo>
                  <a:pt x="528435" y="3425969"/>
                  <a:pt x="520563" y="3411076"/>
                  <a:pt x="510943" y="3399047"/>
                </a:cubicBezTo>
                <a:cubicBezTo>
                  <a:pt x="501322" y="3387017"/>
                  <a:pt x="493451" y="3372475"/>
                  <a:pt x="493451" y="3366729"/>
                </a:cubicBezTo>
                <a:cubicBezTo>
                  <a:pt x="493451" y="3360983"/>
                  <a:pt x="490540" y="3352784"/>
                  <a:pt x="486983" y="3348509"/>
                </a:cubicBezTo>
                <a:cubicBezTo>
                  <a:pt x="478571" y="3338403"/>
                  <a:pt x="467214" y="3305262"/>
                  <a:pt x="467214" y="3290823"/>
                </a:cubicBezTo>
                <a:cubicBezTo>
                  <a:pt x="467214" y="3284600"/>
                  <a:pt x="465214" y="3277718"/>
                  <a:pt x="462770" y="3275532"/>
                </a:cubicBezTo>
                <a:cubicBezTo>
                  <a:pt x="460325" y="3273344"/>
                  <a:pt x="459294" y="3269284"/>
                  <a:pt x="460480" y="3266508"/>
                </a:cubicBezTo>
                <a:cubicBezTo>
                  <a:pt x="461665" y="3263732"/>
                  <a:pt x="458715" y="3256326"/>
                  <a:pt x="453925" y="3250050"/>
                </a:cubicBezTo>
                <a:cubicBezTo>
                  <a:pt x="449136" y="3243774"/>
                  <a:pt x="443990" y="3227531"/>
                  <a:pt x="442490" y="3213955"/>
                </a:cubicBezTo>
                <a:cubicBezTo>
                  <a:pt x="440714" y="3197875"/>
                  <a:pt x="436164" y="3185855"/>
                  <a:pt x="429437" y="3179475"/>
                </a:cubicBezTo>
                <a:cubicBezTo>
                  <a:pt x="420386" y="3170889"/>
                  <a:pt x="419111" y="3164737"/>
                  <a:pt x="419111" y="3129631"/>
                </a:cubicBezTo>
                <a:cubicBezTo>
                  <a:pt x="419111" y="3107604"/>
                  <a:pt x="417144" y="3087821"/>
                  <a:pt x="414739" y="3085670"/>
                </a:cubicBezTo>
                <a:cubicBezTo>
                  <a:pt x="408725" y="3080289"/>
                  <a:pt x="409222" y="3058788"/>
                  <a:pt x="415429" y="3055792"/>
                </a:cubicBezTo>
                <a:cubicBezTo>
                  <a:pt x="426207" y="3050591"/>
                  <a:pt x="414493" y="3021857"/>
                  <a:pt x="393008" y="3000795"/>
                </a:cubicBezTo>
                <a:cubicBezTo>
                  <a:pt x="371303" y="2979517"/>
                  <a:pt x="371009" y="2978788"/>
                  <a:pt x="371009" y="2946175"/>
                </a:cubicBezTo>
                <a:cubicBezTo>
                  <a:pt x="371009" y="2924518"/>
                  <a:pt x="368748" y="2910404"/>
                  <a:pt x="364450" y="2905240"/>
                </a:cubicBezTo>
                <a:cubicBezTo>
                  <a:pt x="360842" y="2900905"/>
                  <a:pt x="357891" y="2889161"/>
                  <a:pt x="357891" y="2879142"/>
                </a:cubicBezTo>
                <a:cubicBezTo>
                  <a:pt x="357891" y="2869122"/>
                  <a:pt x="355792" y="2860924"/>
                  <a:pt x="353227" y="2860924"/>
                </a:cubicBezTo>
                <a:cubicBezTo>
                  <a:pt x="350663" y="2860924"/>
                  <a:pt x="349186" y="2853090"/>
                  <a:pt x="349948" y="2843514"/>
                </a:cubicBezTo>
                <a:cubicBezTo>
                  <a:pt x="350917" y="2831312"/>
                  <a:pt x="348082" y="2821877"/>
                  <a:pt x="340471" y="2811971"/>
                </a:cubicBezTo>
                <a:cubicBezTo>
                  <a:pt x="331901" y="2800818"/>
                  <a:pt x="329719" y="2792140"/>
                  <a:pt x="330125" y="2770820"/>
                </a:cubicBezTo>
                <a:cubicBezTo>
                  <a:pt x="330408" y="2755961"/>
                  <a:pt x="329391" y="2742379"/>
                  <a:pt x="327866" y="2740638"/>
                </a:cubicBezTo>
                <a:cubicBezTo>
                  <a:pt x="321736" y="2733639"/>
                  <a:pt x="305415" y="2675988"/>
                  <a:pt x="305415" y="2661333"/>
                </a:cubicBezTo>
                <a:cubicBezTo>
                  <a:pt x="305415" y="2652721"/>
                  <a:pt x="303448" y="2645675"/>
                  <a:pt x="301042" y="2645675"/>
                </a:cubicBezTo>
                <a:cubicBezTo>
                  <a:pt x="298637" y="2645675"/>
                  <a:pt x="296670" y="2630543"/>
                  <a:pt x="296670" y="2612049"/>
                </a:cubicBezTo>
                <a:cubicBezTo>
                  <a:pt x="296670" y="2585923"/>
                  <a:pt x="294475" y="2575017"/>
                  <a:pt x="286831" y="2563152"/>
                </a:cubicBezTo>
                <a:cubicBezTo>
                  <a:pt x="281419" y="2554752"/>
                  <a:pt x="276629" y="2543532"/>
                  <a:pt x="276187" y="2538217"/>
                </a:cubicBezTo>
                <a:cubicBezTo>
                  <a:pt x="271291" y="2479416"/>
                  <a:pt x="268063" y="2457746"/>
                  <a:pt x="263140" y="2450618"/>
                </a:cubicBezTo>
                <a:cubicBezTo>
                  <a:pt x="259935" y="2445979"/>
                  <a:pt x="257313" y="2438113"/>
                  <a:pt x="257313" y="2433139"/>
                </a:cubicBezTo>
                <a:cubicBezTo>
                  <a:pt x="257313" y="2428164"/>
                  <a:pt x="255346" y="2424095"/>
                  <a:pt x="252940" y="2424095"/>
                </a:cubicBezTo>
                <a:cubicBezTo>
                  <a:pt x="250535" y="2424095"/>
                  <a:pt x="248567" y="2411275"/>
                  <a:pt x="248567" y="2395606"/>
                </a:cubicBezTo>
                <a:cubicBezTo>
                  <a:pt x="248567" y="2378998"/>
                  <a:pt x="246549" y="2367117"/>
                  <a:pt x="243727" y="2367117"/>
                </a:cubicBezTo>
                <a:cubicBezTo>
                  <a:pt x="241064" y="2367117"/>
                  <a:pt x="239948" y="2363111"/>
                  <a:pt x="241245" y="2358215"/>
                </a:cubicBezTo>
                <a:cubicBezTo>
                  <a:pt x="242543" y="2353320"/>
                  <a:pt x="239802" y="2344332"/>
                  <a:pt x="235154" y="2338242"/>
                </a:cubicBezTo>
                <a:cubicBezTo>
                  <a:pt x="230238" y="2331802"/>
                  <a:pt x="226703" y="2318900"/>
                  <a:pt x="226703" y="2307402"/>
                </a:cubicBezTo>
                <a:cubicBezTo>
                  <a:pt x="226703" y="2296529"/>
                  <a:pt x="223914" y="2281868"/>
                  <a:pt x="220505" y="2274822"/>
                </a:cubicBezTo>
                <a:cubicBezTo>
                  <a:pt x="217096" y="2267776"/>
                  <a:pt x="212969" y="2250762"/>
                  <a:pt x="211334" y="2237011"/>
                </a:cubicBezTo>
                <a:cubicBezTo>
                  <a:pt x="207643" y="2205980"/>
                  <a:pt x="199565" y="2177191"/>
                  <a:pt x="194546" y="2177191"/>
                </a:cubicBezTo>
                <a:cubicBezTo>
                  <a:pt x="192465" y="2177191"/>
                  <a:pt x="191567" y="2167220"/>
                  <a:pt x="192550" y="2155033"/>
                </a:cubicBezTo>
                <a:cubicBezTo>
                  <a:pt x="193532" y="2142846"/>
                  <a:pt x="192764" y="2132875"/>
                  <a:pt x="190841" y="2132875"/>
                </a:cubicBezTo>
                <a:cubicBezTo>
                  <a:pt x="188919" y="2132875"/>
                  <a:pt x="187346" y="2127178"/>
                  <a:pt x="187346" y="2120214"/>
                </a:cubicBezTo>
                <a:cubicBezTo>
                  <a:pt x="187346" y="2113250"/>
                  <a:pt x="185468" y="2107552"/>
                  <a:pt x="183172" y="2107552"/>
                </a:cubicBezTo>
                <a:cubicBezTo>
                  <a:pt x="180875" y="2107552"/>
                  <a:pt x="177705" y="2097581"/>
                  <a:pt x="176125" y="2085394"/>
                </a:cubicBezTo>
                <a:cubicBezTo>
                  <a:pt x="174546" y="2073207"/>
                  <a:pt x="171506" y="2063236"/>
                  <a:pt x="169368" y="2063236"/>
                </a:cubicBezTo>
                <a:cubicBezTo>
                  <a:pt x="167231" y="2063236"/>
                  <a:pt x="165482" y="2057449"/>
                  <a:pt x="165482" y="2050375"/>
                </a:cubicBezTo>
                <a:cubicBezTo>
                  <a:pt x="165482" y="2043302"/>
                  <a:pt x="162530" y="2035875"/>
                  <a:pt x="158923" y="2033872"/>
                </a:cubicBezTo>
                <a:cubicBezTo>
                  <a:pt x="155295" y="2031855"/>
                  <a:pt x="152363" y="2022455"/>
                  <a:pt x="152363" y="2012836"/>
                </a:cubicBezTo>
                <a:cubicBezTo>
                  <a:pt x="152363" y="1991912"/>
                  <a:pt x="134460" y="1961942"/>
                  <a:pt x="121961" y="1961942"/>
                </a:cubicBezTo>
                <a:cubicBezTo>
                  <a:pt x="117036" y="1961942"/>
                  <a:pt x="113007" y="1957906"/>
                  <a:pt x="113007" y="1952973"/>
                </a:cubicBezTo>
                <a:cubicBezTo>
                  <a:pt x="113007" y="1948041"/>
                  <a:pt x="110685" y="1942885"/>
                  <a:pt x="107847" y="1941515"/>
                </a:cubicBezTo>
                <a:cubicBezTo>
                  <a:pt x="105009" y="1940146"/>
                  <a:pt x="103936" y="1934314"/>
                  <a:pt x="105462" y="1928555"/>
                </a:cubicBezTo>
                <a:cubicBezTo>
                  <a:pt x="107799" y="1919740"/>
                  <a:pt x="110403" y="1919178"/>
                  <a:pt x="121932" y="1924997"/>
                </a:cubicBezTo>
                <a:cubicBezTo>
                  <a:pt x="133186" y="1930676"/>
                  <a:pt x="136908" y="1930053"/>
                  <a:pt x="142816" y="1921499"/>
                </a:cubicBezTo>
                <a:cubicBezTo>
                  <a:pt x="148733" y="1912932"/>
                  <a:pt x="149053" y="1908883"/>
                  <a:pt x="144625" y="1898617"/>
                </a:cubicBezTo>
                <a:cubicBezTo>
                  <a:pt x="141666" y="1891757"/>
                  <a:pt x="139244" y="1879553"/>
                  <a:pt x="139244" y="1871497"/>
                </a:cubicBezTo>
                <a:cubicBezTo>
                  <a:pt x="139244" y="1863442"/>
                  <a:pt x="137428" y="1854144"/>
                  <a:pt x="135208" y="1850836"/>
                </a:cubicBezTo>
                <a:cubicBezTo>
                  <a:pt x="132989" y="1847528"/>
                  <a:pt x="129144" y="1817757"/>
                  <a:pt x="126665" y="1784678"/>
                </a:cubicBezTo>
                <a:cubicBezTo>
                  <a:pt x="122307" y="1726528"/>
                  <a:pt x="113812" y="1670914"/>
                  <a:pt x="108293" y="1664392"/>
                </a:cubicBezTo>
                <a:cubicBezTo>
                  <a:pt x="106819" y="1662651"/>
                  <a:pt x="104420" y="1650289"/>
                  <a:pt x="102962" y="1636921"/>
                </a:cubicBezTo>
                <a:cubicBezTo>
                  <a:pt x="101504" y="1623553"/>
                  <a:pt x="97787" y="1608213"/>
                  <a:pt x="94702" y="1602831"/>
                </a:cubicBezTo>
                <a:cubicBezTo>
                  <a:pt x="86626" y="1588743"/>
                  <a:pt x="89567" y="1460643"/>
                  <a:pt x="98128" y="1453577"/>
                </a:cubicBezTo>
                <a:cubicBezTo>
                  <a:pt x="101501" y="1450792"/>
                  <a:pt x="104261" y="1438989"/>
                  <a:pt x="104261" y="1427347"/>
                </a:cubicBezTo>
                <a:cubicBezTo>
                  <a:pt x="104261" y="1414373"/>
                  <a:pt x="106800" y="1404771"/>
                  <a:pt x="110821" y="1402538"/>
                </a:cubicBezTo>
                <a:cubicBezTo>
                  <a:pt x="114428" y="1400533"/>
                  <a:pt x="117380" y="1393455"/>
                  <a:pt x="117380" y="1386808"/>
                </a:cubicBezTo>
                <a:cubicBezTo>
                  <a:pt x="117380" y="1380161"/>
                  <a:pt x="120331" y="1371177"/>
                  <a:pt x="123939" y="1366842"/>
                </a:cubicBezTo>
                <a:cubicBezTo>
                  <a:pt x="127547" y="1362507"/>
                  <a:pt x="130498" y="1351111"/>
                  <a:pt x="130498" y="1341518"/>
                </a:cubicBezTo>
                <a:cubicBezTo>
                  <a:pt x="130498" y="1318073"/>
                  <a:pt x="137674" y="1310914"/>
                  <a:pt x="163457" y="1308631"/>
                </a:cubicBezTo>
                <a:cubicBezTo>
                  <a:pt x="194631" y="1305871"/>
                  <a:pt x="202426" y="1293646"/>
                  <a:pt x="198730" y="1253312"/>
                </a:cubicBezTo>
                <a:cubicBezTo>
                  <a:pt x="196229" y="1226013"/>
                  <a:pt x="197082" y="1219880"/>
                  <a:pt x="204698" y="1210441"/>
                </a:cubicBezTo>
                <a:cubicBezTo>
                  <a:pt x="209585" y="1204382"/>
                  <a:pt x="213584" y="1196282"/>
                  <a:pt x="213584" y="1192440"/>
                </a:cubicBezTo>
                <a:cubicBezTo>
                  <a:pt x="213584" y="1188597"/>
                  <a:pt x="218504" y="1178763"/>
                  <a:pt x="224517" y="1170585"/>
                </a:cubicBezTo>
                <a:cubicBezTo>
                  <a:pt x="230529" y="1162407"/>
                  <a:pt x="235449" y="1150864"/>
                  <a:pt x="235449" y="1144933"/>
                </a:cubicBezTo>
                <a:cubicBezTo>
                  <a:pt x="235449" y="1139003"/>
                  <a:pt x="238400" y="1130604"/>
                  <a:pt x="242008" y="1126269"/>
                </a:cubicBezTo>
                <a:cubicBezTo>
                  <a:pt x="245616" y="1121934"/>
                  <a:pt x="248567" y="1114463"/>
                  <a:pt x="248567" y="1109667"/>
                </a:cubicBezTo>
                <a:cubicBezTo>
                  <a:pt x="248567" y="1104871"/>
                  <a:pt x="250358" y="1100946"/>
                  <a:pt x="252548" y="1100946"/>
                </a:cubicBezTo>
                <a:cubicBezTo>
                  <a:pt x="254737" y="1100946"/>
                  <a:pt x="257922" y="1076730"/>
                  <a:pt x="259624" y="1047134"/>
                </a:cubicBezTo>
                <a:cubicBezTo>
                  <a:pt x="261327" y="1017537"/>
                  <a:pt x="264456" y="993321"/>
                  <a:pt x="266576" y="993321"/>
                </a:cubicBezTo>
                <a:cubicBezTo>
                  <a:pt x="268697" y="993321"/>
                  <a:pt x="270432" y="989682"/>
                  <a:pt x="270432" y="985235"/>
                </a:cubicBezTo>
                <a:cubicBezTo>
                  <a:pt x="270432" y="976465"/>
                  <a:pt x="295092" y="942674"/>
                  <a:pt x="301492" y="942674"/>
                </a:cubicBezTo>
                <a:cubicBezTo>
                  <a:pt x="303650" y="942674"/>
                  <a:pt x="305415" y="939703"/>
                  <a:pt x="305415" y="936072"/>
                </a:cubicBezTo>
                <a:cubicBezTo>
                  <a:pt x="305415" y="932441"/>
                  <a:pt x="314270" y="915764"/>
                  <a:pt x="325094" y="899013"/>
                </a:cubicBezTo>
                <a:cubicBezTo>
                  <a:pt x="335917" y="882262"/>
                  <a:pt x="344772" y="866574"/>
                  <a:pt x="344772" y="864151"/>
                </a:cubicBezTo>
                <a:cubicBezTo>
                  <a:pt x="344772" y="858916"/>
                  <a:pt x="373017" y="816057"/>
                  <a:pt x="376468" y="816057"/>
                </a:cubicBezTo>
                <a:cubicBezTo>
                  <a:pt x="379972" y="816057"/>
                  <a:pt x="405993" y="782255"/>
                  <a:pt x="405993" y="777703"/>
                </a:cubicBezTo>
                <a:cubicBezTo>
                  <a:pt x="405993" y="766887"/>
                  <a:pt x="458830" y="695771"/>
                  <a:pt x="466866" y="695771"/>
                </a:cubicBezTo>
                <a:cubicBezTo>
                  <a:pt x="471868" y="695771"/>
                  <a:pt x="475959" y="693114"/>
                  <a:pt x="475959" y="689867"/>
                </a:cubicBezTo>
                <a:cubicBezTo>
                  <a:pt x="475959" y="686619"/>
                  <a:pt x="480295" y="681970"/>
                  <a:pt x="485595" y="679535"/>
                </a:cubicBezTo>
                <a:cubicBezTo>
                  <a:pt x="490894" y="677100"/>
                  <a:pt x="497922" y="671210"/>
                  <a:pt x="501212" y="666447"/>
                </a:cubicBezTo>
                <a:cubicBezTo>
                  <a:pt x="504503" y="661683"/>
                  <a:pt x="513941" y="657786"/>
                  <a:pt x="522188" y="657786"/>
                </a:cubicBezTo>
                <a:cubicBezTo>
                  <a:pt x="530434" y="657786"/>
                  <a:pt x="537180" y="654937"/>
                  <a:pt x="537180" y="651455"/>
                </a:cubicBezTo>
                <a:cubicBezTo>
                  <a:pt x="537180" y="647973"/>
                  <a:pt x="541824" y="645124"/>
                  <a:pt x="547500" y="645124"/>
                </a:cubicBezTo>
                <a:cubicBezTo>
                  <a:pt x="553404" y="645124"/>
                  <a:pt x="561334" y="638350"/>
                  <a:pt x="566030" y="629297"/>
                </a:cubicBezTo>
                <a:cubicBezTo>
                  <a:pt x="570545" y="620592"/>
                  <a:pt x="577568" y="613470"/>
                  <a:pt x="581636" y="613470"/>
                </a:cubicBezTo>
                <a:cubicBezTo>
                  <a:pt x="585703" y="613470"/>
                  <a:pt x="591983" y="609196"/>
                  <a:pt x="595590" y="603974"/>
                </a:cubicBezTo>
                <a:cubicBezTo>
                  <a:pt x="599198" y="598750"/>
                  <a:pt x="603469" y="594477"/>
                  <a:pt x="605081" y="594477"/>
                </a:cubicBezTo>
                <a:cubicBezTo>
                  <a:pt x="606693" y="594477"/>
                  <a:pt x="614213" y="590263"/>
                  <a:pt x="621792" y="585112"/>
                </a:cubicBezTo>
                <a:cubicBezTo>
                  <a:pt x="638495" y="573760"/>
                  <a:pt x="692969" y="562678"/>
                  <a:pt x="758458" y="557307"/>
                </a:cubicBezTo>
                <a:cubicBezTo>
                  <a:pt x="805917" y="553416"/>
                  <a:pt x="817472" y="548216"/>
                  <a:pt x="827104" y="526420"/>
                </a:cubicBezTo>
                <a:cubicBezTo>
                  <a:pt x="829027" y="522068"/>
                  <a:pt x="833087" y="518507"/>
                  <a:pt x="836125" y="518507"/>
                </a:cubicBezTo>
                <a:cubicBezTo>
                  <a:pt x="839163" y="518507"/>
                  <a:pt x="847305" y="509960"/>
                  <a:pt x="854218" y="499514"/>
                </a:cubicBezTo>
                <a:cubicBezTo>
                  <a:pt x="861130" y="489068"/>
                  <a:pt x="870238" y="480522"/>
                  <a:pt x="874456" y="480522"/>
                </a:cubicBezTo>
                <a:cubicBezTo>
                  <a:pt x="878674" y="480522"/>
                  <a:pt x="883342" y="477673"/>
                  <a:pt x="884828" y="474191"/>
                </a:cubicBezTo>
                <a:cubicBezTo>
                  <a:pt x="886314" y="470709"/>
                  <a:pt x="891186" y="467860"/>
                  <a:pt x="895654" y="467860"/>
                </a:cubicBezTo>
                <a:cubicBezTo>
                  <a:pt x="900121" y="467860"/>
                  <a:pt x="907745" y="460026"/>
                  <a:pt x="912594" y="450450"/>
                </a:cubicBezTo>
                <a:cubicBezTo>
                  <a:pt x="919668" y="436483"/>
                  <a:pt x="922507" y="434605"/>
                  <a:pt x="926952" y="440954"/>
                </a:cubicBezTo>
                <a:cubicBezTo>
                  <a:pt x="930000" y="445306"/>
                  <a:pt x="935794" y="448867"/>
                  <a:pt x="939829" y="448867"/>
                </a:cubicBezTo>
                <a:cubicBezTo>
                  <a:pt x="943863" y="448867"/>
                  <a:pt x="949567" y="453057"/>
                  <a:pt x="952502" y="458179"/>
                </a:cubicBezTo>
                <a:cubicBezTo>
                  <a:pt x="956617" y="465356"/>
                  <a:pt x="967169" y="467169"/>
                  <a:pt x="998543" y="466092"/>
                </a:cubicBezTo>
                <a:cubicBezTo>
                  <a:pt x="1020929" y="465323"/>
                  <a:pt x="1038330" y="466831"/>
                  <a:pt x="1037211" y="469443"/>
                </a:cubicBezTo>
                <a:cubicBezTo>
                  <a:pt x="1036093" y="472054"/>
                  <a:pt x="1038362" y="474191"/>
                  <a:pt x="1042254" y="474191"/>
                </a:cubicBezTo>
                <a:cubicBezTo>
                  <a:pt x="1046145" y="474191"/>
                  <a:pt x="1048113" y="471342"/>
                  <a:pt x="1046626" y="467860"/>
                </a:cubicBezTo>
                <a:cubicBezTo>
                  <a:pt x="1041127" y="454979"/>
                  <a:pt x="1051925" y="462057"/>
                  <a:pt x="1061114" y="477356"/>
                </a:cubicBezTo>
                <a:cubicBezTo>
                  <a:pt x="1072567" y="496426"/>
                  <a:pt x="1083781" y="497803"/>
                  <a:pt x="1086902" y="480522"/>
                </a:cubicBezTo>
                <a:cubicBezTo>
                  <a:pt x="1090408" y="461111"/>
                  <a:pt x="1104109" y="464970"/>
                  <a:pt x="1109378" y="486853"/>
                </a:cubicBezTo>
                <a:cubicBezTo>
                  <a:pt x="1111894" y="497298"/>
                  <a:pt x="1116022" y="505845"/>
                  <a:pt x="1118552" y="505845"/>
                </a:cubicBezTo>
                <a:cubicBezTo>
                  <a:pt x="1121082" y="505845"/>
                  <a:pt x="1123152" y="510248"/>
                  <a:pt x="1123152" y="515629"/>
                </a:cubicBezTo>
                <a:cubicBezTo>
                  <a:pt x="1123152" y="521011"/>
                  <a:pt x="1128072" y="532536"/>
                  <a:pt x="1134085" y="541240"/>
                </a:cubicBezTo>
                <a:cubicBezTo>
                  <a:pt x="1140098" y="549945"/>
                  <a:pt x="1145017" y="561211"/>
                  <a:pt x="1145017" y="566276"/>
                </a:cubicBezTo>
                <a:cubicBezTo>
                  <a:pt x="1145017" y="571340"/>
                  <a:pt x="1146985" y="575485"/>
                  <a:pt x="1149390" y="575485"/>
                </a:cubicBezTo>
                <a:cubicBezTo>
                  <a:pt x="1151796" y="575485"/>
                  <a:pt x="1153763" y="579488"/>
                  <a:pt x="1153763" y="584382"/>
                </a:cubicBezTo>
                <a:cubicBezTo>
                  <a:pt x="1153763" y="591870"/>
                  <a:pt x="1176828" y="638301"/>
                  <a:pt x="1187659" y="652617"/>
                </a:cubicBezTo>
                <a:cubicBezTo>
                  <a:pt x="1218661" y="693591"/>
                  <a:pt x="1254340" y="745441"/>
                  <a:pt x="1254340" y="749518"/>
                </a:cubicBezTo>
                <a:cubicBezTo>
                  <a:pt x="1254340" y="757171"/>
                  <a:pt x="1280568" y="789876"/>
                  <a:pt x="1290288" y="794342"/>
                </a:cubicBezTo>
                <a:cubicBezTo>
                  <a:pt x="1295629" y="796796"/>
                  <a:pt x="1301342" y="793539"/>
                  <a:pt x="1306344" y="785189"/>
                </a:cubicBezTo>
                <a:cubicBezTo>
                  <a:pt x="1310616" y="778060"/>
                  <a:pt x="1321893" y="770425"/>
                  <a:pt x="1331406" y="768222"/>
                </a:cubicBezTo>
                <a:cubicBezTo>
                  <a:pt x="1346576" y="764711"/>
                  <a:pt x="1349748" y="766237"/>
                  <a:pt x="1357220" y="780642"/>
                </a:cubicBezTo>
                <a:cubicBezTo>
                  <a:pt x="1361906" y="789674"/>
                  <a:pt x="1368224" y="797065"/>
                  <a:pt x="1371260" y="797065"/>
                </a:cubicBezTo>
                <a:cubicBezTo>
                  <a:pt x="1374297" y="797065"/>
                  <a:pt x="1376782" y="802321"/>
                  <a:pt x="1376782" y="808745"/>
                </a:cubicBezTo>
                <a:cubicBezTo>
                  <a:pt x="1376782" y="821451"/>
                  <a:pt x="1389677" y="841380"/>
                  <a:pt x="1397898" y="841380"/>
                </a:cubicBezTo>
                <a:cubicBezTo>
                  <a:pt x="1400715" y="841380"/>
                  <a:pt x="1403266" y="847079"/>
                  <a:pt x="1403566" y="854042"/>
                </a:cubicBezTo>
                <a:cubicBezTo>
                  <a:pt x="1404643" y="878986"/>
                  <a:pt x="1405317" y="881243"/>
                  <a:pt x="1413767" y="888172"/>
                </a:cubicBezTo>
                <a:cubicBezTo>
                  <a:pt x="1427980" y="899827"/>
                  <a:pt x="1432763" y="908218"/>
                  <a:pt x="1434326" y="924237"/>
                </a:cubicBezTo>
                <a:cubicBezTo>
                  <a:pt x="1436019" y="941586"/>
                  <a:pt x="1450406" y="945523"/>
                  <a:pt x="1455432" y="930013"/>
                </a:cubicBezTo>
                <a:cubicBezTo>
                  <a:pt x="1457124" y="924790"/>
                  <a:pt x="1460937" y="913785"/>
                  <a:pt x="1463906" y="905557"/>
                </a:cubicBezTo>
                <a:cubicBezTo>
                  <a:pt x="1468658" y="892389"/>
                  <a:pt x="1467954" y="888558"/>
                  <a:pt x="1458027" y="873556"/>
                </a:cubicBezTo>
                <a:cubicBezTo>
                  <a:pt x="1451824" y="864183"/>
                  <a:pt x="1446749" y="851685"/>
                  <a:pt x="1446749" y="845782"/>
                </a:cubicBezTo>
                <a:cubicBezTo>
                  <a:pt x="1446749" y="839879"/>
                  <a:pt x="1444912" y="835050"/>
                  <a:pt x="1442667" y="835050"/>
                </a:cubicBezTo>
                <a:cubicBezTo>
                  <a:pt x="1440421" y="835050"/>
                  <a:pt x="1437961" y="827215"/>
                  <a:pt x="1437200" y="817640"/>
                </a:cubicBezTo>
                <a:cubicBezTo>
                  <a:pt x="1436198" y="805025"/>
                  <a:pt x="1433036" y="799659"/>
                  <a:pt x="1425722" y="798159"/>
                </a:cubicBezTo>
                <a:cubicBezTo>
                  <a:pt x="1412003" y="795343"/>
                  <a:pt x="1414880" y="778695"/>
                  <a:pt x="1431370" y="765466"/>
                </a:cubicBezTo>
                <a:cubicBezTo>
                  <a:pt x="1439248" y="759147"/>
                  <a:pt x="1445995" y="747031"/>
                  <a:pt x="1448402" y="734883"/>
                </a:cubicBezTo>
                <a:cubicBezTo>
                  <a:pt x="1451293" y="720285"/>
                  <a:pt x="1454974" y="714763"/>
                  <a:pt x="1461812" y="714763"/>
                </a:cubicBezTo>
                <a:cubicBezTo>
                  <a:pt x="1466996" y="714763"/>
                  <a:pt x="1473107" y="712136"/>
                  <a:pt x="1475392" y="708925"/>
                </a:cubicBezTo>
                <a:cubicBezTo>
                  <a:pt x="1477677" y="705714"/>
                  <a:pt x="1486459" y="701250"/>
                  <a:pt x="1494907" y="699006"/>
                </a:cubicBezTo>
                <a:cubicBezTo>
                  <a:pt x="1507788" y="695584"/>
                  <a:pt x="1511972" y="697549"/>
                  <a:pt x="1520814" y="711175"/>
                </a:cubicBezTo>
                <a:cubicBezTo>
                  <a:pt x="1531470" y="727595"/>
                  <a:pt x="1542953" y="732741"/>
                  <a:pt x="1542953" y="721094"/>
                </a:cubicBezTo>
                <a:cubicBezTo>
                  <a:pt x="1542953" y="717612"/>
                  <a:pt x="1545305" y="714763"/>
                  <a:pt x="1548180" y="714763"/>
                </a:cubicBezTo>
                <a:cubicBezTo>
                  <a:pt x="1551055" y="714763"/>
                  <a:pt x="1558868" y="707189"/>
                  <a:pt x="1565543" y="697931"/>
                </a:cubicBezTo>
                <a:cubicBezTo>
                  <a:pt x="1576313" y="682993"/>
                  <a:pt x="1578004" y="682326"/>
                  <a:pt x="1580569" y="692004"/>
                </a:cubicBezTo>
                <a:cubicBezTo>
                  <a:pt x="1582158" y="698002"/>
                  <a:pt x="1581490" y="709167"/>
                  <a:pt x="1579083" y="716815"/>
                </a:cubicBezTo>
                <a:cubicBezTo>
                  <a:pt x="1573971" y="733059"/>
                  <a:pt x="1582935" y="749854"/>
                  <a:pt x="1593565" y="743948"/>
                </a:cubicBezTo>
                <a:cubicBezTo>
                  <a:pt x="1602131" y="739190"/>
                  <a:pt x="1607148" y="719364"/>
                  <a:pt x="1600588" y="716198"/>
                </a:cubicBezTo>
                <a:cubicBezTo>
                  <a:pt x="1592584" y="712335"/>
                  <a:pt x="1594497" y="690789"/>
                  <a:pt x="1604075" y="676922"/>
                </a:cubicBezTo>
                <a:cubicBezTo>
                  <a:pt x="1608831" y="670037"/>
                  <a:pt x="1611648" y="660354"/>
                  <a:pt x="1610336" y="655404"/>
                </a:cubicBezTo>
                <a:cubicBezTo>
                  <a:pt x="1606241" y="639955"/>
                  <a:pt x="1616711" y="637515"/>
                  <a:pt x="1627075" y="651503"/>
                </a:cubicBezTo>
                <a:cubicBezTo>
                  <a:pt x="1635408" y="662749"/>
                  <a:pt x="1640251" y="664207"/>
                  <a:pt x="1657724" y="660732"/>
                </a:cubicBezTo>
                <a:cubicBezTo>
                  <a:pt x="1673801" y="657535"/>
                  <a:pt x="1679028" y="658688"/>
                  <a:pt x="1680927" y="665854"/>
                </a:cubicBezTo>
                <a:cubicBezTo>
                  <a:pt x="1682551" y="671980"/>
                  <a:pt x="1693005" y="676530"/>
                  <a:pt x="1711891" y="679332"/>
                </a:cubicBezTo>
                <a:cubicBezTo>
                  <a:pt x="1730763" y="682131"/>
                  <a:pt x="1746175" y="688836"/>
                  <a:pt x="1757474" y="699162"/>
                </a:cubicBezTo>
                <a:cubicBezTo>
                  <a:pt x="1766863" y="707743"/>
                  <a:pt x="1777535" y="714763"/>
                  <a:pt x="1781191" y="714763"/>
                </a:cubicBezTo>
                <a:cubicBezTo>
                  <a:pt x="1784846" y="714763"/>
                  <a:pt x="1787837" y="717333"/>
                  <a:pt x="1787837" y="720473"/>
                </a:cubicBezTo>
                <a:cubicBezTo>
                  <a:pt x="1787837" y="723614"/>
                  <a:pt x="1795170" y="731694"/>
                  <a:pt x="1804133" y="738427"/>
                </a:cubicBezTo>
                <a:cubicBezTo>
                  <a:pt x="1816070" y="747395"/>
                  <a:pt x="1821182" y="756003"/>
                  <a:pt x="1823246" y="770607"/>
                </a:cubicBezTo>
                <a:cubicBezTo>
                  <a:pt x="1826969" y="796962"/>
                  <a:pt x="1843835" y="817162"/>
                  <a:pt x="1854936" y="808560"/>
                </a:cubicBezTo>
                <a:cubicBezTo>
                  <a:pt x="1861330" y="803606"/>
                  <a:pt x="1865591" y="805762"/>
                  <a:pt x="1874886" y="818655"/>
                </a:cubicBezTo>
                <a:cubicBezTo>
                  <a:pt x="1881387" y="827672"/>
                  <a:pt x="1888197" y="835050"/>
                  <a:pt x="1890018" y="835050"/>
                </a:cubicBezTo>
                <a:cubicBezTo>
                  <a:pt x="1891839" y="835050"/>
                  <a:pt x="1907144" y="855209"/>
                  <a:pt x="1924029" y="879848"/>
                </a:cubicBezTo>
                <a:cubicBezTo>
                  <a:pt x="1947915" y="914705"/>
                  <a:pt x="1958287" y="925437"/>
                  <a:pt x="1970767" y="928208"/>
                </a:cubicBezTo>
                <a:cubicBezTo>
                  <a:pt x="1979588" y="930167"/>
                  <a:pt x="1989240" y="934542"/>
                  <a:pt x="1992216" y="937930"/>
                </a:cubicBezTo>
                <a:cubicBezTo>
                  <a:pt x="1995191" y="941318"/>
                  <a:pt x="2000741" y="942361"/>
                  <a:pt x="2004549" y="940246"/>
                </a:cubicBezTo>
                <a:cubicBezTo>
                  <a:pt x="2014139" y="934918"/>
                  <a:pt x="2010854" y="908587"/>
                  <a:pt x="2000233" y="905653"/>
                </a:cubicBezTo>
                <a:cubicBezTo>
                  <a:pt x="1990506" y="902967"/>
                  <a:pt x="1980246" y="889704"/>
                  <a:pt x="1980246" y="879818"/>
                </a:cubicBezTo>
                <a:cubicBezTo>
                  <a:pt x="1980246" y="871202"/>
                  <a:pt x="1982879" y="871305"/>
                  <a:pt x="2000661" y="880614"/>
                </a:cubicBezTo>
                <a:cubicBezTo>
                  <a:pt x="2014087" y="887642"/>
                  <a:pt x="2016093" y="886867"/>
                  <a:pt x="2028302" y="869933"/>
                </a:cubicBezTo>
                <a:cubicBezTo>
                  <a:pt x="2035543" y="859890"/>
                  <a:pt x="2041467" y="845084"/>
                  <a:pt x="2041467" y="837031"/>
                </a:cubicBezTo>
                <a:cubicBezTo>
                  <a:pt x="2041467" y="828236"/>
                  <a:pt x="2044086" y="822388"/>
                  <a:pt x="2048027" y="822388"/>
                </a:cubicBezTo>
                <a:cubicBezTo>
                  <a:pt x="2051634" y="822388"/>
                  <a:pt x="2054585" y="825256"/>
                  <a:pt x="2054585" y="828761"/>
                </a:cubicBezTo>
                <a:cubicBezTo>
                  <a:pt x="2054585" y="832265"/>
                  <a:pt x="2059386" y="841176"/>
                  <a:pt x="2065253" y="848562"/>
                </a:cubicBezTo>
                <a:cubicBezTo>
                  <a:pt x="2075061" y="860908"/>
                  <a:pt x="2075402" y="863133"/>
                  <a:pt x="2069492" y="876195"/>
                </a:cubicBezTo>
                <a:cubicBezTo>
                  <a:pt x="2063387" y="889682"/>
                  <a:pt x="2063842" y="890935"/>
                  <a:pt x="2078502" y="901007"/>
                </a:cubicBezTo>
                <a:cubicBezTo>
                  <a:pt x="2086994" y="906841"/>
                  <a:pt x="2093942" y="914329"/>
                  <a:pt x="2093942" y="917648"/>
                </a:cubicBezTo>
                <a:cubicBezTo>
                  <a:pt x="2093942" y="920967"/>
                  <a:pt x="2096894" y="923682"/>
                  <a:pt x="2100502" y="923682"/>
                </a:cubicBezTo>
                <a:cubicBezTo>
                  <a:pt x="2107463" y="923682"/>
                  <a:pt x="2109052" y="934932"/>
                  <a:pt x="2103714" y="946427"/>
                </a:cubicBezTo>
                <a:cubicBezTo>
                  <a:pt x="2101947" y="950232"/>
                  <a:pt x="2093992" y="955179"/>
                  <a:pt x="2086036" y="957421"/>
                </a:cubicBezTo>
                <a:cubicBezTo>
                  <a:pt x="2067913" y="962528"/>
                  <a:pt x="2058351" y="975401"/>
                  <a:pt x="2063661" y="987546"/>
                </a:cubicBezTo>
                <a:cubicBezTo>
                  <a:pt x="2065812" y="992464"/>
                  <a:pt x="2067600" y="1010810"/>
                  <a:pt x="2067637" y="1028317"/>
                </a:cubicBezTo>
                <a:cubicBezTo>
                  <a:pt x="2067710" y="1062723"/>
                  <a:pt x="2077159" y="1081953"/>
                  <a:pt x="2093992" y="1081953"/>
                </a:cubicBezTo>
                <a:cubicBezTo>
                  <a:pt x="2100657" y="1081953"/>
                  <a:pt x="2102688" y="1086209"/>
                  <a:pt x="2102688" y="1100171"/>
                </a:cubicBezTo>
                <a:cubicBezTo>
                  <a:pt x="2102688" y="1125740"/>
                  <a:pt x="2113772" y="1138266"/>
                  <a:pt x="2123679" y="1123892"/>
                </a:cubicBezTo>
                <a:cubicBezTo>
                  <a:pt x="2129457" y="1115507"/>
                  <a:pt x="2130863" y="1103709"/>
                  <a:pt x="2129992" y="1070902"/>
                </a:cubicBezTo>
                <a:cubicBezTo>
                  <a:pt x="2129377" y="1047689"/>
                  <a:pt x="2126917" y="1025866"/>
                  <a:pt x="2124526" y="1022405"/>
                </a:cubicBezTo>
                <a:cubicBezTo>
                  <a:pt x="2118039" y="1013013"/>
                  <a:pt x="2119278" y="989624"/>
                  <a:pt x="2126739" y="980659"/>
                </a:cubicBezTo>
                <a:cubicBezTo>
                  <a:pt x="2134268" y="971613"/>
                  <a:pt x="2135439" y="951668"/>
                  <a:pt x="2128791" y="945720"/>
                </a:cubicBezTo>
                <a:cubicBezTo>
                  <a:pt x="2126210" y="943411"/>
                  <a:pt x="2125453" y="932663"/>
                  <a:pt x="2127020" y="920573"/>
                </a:cubicBezTo>
                <a:cubicBezTo>
                  <a:pt x="2128525" y="908960"/>
                  <a:pt x="2128387" y="893215"/>
                  <a:pt x="2126714" y="885583"/>
                </a:cubicBezTo>
                <a:cubicBezTo>
                  <a:pt x="2124232" y="874263"/>
                  <a:pt x="2121368" y="872374"/>
                  <a:pt x="2111163" y="875329"/>
                </a:cubicBezTo>
                <a:cubicBezTo>
                  <a:pt x="2098619" y="878962"/>
                  <a:pt x="2089911" y="871058"/>
                  <a:pt x="2098244" y="863602"/>
                </a:cubicBezTo>
                <a:cubicBezTo>
                  <a:pt x="2103992" y="858459"/>
                  <a:pt x="2104054" y="822388"/>
                  <a:pt x="2098315" y="822388"/>
                </a:cubicBezTo>
                <a:cubicBezTo>
                  <a:pt x="2095910" y="822388"/>
                  <a:pt x="2093942" y="813841"/>
                  <a:pt x="2093942" y="803395"/>
                </a:cubicBezTo>
                <a:cubicBezTo>
                  <a:pt x="2093942" y="792950"/>
                  <a:pt x="2096066" y="784403"/>
                  <a:pt x="2098662" y="784403"/>
                </a:cubicBezTo>
                <a:cubicBezTo>
                  <a:pt x="2101561" y="784403"/>
                  <a:pt x="2102341" y="777537"/>
                  <a:pt x="2100683" y="766608"/>
                </a:cubicBezTo>
                <a:cubicBezTo>
                  <a:pt x="2098503" y="752236"/>
                  <a:pt x="2099907" y="747417"/>
                  <a:pt x="2107989" y="741548"/>
                </a:cubicBezTo>
                <a:cubicBezTo>
                  <a:pt x="2113491" y="737553"/>
                  <a:pt x="2122912" y="733452"/>
                  <a:pt x="2128925" y="732437"/>
                </a:cubicBezTo>
                <a:cubicBezTo>
                  <a:pt x="2137207" y="731038"/>
                  <a:pt x="2140193" y="726370"/>
                  <a:pt x="2141241" y="713181"/>
                </a:cubicBezTo>
                <a:cubicBezTo>
                  <a:pt x="2142339" y="699367"/>
                  <a:pt x="2144882" y="695771"/>
                  <a:pt x="2153554" y="695771"/>
                </a:cubicBezTo>
                <a:cubicBezTo>
                  <a:pt x="2159566" y="695771"/>
                  <a:pt x="2167904" y="693121"/>
                  <a:pt x="2172084" y="689882"/>
                </a:cubicBezTo>
                <a:cubicBezTo>
                  <a:pt x="2176573" y="686404"/>
                  <a:pt x="2182266" y="686302"/>
                  <a:pt x="2185988" y="689631"/>
                </a:cubicBezTo>
                <a:cubicBezTo>
                  <a:pt x="2191250" y="694341"/>
                  <a:pt x="2190851" y="696845"/>
                  <a:pt x="2183565" y="704816"/>
                </a:cubicBezTo>
                <a:cubicBezTo>
                  <a:pt x="2176968" y="712034"/>
                  <a:pt x="2176450" y="714410"/>
                  <a:pt x="2181442" y="714562"/>
                </a:cubicBezTo>
                <a:cubicBezTo>
                  <a:pt x="2185072" y="714673"/>
                  <a:pt x="2190395" y="709309"/>
                  <a:pt x="2193271" y="702641"/>
                </a:cubicBezTo>
                <a:cubicBezTo>
                  <a:pt x="2199199" y="688899"/>
                  <a:pt x="2194453" y="679849"/>
                  <a:pt x="2179214" y="675840"/>
                </a:cubicBezTo>
                <a:cubicBezTo>
                  <a:pt x="2174404" y="674574"/>
                  <a:pt x="2168526" y="667145"/>
                  <a:pt x="2166151" y="659332"/>
                </a:cubicBezTo>
                <a:cubicBezTo>
                  <a:pt x="2163777" y="651517"/>
                  <a:pt x="2160334" y="645124"/>
                  <a:pt x="2158499" y="645124"/>
                </a:cubicBezTo>
                <a:cubicBezTo>
                  <a:pt x="2156664" y="645124"/>
                  <a:pt x="2155163" y="640851"/>
                  <a:pt x="2155163" y="635628"/>
                </a:cubicBezTo>
                <a:cubicBezTo>
                  <a:pt x="2155163" y="620205"/>
                  <a:pt x="2172160" y="624706"/>
                  <a:pt x="2184048" y="643278"/>
                </a:cubicBezTo>
                <a:cubicBezTo>
                  <a:pt x="2192775" y="656910"/>
                  <a:pt x="2196541" y="659049"/>
                  <a:pt x="2202425" y="653711"/>
                </a:cubicBezTo>
                <a:cubicBezTo>
                  <a:pt x="2213231" y="643905"/>
                  <a:pt x="2213663" y="624496"/>
                  <a:pt x="2203453" y="607453"/>
                </a:cubicBezTo>
                <a:cubicBezTo>
                  <a:pt x="2193012" y="590025"/>
                  <a:pt x="2192102" y="581815"/>
                  <a:pt x="2200610" y="581815"/>
                </a:cubicBezTo>
                <a:cubicBezTo>
                  <a:pt x="2203961" y="581815"/>
                  <a:pt x="2207897" y="577309"/>
                  <a:pt x="2209356" y="571802"/>
                </a:cubicBezTo>
                <a:cubicBezTo>
                  <a:pt x="2213448" y="556366"/>
                  <a:pt x="2212502" y="537499"/>
                  <a:pt x="2207638" y="537499"/>
                </a:cubicBezTo>
                <a:cubicBezTo>
                  <a:pt x="2200214" y="537499"/>
                  <a:pt x="2202808" y="521779"/>
                  <a:pt x="2211777" y="512421"/>
                </a:cubicBezTo>
                <a:cubicBezTo>
                  <a:pt x="2216458" y="507535"/>
                  <a:pt x="2219456" y="501589"/>
                  <a:pt x="2218439" y="499207"/>
                </a:cubicBezTo>
                <a:cubicBezTo>
                  <a:pt x="2215330" y="491923"/>
                  <a:pt x="2230901" y="475843"/>
                  <a:pt x="2245369" y="471396"/>
                </a:cubicBezTo>
                <a:cubicBezTo>
                  <a:pt x="2257458" y="467681"/>
                  <a:pt x="2259373" y="469060"/>
                  <a:pt x="2261834" y="483257"/>
                </a:cubicBezTo>
                <a:cubicBezTo>
                  <a:pt x="2265391" y="503772"/>
                  <a:pt x="2285196" y="512691"/>
                  <a:pt x="2292979" y="497282"/>
                </a:cubicBezTo>
                <a:cubicBezTo>
                  <a:pt x="2301499" y="480415"/>
                  <a:pt x="2331129" y="488021"/>
                  <a:pt x="2323798" y="505194"/>
                </a:cubicBezTo>
                <a:cubicBezTo>
                  <a:pt x="2318982" y="516475"/>
                  <a:pt x="2325564" y="537499"/>
                  <a:pt x="2333912" y="537499"/>
                </a:cubicBezTo>
                <a:cubicBezTo>
                  <a:pt x="2338100" y="537499"/>
                  <a:pt x="2345347" y="533317"/>
                  <a:pt x="2350016" y="528204"/>
                </a:cubicBezTo>
                <a:cubicBezTo>
                  <a:pt x="2354684" y="523092"/>
                  <a:pt x="2362932" y="518819"/>
                  <a:pt x="2368343" y="518708"/>
                </a:cubicBezTo>
                <a:cubicBezTo>
                  <a:pt x="2373754" y="518597"/>
                  <a:pt x="2378182" y="515658"/>
                  <a:pt x="2378182" y="512176"/>
                </a:cubicBezTo>
                <a:cubicBezTo>
                  <a:pt x="2378182" y="508694"/>
                  <a:pt x="2381133" y="505845"/>
                  <a:pt x="2384742" y="505845"/>
                </a:cubicBezTo>
                <a:cubicBezTo>
                  <a:pt x="2388349" y="505845"/>
                  <a:pt x="2391301" y="502996"/>
                  <a:pt x="2391301" y="499514"/>
                </a:cubicBezTo>
                <a:cubicBezTo>
                  <a:pt x="2391301" y="496032"/>
                  <a:pt x="2394252" y="493183"/>
                  <a:pt x="2397860" y="493183"/>
                </a:cubicBezTo>
                <a:cubicBezTo>
                  <a:pt x="2401468" y="493183"/>
                  <a:pt x="2404419" y="498713"/>
                  <a:pt x="2404419" y="505472"/>
                </a:cubicBezTo>
                <a:cubicBezTo>
                  <a:pt x="2404419" y="520955"/>
                  <a:pt x="2410752" y="526800"/>
                  <a:pt x="2421950" y="521654"/>
                </a:cubicBezTo>
                <a:cubicBezTo>
                  <a:pt x="2427501" y="519104"/>
                  <a:pt x="2430657" y="512070"/>
                  <a:pt x="2430657" y="502253"/>
                </a:cubicBezTo>
                <a:cubicBezTo>
                  <a:pt x="2430657" y="486471"/>
                  <a:pt x="2441550" y="480348"/>
                  <a:pt x="2444767" y="494323"/>
                </a:cubicBezTo>
                <a:cubicBezTo>
                  <a:pt x="2447125" y="504566"/>
                  <a:pt x="2460800" y="496112"/>
                  <a:pt x="2464298" y="482248"/>
                </a:cubicBezTo>
                <a:cubicBezTo>
                  <a:pt x="2465855" y="476076"/>
                  <a:pt x="2470730" y="464231"/>
                  <a:pt x="2475130" y="455927"/>
                </a:cubicBezTo>
                <a:cubicBezTo>
                  <a:pt x="2484828" y="437629"/>
                  <a:pt x="2485486" y="418123"/>
                  <a:pt x="2476573" y="413172"/>
                </a:cubicBezTo>
                <a:cubicBezTo>
                  <a:pt x="2472509" y="410914"/>
                  <a:pt x="2470013" y="401279"/>
                  <a:pt x="2470013" y="387848"/>
                </a:cubicBezTo>
                <a:cubicBezTo>
                  <a:pt x="2470013" y="374418"/>
                  <a:pt x="2467518" y="364782"/>
                  <a:pt x="2463454" y="362525"/>
                </a:cubicBezTo>
                <a:cubicBezTo>
                  <a:pt x="2459846" y="360520"/>
                  <a:pt x="2456910" y="351351"/>
                  <a:pt x="2456929" y="342148"/>
                </a:cubicBezTo>
                <a:cubicBezTo>
                  <a:pt x="2456968" y="323282"/>
                  <a:pt x="2472032" y="309588"/>
                  <a:pt x="2492750" y="309588"/>
                </a:cubicBezTo>
                <a:cubicBezTo>
                  <a:pt x="2499486" y="309588"/>
                  <a:pt x="2504997" y="306740"/>
                  <a:pt x="2504997" y="303258"/>
                </a:cubicBezTo>
                <a:cubicBezTo>
                  <a:pt x="2504997" y="292419"/>
                  <a:pt x="2515749" y="296317"/>
                  <a:pt x="2521291" y="309165"/>
                </a:cubicBezTo>
                <a:cubicBezTo>
                  <a:pt x="2525702" y="319390"/>
                  <a:pt x="2525335" y="321779"/>
                  <a:pt x="2519063" y="323689"/>
                </a:cubicBezTo>
                <a:cubicBezTo>
                  <a:pt x="2514934" y="324947"/>
                  <a:pt x="2522027" y="326405"/>
                  <a:pt x="2534825" y="326930"/>
                </a:cubicBezTo>
                <a:cubicBezTo>
                  <a:pt x="2556889" y="327835"/>
                  <a:pt x="2558327" y="326919"/>
                  <a:pt x="2562584" y="309240"/>
                </a:cubicBezTo>
                <a:cubicBezTo>
                  <a:pt x="2567794" y="287603"/>
                  <a:pt x="2576900" y="285569"/>
                  <a:pt x="2596446" y="301675"/>
                </a:cubicBezTo>
                <a:cubicBezTo>
                  <a:pt x="2605015" y="308735"/>
                  <a:pt x="2609902" y="317785"/>
                  <a:pt x="2609919" y="326625"/>
                </a:cubicBezTo>
                <a:cubicBezTo>
                  <a:pt x="2609955" y="344221"/>
                  <a:pt x="2615370" y="349022"/>
                  <a:pt x="2629424" y="343915"/>
                </a:cubicBezTo>
                <a:cubicBezTo>
                  <a:pt x="2639222" y="340356"/>
                  <a:pt x="2640558" y="336562"/>
                  <a:pt x="2640558" y="312290"/>
                </a:cubicBezTo>
                <a:cubicBezTo>
                  <a:pt x="2640558" y="291190"/>
                  <a:pt x="2642612" y="283118"/>
                  <a:pt x="2649304" y="277934"/>
                </a:cubicBezTo>
                <a:cubicBezTo>
                  <a:pt x="2654568" y="273855"/>
                  <a:pt x="2658050" y="264678"/>
                  <a:pt x="2658050" y="254876"/>
                </a:cubicBezTo>
                <a:cubicBezTo>
                  <a:pt x="2658050" y="242441"/>
                  <a:pt x="2659730" y="239528"/>
                  <a:pt x="2665163" y="242546"/>
                </a:cubicBezTo>
                <a:cubicBezTo>
                  <a:pt x="2669075" y="244720"/>
                  <a:pt x="2674979" y="243252"/>
                  <a:pt x="2678281" y="239283"/>
                </a:cubicBezTo>
                <a:cubicBezTo>
                  <a:pt x="2685187" y="230987"/>
                  <a:pt x="2686456" y="201964"/>
                  <a:pt x="2679914" y="201964"/>
                </a:cubicBezTo>
                <a:cubicBezTo>
                  <a:pt x="2673155" y="201964"/>
                  <a:pt x="2674745" y="182076"/>
                  <a:pt x="2682494" y="169679"/>
                </a:cubicBezTo>
                <a:cubicBezTo>
                  <a:pt x="2693070" y="152761"/>
                  <a:pt x="2686712" y="132325"/>
                  <a:pt x="2670873" y="132325"/>
                </a:cubicBezTo>
                <a:cubicBezTo>
                  <a:pt x="2653920" y="132325"/>
                  <a:pt x="2654096" y="117239"/>
                  <a:pt x="2671168" y="107001"/>
                </a:cubicBezTo>
                <a:cubicBezTo>
                  <a:pt x="2678758" y="102450"/>
                  <a:pt x="2684287" y="94411"/>
                  <a:pt x="2684287" y="87927"/>
                </a:cubicBezTo>
                <a:cubicBezTo>
                  <a:pt x="2684287" y="81252"/>
                  <a:pt x="2688709" y="75113"/>
                  <a:pt x="2695219" y="72747"/>
                </a:cubicBezTo>
                <a:cubicBezTo>
                  <a:pt x="2701232" y="70562"/>
                  <a:pt x="2706152" y="66375"/>
                  <a:pt x="2706152" y="63442"/>
                </a:cubicBezTo>
                <a:cubicBezTo>
                  <a:pt x="2706152" y="55417"/>
                  <a:pt x="2727018" y="62811"/>
                  <a:pt x="2732792" y="72882"/>
                </a:cubicBezTo>
                <a:cubicBezTo>
                  <a:pt x="2735565" y="77719"/>
                  <a:pt x="2742301" y="81678"/>
                  <a:pt x="2747762" y="81678"/>
                </a:cubicBezTo>
                <a:cubicBezTo>
                  <a:pt x="2753223" y="81678"/>
                  <a:pt x="2758824" y="85951"/>
                  <a:pt x="2760208" y="91174"/>
                </a:cubicBezTo>
                <a:cubicBezTo>
                  <a:pt x="2761593" y="96397"/>
                  <a:pt x="2767707" y="100670"/>
                  <a:pt x="2773795" y="100670"/>
                </a:cubicBezTo>
                <a:cubicBezTo>
                  <a:pt x="2782006" y="100670"/>
                  <a:pt x="2784864" y="103991"/>
                  <a:pt x="2784864" y="113531"/>
                </a:cubicBezTo>
                <a:cubicBezTo>
                  <a:pt x="2784864" y="128974"/>
                  <a:pt x="2796460" y="136816"/>
                  <a:pt x="2806176" y="127943"/>
                </a:cubicBezTo>
                <a:cubicBezTo>
                  <a:pt x="2811009" y="123529"/>
                  <a:pt x="2812755" y="114385"/>
                  <a:pt x="2811807" y="98446"/>
                </a:cubicBezTo>
                <a:cubicBezTo>
                  <a:pt x="2810957" y="84169"/>
                  <a:pt x="2812343" y="75347"/>
                  <a:pt x="2815434" y="75347"/>
                </a:cubicBezTo>
                <a:cubicBezTo>
                  <a:pt x="2818242" y="75347"/>
                  <a:pt x="2819352" y="70399"/>
                  <a:pt x="2817964" y="64068"/>
                </a:cubicBezTo>
                <a:cubicBezTo>
                  <a:pt x="2816160" y="55840"/>
                  <a:pt x="2818843" y="50959"/>
                  <a:pt x="2827881" y="46020"/>
                </a:cubicBezTo>
                <a:cubicBezTo>
                  <a:pt x="2843570" y="37446"/>
                  <a:pt x="2867950" y="42245"/>
                  <a:pt x="2867950" y="53908"/>
                </a:cubicBezTo>
                <a:cubicBezTo>
                  <a:pt x="2867950" y="58735"/>
                  <a:pt x="2869918" y="62685"/>
                  <a:pt x="2872323" y="62685"/>
                </a:cubicBezTo>
                <a:cubicBezTo>
                  <a:pt x="2874727" y="62685"/>
                  <a:pt x="2876696" y="66869"/>
                  <a:pt x="2876696" y="71983"/>
                </a:cubicBezTo>
                <a:cubicBezTo>
                  <a:pt x="2876696" y="77575"/>
                  <a:pt x="2879265" y="79852"/>
                  <a:pt x="2883143" y="77698"/>
                </a:cubicBezTo>
                <a:cubicBezTo>
                  <a:pt x="2891144" y="73253"/>
                  <a:pt x="2915481" y="100222"/>
                  <a:pt x="2915810" y="113898"/>
                </a:cubicBezTo>
                <a:cubicBezTo>
                  <a:pt x="2915943" y="119433"/>
                  <a:pt x="2911039" y="127267"/>
                  <a:pt x="2904913" y="131308"/>
                </a:cubicBezTo>
                <a:cubicBezTo>
                  <a:pt x="2890838" y="140594"/>
                  <a:pt x="2889815" y="140513"/>
                  <a:pt x="2889815" y="130128"/>
                </a:cubicBezTo>
                <a:cubicBezTo>
                  <a:pt x="2889815" y="118102"/>
                  <a:pt x="2873609" y="92441"/>
                  <a:pt x="2868756" y="96783"/>
                </a:cubicBezTo>
                <a:cubicBezTo>
                  <a:pt x="2866540" y="98767"/>
                  <a:pt x="2863494" y="111537"/>
                  <a:pt x="2861989" y="125162"/>
                </a:cubicBezTo>
                <a:cubicBezTo>
                  <a:pt x="2860485" y="138787"/>
                  <a:pt x="2856291" y="151581"/>
                  <a:pt x="2852669" y="153593"/>
                </a:cubicBezTo>
                <a:cubicBezTo>
                  <a:pt x="2840741" y="160220"/>
                  <a:pt x="2847175" y="202394"/>
                  <a:pt x="2864473" y="230956"/>
                </a:cubicBezTo>
                <a:cubicBezTo>
                  <a:pt x="2868859" y="238196"/>
                  <a:pt x="2874926" y="256521"/>
                  <a:pt x="2877958" y="271677"/>
                </a:cubicBezTo>
                <a:cubicBezTo>
                  <a:pt x="2881774" y="290765"/>
                  <a:pt x="2887467" y="302627"/>
                  <a:pt x="2896480" y="310278"/>
                </a:cubicBezTo>
                <a:cubicBezTo>
                  <a:pt x="2914313" y="325416"/>
                  <a:pt x="2921265" y="324529"/>
                  <a:pt x="2930626" y="305922"/>
                </a:cubicBezTo>
                <a:cubicBezTo>
                  <a:pt x="2940093" y="287102"/>
                  <a:pt x="2934487" y="271603"/>
                  <a:pt x="2918213" y="271603"/>
                </a:cubicBezTo>
                <a:cubicBezTo>
                  <a:pt x="2911656" y="271603"/>
                  <a:pt x="2907437" y="266805"/>
                  <a:pt x="2905690" y="257359"/>
                </a:cubicBezTo>
                <a:cubicBezTo>
                  <a:pt x="2901610" y="235322"/>
                  <a:pt x="2902186" y="233618"/>
                  <a:pt x="2913711" y="233618"/>
                </a:cubicBezTo>
                <a:cubicBezTo>
                  <a:pt x="2927050" y="233618"/>
                  <a:pt x="2933170" y="217887"/>
                  <a:pt x="2930337" y="190885"/>
                </a:cubicBezTo>
                <a:cubicBezTo>
                  <a:pt x="2928712" y="175393"/>
                  <a:pt x="2929806" y="170310"/>
                  <a:pt x="2934767" y="170310"/>
                </a:cubicBezTo>
                <a:cubicBezTo>
                  <a:pt x="2943173" y="170310"/>
                  <a:pt x="2947395" y="185709"/>
                  <a:pt x="2941378" y="194420"/>
                </a:cubicBezTo>
                <a:cubicBezTo>
                  <a:pt x="2938159" y="199081"/>
                  <a:pt x="2941598" y="202390"/>
                  <a:pt x="2952827" y="205440"/>
                </a:cubicBezTo>
                <a:cubicBezTo>
                  <a:pt x="2965084" y="208769"/>
                  <a:pt x="2970901" y="207145"/>
                  <a:pt x="2977447" y="198569"/>
                </a:cubicBezTo>
                <a:cubicBezTo>
                  <a:pt x="2991133" y="180640"/>
                  <a:pt x="2988109" y="159934"/>
                  <a:pt x="2967852" y="132854"/>
                </a:cubicBezTo>
                <a:cubicBezTo>
                  <a:pt x="2949478" y="108292"/>
                  <a:pt x="2946932" y="88008"/>
                  <a:pt x="2962222" y="88008"/>
                </a:cubicBezTo>
                <a:cubicBezTo>
                  <a:pt x="2970062" y="88008"/>
                  <a:pt x="2985645" y="64023"/>
                  <a:pt x="2985873" y="51606"/>
                </a:cubicBezTo>
                <a:cubicBezTo>
                  <a:pt x="2985960" y="46899"/>
                  <a:pt x="2991929" y="43693"/>
                  <a:pt x="3000606" y="43693"/>
                </a:cubicBezTo>
                <a:cubicBezTo>
                  <a:pt x="3012139" y="43693"/>
                  <a:pt x="3018546" y="49098"/>
                  <a:pt x="3031196" y="69498"/>
                </a:cubicBezTo>
                <a:cubicBezTo>
                  <a:pt x="3045443" y="92473"/>
                  <a:pt x="3047919" y="94259"/>
                  <a:pt x="3053778" y="85778"/>
                </a:cubicBezTo>
                <a:cubicBezTo>
                  <a:pt x="3061714" y="74289"/>
                  <a:pt x="3062205" y="61561"/>
                  <a:pt x="3055111" y="51289"/>
                </a:cubicBezTo>
                <a:cubicBezTo>
                  <a:pt x="3051030" y="45381"/>
                  <a:pt x="3051090" y="41934"/>
                  <a:pt x="3055383" y="35779"/>
                </a:cubicBezTo>
                <a:cubicBezTo>
                  <a:pt x="3059803" y="29442"/>
                  <a:pt x="3061685" y="29872"/>
                  <a:pt x="3064829" y="37931"/>
                </a:cubicBezTo>
                <a:cubicBezTo>
                  <a:pt x="3073651" y="60547"/>
                  <a:pt x="3085007" y="75367"/>
                  <a:pt x="3095119" y="77459"/>
                </a:cubicBezTo>
                <a:cubicBezTo>
                  <a:pt x="3110739" y="80691"/>
                  <a:pt x="3116466" y="97029"/>
                  <a:pt x="3107184" y="111877"/>
                </a:cubicBezTo>
                <a:cubicBezTo>
                  <a:pt x="3099011" y="124950"/>
                  <a:pt x="3097138" y="144986"/>
                  <a:pt x="3104088" y="144986"/>
                </a:cubicBezTo>
                <a:cubicBezTo>
                  <a:pt x="3106492" y="144986"/>
                  <a:pt x="3108461" y="151941"/>
                  <a:pt x="3108461" y="160439"/>
                </a:cubicBezTo>
                <a:cubicBezTo>
                  <a:pt x="3108461" y="168939"/>
                  <a:pt x="3110429" y="177654"/>
                  <a:pt x="3112834" y="179806"/>
                </a:cubicBezTo>
                <a:cubicBezTo>
                  <a:pt x="3115238" y="181958"/>
                  <a:pt x="3117207" y="193663"/>
                  <a:pt x="3117207" y="205817"/>
                </a:cubicBezTo>
                <a:cubicBezTo>
                  <a:pt x="3117207" y="222318"/>
                  <a:pt x="3120918" y="233447"/>
                  <a:pt x="3131860" y="249759"/>
                </a:cubicBezTo>
                <a:cubicBezTo>
                  <a:pt x="3139920" y="261774"/>
                  <a:pt x="3149007" y="271603"/>
                  <a:pt x="3152055" y="271603"/>
                </a:cubicBezTo>
                <a:cubicBezTo>
                  <a:pt x="3155102" y="271603"/>
                  <a:pt x="3164319" y="280150"/>
                  <a:pt x="3172536" y="290596"/>
                </a:cubicBezTo>
                <a:cubicBezTo>
                  <a:pt x="3188581" y="310992"/>
                  <a:pt x="3207725" y="315576"/>
                  <a:pt x="3211850" y="300011"/>
                </a:cubicBezTo>
                <a:cubicBezTo>
                  <a:pt x="3213246" y="294744"/>
                  <a:pt x="3211890" y="286077"/>
                  <a:pt x="3208838" y="280750"/>
                </a:cubicBezTo>
                <a:cubicBezTo>
                  <a:pt x="3201373" y="267728"/>
                  <a:pt x="3210491" y="252182"/>
                  <a:pt x="3218659" y="264006"/>
                </a:cubicBezTo>
                <a:cubicBezTo>
                  <a:pt x="3224862" y="272988"/>
                  <a:pt x="3249230" y="274134"/>
                  <a:pt x="3255173" y="265724"/>
                </a:cubicBezTo>
                <a:cubicBezTo>
                  <a:pt x="3257458" y="262490"/>
                  <a:pt x="3266214" y="258929"/>
                  <a:pt x="3274632" y="257810"/>
                </a:cubicBezTo>
                <a:cubicBezTo>
                  <a:pt x="3287659" y="256079"/>
                  <a:pt x="3290142" y="253185"/>
                  <a:pt x="3291320" y="238366"/>
                </a:cubicBezTo>
                <a:cubicBezTo>
                  <a:pt x="3292306" y="225960"/>
                  <a:pt x="3295174" y="220957"/>
                  <a:pt x="3301297" y="220957"/>
                </a:cubicBezTo>
                <a:cubicBezTo>
                  <a:pt x="3311988" y="220957"/>
                  <a:pt x="3316952" y="203956"/>
                  <a:pt x="3310575" y="189177"/>
                </a:cubicBezTo>
                <a:cubicBezTo>
                  <a:pt x="3306477" y="179673"/>
                  <a:pt x="3307719" y="177506"/>
                  <a:pt x="3319179" y="174188"/>
                </a:cubicBezTo>
                <a:cubicBezTo>
                  <a:pt x="3350857" y="165016"/>
                  <a:pt x="3375209" y="178300"/>
                  <a:pt x="3375209" y="204754"/>
                </a:cubicBezTo>
                <a:cubicBezTo>
                  <a:pt x="3375209" y="212452"/>
                  <a:pt x="3380128" y="225440"/>
                  <a:pt x="3386141" y="233618"/>
                </a:cubicBezTo>
                <a:cubicBezTo>
                  <a:pt x="3392154" y="241796"/>
                  <a:pt x="3397074" y="253213"/>
                  <a:pt x="3397074" y="258990"/>
                </a:cubicBezTo>
                <a:cubicBezTo>
                  <a:pt x="3397074" y="274893"/>
                  <a:pt x="3401750" y="278399"/>
                  <a:pt x="3408988" y="267922"/>
                </a:cubicBezTo>
                <a:cubicBezTo>
                  <a:pt x="3415535" y="258440"/>
                  <a:pt x="3432760" y="261354"/>
                  <a:pt x="3435701" y="272440"/>
                </a:cubicBezTo>
                <a:cubicBezTo>
                  <a:pt x="3436503" y="275462"/>
                  <a:pt x="3441799" y="277934"/>
                  <a:pt x="3447468" y="277934"/>
                </a:cubicBezTo>
                <a:cubicBezTo>
                  <a:pt x="3453139" y="277934"/>
                  <a:pt x="3458994" y="280783"/>
                  <a:pt x="3460481" y="284265"/>
                </a:cubicBezTo>
                <a:cubicBezTo>
                  <a:pt x="3461968" y="287747"/>
                  <a:pt x="3467993" y="290596"/>
                  <a:pt x="3473871" y="290596"/>
                </a:cubicBezTo>
                <a:cubicBezTo>
                  <a:pt x="3482160" y="290596"/>
                  <a:pt x="3486258" y="284916"/>
                  <a:pt x="3492137" y="265273"/>
                </a:cubicBezTo>
                <a:cubicBezTo>
                  <a:pt x="3496304" y="251345"/>
                  <a:pt x="3501176" y="239949"/>
                  <a:pt x="3502962" y="239949"/>
                </a:cubicBezTo>
                <a:cubicBezTo>
                  <a:pt x="3504748" y="239949"/>
                  <a:pt x="3503904" y="232623"/>
                  <a:pt x="3501086" y="223668"/>
                </a:cubicBezTo>
                <a:cubicBezTo>
                  <a:pt x="3497521" y="212342"/>
                  <a:pt x="3497370" y="206081"/>
                  <a:pt x="3500590" y="203093"/>
                </a:cubicBezTo>
                <a:cubicBezTo>
                  <a:pt x="3509297" y="195013"/>
                  <a:pt x="3511914" y="170548"/>
                  <a:pt x="3504512" y="166435"/>
                </a:cubicBezTo>
                <a:cubicBezTo>
                  <a:pt x="3500738" y="164339"/>
                  <a:pt x="3497651" y="156156"/>
                  <a:pt x="3497651" y="148250"/>
                </a:cubicBezTo>
                <a:cubicBezTo>
                  <a:pt x="3497651" y="140344"/>
                  <a:pt x="3494700" y="130329"/>
                  <a:pt x="3491091" y="125994"/>
                </a:cubicBezTo>
                <a:cubicBezTo>
                  <a:pt x="3487483" y="121659"/>
                  <a:pt x="3484532" y="111508"/>
                  <a:pt x="3484532" y="103434"/>
                </a:cubicBezTo>
                <a:cubicBezTo>
                  <a:pt x="3484532" y="95361"/>
                  <a:pt x="3482565" y="86995"/>
                  <a:pt x="3480160" y="84843"/>
                </a:cubicBezTo>
                <a:cubicBezTo>
                  <a:pt x="3477754" y="82691"/>
                  <a:pt x="3475787" y="65734"/>
                  <a:pt x="3475787" y="47161"/>
                </a:cubicBezTo>
                <a:cubicBezTo>
                  <a:pt x="3475787" y="22209"/>
                  <a:pt x="3477593" y="12390"/>
                  <a:pt x="3482704" y="9550"/>
                </a:cubicBezTo>
                <a:cubicBezTo>
                  <a:pt x="3487246" y="7027"/>
                  <a:pt x="3489200" y="5620"/>
                  <a:pt x="3491456" y="6650"/>
                </a:cubicBezTo>
                <a:close/>
                <a:moveTo>
                  <a:pt x="3226906" y="1812"/>
                </a:moveTo>
                <a:cubicBezTo>
                  <a:pt x="3239673" y="-1245"/>
                  <a:pt x="3244752" y="962"/>
                  <a:pt x="3254236" y="13687"/>
                </a:cubicBezTo>
                <a:cubicBezTo>
                  <a:pt x="3260643" y="22284"/>
                  <a:pt x="3265886" y="31224"/>
                  <a:pt x="3265886" y="33553"/>
                </a:cubicBezTo>
                <a:cubicBezTo>
                  <a:pt x="3265886" y="35882"/>
                  <a:pt x="3260213" y="45816"/>
                  <a:pt x="3253280" y="55628"/>
                </a:cubicBezTo>
                <a:cubicBezTo>
                  <a:pt x="3237852" y="77461"/>
                  <a:pt x="3214386" y="85952"/>
                  <a:pt x="3207342" y="72250"/>
                </a:cubicBezTo>
                <a:cubicBezTo>
                  <a:pt x="3202496" y="62824"/>
                  <a:pt x="3163632" y="56671"/>
                  <a:pt x="3158240" y="64477"/>
                </a:cubicBezTo>
                <a:cubicBezTo>
                  <a:pt x="3156779" y="66593"/>
                  <a:pt x="3155075" y="77738"/>
                  <a:pt x="3154454" y="89245"/>
                </a:cubicBezTo>
                <a:cubicBezTo>
                  <a:pt x="3153386" y="109054"/>
                  <a:pt x="3144752" y="119445"/>
                  <a:pt x="3137765" y="109330"/>
                </a:cubicBezTo>
                <a:cubicBezTo>
                  <a:pt x="3133071" y="102536"/>
                  <a:pt x="3134120" y="81678"/>
                  <a:pt x="3139154" y="81678"/>
                </a:cubicBezTo>
                <a:cubicBezTo>
                  <a:pt x="3141720" y="81678"/>
                  <a:pt x="3142451" y="74986"/>
                  <a:pt x="3140877" y="65909"/>
                </a:cubicBezTo>
                <a:cubicBezTo>
                  <a:pt x="3138806" y="53957"/>
                  <a:pt x="3140109" y="49249"/>
                  <a:pt x="3146260" y="46455"/>
                </a:cubicBezTo>
                <a:cubicBezTo>
                  <a:pt x="3150724" y="44427"/>
                  <a:pt x="3157793" y="40127"/>
                  <a:pt x="3161969" y="36900"/>
                </a:cubicBezTo>
                <a:cubicBezTo>
                  <a:pt x="3166146" y="33671"/>
                  <a:pt x="3172542" y="31031"/>
                  <a:pt x="3176182" y="31031"/>
                </a:cubicBezTo>
                <a:cubicBezTo>
                  <a:pt x="3179885" y="31031"/>
                  <a:pt x="3182801" y="25454"/>
                  <a:pt x="3182801" y="18369"/>
                </a:cubicBezTo>
                <a:cubicBezTo>
                  <a:pt x="3182801" y="8319"/>
                  <a:pt x="3185731" y="5693"/>
                  <a:pt x="3197012" y="5637"/>
                </a:cubicBezTo>
                <a:cubicBezTo>
                  <a:pt x="3204829" y="5599"/>
                  <a:pt x="3218281" y="3878"/>
                  <a:pt x="3226906" y="1812"/>
                </a:cubicBezTo>
                <a:close/>
                <a:moveTo>
                  <a:pt x="3353505" y="1044"/>
                </a:moveTo>
                <a:cubicBezTo>
                  <a:pt x="3365314" y="-3635"/>
                  <a:pt x="3365622" y="6767"/>
                  <a:pt x="3364731" y="45612"/>
                </a:cubicBezTo>
                <a:cubicBezTo>
                  <a:pt x="3364148" y="71042"/>
                  <a:pt x="3362215" y="95257"/>
                  <a:pt x="3360436" y="99424"/>
                </a:cubicBezTo>
                <a:cubicBezTo>
                  <a:pt x="3356504" y="108635"/>
                  <a:pt x="3346119" y="109352"/>
                  <a:pt x="3342412" y="100670"/>
                </a:cubicBezTo>
                <a:cubicBezTo>
                  <a:pt x="3340926" y="97188"/>
                  <a:pt x="3335147" y="94339"/>
                  <a:pt x="3329571" y="94339"/>
                </a:cubicBezTo>
                <a:cubicBezTo>
                  <a:pt x="3323994" y="94339"/>
                  <a:pt x="3316982" y="90066"/>
                  <a:pt x="3313988" y="84843"/>
                </a:cubicBezTo>
                <a:cubicBezTo>
                  <a:pt x="3310993" y="79620"/>
                  <a:pt x="3304850" y="75347"/>
                  <a:pt x="3300334" y="75347"/>
                </a:cubicBezTo>
                <a:cubicBezTo>
                  <a:pt x="3295819" y="75347"/>
                  <a:pt x="3292124" y="73173"/>
                  <a:pt x="3292124" y="70517"/>
                </a:cubicBezTo>
                <a:cubicBezTo>
                  <a:pt x="3292124" y="67861"/>
                  <a:pt x="3287696" y="62875"/>
                  <a:pt x="3282285" y="59438"/>
                </a:cubicBezTo>
                <a:cubicBezTo>
                  <a:pt x="3264498" y="48141"/>
                  <a:pt x="3270499" y="34725"/>
                  <a:pt x="3296497" y="27663"/>
                </a:cubicBezTo>
                <a:cubicBezTo>
                  <a:pt x="3309725" y="24071"/>
                  <a:pt x="3328167" y="16237"/>
                  <a:pt x="3337481" y="10254"/>
                </a:cubicBezTo>
                <a:cubicBezTo>
                  <a:pt x="3344354" y="5839"/>
                  <a:pt x="3349568" y="2604"/>
                  <a:pt x="3353505" y="1044"/>
                </a:cubicBezTo>
                <a:close/>
              </a:path>
            </a:pathLst>
          </a:custGeom>
        </p:spPr>
        <p:txBody>
          <a:bodyPr wrap="square">
            <a:noAutofit/>
          </a:bodyPr>
          <a:lstStyle/>
          <a:p>
            <a:endParaRPr lang="en-IN"/>
          </a:p>
        </p:txBody>
      </p:sp>
      <p:cxnSp>
        <p:nvCxnSpPr>
          <p:cNvPr id="11" name="Straight Connector 10">
            <a:extLst>
              <a:ext uri="{FF2B5EF4-FFF2-40B4-BE49-F238E27FC236}">
                <a16:creationId xmlns:a16="http://schemas.microsoft.com/office/drawing/2014/main" id="{E59C3B0B-12D9-4BA9-8EF5-11D626030F9F}"/>
              </a:ext>
            </a:extLst>
          </p:cNvPr>
          <p:cNvCxnSpPr/>
          <p:nvPr userDrawn="1"/>
        </p:nvCxnSpPr>
        <p:spPr>
          <a:xfrm>
            <a:off x="5624948" y="327809"/>
            <a:ext cx="942109" cy="0"/>
          </a:xfrm>
          <a:prstGeom prst="line">
            <a:avLst/>
          </a:prstGeom>
          <a:ln w="38100" cap="rnd">
            <a:gradFill>
              <a:gsLst>
                <a:gs pos="0">
                  <a:srgbClr val="00FFB2"/>
                </a:gs>
                <a:gs pos="100000">
                  <a:srgbClr val="0079FF"/>
                </a:gs>
              </a:gsLst>
              <a:lin ang="0" scaled="0"/>
            </a:gra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037140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FC563-103D-4F24-BF77-8A91AF042527}"/>
              </a:ext>
            </a:extLst>
          </p:cNvPr>
          <p:cNvSpPr>
            <a:spLocks noGrp="1"/>
          </p:cNvSpPr>
          <p:nvPr>
            <p:ph type="title"/>
          </p:nvPr>
        </p:nvSpPr>
        <p:spPr>
          <a:xfrm>
            <a:off x="330200" y="136523"/>
            <a:ext cx="11531600" cy="621461"/>
          </a:xfrm>
        </p:spPr>
        <p:txBody>
          <a:bodyPr>
            <a:normAutofit/>
          </a:bodyPr>
          <a:lstStyle>
            <a:lvl1pPr marL="0" algn="ctr" defTabSz="914400" rtl="0" eaLnBrk="1" latinLnBrk="0" hangingPunct="1">
              <a:lnSpc>
                <a:spcPct val="90000"/>
              </a:lnSpc>
              <a:spcBef>
                <a:spcPct val="0"/>
              </a:spcBef>
              <a:buNone/>
              <a:defRPr lang="hi-IN" sz="3200" kern="1200" dirty="0">
                <a:solidFill>
                  <a:schemeClr val="tx1"/>
                </a:solidFill>
                <a:latin typeface="Century Gothic" panose="020B0502020202020204" pitchFamily="34" charset="0"/>
                <a:ea typeface="+mj-ea"/>
                <a:cs typeface="+mj-cs"/>
              </a:defRPr>
            </a:lvl1pPr>
          </a:lstStyle>
          <a:p>
            <a:r>
              <a:rPr lang="en-US"/>
              <a:t>Click to edit Master title style</a:t>
            </a:r>
            <a:endParaRPr lang="hi-IN"/>
          </a:p>
        </p:txBody>
      </p:sp>
      <p:sp>
        <p:nvSpPr>
          <p:cNvPr id="3" name="Footer Placeholder 2">
            <a:extLst>
              <a:ext uri="{FF2B5EF4-FFF2-40B4-BE49-F238E27FC236}">
                <a16:creationId xmlns:a16="http://schemas.microsoft.com/office/drawing/2014/main" id="{CEEB7AA3-7EBC-46BE-B9CD-D779CD2426EE}"/>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40112121-6BF9-41EC-BE74-DFAB40F9A40A}"/>
              </a:ext>
            </a:extLst>
          </p:cNvPr>
          <p:cNvSpPr>
            <a:spLocks noGrp="1"/>
          </p:cNvSpPr>
          <p:nvPr>
            <p:ph type="sldNum" sz="quarter" idx="11"/>
          </p:nvPr>
        </p:nvSpPr>
        <p:spPr/>
        <p:txBody>
          <a:bodyPr/>
          <a:lstStyle/>
          <a:p>
            <a:fld id="{7B3CB04D-A735-49A0-BBF9-5285A2D32F9A}" type="slidenum">
              <a:rPr lang="en-US" smtClean="0"/>
              <a:pPr/>
              <a:t>‹#›</a:t>
            </a:fld>
            <a:endParaRPr lang="en-US"/>
          </a:p>
        </p:txBody>
      </p:sp>
    </p:spTree>
    <p:extLst>
      <p:ext uri="{BB962C8B-B14F-4D97-AF65-F5344CB8AC3E}">
        <p14:creationId xmlns:p14="http://schemas.microsoft.com/office/powerpoint/2010/main" val="721551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Half image">
    <p:bg>
      <p:bgPr>
        <a:solidFill>
          <a:schemeClr val="tx1"/>
        </a:solidFill>
        <a:effectLst/>
      </p:bgPr>
    </p:bg>
    <p:spTree>
      <p:nvGrpSpPr>
        <p:cNvPr id="1" name=""/>
        <p:cNvGrpSpPr/>
        <p:nvPr/>
      </p:nvGrpSpPr>
      <p:grpSpPr>
        <a:xfrm>
          <a:off x="0" y="0"/>
          <a:ext cx="0" cy="0"/>
          <a:chOff x="0" y="0"/>
          <a:chExt cx="0" cy="0"/>
        </a:xfrm>
      </p:grpSpPr>
      <p:sp>
        <p:nvSpPr>
          <p:cNvPr id="4" name="Picture Placeholder 5">
            <a:extLst>
              <a:ext uri="{FF2B5EF4-FFF2-40B4-BE49-F238E27FC236}">
                <a16:creationId xmlns:a16="http://schemas.microsoft.com/office/drawing/2014/main" id="{06CF6CF3-8491-8469-EF6E-6DF4249EBF58}"/>
              </a:ext>
            </a:extLst>
          </p:cNvPr>
          <p:cNvSpPr>
            <a:spLocks noGrp="1"/>
          </p:cNvSpPr>
          <p:nvPr>
            <p:ph type="pic" sz="quarter" idx="13" hasCustomPrompt="1"/>
          </p:nvPr>
        </p:nvSpPr>
        <p:spPr>
          <a:xfrm>
            <a:off x="6238875" y="0"/>
            <a:ext cx="5953125" cy="6858000"/>
          </a:xfrm>
          <a:solidFill>
            <a:schemeClr val="bg1"/>
          </a:solidFill>
        </p:spPr>
        <p:txBody>
          <a:bodyPr anchor="ctr"/>
          <a:lstStyle>
            <a:lvl1pPr algn="ctr">
              <a:defRPr>
                <a:solidFill>
                  <a:schemeClr val="tx1"/>
                </a:solidFill>
              </a:defRPr>
            </a:lvl1pPr>
          </a:lstStyle>
          <a:p>
            <a:r>
              <a:rPr lang="en-US"/>
              <a:t>[add image]</a:t>
            </a:r>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95469" y="1221441"/>
            <a:ext cx="5657657" cy="4938059"/>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itle Text">
            <a:extLst>
              <a:ext uri="{FF2B5EF4-FFF2-40B4-BE49-F238E27FC236}">
                <a16:creationId xmlns:a16="http://schemas.microsoft.com/office/drawing/2014/main" id="{4B5980F9-A7B7-7DE7-65FD-745FC498DFDB}"/>
              </a:ext>
            </a:extLst>
          </p:cNvPr>
          <p:cNvSpPr txBox="1">
            <a:spLocks noGrp="1"/>
          </p:cNvSpPr>
          <p:nvPr>
            <p:ph type="title" hasCustomPrompt="1"/>
          </p:nvPr>
        </p:nvSpPr>
        <p:spPr>
          <a:xfrm>
            <a:off x="290211" y="295139"/>
            <a:ext cx="5657657" cy="38660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73152" rIns="0" bIns="0"/>
          <a:lstStyle/>
          <a:p>
            <a:r>
              <a:rPr lang="en-US"/>
              <a:t>Half image</a:t>
            </a:r>
            <a:endParaRPr/>
          </a:p>
        </p:txBody>
      </p:sp>
      <p:sp>
        <p:nvSpPr>
          <p:cNvPr id="6" name="Text Placeholder 3">
            <a:extLst>
              <a:ext uri="{FF2B5EF4-FFF2-40B4-BE49-F238E27FC236}">
                <a16:creationId xmlns:a16="http://schemas.microsoft.com/office/drawing/2014/main" id="{97CF5AB9-188C-F7FE-47D0-616D908F404A}"/>
              </a:ext>
            </a:extLst>
          </p:cNvPr>
          <p:cNvSpPr txBox="1">
            <a:spLocks/>
          </p:cNvSpPr>
          <p:nvPr userDrawn="1"/>
        </p:nvSpPr>
        <p:spPr>
          <a:xfrm>
            <a:off x="11438259" y="6458629"/>
            <a:ext cx="462473" cy="150303"/>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Outfit Light" pitchFamily="2" charset="0"/>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r" defTabSz="1218948" rtl="0" eaLnBrk="1" fontAlgn="auto" latinLnBrk="0" hangingPunct="1">
              <a:lnSpc>
                <a:spcPct val="110000"/>
              </a:lnSpc>
              <a:spcBef>
                <a:spcPts val="0"/>
              </a:spcBef>
              <a:spcAft>
                <a:spcPts val="0"/>
              </a:spcAft>
              <a:buClrTx/>
              <a:buSzTx/>
              <a:buFontTx/>
              <a:buNone/>
              <a:tabLst/>
              <a:defRPr/>
            </a:pPr>
            <a:fld id="{64F0821C-65D3-DD4D-8DB2-745946DB9115}" type="slidenum">
              <a:rPr kumimoji="0" lang="en-US" sz="917" b="0" i="0" u="none" strike="noStrike" kern="0" cap="none" spc="0" normalizeH="0" baseline="0" noProof="0" smtClean="0">
                <a:ln>
                  <a:noFill/>
                </a:ln>
                <a:solidFill>
                  <a:schemeClr val="tx1"/>
                </a:solidFill>
                <a:effectLst/>
                <a:uLnTx/>
                <a:uFillTx/>
                <a:latin typeface="Aptos" panose="020B0004020202020204" pitchFamily="34" charset="0"/>
                <a:ea typeface="+mj-ea"/>
                <a:cs typeface="+mj-cs"/>
                <a:sym typeface="IBM Plex Sans Light"/>
              </a:rPr>
              <a:pPr marL="0" marR="0" lvl="0" indent="0" algn="r" defTabSz="1218948" rtl="0" eaLnBrk="1" fontAlgn="auto" latinLnBrk="0" hangingPunct="1">
                <a:lnSpc>
                  <a:spcPct val="110000"/>
                </a:lnSpc>
                <a:spcBef>
                  <a:spcPts val="0"/>
                </a:spcBef>
                <a:spcAft>
                  <a:spcPts val="0"/>
                </a:spcAft>
                <a:buClrTx/>
                <a:buSzTx/>
                <a:buFontTx/>
                <a:buNone/>
                <a:tabLst/>
                <a:defRPr/>
              </a:pPr>
              <a:t>‹#›</a:t>
            </a:fld>
            <a:endParaRPr kumimoji="0" lang="en-US" sz="917" b="0" i="0" u="none" strike="noStrike" kern="0" cap="none" spc="0" normalizeH="0" baseline="0" noProof="0">
              <a:ln>
                <a:noFill/>
              </a:ln>
              <a:solidFill>
                <a:schemeClr val="tx1"/>
              </a:solidFill>
              <a:effectLst/>
              <a:uLnTx/>
              <a:uFillTx/>
              <a:latin typeface="Aptos" panose="020B0004020202020204" pitchFamily="34" charset="0"/>
              <a:ea typeface="+mj-ea"/>
              <a:cs typeface="+mj-cs"/>
              <a:sym typeface="IBM Plex Sans Light"/>
            </a:endParaRPr>
          </a:p>
        </p:txBody>
      </p:sp>
      <p:pic>
        <p:nvPicPr>
          <p:cNvPr id="8" name="Graphic 7">
            <a:extLst>
              <a:ext uri="{FF2B5EF4-FFF2-40B4-BE49-F238E27FC236}">
                <a16:creationId xmlns:a16="http://schemas.microsoft.com/office/drawing/2014/main" id="{347BA4B1-3F51-247D-13A4-970446FB362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543540" y="6495499"/>
            <a:ext cx="167269" cy="81501"/>
          </a:xfrm>
          <a:prstGeom prst="rect">
            <a:avLst/>
          </a:prstGeom>
        </p:spPr>
      </p:pic>
    </p:spTree>
    <p:extLst>
      <p:ext uri="{BB962C8B-B14F-4D97-AF65-F5344CB8AC3E}">
        <p14:creationId xmlns:p14="http://schemas.microsoft.com/office/powerpoint/2010/main" val="3785192424"/>
      </p:ext>
    </p:extLst>
  </p:cSld>
  <p:clrMapOvr>
    <a:masterClrMapping/>
  </p:clrMapOvr>
  <p:transition spd="med"/>
  <p:extLst>
    <p:ext uri="{DCECCB84-F9BA-43D5-87BE-67443E8EF086}">
      <p15:sldGuideLst xmlns:p15="http://schemas.microsoft.com/office/powerpoint/2012/main">
        <p15:guide id="2" orient="horz" pos="4656">
          <p15:clr>
            <a:srgbClr val="F26B43"/>
          </p15:clr>
        </p15:guide>
        <p15:guide id="3" orient="horz" pos="912">
          <p15:clr>
            <a:srgbClr val="F26B43"/>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192000" cy="6858000"/>
          </a:xfrm>
        </p:spPr>
        <p:txBody>
          <a:bodyPr>
            <a:normAutofit/>
          </a:bodyPr>
          <a:lstStyle>
            <a:lvl1pPr>
              <a:defRPr sz="1200"/>
            </a:lvl1pPr>
          </a:lstStyle>
          <a:p>
            <a:endParaRPr lang="en-US"/>
          </a:p>
        </p:txBody>
      </p:sp>
      <p:pic>
        <p:nvPicPr>
          <p:cNvPr id="6" name="Picture 3" descr="C:\Users\Danielle.Landis\Dropbox\Brillio Brand Applications\Logo\Brillio Logo\Brillio-Png-logos\Brillio-Png-logos\Brillio_Logo_Colour.pn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t="19739" b="19739"/>
          <a:stretch/>
        </p:blipFill>
        <p:spPr bwMode="auto">
          <a:xfrm>
            <a:off x="11224011" y="6232884"/>
            <a:ext cx="790936" cy="2743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497993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F4F6DD-43C4-455E-85A4-718F8649A339}"/>
              </a:ext>
            </a:extLst>
          </p:cNvPr>
          <p:cNvSpPr>
            <a:spLocks noGrp="1"/>
          </p:cNvSpPr>
          <p:nvPr>
            <p:ph type="title" hasCustomPrompt="1"/>
          </p:nvPr>
        </p:nvSpPr>
        <p:spPr>
          <a:xfrm>
            <a:off x="346368" y="323566"/>
            <a:ext cx="11610109" cy="757093"/>
          </a:xfrm>
        </p:spPr>
        <p:txBody>
          <a:bodyPr vert="horz" lIns="91440" tIns="45720" rIns="91440" bIns="45720" rtlCol="0" anchor="ctr">
            <a:normAutofit/>
          </a:bodyPr>
          <a:lstStyle>
            <a:lvl1pPr>
              <a:defRPr lang="en-IN" sz="2400" cap="all" spc="200" baseline="0" dirty="0">
                <a:solidFill>
                  <a:schemeClr val="tx1">
                    <a:lumMod val="75000"/>
                    <a:lumOff val="25000"/>
                  </a:schemeClr>
                </a:solidFill>
                <a:latin typeface="Open Sans Extrabold" panose="020B0906030804020204"/>
                <a:ea typeface="Open Sans Extrabold" panose="020B0906030804020204"/>
                <a:cs typeface="Open Sans Extrabold" panose="020B0906030804020204"/>
              </a:defRPr>
            </a:lvl1pPr>
          </a:lstStyle>
          <a:p>
            <a:pPr lvl="0"/>
            <a:r>
              <a:rPr lang="en-US"/>
              <a:t>CLICK TO EDIT MASTER TITLE STYLE</a:t>
            </a:r>
            <a:endParaRPr lang="en-IN"/>
          </a:p>
        </p:txBody>
      </p:sp>
      <p:sp>
        <p:nvSpPr>
          <p:cNvPr id="3" name="Date Placeholder 2">
            <a:extLst>
              <a:ext uri="{FF2B5EF4-FFF2-40B4-BE49-F238E27FC236}">
                <a16:creationId xmlns:a16="http://schemas.microsoft.com/office/drawing/2014/main" id="{83EF9161-0E1C-4A9D-B157-C25AC748B970}"/>
              </a:ext>
            </a:extLst>
          </p:cNvPr>
          <p:cNvSpPr>
            <a:spLocks noGrp="1"/>
          </p:cNvSpPr>
          <p:nvPr>
            <p:ph type="dt" sz="half" idx="10"/>
          </p:nvPr>
        </p:nvSpPr>
        <p:spPr>
          <a:xfrm>
            <a:off x="1200445" y="6425628"/>
            <a:ext cx="2394811" cy="365125"/>
          </a:xfrm>
        </p:spPr>
        <p:txBody>
          <a:bodyPr/>
          <a:lstStyle/>
          <a:p>
            <a:pPr defTabSz="304807">
              <a:defRPr/>
            </a:pPr>
            <a:fld id="{BCFA3C7E-60CC-4E3C-A79A-07886A9CC02E}" type="datetime3">
              <a:rPr lang="en-IN" smtClean="0">
                <a:solidFill>
                  <a:prstClr val="black">
                    <a:tint val="75000"/>
                  </a:prstClr>
                </a:solidFill>
              </a:rPr>
              <a:pPr defTabSz="304807">
                <a:defRPr/>
              </a:pPr>
              <a:t>11 April 2025</a:t>
            </a:fld>
            <a:endParaRPr lang="en-IN">
              <a:solidFill>
                <a:prstClr val="black">
                  <a:tint val="75000"/>
                </a:prstClr>
              </a:solidFill>
            </a:endParaRPr>
          </a:p>
        </p:txBody>
      </p:sp>
      <p:sp>
        <p:nvSpPr>
          <p:cNvPr id="4" name="Footer Placeholder 3">
            <a:extLst>
              <a:ext uri="{FF2B5EF4-FFF2-40B4-BE49-F238E27FC236}">
                <a16:creationId xmlns:a16="http://schemas.microsoft.com/office/drawing/2014/main" id="{A5BFF4B3-047D-4194-99AA-A3A041F58877}"/>
              </a:ext>
            </a:extLst>
          </p:cNvPr>
          <p:cNvSpPr>
            <a:spLocks noGrp="1"/>
          </p:cNvSpPr>
          <p:nvPr>
            <p:ph type="ftr" sz="quarter" idx="11"/>
          </p:nvPr>
        </p:nvSpPr>
        <p:spPr/>
        <p:txBody>
          <a:bodyPr/>
          <a:lstStyle/>
          <a:p>
            <a:pPr defTabSz="304807">
              <a:defRPr/>
            </a:pPr>
            <a:endParaRPr lang="en-IN">
              <a:solidFill>
                <a:prstClr val="black">
                  <a:tint val="75000"/>
                </a:prstClr>
              </a:solidFill>
            </a:endParaRPr>
          </a:p>
        </p:txBody>
      </p:sp>
      <p:sp>
        <p:nvSpPr>
          <p:cNvPr id="5" name="Slide Number Placeholder 4">
            <a:extLst>
              <a:ext uri="{FF2B5EF4-FFF2-40B4-BE49-F238E27FC236}">
                <a16:creationId xmlns:a16="http://schemas.microsoft.com/office/drawing/2014/main" id="{FBB1963F-FDBC-45A1-A2FE-B34928658A63}"/>
              </a:ext>
            </a:extLst>
          </p:cNvPr>
          <p:cNvSpPr>
            <a:spLocks noGrp="1"/>
          </p:cNvSpPr>
          <p:nvPr>
            <p:ph type="sldNum" sz="quarter" idx="12"/>
          </p:nvPr>
        </p:nvSpPr>
        <p:spPr/>
        <p:txBody>
          <a:bodyPr/>
          <a:lstStyle/>
          <a:p>
            <a:pPr defTabSz="304807">
              <a:defRPr/>
            </a:pPr>
            <a:fld id="{CE8D28EE-DADA-4185-923A-61843F8176A9}" type="slidenum">
              <a:rPr lang="en-IN" smtClean="0">
                <a:solidFill>
                  <a:prstClr val="black">
                    <a:tint val="75000"/>
                  </a:prstClr>
                </a:solidFill>
              </a:rPr>
              <a:pPr defTabSz="304807">
                <a:defRPr/>
              </a:pPr>
              <a:t>‹#›</a:t>
            </a:fld>
            <a:endParaRPr lang="en-IN">
              <a:solidFill>
                <a:prstClr val="black">
                  <a:tint val="75000"/>
                </a:prstClr>
              </a:solidFill>
            </a:endParaRPr>
          </a:p>
        </p:txBody>
      </p:sp>
      <p:cxnSp>
        <p:nvCxnSpPr>
          <p:cNvPr id="7" name="Straight Connector 6">
            <a:extLst>
              <a:ext uri="{FF2B5EF4-FFF2-40B4-BE49-F238E27FC236}">
                <a16:creationId xmlns:a16="http://schemas.microsoft.com/office/drawing/2014/main" id="{DDC949F5-DEF2-46F9-AB38-2AB8ED8825A7}"/>
              </a:ext>
            </a:extLst>
          </p:cNvPr>
          <p:cNvCxnSpPr/>
          <p:nvPr userDrawn="1"/>
        </p:nvCxnSpPr>
        <p:spPr>
          <a:xfrm>
            <a:off x="346368" y="323561"/>
            <a:ext cx="942109" cy="0"/>
          </a:xfrm>
          <a:prstGeom prst="line">
            <a:avLst/>
          </a:prstGeom>
          <a:ln w="60325" cap="rnd">
            <a:gradFill>
              <a:gsLst>
                <a:gs pos="0">
                  <a:srgbClr val="00FFB2"/>
                </a:gs>
                <a:gs pos="100000">
                  <a:srgbClr val="0079FF"/>
                </a:gs>
              </a:gsLst>
              <a:lin ang="0" scaled="0"/>
            </a:gra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097154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rillio_Title slide-Dark">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8" name="TextBox 7"/>
          <p:cNvSpPr txBox="1"/>
          <p:nvPr userDrawn="1"/>
        </p:nvSpPr>
        <p:spPr>
          <a:xfrm>
            <a:off x="381000" y="6323112"/>
            <a:ext cx="3048000" cy="153888"/>
          </a:xfrm>
          <a:prstGeom prst="rect">
            <a:avLst/>
          </a:prstGeom>
          <a:noFill/>
        </p:spPr>
        <p:txBody>
          <a:bodyPr wrap="square" lIns="0" tIns="0" rIns="0" bIns="0" rtlCol="0" anchor="b" anchorCtr="0">
            <a:spAutoFit/>
          </a:bodyPr>
          <a:lstStyle/>
          <a:p>
            <a:pPr algn="l"/>
            <a:r>
              <a:rPr lang="en-US" sz="1000" b="0" i="0">
                <a:solidFill>
                  <a:schemeClr val="bg1"/>
                </a:solidFill>
                <a:latin typeface="Arial" panose="020B0604020202020204" pitchFamily="34" charset="0"/>
                <a:cs typeface="Arial" panose="020B0604020202020204" pitchFamily="34" charset="0"/>
              </a:rPr>
              <a:t>©2025</a:t>
            </a:r>
            <a:r>
              <a:rPr lang="en-US" sz="1000" b="0" i="0" baseline="0">
                <a:solidFill>
                  <a:schemeClr val="bg1"/>
                </a:solidFill>
                <a:latin typeface="Arial" panose="020B0604020202020204" pitchFamily="34" charset="0"/>
                <a:cs typeface="Arial" panose="020B0604020202020204" pitchFamily="34" charset="0"/>
              </a:rPr>
              <a:t> Brillio  |  Proprietary &amp; Confidential</a:t>
            </a:r>
            <a:endParaRPr lang="en-US" sz="1000" b="0" i="0">
              <a:solidFill>
                <a:schemeClr val="bg1"/>
              </a:solidFill>
              <a:latin typeface="Arial" panose="020B0604020202020204" pitchFamily="34" charset="0"/>
              <a:cs typeface="Arial" panose="020B0604020202020204" pitchFamily="34" charset="0"/>
            </a:endParaRPr>
          </a:p>
        </p:txBody>
      </p:sp>
      <p:sp>
        <p:nvSpPr>
          <p:cNvPr id="7" name="Title 1">
            <a:extLst>
              <a:ext uri="{FF2B5EF4-FFF2-40B4-BE49-F238E27FC236}">
                <a16:creationId xmlns:a16="http://schemas.microsoft.com/office/drawing/2014/main" id="{3E432CD9-60B9-3941-911B-9FA5BE7699A8}"/>
              </a:ext>
            </a:extLst>
          </p:cNvPr>
          <p:cNvSpPr>
            <a:spLocks noGrp="1"/>
          </p:cNvSpPr>
          <p:nvPr>
            <p:ph type="ctrTitle" hasCustomPrompt="1"/>
          </p:nvPr>
        </p:nvSpPr>
        <p:spPr>
          <a:xfrm>
            <a:off x="365759" y="2276856"/>
            <a:ext cx="6630463" cy="1599405"/>
          </a:xfrm>
        </p:spPr>
        <p:txBody>
          <a:bodyPr anchor="t" anchorCtr="0"/>
          <a:lstStyle>
            <a:lvl1pPr marL="0" indent="0" algn="l">
              <a:lnSpc>
                <a:spcPts val="5200"/>
              </a:lnSpc>
              <a:buFont typeface="Arial" panose="020B0604020202020204" pitchFamily="34" charset="0"/>
              <a:buNone/>
              <a:defRPr sz="4400" b="0" i="0">
                <a:solidFill>
                  <a:schemeClr val="bg1"/>
                </a:solidFill>
                <a:latin typeface="Arial" panose="020B0604020202020204" pitchFamily="34" charset="0"/>
                <a:cs typeface="Arial" panose="020B0604020202020204" pitchFamily="34" charset="0"/>
              </a:defRPr>
            </a:lvl1pPr>
          </a:lstStyle>
          <a:p>
            <a:r>
              <a:rPr lang="en-US"/>
              <a:t>Click to edit Master title style two lines</a:t>
            </a:r>
          </a:p>
        </p:txBody>
      </p:sp>
      <p:sp>
        <p:nvSpPr>
          <p:cNvPr id="9" name="Subtitle 2">
            <a:extLst>
              <a:ext uri="{FF2B5EF4-FFF2-40B4-BE49-F238E27FC236}">
                <a16:creationId xmlns:a16="http://schemas.microsoft.com/office/drawing/2014/main" id="{F765B9A9-31B8-0946-A4CC-EA25A13335AA}"/>
              </a:ext>
            </a:extLst>
          </p:cNvPr>
          <p:cNvSpPr>
            <a:spLocks noGrp="1"/>
          </p:cNvSpPr>
          <p:nvPr>
            <p:ph type="subTitle" idx="1"/>
          </p:nvPr>
        </p:nvSpPr>
        <p:spPr>
          <a:xfrm>
            <a:off x="365760" y="4228304"/>
            <a:ext cx="3663315" cy="451104"/>
          </a:xfrm>
        </p:spPr>
        <p:txBody>
          <a:bodyPr>
            <a:noAutofit/>
          </a:bodyPr>
          <a:lstStyle>
            <a:lvl1pPr marL="0" indent="0" algn="l">
              <a:spcAft>
                <a:spcPts val="0"/>
              </a:spcAft>
              <a:buFont typeface="Arial" panose="020B0604020202020204" pitchFamily="34" charset="0"/>
              <a:buNone/>
              <a:defRPr sz="1600" b="0" i="0" baseline="0">
                <a:solidFill>
                  <a:schemeClr val="bg1"/>
                </a:solidFill>
                <a:latin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0" name="Date Placeholder 3">
            <a:extLst>
              <a:ext uri="{FF2B5EF4-FFF2-40B4-BE49-F238E27FC236}">
                <a16:creationId xmlns:a16="http://schemas.microsoft.com/office/drawing/2014/main" id="{AC1162D4-E146-184F-8135-FEA0B95A01A1}"/>
              </a:ext>
            </a:extLst>
          </p:cNvPr>
          <p:cNvSpPr>
            <a:spLocks noGrp="1"/>
          </p:cNvSpPr>
          <p:nvPr>
            <p:ph type="dt" sz="half" idx="10"/>
          </p:nvPr>
        </p:nvSpPr>
        <p:spPr>
          <a:xfrm>
            <a:off x="365759" y="4645613"/>
            <a:ext cx="3663315" cy="325142"/>
          </a:xfrm>
          <a:prstGeom prst="rect">
            <a:avLst/>
          </a:prstGeom>
        </p:spPr>
        <p:txBody>
          <a:bodyPr lIns="0"/>
          <a:lstStyle>
            <a:lvl1pPr algn="l">
              <a:defRPr sz="1600" b="0" i="0" baseline="0">
                <a:solidFill>
                  <a:schemeClr val="bg1"/>
                </a:solidFill>
                <a:latin typeface="Arial" panose="020B0604020202020204" pitchFamily="34" charset="0"/>
                <a:cs typeface="Arial" panose="020B0604020202020204" pitchFamily="34" charset="0"/>
              </a:defRPr>
            </a:lvl1pPr>
          </a:lstStyle>
          <a:p>
            <a:endParaRPr lang="en-US"/>
          </a:p>
        </p:txBody>
      </p:sp>
      <p:pic>
        <p:nvPicPr>
          <p:cNvPr id="12" name="Picture 11" descr="A picture containing icon&#10;&#10;Description automatically generated">
            <a:extLst>
              <a:ext uri="{FF2B5EF4-FFF2-40B4-BE49-F238E27FC236}">
                <a16:creationId xmlns:a16="http://schemas.microsoft.com/office/drawing/2014/main" id="{B8F95430-07A7-2CCD-A3FE-DCDA9964A441}"/>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381000" y="375097"/>
            <a:ext cx="1314450" cy="557094"/>
          </a:xfrm>
          <a:prstGeom prst="rect">
            <a:avLst/>
          </a:prstGeom>
        </p:spPr>
      </p:pic>
    </p:spTree>
    <p:extLst>
      <p:ext uri="{BB962C8B-B14F-4D97-AF65-F5344CB8AC3E}">
        <p14:creationId xmlns:p14="http://schemas.microsoft.com/office/powerpoint/2010/main" val="56292256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Brillio_Title slide-Dark">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8" name="TextBox 7"/>
          <p:cNvSpPr txBox="1"/>
          <p:nvPr userDrawn="1"/>
        </p:nvSpPr>
        <p:spPr>
          <a:xfrm>
            <a:off x="381000" y="6323112"/>
            <a:ext cx="3048000" cy="153888"/>
          </a:xfrm>
          <a:prstGeom prst="rect">
            <a:avLst/>
          </a:prstGeom>
          <a:noFill/>
        </p:spPr>
        <p:txBody>
          <a:bodyPr wrap="square" lIns="0" tIns="0" rIns="0" bIns="0" rtlCol="0" anchor="b" anchorCtr="0">
            <a:spAutoFit/>
          </a:bodyPr>
          <a:lstStyle/>
          <a:p>
            <a:pPr algn="l"/>
            <a:r>
              <a:rPr lang="en-US" sz="1000" b="0" i="0">
                <a:solidFill>
                  <a:schemeClr val="bg1"/>
                </a:solidFill>
                <a:latin typeface="Arial" panose="020B0604020202020204" pitchFamily="34" charset="0"/>
                <a:cs typeface="Arial" panose="020B0604020202020204" pitchFamily="34" charset="0"/>
              </a:rPr>
              <a:t>©2025</a:t>
            </a:r>
            <a:r>
              <a:rPr lang="en-US" sz="1000" b="0" i="0" baseline="0">
                <a:solidFill>
                  <a:schemeClr val="bg1"/>
                </a:solidFill>
                <a:latin typeface="Arial" panose="020B0604020202020204" pitchFamily="34" charset="0"/>
                <a:cs typeface="Arial" panose="020B0604020202020204" pitchFamily="34" charset="0"/>
              </a:rPr>
              <a:t> Brillio  |  Proprietary &amp; Confidential</a:t>
            </a:r>
            <a:endParaRPr lang="en-US" sz="1000" b="0" i="0">
              <a:solidFill>
                <a:schemeClr val="bg1"/>
              </a:solidFill>
              <a:latin typeface="Arial" panose="020B0604020202020204" pitchFamily="34" charset="0"/>
              <a:cs typeface="Arial" panose="020B0604020202020204" pitchFamily="34" charset="0"/>
            </a:endParaRPr>
          </a:p>
        </p:txBody>
      </p:sp>
      <p:pic>
        <p:nvPicPr>
          <p:cNvPr id="11" name="Picture 10" descr="A picture containing icon&#10;&#10;Description automatically generated">
            <a:extLst>
              <a:ext uri="{FF2B5EF4-FFF2-40B4-BE49-F238E27FC236}">
                <a16:creationId xmlns:a16="http://schemas.microsoft.com/office/drawing/2014/main" id="{DD17517B-F3A6-E24F-8D87-5BB06E05E44B}"/>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381000" y="375097"/>
            <a:ext cx="1314450" cy="557094"/>
          </a:xfrm>
          <a:prstGeom prst="rect">
            <a:avLst/>
          </a:prstGeom>
        </p:spPr>
      </p:pic>
      <p:sp>
        <p:nvSpPr>
          <p:cNvPr id="7" name="Title 1">
            <a:extLst>
              <a:ext uri="{FF2B5EF4-FFF2-40B4-BE49-F238E27FC236}">
                <a16:creationId xmlns:a16="http://schemas.microsoft.com/office/drawing/2014/main" id="{EAAAB278-9F91-8B40-A29F-A34306522F07}"/>
              </a:ext>
            </a:extLst>
          </p:cNvPr>
          <p:cNvSpPr>
            <a:spLocks noGrp="1"/>
          </p:cNvSpPr>
          <p:nvPr>
            <p:ph type="ctrTitle" hasCustomPrompt="1"/>
          </p:nvPr>
        </p:nvSpPr>
        <p:spPr>
          <a:xfrm>
            <a:off x="365759" y="2276856"/>
            <a:ext cx="6630463" cy="1599405"/>
          </a:xfrm>
        </p:spPr>
        <p:txBody>
          <a:bodyPr anchor="t" anchorCtr="0"/>
          <a:lstStyle>
            <a:lvl1pPr marL="0" indent="0" algn="l">
              <a:lnSpc>
                <a:spcPts val="5200"/>
              </a:lnSpc>
              <a:buFont typeface="Arial" panose="020B0604020202020204" pitchFamily="34" charset="0"/>
              <a:buNone/>
              <a:defRPr sz="4400" b="0" i="0">
                <a:solidFill>
                  <a:schemeClr val="bg1"/>
                </a:solidFill>
                <a:latin typeface="Arial" panose="020B0604020202020204" pitchFamily="34" charset="0"/>
                <a:cs typeface="Arial" panose="020B0604020202020204" pitchFamily="34" charset="0"/>
              </a:defRPr>
            </a:lvl1pPr>
          </a:lstStyle>
          <a:p>
            <a:r>
              <a:rPr lang="en-US"/>
              <a:t>Click to edit Master title style two lines</a:t>
            </a:r>
          </a:p>
        </p:txBody>
      </p:sp>
      <p:sp>
        <p:nvSpPr>
          <p:cNvPr id="9" name="Subtitle 2">
            <a:extLst>
              <a:ext uri="{FF2B5EF4-FFF2-40B4-BE49-F238E27FC236}">
                <a16:creationId xmlns:a16="http://schemas.microsoft.com/office/drawing/2014/main" id="{571D17FF-57BA-574D-8CC1-2326FCFFC357}"/>
              </a:ext>
            </a:extLst>
          </p:cNvPr>
          <p:cNvSpPr>
            <a:spLocks noGrp="1"/>
          </p:cNvSpPr>
          <p:nvPr>
            <p:ph type="subTitle" idx="1"/>
          </p:nvPr>
        </p:nvSpPr>
        <p:spPr>
          <a:xfrm>
            <a:off x="365760" y="4228304"/>
            <a:ext cx="3663315" cy="451104"/>
          </a:xfrm>
        </p:spPr>
        <p:txBody>
          <a:bodyPr>
            <a:noAutofit/>
          </a:bodyPr>
          <a:lstStyle>
            <a:lvl1pPr marL="0" indent="0" algn="l">
              <a:spcAft>
                <a:spcPts val="0"/>
              </a:spcAft>
              <a:buFont typeface="Arial" panose="020B0604020202020204" pitchFamily="34" charset="0"/>
              <a:buNone/>
              <a:defRPr sz="1600" b="0" i="0" baseline="0">
                <a:solidFill>
                  <a:schemeClr val="bg1"/>
                </a:solidFill>
                <a:latin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0" name="Date Placeholder 3">
            <a:extLst>
              <a:ext uri="{FF2B5EF4-FFF2-40B4-BE49-F238E27FC236}">
                <a16:creationId xmlns:a16="http://schemas.microsoft.com/office/drawing/2014/main" id="{872C4F7A-3AC8-324F-8577-14F18AAC19B1}"/>
              </a:ext>
            </a:extLst>
          </p:cNvPr>
          <p:cNvSpPr>
            <a:spLocks noGrp="1"/>
          </p:cNvSpPr>
          <p:nvPr>
            <p:ph type="dt" sz="half" idx="10"/>
          </p:nvPr>
        </p:nvSpPr>
        <p:spPr>
          <a:xfrm>
            <a:off x="365759" y="4645613"/>
            <a:ext cx="3663315" cy="325142"/>
          </a:xfrm>
          <a:prstGeom prst="rect">
            <a:avLst/>
          </a:prstGeom>
        </p:spPr>
        <p:txBody>
          <a:bodyPr lIns="0"/>
          <a:lstStyle>
            <a:lvl1pPr algn="l">
              <a:defRPr sz="1600" b="0" i="0" baseline="0">
                <a:solidFill>
                  <a:schemeClr val="bg1"/>
                </a:solidFill>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332230892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rillio_Divider slide-Dark">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5760" y="381000"/>
            <a:ext cx="6630463" cy="5349875"/>
          </a:xfrm>
        </p:spPr>
        <p:txBody>
          <a:bodyPr rIns="228600" anchor="ctr"/>
          <a:lstStyle>
            <a:lvl1pPr>
              <a:defRPr sz="5400" b="0">
                <a:solidFill>
                  <a:schemeClr val="bg1"/>
                </a:solidFill>
              </a:defRPr>
            </a:lvl1pPr>
          </a:lstStyle>
          <a:p>
            <a:r>
              <a:rPr lang="en-US"/>
              <a:t>Click to edit Master title style</a:t>
            </a:r>
          </a:p>
        </p:txBody>
      </p:sp>
      <p:pic>
        <p:nvPicPr>
          <p:cNvPr id="4" name="Picture 3" descr="A picture containing icon&#10;&#10;Description automatically generated">
            <a:extLst>
              <a:ext uri="{FF2B5EF4-FFF2-40B4-BE49-F238E27FC236}">
                <a16:creationId xmlns:a16="http://schemas.microsoft.com/office/drawing/2014/main" id="{9F651DB9-1655-1BBB-0C53-A81C0906B7E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92271" y="6429352"/>
            <a:ext cx="711976" cy="301752"/>
          </a:xfrm>
          <a:prstGeom prst="rect">
            <a:avLst/>
          </a:prstGeom>
        </p:spPr>
      </p:pic>
    </p:spTree>
    <p:extLst>
      <p:ext uri="{BB962C8B-B14F-4D97-AF65-F5344CB8AC3E}">
        <p14:creationId xmlns:p14="http://schemas.microsoft.com/office/powerpoint/2010/main" val="6113025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Brillio_Divider slide-Dark">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5760" y="381000"/>
            <a:ext cx="6630463" cy="5349875"/>
          </a:xfrm>
        </p:spPr>
        <p:txBody>
          <a:bodyPr rIns="228600" anchor="ctr"/>
          <a:lstStyle>
            <a:lvl1pPr>
              <a:defRPr sz="5400" b="0">
                <a:solidFill>
                  <a:schemeClr val="bg1"/>
                </a:solidFill>
              </a:defRPr>
            </a:lvl1pPr>
          </a:lstStyle>
          <a:p>
            <a:r>
              <a:rPr lang="en-US"/>
              <a:t>Click to edit Master title style</a:t>
            </a:r>
          </a:p>
        </p:txBody>
      </p:sp>
      <p:pic>
        <p:nvPicPr>
          <p:cNvPr id="4" name="Picture 3" descr="A picture containing icon&#10;&#10;Description automatically generated">
            <a:extLst>
              <a:ext uri="{FF2B5EF4-FFF2-40B4-BE49-F238E27FC236}">
                <a16:creationId xmlns:a16="http://schemas.microsoft.com/office/drawing/2014/main" id="{CBC5A94D-B44B-A640-0363-7E52EEE161C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92271" y="6429352"/>
            <a:ext cx="711976" cy="301752"/>
          </a:xfrm>
          <a:prstGeom prst="rect">
            <a:avLst/>
          </a:prstGeom>
        </p:spPr>
      </p:pic>
    </p:spTree>
    <p:extLst>
      <p:ext uri="{BB962C8B-B14F-4D97-AF65-F5344CB8AC3E}">
        <p14:creationId xmlns:p14="http://schemas.microsoft.com/office/powerpoint/2010/main" val="175927907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2_Brillio_Quote slide">
    <p:bg>
      <p:bgPr>
        <a:solidFill>
          <a:srgbClr val="21174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25940" y="2022741"/>
            <a:ext cx="9887803" cy="3609432"/>
          </a:xfrm>
        </p:spPr>
        <p:txBody>
          <a:bodyPr rIns="228600" anchor="t"/>
          <a:lstStyle>
            <a:lvl1pPr>
              <a:defRPr sz="5400" b="0">
                <a:solidFill>
                  <a:schemeClr val="bg1"/>
                </a:solidFill>
              </a:defRPr>
            </a:lvl1pPr>
          </a:lstStyle>
          <a:p>
            <a:r>
              <a:rPr lang="en-US"/>
              <a:t>“Click to edit Master title style”</a:t>
            </a:r>
          </a:p>
        </p:txBody>
      </p:sp>
      <p:cxnSp>
        <p:nvCxnSpPr>
          <p:cNvPr id="7" name="Straight Connector 6">
            <a:extLst>
              <a:ext uri="{FF2B5EF4-FFF2-40B4-BE49-F238E27FC236}">
                <a16:creationId xmlns:a16="http://schemas.microsoft.com/office/drawing/2014/main" id="{5C74CBC2-4515-AF47-B548-7718CE3772D3}"/>
              </a:ext>
            </a:extLst>
          </p:cNvPr>
          <p:cNvCxnSpPr>
            <a:cxnSpLocks/>
          </p:cNvCxnSpPr>
          <p:nvPr userDrawn="1"/>
        </p:nvCxnSpPr>
        <p:spPr>
          <a:xfrm>
            <a:off x="1125940" y="1748485"/>
            <a:ext cx="4271555" cy="0"/>
          </a:xfrm>
          <a:prstGeom prst="line">
            <a:avLst/>
          </a:prstGeom>
          <a:ln w="12700">
            <a:solidFill>
              <a:srgbClr val="2CC84D"/>
            </a:solidFill>
          </a:ln>
        </p:spPr>
        <p:style>
          <a:lnRef idx="1">
            <a:schemeClr val="accent1"/>
          </a:lnRef>
          <a:fillRef idx="0">
            <a:schemeClr val="accent1"/>
          </a:fillRef>
          <a:effectRef idx="0">
            <a:schemeClr val="accent1"/>
          </a:effectRef>
          <a:fontRef idx="minor">
            <a:schemeClr val="tx1"/>
          </a:fontRef>
        </p:style>
      </p:cxnSp>
      <p:pic>
        <p:nvPicPr>
          <p:cNvPr id="6" name="Picture 5" descr="A picture containing icon&#10;&#10;Description automatically generated">
            <a:extLst>
              <a:ext uri="{FF2B5EF4-FFF2-40B4-BE49-F238E27FC236}">
                <a16:creationId xmlns:a16="http://schemas.microsoft.com/office/drawing/2014/main" id="{ECC7C227-78E9-30F9-2C8D-8BDEC0FED7F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92271" y="6429352"/>
            <a:ext cx="711976" cy="301752"/>
          </a:xfrm>
          <a:prstGeom prst="rect">
            <a:avLst/>
          </a:prstGeom>
        </p:spPr>
      </p:pic>
      <p:sp>
        <p:nvSpPr>
          <p:cNvPr id="9" name="Slide Number Placeholder 8">
            <a:extLst>
              <a:ext uri="{FF2B5EF4-FFF2-40B4-BE49-F238E27FC236}">
                <a16:creationId xmlns:a16="http://schemas.microsoft.com/office/drawing/2014/main" id="{7CC6C62B-44D5-1492-9D5B-03E45670CAE8}"/>
              </a:ext>
            </a:extLst>
          </p:cNvPr>
          <p:cNvSpPr>
            <a:spLocks noGrp="1"/>
          </p:cNvSpPr>
          <p:nvPr>
            <p:ph type="sldNum" sz="quarter" idx="11"/>
          </p:nvPr>
        </p:nvSpPr>
        <p:spPr>
          <a:xfrm>
            <a:off x="10101264" y="6365979"/>
            <a:ext cx="1724976" cy="365125"/>
          </a:xfrm>
        </p:spPr>
        <p:txBody>
          <a:bodyPr/>
          <a:lstStyle/>
          <a:p>
            <a:r>
              <a:rPr lang="en-US"/>
              <a:t>©2025 Brillio  |  </a:t>
            </a:r>
            <a:fld id="{F1FE5E21-FD07-B44E-90A3-0254BFCDB49A}" type="slidenum">
              <a:rPr smtClean="0"/>
              <a:pPr/>
              <a:t>‹#›</a:t>
            </a:fld>
            <a:endParaRPr/>
          </a:p>
        </p:txBody>
      </p:sp>
    </p:spTree>
    <p:extLst>
      <p:ext uri="{BB962C8B-B14F-4D97-AF65-F5344CB8AC3E}">
        <p14:creationId xmlns:p14="http://schemas.microsoft.com/office/powerpoint/2010/main" val="293202702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titleOnly" preserve="1">
  <p:cSld name="Title only slide-Dar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5" name="Picture 4" descr="A picture containing icon&#10;&#10;Description automatically generated">
            <a:extLst>
              <a:ext uri="{FF2B5EF4-FFF2-40B4-BE49-F238E27FC236}">
                <a16:creationId xmlns:a16="http://schemas.microsoft.com/office/drawing/2014/main" id="{D40BBC06-7906-1C14-092C-CCCA9D71C39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92271" y="6429352"/>
            <a:ext cx="711976" cy="301752"/>
          </a:xfrm>
          <a:prstGeom prst="rect">
            <a:avLst/>
          </a:prstGeom>
        </p:spPr>
      </p:pic>
      <p:sp>
        <p:nvSpPr>
          <p:cNvPr id="7" name="Slide Number Placeholder 8">
            <a:extLst>
              <a:ext uri="{FF2B5EF4-FFF2-40B4-BE49-F238E27FC236}">
                <a16:creationId xmlns:a16="http://schemas.microsoft.com/office/drawing/2014/main" id="{27A6B8D4-B424-FEAA-215D-147FC44B2C76}"/>
              </a:ext>
            </a:extLst>
          </p:cNvPr>
          <p:cNvSpPr>
            <a:spLocks noGrp="1"/>
          </p:cNvSpPr>
          <p:nvPr>
            <p:ph type="sldNum" sz="quarter" idx="11"/>
          </p:nvPr>
        </p:nvSpPr>
        <p:spPr>
          <a:xfrm>
            <a:off x="10101264" y="6365979"/>
            <a:ext cx="1724976" cy="365125"/>
          </a:xfrm>
        </p:spPr>
        <p:txBody>
          <a:bodyPr/>
          <a:lstStyle/>
          <a:p>
            <a:r>
              <a:rPr lang="en-US"/>
              <a:t>©2025 Brillio  |  </a:t>
            </a:r>
            <a:fld id="{F1FE5E21-FD07-B44E-90A3-0254BFCDB49A}" type="slidenum">
              <a:rPr smtClean="0"/>
              <a:pPr/>
              <a:t>‹#›</a:t>
            </a:fld>
            <a:endParaRPr/>
          </a:p>
        </p:txBody>
      </p:sp>
    </p:spTree>
    <p:extLst>
      <p:ext uri="{BB962C8B-B14F-4D97-AF65-F5344CB8AC3E}">
        <p14:creationId xmlns:p14="http://schemas.microsoft.com/office/powerpoint/2010/main" val="170126597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blank" preserve="1">
  <p:cSld name="Without title - Dark">
    <p:spTree>
      <p:nvGrpSpPr>
        <p:cNvPr id="1" name=""/>
        <p:cNvGrpSpPr/>
        <p:nvPr/>
      </p:nvGrpSpPr>
      <p:grpSpPr>
        <a:xfrm>
          <a:off x="0" y="0"/>
          <a:ext cx="0" cy="0"/>
          <a:chOff x="0" y="0"/>
          <a:chExt cx="0" cy="0"/>
        </a:xfrm>
      </p:grpSpPr>
      <p:pic>
        <p:nvPicPr>
          <p:cNvPr id="4" name="Picture 3" descr="A picture containing icon&#10;&#10;Description automatically generated">
            <a:extLst>
              <a:ext uri="{FF2B5EF4-FFF2-40B4-BE49-F238E27FC236}">
                <a16:creationId xmlns:a16="http://schemas.microsoft.com/office/drawing/2014/main" id="{87807BAC-1E85-1320-FB34-F7246B2106A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92271" y="6429352"/>
            <a:ext cx="711976" cy="301752"/>
          </a:xfrm>
          <a:prstGeom prst="rect">
            <a:avLst/>
          </a:prstGeom>
        </p:spPr>
      </p:pic>
      <p:sp>
        <p:nvSpPr>
          <p:cNvPr id="6" name="Slide Number Placeholder 8">
            <a:extLst>
              <a:ext uri="{FF2B5EF4-FFF2-40B4-BE49-F238E27FC236}">
                <a16:creationId xmlns:a16="http://schemas.microsoft.com/office/drawing/2014/main" id="{53624D6B-557E-4DD9-4D14-E41664188212}"/>
              </a:ext>
            </a:extLst>
          </p:cNvPr>
          <p:cNvSpPr>
            <a:spLocks noGrp="1"/>
          </p:cNvSpPr>
          <p:nvPr>
            <p:ph type="sldNum" sz="quarter" idx="11"/>
          </p:nvPr>
        </p:nvSpPr>
        <p:spPr>
          <a:xfrm>
            <a:off x="10101264" y="6365979"/>
            <a:ext cx="1724976" cy="365125"/>
          </a:xfrm>
        </p:spPr>
        <p:txBody>
          <a:bodyPr/>
          <a:lstStyle/>
          <a:p>
            <a:r>
              <a:rPr lang="en-US"/>
              <a:t>©2025 Brillio  |  </a:t>
            </a:r>
            <a:fld id="{F1FE5E21-FD07-B44E-90A3-0254BFCDB49A}" type="slidenum">
              <a:rPr smtClean="0"/>
              <a:pPr/>
              <a:t>‹#›</a:t>
            </a:fld>
            <a:endParaRPr/>
          </a:p>
        </p:txBody>
      </p:sp>
    </p:spTree>
    <p:extLst>
      <p:ext uri="{BB962C8B-B14F-4D97-AF65-F5344CB8AC3E}">
        <p14:creationId xmlns:p14="http://schemas.microsoft.com/office/powerpoint/2010/main" val="2190582650"/>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Agenda - Dark">
    <p:bg>
      <p:bgPr>
        <a:blipFill dpi="0" rotWithShape="1">
          <a:blip r:embed="rId2"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E9E4CBBC-6571-7242-A07F-751C14380720}"/>
              </a:ext>
            </a:extLst>
          </p:cNvPr>
          <p:cNvSpPr/>
          <p:nvPr userDrawn="1"/>
        </p:nvSpPr>
        <p:spPr>
          <a:xfrm>
            <a:off x="0" y="0"/>
            <a:ext cx="12192000" cy="6858000"/>
          </a:xfrm>
          <a:prstGeom prst="rect">
            <a:avLst/>
          </a:prstGeom>
          <a:gradFill>
            <a:gsLst>
              <a:gs pos="100000">
                <a:srgbClr val="FFFFFF">
                  <a:alpha val="40000"/>
                </a:srgbClr>
              </a:gs>
              <a:gs pos="0">
                <a:srgbClr val="160F2F"/>
              </a:gs>
              <a:gs pos="49000">
                <a:schemeClr val="tx1">
                  <a:alpha val="9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22" name="Title 1">
            <a:extLst>
              <a:ext uri="{FF2B5EF4-FFF2-40B4-BE49-F238E27FC236}">
                <a16:creationId xmlns:a16="http://schemas.microsoft.com/office/drawing/2014/main" id="{01E92A18-E3B1-944C-B14B-9620C4432374}"/>
              </a:ext>
            </a:extLst>
          </p:cNvPr>
          <p:cNvSpPr>
            <a:spLocks noGrp="1"/>
          </p:cNvSpPr>
          <p:nvPr>
            <p:ph type="title" hasCustomPrompt="1"/>
          </p:nvPr>
        </p:nvSpPr>
        <p:spPr>
          <a:xfrm>
            <a:off x="381000" y="1869742"/>
            <a:ext cx="5583237" cy="926620"/>
          </a:xfrm>
          <a:noFill/>
        </p:spPr>
        <p:txBody>
          <a:bodyPr lIns="457200" tIns="457200" rIns="457200" anchor="b"/>
          <a:lstStyle>
            <a:lvl1pPr>
              <a:defRPr sz="2400" b="1">
                <a:solidFill>
                  <a:srgbClr val="2CC84D"/>
                </a:solidFill>
              </a:defRPr>
            </a:lvl1pPr>
          </a:lstStyle>
          <a:p>
            <a:r>
              <a:rPr lang="en-US"/>
              <a:t>Click to edit </a:t>
            </a:r>
            <a:br>
              <a:rPr lang="en-US"/>
            </a:br>
            <a:r>
              <a:rPr lang="en-US"/>
              <a:t>Master title style</a:t>
            </a:r>
          </a:p>
        </p:txBody>
      </p:sp>
      <p:sp>
        <p:nvSpPr>
          <p:cNvPr id="27" name="Text Placeholder 25">
            <a:extLst>
              <a:ext uri="{FF2B5EF4-FFF2-40B4-BE49-F238E27FC236}">
                <a16:creationId xmlns:a16="http://schemas.microsoft.com/office/drawing/2014/main" id="{D511F4E7-B90F-EB43-9806-3BC440542630}"/>
              </a:ext>
            </a:extLst>
          </p:cNvPr>
          <p:cNvSpPr>
            <a:spLocks noGrp="1"/>
          </p:cNvSpPr>
          <p:nvPr>
            <p:ph type="body" sz="quarter" idx="13"/>
          </p:nvPr>
        </p:nvSpPr>
        <p:spPr>
          <a:xfrm>
            <a:off x="381000" y="2796362"/>
            <a:ext cx="5583238" cy="2301874"/>
          </a:xfrm>
        </p:spPr>
        <p:txBody>
          <a:bodyPr lIns="457200" tIns="457200" rIns="457200" bIns="457200"/>
          <a:lstStyle>
            <a:lvl1pPr>
              <a:defRPr sz="1600" baseline="0">
                <a:solidFill>
                  <a:schemeClr val="bg1"/>
                </a:solidFill>
              </a:defRPr>
            </a:lvl1pPr>
            <a:lvl2pPr>
              <a:defRPr sz="1600" baseline="0">
                <a:solidFill>
                  <a:schemeClr val="bg1"/>
                </a:solidFill>
              </a:defRPr>
            </a:lvl2pPr>
            <a:lvl3pPr>
              <a:defRPr sz="1600" baseline="0">
                <a:solidFill>
                  <a:schemeClr val="bg1"/>
                </a:solidFill>
              </a:defRPr>
            </a:lvl3pPr>
            <a:lvl4pPr>
              <a:defRPr sz="1600" baseline="0">
                <a:solidFill>
                  <a:schemeClr val="bg1"/>
                </a:solidFill>
              </a:defRPr>
            </a:lvl4pPr>
            <a:lvl5pPr>
              <a:defRPr sz="1600"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descr="A picture containing icon&#10;&#10;Description automatically generated">
            <a:extLst>
              <a:ext uri="{FF2B5EF4-FFF2-40B4-BE49-F238E27FC236}">
                <a16:creationId xmlns:a16="http://schemas.microsoft.com/office/drawing/2014/main" id="{0668CE32-EEB4-8706-71FA-3A9395C5269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92271" y="6429352"/>
            <a:ext cx="711976" cy="301752"/>
          </a:xfrm>
          <a:prstGeom prst="rect">
            <a:avLst/>
          </a:prstGeom>
        </p:spPr>
      </p:pic>
      <p:sp>
        <p:nvSpPr>
          <p:cNvPr id="10" name="Slide Number Placeholder 8">
            <a:extLst>
              <a:ext uri="{FF2B5EF4-FFF2-40B4-BE49-F238E27FC236}">
                <a16:creationId xmlns:a16="http://schemas.microsoft.com/office/drawing/2014/main" id="{E009281A-935F-57F1-6866-F8479036E7A7}"/>
              </a:ext>
            </a:extLst>
          </p:cNvPr>
          <p:cNvSpPr>
            <a:spLocks noGrp="1"/>
          </p:cNvSpPr>
          <p:nvPr>
            <p:ph type="sldNum" sz="quarter" idx="11"/>
          </p:nvPr>
        </p:nvSpPr>
        <p:spPr>
          <a:xfrm>
            <a:off x="10101264" y="6365979"/>
            <a:ext cx="1724976" cy="365125"/>
          </a:xfrm>
        </p:spPr>
        <p:txBody>
          <a:bodyPr/>
          <a:lstStyle/>
          <a:p>
            <a:r>
              <a:rPr lang="en-US"/>
              <a:t>©2025 Brillio  |  </a:t>
            </a:r>
            <a:fld id="{F1FE5E21-FD07-B44E-90A3-0254BFCDB49A}" type="slidenum">
              <a:rPr smtClean="0"/>
              <a:pPr/>
              <a:t>‹#›</a:t>
            </a:fld>
            <a:endParaRPr/>
          </a:p>
        </p:txBody>
      </p:sp>
    </p:spTree>
    <p:extLst>
      <p:ext uri="{BB962C8B-B14F-4D97-AF65-F5344CB8AC3E}">
        <p14:creationId xmlns:p14="http://schemas.microsoft.com/office/powerpoint/2010/main" val="22414448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4 image">
    <p:bg>
      <p:bgPr>
        <a:solidFill>
          <a:schemeClr val="tx1"/>
        </a:solidFill>
        <a:effectLst/>
      </p:bgPr>
    </p:bg>
    <p:spTree>
      <p:nvGrpSpPr>
        <p:cNvPr id="1" name=""/>
        <p:cNvGrpSpPr/>
        <p:nvPr/>
      </p:nvGrpSpPr>
      <p:grpSpPr>
        <a:xfrm>
          <a:off x="0" y="0"/>
          <a:ext cx="0" cy="0"/>
          <a:chOff x="0" y="0"/>
          <a:chExt cx="0" cy="0"/>
        </a:xfrm>
      </p:grpSpPr>
      <p:sp>
        <p:nvSpPr>
          <p:cNvPr id="4" name="Picture Placeholder 5">
            <a:extLst>
              <a:ext uri="{FF2B5EF4-FFF2-40B4-BE49-F238E27FC236}">
                <a16:creationId xmlns:a16="http://schemas.microsoft.com/office/drawing/2014/main" id="{06CF6CF3-8491-8469-EF6E-6DF4249EBF58}"/>
              </a:ext>
            </a:extLst>
          </p:cNvPr>
          <p:cNvSpPr>
            <a:spLocks noGrp="1"/>
          </p:cNvSpPr>
          <p:nvPr>
            <p:ph type="pic" sz="quarter" idx="13" hasCustomPrompt="1"/>
          </p:nvPr>
        </p:nvSpPr>
        <p:spPr>
          <a:xfrm>
            <a:off x="9215437" y="0"/>
            <a:ext cx="2976562" cy="6858000"/>
          </a:xfrm>
          <a:solidFill>
            <a:schemeClr val="bg1"/>
          </a:solidFill>
        </p:spPr>
        <p:txBody>
          <a:bodyPr anchor="ctr"/>
          <a:lstStyle>
            <a:lvl1pPr algn="ctr">
              <a:defRPr>
                <a:solidFill>
                  <a:schemeClr val="tx1"/>
                </a:solidFill>
              </a:defRPr>
            </a:lvl1pPr>
          </a:lstStyle>
          <a:p>
            <a:r>
              <a:rPr lang="en-US"/>
              <a:t>[add image]</a:t>
            </a:r>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95469" y="1221441"/>
            <a:ext cx="8639478" cy="4938059"/>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itle Text">
            <a:extLst>
              <a:ext uri="{FF2B5EF4-FFF2-40B4-BE49-F238E27FC236}">
                <a16:creationId xmlns:a16="http://schemas.microsoft.com/office/drawing/2014/main" id="{4B5980F9-A7B7-7DE7-65FD-745FC498DFDB}"/>
              </a:ext>
            </a:extLst>
          </p:cNvPr>
          <p:cNvSpPr txBox="1">
            <a:spLocks noGrp="1"/>
          </p:cNvSpPr>
          <p:nvPr>
            <p:ph type="title" hasCustomPrompt="1"/>
          </p:nvPr>
        </p:nvSpPr>
        <p:spPr>
          <a:xfrm>
            <a:off x="290210" y="295139"/>
            <a:ext cx="8639478" cy="38660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73152" rIns="0" bIns="0"/>
          <a:lstStyle/>
          <a:p>
            <a:r>
              <a:rPr lang="en-US"/>
              <a:t>1/4 image</a:t>
            </a:r>
            <a:endParaRPr/>
          </a:p>
        </p:txBody>
      </p:sp>
      <p:sp>
        <p:nvSpPr>
          <p:cNvPr id="6" name="Text Placeholder 3">
            <a:extLst>
              <a:ext uri="{FF2B5EF4-FFF2-40B4-BE49-F238E27FC236}">
                <a16:creationId xmlns:a16="http://schemas.microsoft.com/office/drawing/2014/main" id="{97CF5AB9-188C-F7FE-47D0-616D908F404A}"/>
              </a:ext>
            </a:extLst>
          </p:cNvPr>
          <p:cNvSpPr txBox="1">
            <a:spLocks/>
          </p:cNvSpPr>
          <p:nvPr userDrawn="1"/>
        </p:nvSpPr>
        <p:spPr>
          <a:xfrm>
            <a:off x="11438259" y="6458629"/>
            <a:ext cx="462473" cy="150303"/>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Outfit Light" pitchFamily="2" charset="0"/>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r" defTabSz="1218948" rtl="0" eaLnBrk="1" fontAlgn="auto" latinLnBrk="0" hangingPunct="1">
              <a:lnSpc>
                <a:spcPct val="110000"/>
              </a:lnSpc>
              <a:spcBef>
                <a:spcPts val="0"/>
              </a:spcBef>
              <a:spcAft>
                <a:spcPts val="0"/>
              </a:spcAft>
              <a:buClrTx/>
              <a:buSzTx/>
              <a:buFontTx/>
              <a:buNone/>
              <a:tabLst/>
              <a:defRPr/>
            </a:pPr>
            <a:fld id="{64F0821C-65D3-DD4D-8DB2-745946DB9115}" type="slidenum">
              <a:rPr kumimoji="0" lang="en-US" sz="917" b="0" i="0" u="none" strike="noStrike" kern="0" cap="none" spc="0" normalizeH="0" baseline="0" noProof="0" smtClean="0">
                <a:ln>
                  <a:noFill/>
                </a:ln>
                <a:solidFill>
                  <a:schemeClr val="tx1"/>
                </a:solidFill>
                <a:effectLst/>
                <a:uLnTx/>
                <a:uFillTx/>
                <a:latin typeface="Aptos" panose="020B0004020202020204" pitchFamily="34" charset="0"/>
                <a:ea typeface="+mj-ea"/>
                <a:cs typeface="+mj-cs"/>
                <a:sym typeface="IBM Plex Sans Light"/>
              </a:rPr>
              <a:pPr marL="0" marR="0" lvl="0" indent="0" algn="r" defTabSz="1218948" rtl="0" eaLnBrk="1" fontAlgn="auto" latinLnBrk="0" hangingPunct="1">
                <a:lnSpc>
                  <a:spcPct val="110000"/>
                </a:lnSpc>
                <a:spcBef>
                  <a:spcPts val="0"/>
                </a:spcBef>
                <a:spcAft>
                  <a:spcPts val="0"/>
                </a:spcAft>
                <a:buClrTx/>
                <a:buSzTx/>
                <a:buFontTx/>
                <a:buNone/>
                <a:tabLst/>
                <a:defRPr/>
              </a:pPr>
              <a:t>‹#›</a:t>
            </a:fld>
            <a:endParaRPr kumimoji="0" lang="en-US" sz="917" b="0" i="0" u="none" strike="noStrike" kern="0" cap="none" spc="0" normalizeH="0" baseline="0" noProof="0">
              <a:ln>
                <a:noFill/>
              </a:ln>
              <a:solidFill>
                <a:schemeClr val="tx1"/>
              </a:solidFill>
              <a:effectLst/>
              <a:uLnTx/>
              <a:uFillTx/>
              <a:latin typeface="Aptos" panose="020B0004020202020204" pitchFamily="34" charset="0"/>
              <a:ea typeface="+mj-ea"/>
              <a:cs typeface="+mj-cs"/>
              <a:sym typeface="IBM Plex Sans Light"/>
            </a:endParaRPr>
          </a:p>
        </p:txBody>
      </p:sp>
      <p:pic>
        <p:nvPicPr>
          <p:cNvPr id="8" name="Graphic 7">
            <a:extLst>
              <a:ext uri="{FF2B5EF4-FFF2-40B4-BE49-F238E27FC236}">
                <a16:creationId xmlns:a16="http://schemas.microsoft.com/office/drawing/2014/main" id="{347BA4B1-3F51-247D-13A4-970446FB362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543540" y="6495499"/>
            <a:ext cx="167269" cy="81501"/>
          </a:xfrm>
          <a:prstGeom prst="rect">
            <a:avLst/>
          </a:prstGeom>
        </p:spPr>
      </p:pic>
    </p:spTree>
    <p:extLst>
      <p:ext uri="{BB962C8B-B14F-4D97-AF65-F5344CB8AC3E}">
        <p14:creationId xmlns:p14="http://schemas.microsoft.com/office/powerpoint/2010/main" val="3688785876"/>
      </p:ext>
    </p:extLst>
  </p:cSld>
  <p:clrMapOvr>
    <a:masterClrMapping/>
  </p:clrMapOvr>
  <p:transition spd="med"/>
  <p:extLst>
    <p:ext uri="{DCECCB84-F9BA-43D5-87BE-67443E8EF086}">
      <p15:sldGuideLst xmlns:p15="http://schemas.microsoft.com/office/powerpoint/2012/main">
        <p15:guide id="2" orient="horz" pos="4656">
          <p15:clr>
            <a:srgbClr val="F26B43"/>
          </p15:clr>
        </p15:guide>
        <p15:guide id="3" orient="horz" pos="912">
          <p15:clr>
            <a:srgbClr val="F26B43"/>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rillio_Text over image slide: Gradient">
    <p:bg>
      <p:bgPr>
        <a:blipFill dpi="0" rotWithShape="1">
          <a:blip r:embed="rId2"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D16F5F9-8B15-5943-BF14-C510AC2B0DE7}"/>
              </a:ext>
            </a:extLst>
          </p:cNvPr>
          <p:cNvSpPr/>
          <p:nvPr userDrawn="1"/>
        </p:nvSpPr>
        <p:spPr>
          <a:xfrm rot="10800000">
            <a:off x="3400926" y="0"/>
            <a:ext cx="8791074" cy="6858000"/>
          </a:xfrm>
          <a:prstGeom prst="rect">
            <a:avLst/>
          </a:prstGeom>
          <a:gradFill>
            <a:gsLst>
              <a:gs pos="87000">
                <a:srgbClr val="FFFFFF">
                  <a:alpha val="0"/>
                </a:srgbClr>
              </a:gs>
              <a:gs pos="49000">
                <a:schemeClr val="tx1">
                  <a:alpha val="9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27" name="Text Placeholder 25">
            <a:extLst>
              <a:ext uri="{FF2B5EF4-FFF2-40B4-BE49-F238E27FC236}">
                <a16:creationId xmlns:a16="http://schemas.microsoft.com/office/drawing/2014/main" id="{D511F4E7-B90F-EB43-9806-3BC440542630}"/>
              </a:ext>
            </a:extLst>
          </p:cNvPr>
          <p:cNvSpPr>
            <a:spLocks noGrp="1"/>
          </p:cNvSpPr>
          <p:nvPr>
            <p:ph type="body" sz="quarter" idx="13"/>
          </p:nvPr>
        </p:nvSpPr>
        <p:spPr>
          <a:xfrm>
            <a:off x="6753725" y="381000"/>
            <a:ext cx="5072513" cy="5349875"/>
          </a:xfrm>
        </p:spPr>
        <p:txBody>
          <a:bodyPr lIns="0" tIns="0" rIns="457200" bIns="0"/>
          <a:lstStyle>
            <a:lvl1pPr marL="9525" indent="0">
              <a:buNone/>
              <a:tabLst/>
              <a:defRPr sz="2400" b="1" baseline="0">
                <a:solidFill>
                  <a:srgbClr val="2CC84D"/>
                </a:solidFill>
              </a:defRPr>
            </a:lvl1pPr>
            <a:lvl2pPr marL="9525" indent="0">
              <a:buNone/>
              <a:tabLst/>
              <a:defRPr sz="2400" baseline="0">
                <a:solidFill>
                  <a:schemeClr val="bg1"/>
                </a:solidFill>
              </a:defRPr>
            </a:lvl2pPr>
            <a:lvl3pPr marL="9525" indent="0">
              <a:buNone/>
              <a:tabLst/>
              <a:defRPr sz="2400" baseline="0">
                <a:solidFill>
                  <a:schemeClr val="bg1"/>
                </a:solidFill>
              </a:defRPr>
            </a:lvl3pPr>
            <a:lvl4pPr marL="9525" indent="0">
              <a:buNone/>
              <a:tabLst/>
              <a:defRPr sz="2400" baseline="0">
                <a:solidFill>
                  <a:schemeClr val="bg1"/>
                </a:solidFill>
              </a:defRPr>
            </a:lvl4pPr>
            <a:lvl5pPr marL="9525" indent="0">
              <a:buNone/>
              <a:tabLst/>
              <a:defRPr sz="2400"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descr="A picture containing icon&#10;&#10;Description automatically generated">
            <a:extLst>
              <a:ext uri="{FF2B5EF4-FFF2-40B4-BE49-F238E27FC236}">
                <a16:creationId xmlns:a16="http://schemas.microsoft.com/office/drawing/2014/main" id="{46D42C18-6759-A66A-E0E2-16B39E0F79A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92271" y="6429352"/>
            <a:ext cx="711976" cy="301752"/>
          </a:xfrm>
          <a:prstGeom prst="rect">
            <a:avLst/>
          </a:prstGeom>
        </p:spPr>
      </p:pic>
      <p:sp>
        <p:nvSpPr>
          <p:cNvPr id="11" name="Slide Number Placeholder 8">
            <a:extLst>
              <a:ext uri="{FF2B5EF4-FFF2-40B4-BE49-F238E27FC236}">
                <a16:creationId xmlns:a16="http://schemas.microsoft.com/office/drawing/2014/main" id="{A335AA75-FA1D-BF92-A796-CB71F051E76C}"/>
              </a:ext>
            </a:extLst>
          </p:cNvPr>
          <p:cNvSpPr txBox="1">
            <a:spLocks/>
          </p:cNvSpPr>
          <p:nvPr userDrawn="1"/>
        </p:nvSpPr>
        <p:spPr>
          <a:xfrm>
            <a:off x="10101264" y="6365979"/>
            <a:ext cx="1724976" cy="365125"/>
          </a:xfrm>
          <a:prstGeom prst="rect">
            <a:avLst/>
          </a:prstGeom>
        </p:spPr>
        <p:txBody>
          <a:bodyPr vert="horz" lIns="0" tIns="0" rIns="0" bIns="0" rtlCol="0" anchor="b"/>
          <a:lstStyle>
            <a:defPPr>
              <a:defRPr lang="en-US"/>
            </a:defPPr>
            <a:lvl1pPr marL="0" algn="r" defTabSz="914400" rtl="0" eaLnBrk="1" latinLnBrk="0" hangingPunct="1">
              <a:defRPr sz="1000" b="0" i="0" kern="1200">
                <a:solidFill>
                  <a:schemeClr val="bg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2025 Brillio  |  </a:t>
            </a:r>
            <a:fld id="{F1FE5E21-FD07-B44E-90A3-0254BFCDB49A}" type="slidenum">
              <a:rPr kumimoji="0" sz="10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24251602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3_Brillio_Quote slide">
    <p:bg>
      <p:bgPr>
        <a:solidFill>
          <a:srgbClr val="21174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25940" y="2022741"/>
            <a:ext cx="9887803" cy="3609432"/>
          </a:xfrm>
        </p:spPr>
        <p:txBody>
          <a:bodyPr rIns="228600" anchor="t"/>
          <a:lstStyle>
            <a:lvl1pPr>
              <a:defRPr sz="5400" b="0">
                <a:solidFill>
                  <a:schemeClr val="bg1"/>
                </a:solidFill>
              </a:defRPr>
            </a:lvl1pPr>
          </a:lstStyle>
          <a:p>
            <a:r>
              <a:rPr lang="en-US"/>
              <a:t>“Click to edit Master title style”</a:t>
            </a:r>
          </a:p>
        </p:txBody>
      </p:sp>
      <p:sp>
        <p:nvSpPr>
          <p:cNvPr id="4" name="Slide Number Placeholder 10">
            <a:extLst>
              <a:ext uri="{FF2B5EF4-FFF2-40B4-BE49-F238E27FC236}">
                <a16:creationId xmlns:a16="http://schemas.microsoft.com/office/drawing/2014/main" id="{3E1A1356-EC89-514D-9B0D-36B289BC02EE}"/>
              </a:ext>
            </a:extLst>
          </p:cNvPr>
          <p:cNvSpPr>
            <a:spLocks noGrp="1"/>
          </p:cNvSpPr>
          <p:nvPr>
            <p:ph type="sldNum" sz="quarter" idx="4"/>
          </p:nvPr>
        </p:nvSpPr>
        <p:spPr>
          <a:xfrm>
            <a:off x="9856790" y="6212312"/>
            <a:ext cx="1969450" cy="263308"/>
          </a:xfrm>
          <a:prstGeom prst="rect">
            <a:avLst/>
          </a:prstGeom>
        </p:spPr>
        <p:txBody>
          <a:bodyPr vert="horz" lIns="0" tIns="0" rIns="0" bIns="0" rtlCol="0" anchor="b"/>
          <a:lstStyle>
            <a:lvl1pPr algn="r">
              <a:defRPr lang="en-US" sz="1000" b="0" i="0" kern="1200" smtClean="0">
                <a:solidFill>
                  <a:schemeClr val="bg1"/>
                </a:solidFill>
                <a:latin typeface="Arial" panose="020B0604020202020204" pitchFamily="34" charset="0"/>
                <a:ea typeface="+mn-ea"/>
                <a:cs typeface="Arial" panose="020B0604020202020204" pitchFamily="34" charset="0"/>
              </a:defRPr>
            </a:lvl1pPr>
          </a:lstStyle>
          <a:p>
            <a:r>
              <a:rPr lang="en-IN"/>
              <a:t>©2025 Brillio  |  </a:t>
            </a:r>
            <a:fld id="{F1FE5E21-FD07-B44E-90A3-0254BFCDB49A}" type="slidenum">
              <a:rPr smtClean="0"/>
              <a:pPr/>
              <a:t>‹#›</a:t>
            </a:fld>
            <a:endParaRPr/>
          </a:p>
        </p:txBody>
      </p:sp>
      <p:cxnSp>
        <p:nvCxnSpPr>
          <p:cNvPr id="7" name="Straight Connector 6">
            <a:extLst>
              <a:ext uri="{FF2B5EF4-FFF2-40B4-BE49-F238E27FC236}">
                <a16:creationId xmlns:a16="http://schemas.microsoft.com/office/drawing/2014/main" id="{5C74CBC2-4515-AF47-B548-7718CE3772D3}"/>
              </a:ext>
            </a:extLst>
          </p:cNvPr>
          <p:cNvCxnSpPr>
            <a:cxnSpLocks/>
          </p:cNvCxnSpPr>
          <p:nvPr userDrawn="1"/>
        </p:nvCxnSpPr>
        <p:spPr>
          <a:xfrm>
            <a:off x="1125940" y="1748485"/>
            <a:ext cx="4271555" cy="0"/>
          </a:xfrm>
          <a:prstGeom prst="line">
            <a:avLst/>
          </a:prstGeom>
          <a:ln w="12700">
            <a:solidFill>
              <a:srgbClr val="2CC84D"/>
            </a:solidFill>
          </a:ln>
        </p:spPr>
        <p:style>
          <a:lnRef idx="1">
            <a:schemeClr val="accent1"/>
          </a:lnRef>
          <a:fillRef idx="0">
            <a:schemeClr val="accent1"/>
          </a:fillRef>
          <a:effectRef idx="0">
            <a:schemeClr val="accent1"/>
          </a:effectRef>
          <a:fontRef idx="minor">
            <a:schemeClr val="tx1"/>
          </a:fontRef>
        </p:style>
      </p:cxnSp>
      <p:pic>
        <p:nvPicPr>
          <p:cNvPr id="8" name="Picture 7" descr="A picture containing icon&#10;&#10;Description automatically generated">
            <a:extLst>
              <a:ext uri="{FF2B5EF4-FFF2-40B4-BE49-F238E27FC236}">
                <a16:creationId xmlns:a16="http://schemas.microsoft.com/office/drawing/2014/main" id="{D47EEA8D-74AC-FC4E-8BD2-2F8722BF2138}"/>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65760" y="6192630"/>
            <a:ext cx="948070" cy="401814"/>
          </a:xfrm>
          <a:prstGeom prst="rect">
            <a:avLst/>
          </a:prstGeom>
        </p:spPr>
      </p:pic>
    </p:spTree>
    <p:extLst>
      <p:ext uri="{BB962C8B-B14F-4D97-AF65-F5344CB8AC3E}">
        <p14:creationId xmlns:p14="http://schemas.microsoft.com/office/powerpoint/2010/main" val="3645540945"/>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3_Blue Cover Slide, Graphic">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3991466-C566-194A-8F18-D0804A8A29A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Footer Placeholder 10">
            <a:extLst>
              <a:ext uri="{FF2B5EF4-FFF2-40B4-BE49-F238E27FC236}">
                <a16:creationId xmlns:a16="http://schemas.microsoft.com/office/drawing/2014/main" id="{D0D00E6B-F16F-EA41-A456-3F87CEB92213}"/>
              </a:ext>
            </a:extLst>
          </p:cNvPr>
          <p:cNvSpPr>
            <a:spLocks noGrp="1"/>
          </p:cNvSpPr>
          <p:nvPr>
            <p:ph type="ftr" sz="quarter" idx="11"/>
          </p:nvPr>
        </p:nvSpPr>
        <p:spPr bwMode="white">
          <a:xfrm>
            <a:off x="692542" y="6337823"/>
            <a:ext cx="1083706" cy="164212"/>
          </a:xfrm>
          <a:prstGeom prst="rect">
            <a:avLst/>
          </a:prstGeom>
        </p:spPr>
        <p:txBody>
          <a:bodyPr wrap="square">
            <a:spAutoFit/>
          </a:bodyPr>
          <a:lstStyle>
            <a:lvl1pPr algn="l">
              <a:defRPr sz="1067">
                <a:solidFill>
                  <a:schemeClr val="bg1"/>
                </a:solidFill>
                <a:latin typeface="Arial" panose="020B0604020202020204" pitchFamily="34" charset="0"/>
                <a:cs typeface="Arial" panose="020B0604020202020204" pitchFamily="34" charset="0"/>
              </a:defRPr>
            </a:lvl1pPr>
            <a:lvl2pPr marL="0" indent="0">
              <a:defRPr sz="1000">
                <a:solidFill>
                  <a:schemeClr val="bg1"/>
                </a:solidFill>
              </a:defRPr>
            </a:lvl2pPr>
            <a:lvl3pPr marL="0" indent="0">
              <a:defRPr sz="1000">
                <a:solidFill>
                  <a:schemeClr val="bg1"/>
                </a:solidFill>
              </a:defRPr>
            </a:lvl3pPr>
            <a:lvl4pPr marL="0" indent="0">
              <a:defRPr sz="1000">
                <a:solidFill>
                  <a:schemeClr val="bg1"/>
                </a:solidFill>
              </a:defRPr>
            </a:lvl4pPr>
            <a:lvl5pPr marL="0" indent="0">
              <a:defRPr sz="1000">
                <a:solidFill>
                  <a:schemeClr val="bg1"/>
                </a:solidFill>
              </a:defRPr>
            </a:lvl5pPr>
            <a:lvl6pPr marL="0" indent="0">
              <a:defRPr sz="1000">
                <a:solidFill>
                  <a:schemeClr val="bg1"/>
                </a:solidFill>
              </a:defRPr>
            </a:lvl6pPr>
            <a:lvl7pPr marL="0" indent="0">
              <a:defRPr sz="1000">
                <a:solidFill>
                  <a:schemeClr val="bg1"/>
                </a:solidFill>
              </a:defRPr>
            </a:lvl7pPr>
            <a:lvl8pPr marL="0" indent="0">
              <a:defRPr sz="1000">
                <a:solidFill>
                  <a:schemeClr val="bg1"/>
                </a:solidFill>
              </a:defRPr>
            </a:lvl8pPr>
            <a:lvl9pPr marL="0" indent="0">
              <a:defRPr sz="1000">
                <a:solidFill>
                  <a:schemeClr val="bg1"/>
                </a:solidFill>
              </a:defRPr>
            </a:lvl9pPr>
          </a:lstStyle>
          <a:p>
            <a:r>
              <a:rPr lang="en-US"/>
              <a:t>© 2024 Brillio |</a:t>
            </a:r>
          </a:p>
        </p:txBody>
      </p:sp>
      <p:pic>
        <p:nvPicPr>
          <p:cNvPr id="4" name="Picture 3">
            <a:extLst>
              <a:ext uri="{FF2B5EF4-FFF2-40B4-BE49-F238E27FC236}">
                <a16:creationId xmlns:a16="http://schemas.microsoft.com/office/drawing/2014/main" id="{FBB5372C-C165-754A-84DA-7C85A0A3E50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51757" y="295464"/>
            <a:ext cx="2881376" cy="1576025"/>
          </a:xfrm>
          <a:prstGeom prst="rect">
            <a:avLst/>
          </a:prstGeom>
        </p:spPr>
      </p:pic>
    </p:spTree>
    <p:extLst>
      <p:ext uri="{BB962C8B-B14F-4D97-AF65-F5344CB8AC3E}">
        <p14:creationId xmlns:p14="http://schemas.microsoft.com/office/powerpoint/2010/main" val="230553818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4_Blue Cover Slide, Graphic">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E1DFBA9-8341-5F48-A576-CAF34028D51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4" name="Picture 3">
            <a:extLst>
              <a:ext uri="{FF2B5EF4-FFF2-40B4-BE49-F238E27FC236}">
                <a16:creationId xmlns:a16="http://schemas.microsoft.com/office/drawing/2014/main" id="{FBB5372C-C165-754A-84DA-7C85A0A3E50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51757" y="295464"/>
            <a:ext cx="2881376" cy="1576025"/>
          </a:xfrm>
          <a:prstGeom prst="rect">
            <a:avLst/>
          </a:prstGeom>
        </p:spPr>
      </p:pic>
      <p:sp>
        <p:nvSpPr>
          <p:cNvPr id="12" name="Title 1">
            <a:extLst>
              <a:ext uri="{FF2B5EF4-FFF2-40B4-BE49-F238E27FC236}">
                <a16:creationId xmlns:a16="http://schemas.microsoft.com/office/drawing/2014/main" id="{22ABC97A-F833-CF4B-A277-3F7693724860}"/>
              </a:ext>
            </a:extLst>
          </p:cNvPr>
          <p:cNvSpPr>
            <a:spLocks noGrp="1"/>
          </p:cNvSpPr>
          <p:nvPr>
            <p:ph type="ctrTitle" hasCustomPrompt="1"/>
          </p:nvPr>
        </p:nvSpPr>
        <p:spPr bwMode="white">
          <a:xfrm>
            <a:off x="633733" y="2483755"/>
            <a:ext cx="5775380" cy="1218795"/>
          </a:xfrm>
        </p:spPr>
        <p:txBody>
          <a:bodyPr wrap="square" anchor="b">
            <a:spAutoFit/>
          </a:bodyPr>
          <a:lstStyle>
            <a:lvl1pPr algn="l">
              <a:defRPr sz="4400" b="0" i="0" baseline="0">
                <a:solidFill>
                  <a:schemeClr val="bg1"/>
                </a:solidFill>
                <a:latin typeface="Arial" panose="020B0604020202020204" pitchFamily="34" charset="0"/>
                <a:cs typeface="Arial" panose="020B0604020202020204" pitchFamily="34" charset="0"/>
              </a:defRPr>
            </a:lvl1pPr>
          </a:lstStyle>
          <a:p>
            <a:pPr lvl="0"/>
            <a:r>
              <a:rPr lang="en-US"/>
              <a:t>Presentation Title Goes Here</a:t>
            </a:r>
          </a:p>
        </p:txBody>
      </p:sp>
      <p:sp>
        <p:nvSpPr>
          <p:cNvPr id="13" name="Subtitle 2">
            <a:extLst>
              <a:ext uri="{FF2B5EF4-FFF2-40B4-BE49-F238E27FC236}">
                <a16:creationId xmlns:a16="http://schemas.microsoft.com/office/drawing/2014/main" id="{54BA2F23-DC47-1643-915C-E5BB0E2DBBDE}"/>
              </a:ext>
            </a:extLst>
          </p:cNvPr>
          <p:cNvSpPr>
            <a:spLocks noGrp="1"/>
          </p:cNvSpPr>
          <p:nvPr>
            <p:ph type="subTitle" idx="1" hasCustomPrompt="1"/>
          </p:nvPr>
        </p:nvSpPr>
        <p:spPr bwMode="white">
          <a:xfrm>
            <a:off x="658235" y="3877603"/>
            <a:ext cx="5757626" cy="748923"/>
          </a:xfrm>
        </p:spPr>
        <p:txBody>
          <a:bodyPr wrap="square">
            <a:spAutoFit/>
          </a:bodyPr>
          <a:lstStyle>
            <a:lvl1pPr marL="0" marR="0" indent="0" algn="l" defTabSz="1219140" rtl="0" eaLnBrk="1" fontAlgn="auto" latinLnBrk="0" hangingPunct="1">
              <a:lnSpc>
                <a:spcPct val="100000"/>
              </a:lnSpc>
              <a:spcBef>
                <a:spcPts val="800"/>
              </a:spcBef>
              <a:spcAft>
                <a:spcPts val="0"/>
              </a:spcAft>
              <a:buClrTx/>
              <a:buSzTx/>
              <a:buFont typeface="Arial" panose="020B0604020202020204" pitchFamily="34" charset="0"/>
              <a:buNone/>
              <a:tabLst/>
              <a:defRPr sz="2400" baseline="0">
                <a:solidFill>
                  <a:schemeClr val="bg1"/>
                </a:solidFill>
                <a:latin typeface="Arial" panose="020B0604020202020204" pitchFamily="34" charset="0"/>
                <a:cs typeface="Arial" panose="020B0604020202020204" pitchFamily="34" charset="0"/>
              </a:defRPr>
            </a:lvl1pPr>
            <a:lvl2pPr marL="0" indent="0" algn="l">
              <a:buClrTx/>
              <a:buFont typeface="Arial" panose="020B0604020202020204" pitchFamily="34" charset="0"/>
              <a:buNone/>
              <a:tabLst/>
              <a:defRPr sz="1800" baseline="0">
                <a:solidFill>
                  <a:schemeClr val="bg1"/>
                </a:solidFill>
                <a:latin typeface="Arial" panose="020B0604020202020204" pitchFamily="34" charset="0"/>
                <a:cs typeface="Arial" panose="020B0604020202020204" pitchFamily="34" charset="0"/>
              </a:defRPr>
            </a:lvl2pPr>
            <a:lvl3pPr marL="304784" indent="-304784" algn="l">
              <a:spcBef>
                <a:spcPts val="800"/>
              </a:spcBef>
              <a:buClrTx/>
              <a:buSzPct val="125000"/>
              <a:buFont typeface="Arial" panose="020B0604020202020204" pitchFamily="34" charset="0"/>
              <a:buChar char="•"/>
              <a:defRPr sz="1600">
                <a:solidFill>
                  <a:schemeClr val="bg1"/>
                </a:solidFill>
              </a:defRPr>
            </a:lvl3pPr>
            <a:lvl4pPr marL="304784" indent="-304784" algn="l">
              <a:spcBef>
                <a:spcPts val="800"/>
              </a:spcBef>
              <a:buClrTx/>
              <a:buSzPct val="125000"/>
              <a:buFont typeface="Arial" panose="020B0604020202020204" pitchFamily="34" charset="0"/>
              <a:buChar char="•"/>
              <a:defRPr sz="1600">
                <a:solidFill>
                  <a:schemeClr val="bg1"/>
                </a:solidFill>
              </a:defRPr>
            </a:lvl4pPr>
            <a:lvl5pPr marL="304784" indent="-304784" algn="l">
              <a:spcBef>
                <a:spcPts val="800"/>
              </a:spcBef>
              <a:buClrTx/>
              <a:buSzPct val="125000"/>
              <a:buFont typeface="Arial" panose="020B0604020202020204" pitchFamily="34" charset="0"/>
              <a:buChar char="•"/>
              <a:defRPr sz="1600">
                <a:solidFill>
                  <a:schemeClr val="bg1"/>
                </a:solidFill>
              </a:defRPr>
            </a:lvl5pPr>
            <a:lvl6pPr marL="304784" indent="-304784" algn="l">
              <a:spcBef>
                <a:spcPts val="800"/>
              </a:spcBef>
              <a:buClrTx/>
              <a:buSzPct val="125000"/>
              <a:buFont typeface="Arial" panose="020B0604020202020204" pitchFamily="34" charset="0"/>
              <a:buChar char="•"/>
              <a:defRPr sz="1600">
                <a:solidFill>
                  <a:schemeClr val="bg1"/>
                </a:solidFill>
              </a:defRPr>
            </a:lvl6pPr>
            <a:lvl7pPr marL="304784" indent="-304784" algn="l">
              <a:spcBef>
                <a:spcPts val="800"/>
              </a:spcBef>
              <a:buClrTx/>
              <a:buSzPct val="125000"/>
              <a:buFont typeface="Arial" panose="020B0604020202020204" pitchFamily="34" charset="0"/>
              <a:buChar char="•"/>
              <a:defRPr sz="1600">
                <a:solidFill>
                  <a:schemeClr val="bg1"/>
                </a:solidFill>
              </a:defRPr>
            </a:lvl7pPr>
            <a:lvl8pPr marL="304784" indent="-304784" algn="l">
              <a:spcBef>
                <a:spcPts val="800"/>
              </a:spcBef>
              <a:buClrTx/>
              <a:buSzPct val="125000"/>
              <a:buFont typeface="Arial" panose="020B0604020202020204" pitchFamily="34" charset="0"/>
              <a:buChar char="•"/>
              <a:defRPr sz="1600">
                <a:solidFill>
                  <a:schemeClr val="bg1"/>
                </a:solidFill>
              </a:defRPr>
            </a:lvl8pPr>
            <a:lvl9pPr marL="304784" indent="-304784" algn="l">
              <a:spcBef>
                <a:spcPts val="800"/>
              </a:spcBef>
              <a:buClrTx/>
              <a:buSzPct val="125000"/>
              <a:buFont typeface="Arial" panose="020B0604020202020204" pitchFamily="34" charset="0"/>
              <a:buChar char="•"/>
              <a:defRPr sz="1600">
                <a:solidFill>
                  <a:schemeClr val="bg1"/>
                </a:solidFill>
              </a:defRPr>
            </a:lvl9pPr>
          </a:lstStyle>
          <a:p>
            <a:pPr lvl="0"/>
            <a:r>
              <a:rPr lang="en-US"/>
              <a:t>Speaker’s Full Name</a:t>
            </a:r>
          </a:p>
          <a:p>
            <a:pPr lvl="1"/>
            <a:r>
              <a:rPr lang="en-US"/>
              <a:t>Date</a:t>
            </a:r>
          </a:p>
        </p:txBody>
      </p:sp>
      <p:sp>
        <p:nvSpPr>
          <p:cNvPr id="7" name="Footer Placeholder 10">
            <a:extLst>
              <a:ext uri="{FF2B5EF4-FFF2-40B4-BE49-F238E27FC236}">
                <a16:creationId xmlns:a16="http://schemas.microsoft.com/office/drawing/2014/main" id="{BCE1D0B4-7543-BA46-8A6C-84713C9C7533}"/>
              </a:ext>
            </a:extLst>
          </p:cNvPr>
          <p:cNvSpPr>
            <a:spLocks noGrp="1"/>
          </p:cNvSpPr>
          <p:nvPr>
            <p:ph type="ftr" sz="quarter" idx="11"/>
          </p:nvPr>
        </p:nvSpPr>
        <p:spPr bwMode="white">
          <a:xfrm>
            <a:off x="692542" y="6337823"/>
            <a:ext cx="1083706" cy="164212"/>
          </a:xfrm>
          <a:prstGeom prst="rect">
            <a:avLst/>
          </a:prstGeom>
        </p:spPr>
        <p:txBody>
          <a:bodyPr wrap="square">
            <a:spAutoFit/>
          </a:bodyPr>
          <a:lstStyle>
            <a:lvl1pPr algn="l">
              <a:defRPr sz="1067">
                <a:solidFill>
                  <a:schemeClr val="bg1"/>
                </a:solidFill>
                <a:latin typeface="Arial" panose="020B0604020202020204" pitchFamily="34" charset="0"/>
                <a:cs typeface="Arial" panose="020B0604020202020204" pitchFamily="34" charset="0"/>
              </a:defRPr>
            </a:lvl1pPr>
            <a:lvl2pPr marL="0" indent="0">
              <a:defRPr sz="1000">
                <a:solidFill>
                  <a:schemeClr val="bg1"/>
                </a:solidFill>
              </a:defRPr>
            </a:lvl2pPr>
            <a:lvl3pPr marL="0" indent="0">
              <a:defRPr sz="1000">
                <a:solidFill>
                  <a:schemeClr val="bg1"/>
                </a:solidFill>
              </a:defRPr>
            </a:lvl3pPr>
            <a:lvl4pPr marL="0" indent="0">
              <a:defRPr sz="1000">
                <a:solidFill>
                  <a:schemeClr val="bg1"/>
                </a:solidFill>
              </a:defRPr>
            </a:lvl4pPr>
            <a:lvl5pPr marL="0" indent="0">
              <a:defRPr sz="1000">
                <a:solidFill>
                  <a:schemeClr val="bg1"/>
                </a:solidFill>
              </a:defRPr>
            </a:lvl5pPr>
            <a:lvl6pPr marL="0" indent="0">
              <a:defRPr sz="1000">
                <a:solidFill>
                  <a:schemeClr val="bg1"/>
                </a:solidFill>
              </a:defRPr>
            </a:lvl6pPr>
            <a:lvl7pPr marL="0" indent="0">
              <a:defRPr sz="1000">
                <a:solidFill>
                  <a:schemeClr val="bg1"/>
                </a:solidFill>
              </a:defRPr>
            </a:lvl7pPr>
            <a:lvl8pPr marL="0" indent="0">
              <a:defRPr sz="1000">
                <a:solidFill>
                  <a:schemeClr val="bg1"/>
                </a:solidFill>
              </a:defRPr>
            </a:lvl8pPr>
            <a:lvl9pPr marL="0" indent="0">
              <a:defRPr sz="1000">
                <a:solidFill>
                  <a:schemeClr val="bg1"/>
                </a:solidFill>
              </a:defRPr>
            </a:lvl9pPr>
          </a:lstStyle>
          <a:p>
            <a:r>
              <a:rPr lang="en-US"/>
              <a:t>© 2024 Brillio |</a:t>
            </a:r>
          </a:p>
        </p:txBody>
      </p:sp>
    </p:spTree>
    <p:extLst>
      <p:ext uri="{BB962C8B-B14F-4D97-AF65-F5344CB8AC3E}">
        <p14:creationId xmlns:p14="http://schemas.microsoft.com/office/powerpoint/2010/main" val="228767359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3_Header &amp; 1-Column">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8628BF1-4CA1-C241-AD16-BB13F36F2F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ext Placeholder 5">
            <a:extLst>
              <a:ext uri="{FF2B5EF4-FFF2-40B4-BE49-F238E27FC236}">
                <a16:creationId xmlns:a16="http://schemas.microsoft.com/office/drawing/2014/main" id="{591C7BEA-056A-A24F-A338-4EE9A1076EB2}"/>
              </a:ext>
            </a:extLst>
          </p:cNvPr>
          <p:cNvSpPr>
            <a:spLocks noGrp="1"/>
          </p:cNvSpPr>
          <p:nvPr>
            <p:ph type="body" sz="quarter" idx="13" hasCustomPrompt="1"/>
          </p:nvPr>
        </p:nvSpPr>
        <p:spPr>
          <a:xfrm>
            <a:off x="6305482" y="1956817"/>
            <a:ext cx="5386646" cy="2292096"/>
          </a:xfrm>
        </p:spPr>
        <p:txBody>
          <a:bodyPr anchor="t" anchorCtr="0">
            <a:noAutofit/>
          </a:bodyPr>
          <a:lstStyle>
            <a:lvl1pPr>
              <a:defRPr sz="4400">
                <a:solidFill>
                  <a:schemeClr val="bg1"/>
                </a:solidFill>
                <a:latin typeface="Arial" panose="020B0604020202020204" pitchFamily="34" charset="0"/>
                <a:cs typeface="Arial" panose="020B0604020202020204" pitchFamily="34" charset="0"/>
              </a:defRPr>
            </a:lvl1pPr>
            <a:lvl2pPr marL="309019" indent="-309019">
              <a:buNone/>
              <a:defRPr sz="5867">
                <a:solidFill>
                  <a:schemeClr val="bg1"/>
                </a:solidFill>
              </a:defRPr>
            </a:lvl2pPr>
            <a:lvl3pPr marL="0" indent="0">
              <a:buClrTx/>
              <a:buFont typeface="Arial" panose="020B0604020202020204" pitchFamily="34" charset="0"/>
              <a:buNone/>
              <a:defRPr baseline="0">
                <a:solidFill>
                  <a:schemeClr val="bg1"/>
                </a:solidFill>
              </a:defRPr>
            </a:lvl3pPr>
            <a:lvl4pPr marL="0" indent="0">
              <a:buClrTx/>
              <a:buFont typeface="Arial" panose="020B0604020202020204" pitchFamily="34" charset="0"/>
              <a:buNone/>
              <a:defRPr sz="1600" i="1">
                <a:solidFill>
                  <a:schemeClr val="tx1"/>
                </a:solidFill>
              </a:defRPr>
            </a:lvl4pPr>
            <a:lvl5pPr marL="0" indent="0">
              <a:buClrTx/>
              <a:buFont typeface="Arial" panose="020B0604020202020204" pitchFamily="34" charset="0"/>
              <a:buNone/>
              <a:defRPr sz="1600" i="1">
                <a:solidFill>
                  <a:schemeClr val="tx1"/>
                </a:solidFill>
              </a:defRPr>
            </a:lvl5pPr>
            <a:lvl6pPr marL="0" indent="0">
              <a:buClrTx/>
              <a:buFont typeface="Arial" panose="020B0604020202020204" pitchFamily="34" charset="0"/>
              <a:buNone/>
              <a:defRPr sz="1600" i="1">
                <a:solidFill>
                  <a:schemeClr val="tx1"/>
                </a:solidFill>
              </a:defRPr>
            </a:lvl6pPr>
            <a:lvl7pPr marL="0" indent="0">
              <a:buClrTx/>
              <a:buNone/>
              <a:defRPr sz="1600" i="1">
                <a:solidFill>
                  <a:schemeClr val="tx1"/>
                </a:solidFill>
              </a:defRPr>
            </a:lvl7pPr>
            <a:lvl8pPr marL="0" indent="0">
              <a:buClrTx/>
              <a:buNone/>
              <a:defRPr sz="1600" i="1">
                <a:solidFill>
                  <a:schemeClr val="tx1"/>
                </a:solidFill>
              </a:defRPr>
            </a:lvl8pPr>
            <a:lvl9pPr marL="0" indent="0">
              <a:buClrTx/>
              <a:buFont typeface="Arial" panose="020B0604020202020204" pitchFamily="34" charset="0"/>
              <a:buNone/>
              <a:defRPr sz="1600" i="1">
                <a:solidFill>
                  <a:schemeClr val="tx1"/>
                </a:solidFill>
              </a:defRPr>
            </a:lvl9pPr>
          </a:lstStyle>
          <a:p>
            <a:pPr lvl="0"/>
            <a:r>
              <a:rPr lang="en-US"/>
              <a:t>Edit Master text styles Edit Master</a:t>
            </a:r>
          </a:p>
        </p:txBody>
      </p:sp>
      <p:sp>
        <p:nvSpPr>
          <p:cNvPr id="7" name="Footer Placeholder 8">
            <a:extLst>
              <a:ext uri="{FF2B5EF4-FFF2-40B4-BE49-F238E27FC236}">
                <a16:creationId xmlns:a16="http://schemas.microsoft.com/office/drawing/2014/main" id="{4A6C14A4-5192-F446-B549-E8C090A7538D}"/>
              </a:ext>
            </a:extLst>
          </p:cNvPr>
          <p:cNvSpPr>
            <a:spLocks noGrp="1"/>
          </p:cNvSpPr>
          <p:nvPr>
            <p:ph type="ftr" sz="quarter" idx="3"/>
          </p:nvPr>
        </p:nvSpPr>
        <p:spPr>
          <a:xfrm>
            <a:off x="9641948" y="6327648"/>
            <a:ext cx="1706880" cy="207264"/>
          </a:xfrm>
          <a:prstGeom prst="rect">
            <a:avLst/>
          </a:prstGeom>
        </p:spPr>
        <p:txBody>
          <a:bodyPr vert="horz" lIns="0" tIns="0" rIns="0" bIns="0" rtlCol="0" anchor="ctr"/>
          <a:lstStyle>
            <a:lvl1pPr algn="r">
              <a:defRPr sz="1067" baseline="0">
                <a:solidFill>
                  <a:schemeClr val="bg1"/>
                </a:solidFill>
                <a:latin typeface="Arial" panose="020B0604020202020204" pitchFamily="34" charset="0"/>
                <a:cs typeface="Arial" panose="020B0604020202020204" pitchFamily="34" charset="0"/>
              </a:defRPr>
            </a:lvl1pPr>
            <a:lvl2pPr marL="0" indent="0">
              <a:defRPr sz="1000"/>
            </a:lvl2pPr>
            <a:lvl3pPr marL="0" indent="0">
              <a:defRPr sz="1000"/>
            </a:lvl3pPr>
            <a:lvl4pPr marL="0" indent="0">
              <a:defRPr sz="1000"/>
            </a:lvl4pPr>
            <a:lvl5pPr marL="0" indent="0">
              <a:defRPr sz="1000"/>
            </a:lvl5pPr>
            <a:lvl6pPr marL="0" indent="0">
              <a:defRPr sz="1000"/>
            </a:lvl6pPr>
            <a:lvl7pPr marL="0" indent="0">
              <a:defRPr sz="1000"/>
            </a:lvl7pPr>
            <a:lvl8pPr marL="0" indent="0">
              <a:defRPr sz="1000"/>
            </a:lvl8pPr>
            <a:lvl9pPr marL="0" indent="0">
              <a:defRPr sz="1000"/>
            </a:lvl9pPr>
          </a:lstStyle>
          <a:p>
            <a:r>
              <a:rPr lang="en-US"/>
              <a:t>© 2024 Brillio |</a:t>
            </a:r>
          </a:p>
        </p:txBody>
      </p:sp>
      <p:sp>
        <p:nvSpPr>
          <p:cNvPr id="8" name="Slide Number Placeholder 9">
            <a:extLst>
              <a:ext uri="{FF2B5EF4-FFF2-40B4-BE49-F238E27FC236}">
                <a16:creationId xmlns:a16="http://schemas.microsoft.com/office/drawing/2014/main" id="{39A232AD-2CB5-B144-89E6-63E9B2E42E8D}"/>
              </a:ext>
            </a:extLst>
          </p:cNvPr>
          <p:cNvSpPr>
            <a:spLocks noGrp="1"/>
          </p:cNvSpPr>
          <p:nvPr>
            <p:ph type="sldNum" sz="quarter" idx="4"/>
          </p:nvPr>
        </p:nvSpPr>
        <p:spPr>
          <a:xfrm>
            <a:off x="11387328" y="6326049"/>
            <a:ext cx="304800" cy="207264"/>
          </a:xfrm>
          <a:prstGeom prst="rect">
            <a:avLst/>
          </a:prstGeom>
        </p:spPr>
        <p:txBody>
          <a:bodyPr vert="horz" lIns="0" tIns="0" rIns="0" bIns="0" rtlCol="0" anchor="ctr"/>
          <a:lstStyle>
            <a:lvl1pPr algn="r">
              <a:defRPr sz="1067" b="1" baseline="0">
                <a:solidFill>
                  <a:schemeClr val="bg1"/>
                </a:solidFill>
                <a:latin typeface="Arial" panose="020B0604020202020204" pitchFamily="34" charset="0"/>
                <a:cs typeface="Arial" panose="020B0604020202020204" pitchFamily="34" charset="0"/>
              </a:defRPr>
            </a:lvl1pPr>
          </a:lstStyle>
          <a:p>
            <a:fld id="{2EFEF571-C9B4-4D92-A7F7-315B894862A8}" type="slidenum">
              <a:rPr lang="en-US" smtClean="0"/>
              <a:pPr/>
              <a:t>‹#›</a:t>
            </a:fld>
            <a:endParaRPr lang="en-US"/>
          </a:p>
        </p:txBody>
      </p:sp>
    </p:spTree>
    <p:extLst>
      <p:ext uri="{BB962C8B-B14F-4D97-AF65-F5344CB8AC3E}">
        <p14:creationId xmlns:p14="http://schemas.microsoft.com/office/powerpoint/2010/main" val="399795660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5_Header &amp; 1-Column">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8628BF1-4CA1-C241-AD16-BB13F36F2F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ext Placeholder 5">
            <a:extLst>
              <a:ext uri="{FF2B5EF4-FFF2-40B4-BE49-F238E27FC236}">
                <a16:creationId xmlns:a16="http://schemas.microsoft.com/office/drawing/2014/main" id="{591C7BEA-056A-A24F-A338-4EE9A1076EB2}"/>
              </a:ext>
            </a:extLst>
          </p:cNvPr>
          <p:cNvSpPr>
            <a:spLocks noGrp="1"/>
          </p:cNvSpPr>
          <p:nvPr>
            <p:ph type="body" sz="quarter" idx="13" hasCustomPrompt="1"/>
          </p:nvPr>
        </p:nvSpPr>
        <p:spPr>
          <a:xfrm>
            <a:off x="6305482" y="2373377"/>
            <a:ext cx="5386646" cy="357758"/>
          </a:xfrm>
        </p:spPr>
        <p:txBody>
          <a:bodyPr anchor="t" anchorCtr="0">
            <a:noAutofit/>
          </a:bodyPr>
          <a:lstStyle>
            <a:lvl1pPr>
              <a:defRPr sz="2000">
                <a:solidFill>
                  <a:schemeClr val="bg1"/>
                </a:solidFill>
                <a:latin typeface="Arial" panose="020B0604020202020204" pitchFamily="34" charset="0"/>
                <a:cs typeface="Arial" panose="020B0604020202020204" pitchFamily="34" charset="0"/>
              </a:defRPr>
            </a:lvl1pPr>
            <a:lvl2pPr marL="309019" indent="-309019">
              <a:buNone/>
              <a:defRPr sz="5867">
                <a:solidFill>
                  <a:schemeClr val="bg1"/>
                </a:solidFill>
              </a:defRPr>
            </a:lvl2pPr>
            <a:lvl3pPr marL="0" indent="0">
              <a:buClrTx/>
              <a:buFont typeface="Arial" panose="020B0604020202020204" pitchFamily="34" charset="0"/>
              <a:buNone/>
              <a:defRPr baseline="0">
                <a:solidFill>
                  <a:schemeClr val="bg1"/>
                </a:solidFill>
              </a:defRPr>
            </a:lvl3pPr>
            <a:lvl4pPr marL="0" indent="0">
              <a:buClrTx/>
              <a:buFont typeface="Arial" panose="020B0604020202020204" pitchFamily="34" charset="0"/>
              <a:buNone/>
              <a:defRPr sz="1600" i="1">
                <a:solidFill>
                  <a:schemeClr val="tx1"/>
                </a:solidFill>
              </a:defRPr>
            </a:lvl4pPr>
            <a:lvl5pPr marL="0" indent="0">
              <a:buClrTx/>
              <a:buFont typeface="Arial" panose="020B0604020202020204" pitchFamily="34" charset="0"/>
              <a:buNone/>
              <a:defRPr sz="1600" i="1">
                <a:solidFill>
                  <a:schemeClr val="tx1"/>
                </a:solidFill>
              </a:defRPr>
            </a:lvl5pPr>
            <a:lvl6pPr marL="0" indent="0">
              <a:buClrTx/>
              <a:buFont typeface="Arial" panose="020B0604020202020204" pitchFamily="34" charset="0"/>
              <a:buNone/>
              <a:defRPr sz="1600" i="1">
                <a:solidFill>
                  <a:schemeClr val="tx1"/>
                </a:solidFill>
              </a:defRPr>
            </a:lvl6pPr>
            <a:lvl7pPr marL="0" indent="0">
              <a:buClrTx/>
              <a:buNone/>
              <a:defRPr sz="1600" i="1">
                <a:solidFill>
                  <a:schemeClr val="tx1"/>
                </a:solidFill>
              </a:defRPr>
            </a:lvl7pPr>
            <a:lvl8pPr marL="0" indent="0">
              <a:buClrTx/>
              <a:buNone/>
              <a:defRPr sz="1600" i="1">
                <a:solidFill>
                  <a:schemeClr val="tx1"/>
                </a:solidFill>
              </a:defRPr>
            </a:lvl8pPr>
            <a:lvl9pPr marL="0" indent="0">
              <a:buClrTx/>
              <a:buFont typeface="Arial" panose="020B0604020202020204" pitchFamily="34" charset="0"/>
              <a:buNone/>
              <a:defRPr sz="1600" i="1">
                <a:solidFill>
                  <a:schemeClr val="tx1"/>
                </a:solidFill>
              </a:defRPr>
            </a:lvl9pPr>
          </a:lstStyle>
          <a:p>
            <a:pPr lvl="0"/>
            <a:r>
              <a:rPr lang="en-US"/>
              <a:t>Enter Section Number: Section #&lt;num&gt;</a:t>
            </a:r>
          </a:p>
        </p:txBody>
      </p:sp>
      <p:sp>
        <p:nvSpPr>
          <p:cNvPr id="7" name="Footer Placeholder 8">
            <a:extLst>
              <a:ext uri="{FF2B5EF4-FFF2-40B4-BE49-F238E27FC236}">
                <a16:creationId xmlns:a16="http://schemas.microsoft.com/office/drawing/2014/main" id="{4A6C14A4-5192-F446-B549-E8C090A7538D}"/>
              </a:ext>
            </a:extLst>
          </p:cNvPr>
          <p:cNvSpPr>
            <a:spLocks noGrp="1"/>
          </p:cNvSpPr>
          <p:nvPr>
            <p:ph type="ftr" sz="quarter" idx="3"/>
          </p:nvPr>
        </p:nvSpPr>
        <p:spPr>
          <a:xfrm>
            <a:off x="9641948" y="6327648"/>
            <a:ext cx="1706880" cy="207264"/>
          </a:xfrm>
          <a:prstGeom prst="rect">
            <a:avLst/>
          </a:prstGeom>
        </p:spPr>
        <p:txBody>
          <a:bodyPr vert="horz" lIns="0" tIns="0" rIns="0" bIns="0" rtlCol="0" anchor="ctr"/>
          <a:lstStyle>
            <a:lvl1pPr algn="r">
              <a:defRPr sz="1067" baseline="0">
                <a:solidFill>
                  <a:schemeClr val="bg1"/>
                </a:solidFill>
                <a:latin typeface="Arial" panose="020B0604020202020204" pitchFamily="34" charset="0"/>
                <a:cs typeface="Arial" panose="020B0604020202020204" pitchFamily="34" charset="0"/>
              </a:defRPr>
            </a:lvl1pPr>
            <a:lvl2pPr marL="0" indent="0">
              <a:defRPr sz="1000"/>
            </a:lvl2pPr>
            <a:lvl3pPr marL="0" indent="0">
              <a:defRPr sz="1000"/>
            </a:lvl3pPr>
            <a:lvl4pPr marL="0" indent="0">
              <a:defRPr sz="1000"/>
            </a:lvl4pPr>
            <a:lvl5pPr marL="0" indent="0">
              <a:defRPr sz="1000"/>
            </a:lvl5pPr>
            <a:lvl6pPr marL="0" indent="0">
              <a:defRPr sz="1000"/>
            </a:lvl6pPr>
            <a:lvl7pPr marL="0" indent="0">
              <a:defRPr sz="1000"/>
            </a:lvl7pPr>
            <a:lvl8pPr marL="0" indent="0">
              <a:defRPr sz="1000"/>
            </a:lvl8pPr>
            <a:lvl9pPr marL="0" indent="0">
              <a:defRPr sz="1000"/>
            </a:lvl9pPr>
          </a:lstStyle>
          <a:p>
            <a:r>
              <a:rPr lang="en-US"/>
              <a:t>© 2024 Brillio |</a:t>
            </a:r>
          </a:p>
        </p:txBody>
      </p:sp>
      <p:sp>
        <p:nvSpPr>
          <p:cNvPr id="8" name="Slide Number Placeholder 9">
            <a:extLst>
              <a:ext uri="{FF2B5EF4-FFF2-40B4-BE49-F238E27FC236}">
                <a16:creationId xmlns:a16="http://schemas.microsoft.com/office/drawing/2014/main" id="{39A232AD-2CB5-B144-89E6-63E9B2E42E8D}"/>
              </a:ext>
            </a:extLst>
          </p:cNvPr>
          <p:cNvSpPr>
            <a:spLocks noGrp="1"/>
          </p:cNvSpPr>
          <p:nvPr>
            <p:ph type="sldNum" sz="quarter" idx="4"/>
          </p:nvPr>
        </p:nvSpPr>
        <p:spPr>
          <a:xfrm>
            <a:off x="11387328" y="6326049"/>
            <a:ext cx="304800" cy="207264"/>
          </a:xfrm>
          <a:prstGeom prst="rect">
            <a:avLst/>
          </a:prstGeom>
        </p:spPr>
        <p:txBody>
          <a:bodyPr vert="horz" lIns="0" tIns="0" rIns="0" bIns="0" rtlCol="0" anchor="ctr"/>
          <a:lstStyle>
            <a:lvl1pPr algn="r">
              <a:defRPr sz="1067" b="1" baseline="0">
                <a:solidFill>
                  <a:schemeClr val="bg1"/>
                </a:solidFill>
                <a:latin typeface="Arial" panose="020B0604020202020204" pitchFamily="34" charset="0"/>
                <a:cs typeface="Arial" panose="020B0604020202020204" pitchFamily="34" charset="0"/>
              </a:defRPr>
            </a:lvl1pPr>
          </a:lstStyle>
          <a:p>
            <a:fld id="{2EFEF571-C9B4-4D92-A7F7-315B894862A8}" type="slidenum">
              <a:rPr lang="en-US" smtClean="0"/>
              <a:pPr/>
              <a:t>‹#›</a:t>
            </a:fld>
            <a:endParaRPr lang="en-US"/>
          </a:p>
        </p:txBody>
      </p:sp>
      <p:sp>
        <p:nvSpPr>
          <p:cNvPr id="3" name="Text Placeholder 2">
            <a:extLst>
              <a:ext uri="{FF2B5EF4-FFF2-40B4-BE49-F238E27FC236}">
                <a16:creationId xmlns:a16="http://schemas.microsoft.com/office/drawing/2014/main" id="{47E45BC9-3FAC-4063-A618-4859991DC43A}"/>
              </a:ext>
            </a:extLst>
          </p:cNvPr>
          <p:cNvSpPr>
            <a:spLocks noGrp="1"/>
          </p:cNvSpPr>
          <p:nvPr>
            <p:ph type="body" sz="quarter" idx="14" hasCustomPrompt="1"/>
          </p:nvPr>
        </p:nvSpPr>
        <p:spPr>
          <a:xfrm>
            <a:off x="6334125" y="2816860"/>
            <a:ext cx="5400675" cy="1466850"/>
          </a:xfrm>
        </p:spPr>
        <p:txBody>
          <a:bodyPr vert="horz" lIns="0" tIns="0" rIns="0" bIns="0" rtlCol="0" anchor="t" anchorCtr="0">
            <a:noAutofit/>
          </a:bodyPr>
          <a:lstStyle>
            <a:lvl1pPr>
              <a:defRPr lang="en-US" sz="4400" b="1" spc="-150" dirty="0" smtClean="0">
                <a:solidFill>
                  <a:schemeClr val="bg1"/>
                </a:solidFill>
              </a:defRPr>
            </a:lvl1pPr>
            <a:lvl2pPr>
              <a:defRPr lang="en-US" sz="5867" dirty="0" smtClean="0">
                <a:solidFill>
                  <a:schemeClr val="bg1"/>
                </a:solidFill>
              </a:defRPr>
            </a:lvl2pPr>
            <a:lvl3pPr>
              <a:defRPr lang="en-US" dirty="0" smtClean="0">
                <a:solidFill>
                  <a:schemeClr val="bg1"/>
                </a:solidFill>
              </a:defRPr>
            </a:lvl3pPr>
            <a:lvl4pPr>
              <a:defRPr lang="en-US" i="1" dirty="0" smtClean="0">
                <a:solidFill>
                  <a:schemeClr val="tx1"/>
                </a:solidFill>
              </a:defRPr>
            </a:lvl4pPr>
            <a:lvl5pPr>
              <a:defRPr lang="en-US" sz="1600" i="1" dirty="0">
                <a:solidFill>
                  <a:schemeClr val="tx1"/>
                </a:solidFill>
              </a:defRPr>
            </a:lvl5pPr>
          </a:lstStyle>
          <a:p>
            <a:pPr lvl="0"/>
            <a:r>
              <a:rPr lang="en-US"/>
              <a:t>Click to Enter Section Title</a:t>
            </a:r>
          </a:p>
        </p:txBody>
      </p:sp>
    </p:spTree>
    <p:extLst>
      <p:ext uri="{BB962C8B-B14F-4D97-AF65-F5344CB8AC3E}">
        <p14:creationId xmlns:p14="http://schemas.microsoft.com/office/powerpoint/2010/main" val="1020175638"/>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4_Header &amp; 1-Colum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0C17C7-12E5-F64D-AD1B-C71BD5F1D1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 name="Footer Placeholder 8">
            <a:extLst>
              <a:ext uri="{FF2B5EF4-FFF2-40B4-BE49-F238E27FC236}">
                <a16:creationId xmlns:a16="http://schemas.microsoft.com/office/drawing/2014/main" id="{5EF1130B-A279-DB4C-9EE9-6069AC23A672}"/>
              </a:ext>
            </a:extLst>
          </p:cNvPr>
          <p:cNvSpPr>
            <a:spLocks noGrp="1"/>
          </p:cNvSpPr>
          <p:nvPr>
            <p:ph type="ftr" sz="quarter" idx="3"/>
          </p:nvPr>
        </p:nvSpPr>
        <p:spPr>
          <a:xfrm>
            <a:off x="9637452" y="6327648"/>
            <a:ext cx="1706880" cy="207264"/>
          </a:xfrm>
          <a:prstGeom prst="rect">
            <a:avLst/>
          </a:prstGeom>
        </p:spPr>
        <p:txBody>
          <a:bodyPr vert="horz" lIns="0" tIns="0" rIns="0" bIns="0" rtlCol="0" anchor="ctr"/>
          <a:lstStyle>
            <a:lvl1pPr algn="r">
              <a:defRPr sz="1067" baseline="0">
                <a:solidFill>
                  <a:schemeClr val="tx2"/>
                </a:solidFill>
                <a:latin typeface="Arial" panose="020B0604020202020204" pitchFamily="34" charset="0"/>
                <a:cs typeface="Arial" panose="020B0604020202020204" pitchFamily="34" charset="0"/>
              </a:defRPr>
            </a:lvl1pPr>
            <a:lvl2pPr marL="0" indent="0">
              <a:defRPr sz="1000"/>
            </a:lvl2pPr>
            <a:lvl3pPr marL="0" indent="0">
              <a:defRPr sz="1000"/>
            </a:lvl3pPr>
            <a:lvl4pPr marL="0" indent="0">
              <a:defRPr sz="1000"/>
            </a:lvl4pPr>
            <a:lvl5pPr marL="0" indent="0">
              <a:defRPr sz="1000"/>
            </a:lvl5pPr>
            <a:lvl6pPr marL="0" indent="0">
              <a:defRPr sz="1000"/>
            </a:lvl6pPr>
            <a:lvl7pPr marL="0" indent="0">
              <a:defRPr sz="1000"/>
            </a:lvl7pPr>
            <a:lvl8pPr marL="0" indent="0">
              <a:defRPr sz="1000"/>
            </a:lvl8pPr>
            <a:lvl9pPr marL="0" indent="0">
              <a:defRPr sz="1000"/>
            </a:lvl9pPr>
          </a:lstStyle>
          <a:p>
            <a:r>
              <a:rPr lang="en-US"/>
              <a:t>© 2024 Brillio |</a:t>
            </a:r>
          </a:p>
        </p:txBody>
      </p:sp>
      <p:sp>
        <p:nvSpPr>
          <p:cNvPr id="9" name="Slide Number Placeholder 9">
            <a:extLst>
              <a:ext uri="{FF2B5EF4-FFF2-40B4-BE49-F238E27FC236}">
                <a16:creationId xmlns:a16="http://schemas.microsoft.com/office/drawing/2014/main" id="{E26DD857-DA51-D04F-A8E4-E8541AAB62D2}"/>
              </a:ext>
            </a:extLst>
          </p:cNvPr>
          <p:cNvSpPr>
            <a:spLocks noGrp="1"/>
          </p:cNvSpPr>
          <p:nvPr>
            <p:ph type="sldNum" sz="quarter" idx="4"/>
          </p:nvPr>
        </p:nvSpPr>
        <p:spPr>
          <a:xfrm>
            <a:off x="11387328" y="6326049"/>
            <a:ext cx="304800" cy="207264"/>
          </a:xfrm>
          <a:prstGeom prst="rect">
            <a:avLst/>
          </a:prstGeom>
        </p:spPr>
        <p:txBody>
          <a:bodyPr vert="horz" lIns="0" tIns="0" rIns="0" bIns="0" rtlCol="0" anchor="ctr"/>
          <a:lstStyle>
            <a:lvl1pPr algn="r">
              <a:defRPr sz="1067" b="1" baseline="0">
                <a:solidFill>
                  <a:schemeClr val="tx2"/>
                </a:solidFill>
                <a:latin typeface="Arial" panose="020B0604020202020204" pitchFamily="34" charset="0"/>
                <a:cs typeface="Arial" panose="020B0604020202020204" pitchFamily="34" charset="0"/>
              </a:defRPr>
            </a:lvl1pPr>
          </a:lstStyle>
          <a:p>
            <a:fld id="{2EFEF571-C9B4-4D92-A7F7-315B894862A8}" type="slidenum">
              <a:rPr lang="en-US" smtClean="0"/>
              <a:pPr/>
              <a:t>‹#›</a:t>
            </a:fld>
            <a:endParaRPr lang="en-US"/>
          </a:p>
        </p:txBody>
      </p:sp>
      <p:sp>
        <p:nvSpPr>
          <p:cNvPr id="7" name="Text Placeholder 5">
            <a:extLst>
              <a:ext uri="{FF2B5EF4-FFF2-40B4-BE49-F238E27FC236}">
                <a16:creationId xmlns:a16="http://schemas.microsoft.com/office/drawing/2014/main" id="{757B889B-78AE-BC47-AE62-31DE2DF979D4}"/>
              </a:ext>
            </a:extLst>
          </p:cNvPr>
          <p:cNvSpPr>
            <a:spLocks noGrp="1"/>
          </p:cNvSpPr>
          <p:nvPr>
            <p:ph type="body" sz="quarter" idx="13" hasCustomPrompt="1"/>
          </p:nvPr>
        </p:nvSpPr>
        <p:spPr>
          <a:xfrm>
            <a:off x="6305482" y="1956817"/>
            <a:ext cx="5386646" cy="2292096"/>
          </a:xfrm>
        </p:spPr>
        <p:txBody>
          <a:bodyPr anchor="t" anchorCtr="0">
            <a:noAutofit/>
          </a:bodyPr>
          <a:lstStyle>
            <a:lvl1pPr>
              <a:defRPr sz="4400">
                <a:solidFill>
                  <a:schemeClr val="tx2"/>
                </a:solidFill>
                <a:latin typeface="Arial" panose="020B0604020202020204" pitchFamily="34" charset="0"/>
                <a:cs typeface="Arial" panose="020B0604020202020204" pitchFamily="34" charset="0"/>
              </a:defRPr>
            </a:lvl1pPr>
            <a:lvl2pPr marL="309019" indent="-309019">
              <a:buNone/>
              <a:defRPr sz="5867">
                <a:solidFill>
                  <a:schemeClr val="bg1"/>
                </a:solidFill>
              </a:defRPr>
            </a:lvl2pPr>
            <a:lvl3pPr marL="0" indent="0">
              <a:buClrTx/>
              <a:buFont typeface="Arial" panose="020B0604020202020204" pitchFamily="34" charset="0"/>
              <a:buNone/>
              <a:defRPr baseline="0">
                <a:solidFill>
                  <a:schemeClr val="bg1"/>
                </a:solidFill>
              </a:defRPr>
            </a:lvl3pPr>
            <a:lvl4pPr marL="0" indent="0">
              <a:buClrTx/>
              <a:buFont typeface="Arial" panose="020B0604020202020204" pitchFamily="34" charset="0"/>
              <a:buNone/>
              <a:defRPr sz="1600" i="1">
                <a:solidFill>
                  <a:schemeClr val="tx1"/>
                </a:solidFill>
              </a:defRPr>
            </a:lvl4pPr>
            <a:lvl5pPr marL="0" indent="0">
              <a:buClrTx/>
              <a:buFont typeface="Arial" panose="020B0604020202020204" pitchFamily="34" charset="0"/>
              <a:buNone/>
              <a:defRPr sz="1600" i="1">
                <a:solidFill>
                  <a:schemeClr val="tx1"/>
                </a:solidFill>
              </a:defRPr>
            </a:lvl5pPr>
            <a:lvl6pPr marL="0" indent="0">
              <a:buClrTx/>
              <a:buFont typeface="Arial" panose="020B0604020202020204" pitchFamily="34" charset="0"/>
              <a:buNone/>
              <a:defRPr sz="1600" i="1">
                <a:solidFill>
                  <a:schemeClr val="tx1"/>
                </a:solidFill>
              </a:defRPr>
            </a:lvl6pPr>
            <a:lvl7pPr marL="0" indent="0">
              <a:buClrTx/>
              <a:buNone/>
              <a:defRPr sz="1600" i="1">
                <a:solidFill>
                  <a:schemeClr val="tx1"/>
                </a:solidFill>
              </a:defRPr>
            </a:lvl7pPr>
            <a:lvl8pPr marL="0" indent="0">
              <a:buClrTx/>
              <a:buNone/>
              <a:defRPr sz="1600" i="1">
                <a:solidFill>
                  <a:schemeClr val="tx1"/>
                </a:solidFill>
              </a:defRPr>
            </a:lvl8pPr>
            <a:lvl9pPr marL="0" indent="0">
              <a:buClrTx/>
              <a:buFont typeface="Arial" panose="020B0604020202020204" pitchFamily="34" charset="0"/>
              <a:buNone/>
              <a:defRPr sz="1600" i="1">
                <a:solidFill>
                  <a:schemeClr val="tx1"/>
                </a:solidFill>
              </a:defRPr>
            </a:lvl9pPr>
          </a:lstStyle>
          <a:p>
            <a:pPr lvl="0"/>
            <a:r>
              <a:rPr lang="en-US"/>
              <a:t>Edit Master text styles Edit Master</a:t>
            </a:r>
          </a:p>
        </p:txBody>
      </p:sp>
    </p:spTree>
    <p:extLst>
      <p:ext uri="{BB962C8B-B14F-4D97-AF65-F5344CB8AC3E}">
        <p14:creationId xmlns:p14="http://schemas.microsoft.com/office/powerpoint/2010/main" val="409403802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6_Header &amp; 1-Colum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0C17C7-12E5-F64D-AD1B-C71BD5F1D1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 name="Footer Placeholder 8">
            <a:extLst>
              <a:ext uri="{FF2B5EF4-FFF2-40B4-BE49-F238E27FC236}">
                <a16:creationId xmlns:a16="http://schemas.microsoft.com/office/drawing/2014/main" id="{5EF1130B-A279-DB4C-9EE9-6069AC23A672}"/>
              </a:ext>
            </a:extLst>
          </p:cNvPr>
          <p:cNvSpPr>
            <a:spLocks noGrp="1"/>
          </p:cNvSpPr>
          <p:nvPr>
            <p:ph type="ftr" sz="quarter" idx="3"/>
          </p:nvPr>
        </p:nvSpPr>
        <p:spPr>
          <a:xfrm>
            <a:off x="9637452" y="6327648"/>
            <a:ext cx="1706880" cy="207264"/>
          </a:xfrm>
          <a:prstGeom prst="rect">
            <a:avLst/>
          </a:prstGeom>
        </p:spPr>
        <p:txBody>
          <a:bodyPr vert="horz" lIns="0" tIns="0" rIns="0" bIns="0" rtlCol="0" anchor="ctr"/>
          <a:lstStyle>
            <a:lvl1pPr algn="r">
              <a:defRPr sz="1067" baseline="0">
                <a:solidFill>
                  <a:schemeClr val="tx2"/>
                </a:solidFill>
                <a:latin typeface="Arial" panose="020B0604020202020204" pitchFamily="34" charset="0"/>
                <a:cs typeface="Arial" panose="020B0604020202020204" pitchFamily="34" charset="0"/>
              </a:defRPr>
            </a:lvl1pPr>
            <a:lvl2pPr marL="0" indent="0">
              <a:defRPr sz="1000"/>
            </a:lvl2pPr>
            <a:lvl3pPr marL="0" indent="0">
              <a:defRPr sz="1000"/>
            </a:lvl3pPr>
            <a:lvl4pPr marL="0" indent="0">
              <a:defRPr sz="1000"/>
            </a:lvl4pPr>
            <a:lvl5pPr marL="0" indent="0">
              <a:defRPr sz="1000"/>
            </a:lvl5pPr>
            <a:lvl6pPr marL="0" indent="0">
              <a:defRPr sz="1000"/>
            </a:lvl6pPr>
            <a:lvl7pPr marL="0" indent="0">
              <a:defRPr sz="1000"/>
            </a:lvl7pPr>
            <a:lvl8pPr marL="0" indent="0">
              <a:defRPr sz="1000"/>
            </a:lvl8pPr>
            <a:lvl9pPr marL="0" indent="0">
              <a:defRPr sz="1000"/>
            </a:lvl9pPr>
          </a:lstStyle>
          <a:p>
            <a:r>
              <a:rPr lang="en-US"/>
              <a:t>© 2024 Brillio |</a:t>
            </a:r>
          </a:p>
        </p:txBody>
      </p:sp>
      <p:sp>
        <p:nvSpPr>
          <p:cNvPr id="9" name="Slide Number Placeholder 9">
            <a:extLst>
              <a:ext uri="{FF2B5EF4-FFF2-40B4-BE49-F238E27FC236}">
                <a16:creationId xmlns:a16="http://schemas.microsoft.com/office/drawing/2014/main" id="{E26DD857-DA51-D04F-A8E4-E8541AAB62D2}"/>
              </a:ext>
            </a:extLst>
          </p:cNvPr>
          <p:cNvSpPr>
            <a:spLocks noGrp="1"/>
          </p:cNvSpPr>
          <p:nvPr>
            <p:ph type="sldNum" sz="quarter" idx="4"/>
          </p:nvPr>
        </p:nvSpPr>
        <p:spPr>
          <a:xfrm>
            <a:off x="11387328" y="6326049"/>
            <a:ext cx="304800" cy="207264"/>
          </a:xfrm>
          <a:prstGeom prst="rect">
            <a:avLst/>
          </a:prstGeom>
        </p:spPr>
        <p:txBody>
          <a:bodyPr vert="horz" lIns="0" tIns="0" rIns="0" bIns="0" rtlCol="0" anchor="ctr"/>
          <a:lstStyle>
            <a:lvl1pPr algn="r">
              <a:defRPr sz="1067" b="1" baseline="0">
                <a:solidFill>
                  <a:schemeClr val="tx2"/>
                </a:solidFill>
                <a:latin typeface="Arial" panose="020B0604020202020204" pitchFamily="34" charset="0"/>
                <a:cs typeface="Arial" panose="020B0604020202020204" pitchFamily="34" charset="0"/>
              </a:defRPr>
            </a:lvl1pPr>
          </a:lstStyle>
          <a:p>
            <a:fld id="{2EFEF571-C9B4-4D92-A7F7-315B894862A8}" type="slidenum">
              <a:rPr lang="en-US" smtClean="0"/>
              <a:pPr/>
              <a:t>‹#›</a:t>
            </a:fld>
            <a:endParaRPr lang="en-US"/>
          </a:p>
        </p:txBody>
      </p:sp>
      <p:sp>
        <p:nvSpPr>
          <p:cNvPr id="8" name="Text Placeholder 5">
            <a:extLst>
              <a:ext uri="{FF2B5EF4-FFF2-40B4-BE49-F238E27FC236}">
                <a16:creationId xmlns:a16="http://schemas.microsoft.com/office/drawing/2014/main" id="{977E223E-CE50-41B8-A7D8-2F936420F122}"/>
              </a:ext>
            </a:extLst>
          </p:cNvPr>
          <p:cNvSpPr>
            <a:spLocks noGrp="1"/>
          </p:cNvSpPr>
          <p:nvPr>
            <p:ph type="body" sz="quarter" idx="13" hasCustomPrompt="1"/>
          </p:nvPr>
        </p:nvSpPr>
        <p:spPr>
          <a:xfrm>
            <a:off x="6305482" y="1956817"/>
            <a:ext cx="5386646" cy="357758"/>
          </a:xfrm>
        </p:spPr>
        <p:txBody>
          <a:bodyPr anchor="t" anchorCtr="0">
            <a:noAutofit/>
          </a:bodyPr>
          <a:lstStyle>
            <a:lvl1pPr>
              <a:defRPr sz="2000">
                <a:solidFill>
                  <a:schemeClr val="tx1"/>
                </a:solidFill>
                <a:latin typeface="Arial" panose="020B0604020202020204" pitchFamily="34" charset="0"/>
                <a:cs typeface="Arial" panose="020B0604020202020204" pitchFamily="34" charset="0"/>
              </a:defRPr>
            </a:lvl1pPr>
            <a:lvl2pPr marL="309019" indent="-309019">
              <a:buNone/>
              <a:defRPr sz="5867">
                <a:solidFill>
                  <a:schemeClr val="bg1"/>
                </a:solidFill>
              </a:defRPr>
            </a:lvl2pPr>
            <a:lvl3pPr marL="0" indent="0">
              <a:buClrTx/>
              <a:buFont typeface="Arial" panose="020B0604020202020204" pitchFamily="34" charset="0"/>
              <a:buNone/>
              <a:defRPr baseline="0">
                <a:solidFill>
                  <a:schemeClr val="bg1"/>
                </a:solidFill>
              </a:defRPr>
            </a:lvl3pPr>
            <a:lvl4pPr marL="0" indent="0">
              <a:buClrTx/>
              <a:buFont typeface="Arial" panose="020B0604020202020204" pitchFamily="34" charset="0"/>
              <a:buNone/>
              <a:defRPr sz="1600" i="1">
                <a:solidFill>
                  <a:schemeClr val="tx1"/>
                </a:solidFill>
              </a:defRPr>
            </a:lvl4pPr>
            <a:lvl5pPr marL="0" indent="0">
              <a:buClrTx/>
              <a:buFont typeface="Arial" panose="020B0604020202020204" pitchFamily="34" charset="0"/>
              <a:buNone/>
              <a:defRPr sz="1600" i="1">
                <a:solidFill>
                  <a:schemeClr val="tx1"/>
                </a:solidFill>
              </a:defRPr>
            </a:lvl5pPr>
            <a:lvl6pPr marL="0" indent="0">
              <a:buClrTx/>
              <a:buFont typeface="Arial" panose="020B0604020202020204" pitchFamily="34" charset="0"/>
              <a:buNone/>
              <a:defRPr sz="1600" i="1">
                <a:solidFill>
                  <a:schemeClr val="tx1"/>
                </a:solidFill>
              </a:defRPr>
            </a:lvl6pPr>
            <a:lvl7pPr marL="0" indent="0">
              <a:buClrTx/>
              <a:buNone/>
              <a:defRPr sz="1600" i="1">
                <a:solidFill>
                  <a:schemeClr val="tx1"/>
                </a:solidFill>
              </a:defRPr>
            </a:lvl7pPr>
            <a:lvl8pPr marL="0" indent="0">
              <a:buClrTx/>
              <a:buNone/>
              <a:defRPr sz="1600" i="1">
                <a:solidFill>
                  <a:schemeClr val="tx1"/>
                </a:solidFill>
              </a:defRPr>
            </a:lvl8pPr>
            <a:lvl9pPr marL="0" indent="0">
              <a:buClrTx/>
              <a:buFont typeface="Arial" panose="020B0604020202020204" pitchFamily="34" charset="0"/>
              <a:buNone/>
              <a:defRPr sz="1600" i="1">
                <a:solidFill>
                  <a:schemeClr val="tx1"/>
                </a:solidFill>
              </a:defRPr>
            </a:lvl9pPr>
          </a:lstStyle>
          <a:p>
            <a:pPr lvl="0"/>
            <a:r>
              <a:rPr lang="en-US"/>
              <a:t>Enter Section Number: Section #&lt;num&gt;</a:t>
            </a:r>
          </a:p>
        </p:txBody>
      </p:sp>
      <p:sp>
        <p:nvSpPr>
          <p:cNvPr id="10" name="Text Placeholder 2">
            <a:extLst>
              <a:ext uri="{FF2B5EF4-FFF2-40B4-BE49-F238E27FC236}">
                <a16:creationId xmlns:a16="http://schemas.microsoft.com/office/drawing/2014/main" id="{4B8D118F-6000-446B-85BD-AE03E03FC662}"/>
              </a:ext>
            </a:extLst>
          </p:cNvPr>
          <p:cNvSpPr>
            <a:spLocks noGrp="1"/>
          </p:cNvSpPr>
          <p:nvPr>
            <p:ph type="body" sz="quarter" idx="14" hasCustomPrompt="1"/>
          </p:nvPr>
        </p:nvSpPr>
        <p:spPr>
          <a:xfrm>
            <a:off x="6334125" y="2400300"/>
            <a:ext cx="5400675" cy="1466850"/>
          </a:xfrm>
        </p:spPr>
        <p:txBody>
          <a:bodyPr vert="horz" lIns="0" tIns="0" rIns="0" bIns="0" rtlCol="0" anchor="t" anchorCtr="0">
            <a:noAutofit/>
          </a:bodyPr>
          <a:lstStyle>
            <a:lvl1pPr>
              <a:defRPr lang="en-US" sz="4400" b="1" dirty="0" smtClean="0">
                <a:solidFill>
                  <a:schemeClr val="tx1"/>
                </a:solidFill>
              </a:defRPr>
            </a:lvl1pPr>
            <a:lvl2pPr>
              <a:defRPr lang="en-US" sz="5867" dirty="0" smtClean="0">
                <a:solidFill>
                  <a:schemeClr val="bg1"/>
                </a:solidFill>
              </a:defRPr>
            </a:lvl2pPr>
            <a:lvl3pPr>
              <a:defRPr lang="en-US" dirty="0" smtClean="0">
                <a:solidFill>
                  <a:schemeClr val="bg1"/>
                </a:solidFill>
              </a:defRPr>
            </a:lvl3pPr>
            <a:lvl4pPr>
              <a:defRPr lang="en-US" i="1" dirty="0" smtClean="0">
                <a:solidFill>
                  <a:schemeClr val="tx1"/>
                </a:solidFill>
              </a:defRPr>
            </a:lvl4pPr>
            <a:lvl5pPr>
              <a:defRPr lang="en-US" sz="1600" i="1" dirty="0">
                <a:solidFill>
                  <a:schemeClr val="tx1"/>
                </a:solidFill>
              </a:defRPr>
            </a:lvl5pPr>
          </a:lstStyle>
          <a:p>
            <a:pPr lvl="0"/>
            <a:r>
              <a:rPr lang="en-US"/>
              <a:t>Click to Enter Section Title</a:t>
            </a:r>
          </a:p>
        </p:txBody>
      </p:sp>
    </p:spTree>
    <p:extLst>
      <p:ext uri="{BB962C8B-B14F-4D97-AF65-F5344CB8AC3E}">
        <p14:creationId xmlns:p14="http://schemas.microsoft.com/office/powerpoint/2010/main" val="3069540296"/>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Main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59AFEE-79A3-4996-B06D-D9A66A9C5048}"/>
              </a:ext>
            </a:extLst>
          </p:cNvPr>
          <p:cNvSpPr>
            <a:spLocks noGrp="1"/>
          </p:cNvSpPr>
          <p:nvPr>
            <p:ph type="title"/>
          </p:nvPr>
        </p:nvSpPr>
        <p:spPr>
          <a:xfrm>
            <a:off x="512064" y="365762"/>
            <a:ext cx="11180064" cy="332399"/>
          </a:xfrm>
        </p:spPr>
        <p:txBody>
          <a:bodyPr>
            <a:spAutoFit/>
          </a:bodyPr>
          <a:lstStyle>
            <a:lvl1pPr>
              <a:defRPr sz="2400" b="1" baseline="0">
                <a:solidFill>
                  <a:schemeClr val="tx2"/>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326E17DD-19FC-4C3A-8168-1354DEB9B32C}"/>
              </a:ext>
            </a:extLst>
          </p:cNvPr>
          <p:cNvSpPr>
            <a:spLocks noGrp="1"/>
          </p:cNvSpPr>
          <p:nvPr>
            <p:ph idx="1"/>
          </p:nvPr>
        </p:nvSpPr>
        <p:spPr>
          <a:xfrm>
            <a:off x="512064" y="1110343"/>
            <a:ext cx="11180064" cy="4823926"/>
          </a:xfrm>
        </p:spPr>
        <p:txBody>
          <a:bodyPr/>
          <a:lstStyle>
            <a:lvl1pPr>
              <a:defRPr baseline="0">
                <a:solidFill>
                  <a:schemeClr val="tx2"/>
                </a:solidFill>
                <a:latin typeface="Arial" panose="020B0604020202020204" pitchFamily="34" charset="0"/>
                <a:cs typeface="Arial" panose="020B0604020202020204" pitchFamily="34" charset="0"/>
              </a:defRPr>
            </a:lvl1pPr>
            <a:lvl2pPr>
              <a:defRPr baseline="0">
                <a:solidFill>
                  <a:schemeClr val="tx2"/>
                </a:solidFill>
                <a:latin typeface="Arial" panose="020B0604020202020204" pitchFamily="34" charset="0"/>
                <a:cs typeface="Arial" panose="020B0604020202020204" pitchFamily="34" charset="0"/>
              </a:defRPr>
            </a:lvl2pPr>
            <a:lvl3pPr>
              <a:defRPr baseline="0">
                <a:solidFill>
                  <a:schemeClr val="tx2"/>
                </a:solidFill>
                <a:latin typeface="Arial" panose="020B0604020202020204" pitchFamily="34" charset="0"/>
                <a:cs typeface="Arial" panose="020B0604020202020204" pitchFamily="34" charset="0"/>
              </a:defRPr>
            </a:lvl3pPr>
            <a:lvl4pPr>
              <a:defRPr baseline="0">
                <a:solidFill>
                  <a:schemeClr val="tx2"/>
                </a:solidFill>
                <a:latin typeface="Arial" panose="020B0604020202020204" pitchFamily="34" charset="0"/>
                <a:cs typeface="Arial" panose="020B0604020202020204" pitchFamily="34" charset="0"/>
              </a:defRPr>
            </a:lvl4pPr>
            <a:lvl5pPr>
              <a:defRPr baseline="0">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8">
            <a:extLst>
              <a:ext uri="{FF2B5EF4-FFF2-40B4-BE49-F238E27FC236}">
                <a16:creationId xmlns:a16="http://schemas.microsoft.com/office/drawing/2014/main" id="{17A71629-F15B-8D41-8164-2180E384FBB5}"/>
              </a:ext>
            </a:extLst>
          </p:cNvPr>
          <p:cNvSpPr>
            <a:spLocks noGrp="1"/>
          </p:cNvSpPr>
          <p:nvPr>
            <p:ph type="ftr" sz="quarter" idx="3"/>
          </p:nvPr>
        </p:nvSpPr>
        <p:spPr>
          <a:xfrm>
            <a:off x="9637452" y="6327648"/>
            <a:ext cx="1706880" cy="207264"/>
          </a:xfrm>
          <a:prstGeom prst="rect">
            <a:avLst/>
          </a:prstGeom>
        </p:spPr>
        <p:txBody>
          <a:bodyPr vert="horz" lIns="0" tIns="0" rIns="0" bIns="0" rtlCol="0" anchor="ctr"/>
          <a:lstStyle>
            <a:lvl1pPr algn="r">
              <a:defRPr sz="1067" baseline="0">
                <a:solidFill>
                  <a:schemeClr val="tx2"/>
                </a:solidFill>
                <a:latin typeface="Arial" panose="020B0604020202020204" pitchFamily="34" charset="0"/>
                <a:cs typeface="Arial" panose="020B0604020202020204" pitchFamily="34" charset="0"/>
              </a:defRPr>
            </a:lvl1pPr>
            <a:lvl2pPr marL="0" indent="0">
              <a:defRPr sz="1000"/>
            </a:lvl2pPr>
            <a:lvl3pPr marL="0" indent="0">
              <a:defRPr sz="1000"/>
            </a:lvl3pPr>
            <a:lvl4pPr marL="0" indent="0">
              <a:defRPr sz="1000"/>
            </a:lvl4pPr>
            <a:lvl5pPr marL="0" indent="0">
              <a:defRPr sz="1000"/>
            </a:lvl5pPr>
            <a:lvl6pPr marL="0" indent="0">
              <a:defRPr sz="1000"/>
            </a:lvl6pPr>
            <a:lvl7pPr marL="0" indent="0">
              <a:defRPr sz="1000"/>
            </a:lvl7pPr>
            <a:lvl8pPr marL="0" indent="0">
              <a:defRPr sz="1000"/>
            </a:lvl8pPr>
            <a:lvl9pPr marL="0" indent="0">
              <a:defRPr sz="1000"/>
            </a:lvl9pPr>
          </a:lstStyle>
          <a:p>
            <a:r>
              <a:rPr lang="en-US"/>
              <a:t>© 2024 Brillio |</a:t>
            </a:r>
          </a:p>
        </p:txBody>
      </p:sp>
      <p:sp>
        <p:nvSpPr>
          <p:cNvPr id="12" name="Slide Number Placeholder 9">
            <a:extLst>
              <a:ext uri="{FF2B5EF4-FFF2-40B4-BE49-F238E27FC236}">
                <a16:creationId xmlns:a16="http://schemas.microsoft.com/office/drawing/2014/main" id="{00E14087-30FA-BF40-B4B2-888C000DFD32}"/>
              </a:ext>
            </a:extLst>
          </p:cNvPr>
          <p:cNvSpPr>
            <a:spLocks noGrp="1"/>
          </p:cNvSpPr>
          <p:nvPr>
            <p:ph type="sldNum" sz="quarter" idx="4"/>
          </p:nvPr>
        </p:nvSpPr>
        <p:spPr>
          <a:xfrm>
            <a:off x="11387328" y="6326049"/>
            <a:ext cx="304800" cy="207264"/>
          </a:xfrm>
          <a:prstGeom prst="rect">
            <a:avLst/>
          </a:prstGeom>
        </p:spPr>
        <p:txBody>
          <a:bodyPr vert="horz" lIns="0" tIns="0" rIns="0" bIns="0" rtlCol="0" anchor="ctr"/>
          <a:lstStyle>
            <a:lvl1pPr algn="r">
              <a:defRPr sz="1067" b="0" baseline="0">
                <a:solidFill>
                  <a:schemeClr val="tx2"/>
                </a:solidFill>
                <a:latin typeface="Arial" panose="020B0604020202020204" pitchFamily="34" charset="0"/>
                <a:cs typeface="Arial" panose="020B0604020202020204" pitchFamily="34" charset="0"/>
              </a:defRPr>
            </a:lvl1pPr>
          </a:lstStyle>
          <a:p>
            <a:fld id="{2EFEF571-C9B4-4D92-A7F7-315B894862A8}" type="slidenum">
              <a:rPr lang="en-US" smtClean="0"/>
              <a:pPr/>
              <a:t>‹#›</a:t>
            </a:fld>
            <a:endParaRPr lang="en-US"/>
          </a:p>
        </p:txBody>
      </p:sp>
    </p:spTree>
    <p:extLst>
      <p:ext uri="{BB962C8B-B14F-4D97-AF65-F5344CB8AC3E}">
        <p14:creationId xmlns:p14="http://schemas.microsoft.com/office/powerpoint/2010/main" val="3248471198"/>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Main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423FD12-D675-874A-B6F2-0917A63371DF}"/>
              </a:ext>
            </a:extLst>
          </p:cNvPr>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759AFEE-79A3-4996-B06D-D9A66A9C5048}"/>
              </a:ext>
            </a:extLst>
          </p:cNvPr>
          <p:cNvSpPr>
            <a:spLocks noGrp="1"/>
          </p:cNvSpPr>
          <p:nvPr>
            <p:ph type="title" hasCustomPrompt="1"/>
          </p:nvPr>
        </p:nvSpPr>
        <p:spPr>
          <a:xfrm>
            <a:off x="512064" y="365762"/>
            <a:ext cx="11180064" cy="332399"/>
          </a:xfrm>
        </p:spPr>
        <p:txBody>
          <a:bodyPr>
            <a:spAutoFit/>
          </a:bodyPr>
          <a:lstStyle>
            <a:lvl1pPr>
              <a:defRPr sz="2400" b="1" cap="none" spc="-150" baseline="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326E17DD-19FC-4C3A-8168-1354DEB9B32C}"/>
              </a:ext>
            </a:extLst>
          </p:cNvPr>
          <p:cNvSpPr>
            <a:spLocks noGrp="1"/>
          </p:cNvSpPr>
          <p:nvPr>
            <p:ph idx="1"/>
          </p:nvPr>
        </p:nvSpPr>
        <p:spPr>
          <a:xfrm>
            <a:off x="512064" y="1110343"/>
            <a:ext cx="11180064" cy="4823926"/>
          </a:xfrm>
        </p:spPr>
        <p:txBody>
          <a:bodyPr/>
          <a:lstStyle>
            <a:lvl1pPr>
              <a:defRPr baseline="0">
                <a:solidFill>
                  <a:schemeClr val="bg1"/>
                </a:solidFill>
                <a:latin typeface="Arial" panose="020B0604020202020204" pitchFamily="34" charset="0"/>
                <a:cs typeface="Arial" panose="020B0604020202020204" pitchFamily="34" charset="0"/>
              </a:defRPr>
            </a:lvl1pPr>
            <a:lvl2pPr>
              <a:defRPr baseline="0">
                <a:solidFill>
                  <a:schemeClr val="bg1"/>
                </a:solidFill>
                <a:latin typeface="Arial" panose="020B0604020202020204" pitchFamily="34" charset="0"/>
                <a:cs typeface="Arial" panose="020B0604020202020204" pitchFamily="34" charset="0"/>
              </a:defRPr>
            </a:lvl2pPr>
            <a:lvl3pPr>
              <a:defRPr baseline="0">
                <a:solidFill>
                  <a:schemeClr val="bg1"/>
                </a:solidFill>
                <a:latin typeface="Arial" panose="020B0604020202020204" pitchFamily="34" charset="0"/>
                <a:cs typeface="Arial" panose="020B0604020202020204" pitchFamily="34" charset="0"/>
              </a:defRPr>
            </a:lvl3pPr>
            <a:lvl4pPr>
              <a:defRPr baseline="0">
                <a:solidFill>
                  <a:schemeClr val="bg1"/>
                </a:solidFill>
                <a:latin typeface="Arial" panose="020B0604020202020204" pitchFamily="34" charset="0"/>
                <a:cs typeface="Arial" panose="020B0604020202020204" pitchFamily="34" charset="0"/>
              </a:defRPr>
            </a:lvl4pPr>
            <a:lvl5pPr>
              <a:defRPr baseline="0">
                <a:solidFill>
                  <a:schemeClr val="bg1"/>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8">
            <a:extLst>
              <a:ext uri="{FF2B5EF4-FFF2-40B4-BE49-F238E27FC236}">
                <a16:creationId xmlns:a16="http://schemas.microsoft.com/office/drawing/2014/main" id="{17A71629-F15B-8D41-8164-2180E384FBB5}"/>
              </a:ext>
            </a:extLst>
          </p:cNvPr>
          <p:cNvSpPr>
            <a:spLocks noGrp="1"/>
          </p:cNvSpPr>
          <p:nvPr>
            <p:ph type="ftr" sz="quarter" idx="3"/>
          </p:nvPr>
        </p:nvSpPr>
        <p:spPr>
          <a:xfrm>
            <a:off x="9637452" y="6327648"/>
            <a:ext cx="1706880" cy="207264"/>
          </a:xfrm>
          <a:prstGeom prst="rect">
            <a:avLst/>
          </a:prstGeom>
        </p:spPr>
        <p:txBody>
          <a:bodyPr vert="horz" lIns="0" tIns="0" rIns="0" bIns="0" rtlCol="0" anchor="ctr"/>
          <a:lstStyle>
            <a:lvl1pPr algn="r">
              <a:defRPr sz="1067" baseline="0">
                <a:solidFill>
                  <a:schemeClr val="tx2"/>
                </a:solidFill>
                <a:latin typeface="Arial" panose="020B0604020202020204" pitchFamily="34" charset="0"/>
                <a:cs typeface="Arial" panose="020B0604020202020204" pitchFamily="34" charset="0"/>
              </a:defRPr>
            </a:lvl1pPr>
            <a:lvl2pPr marL="0" indent="0">
              <a:defRPr sz="1000"/>
            </a:lvl2pPr>
            <a:lvl3pPr marL="0" indent="0">
              <a:defRPr sz="1000"/>
            </a:lvl3pPr>
            <a:lvl4pPr marL="0" indent="0">
              <a:defRPr sz="1000"/>
            </a:lvl4pPr>
            <a:lvl5pPr marL="0" indent="0">
              <a:defRPr sz="1000"/>
            </a:lvl5pPr>
            <a:lvl6pPr marL="0" indent="0">
              <a:defRPr sz="1000"/>
            </a:lvl6pPr>
            <a:lvl7pPr marL="0" indent="0">
              <a:defRPr sz="1000"/>
            </a:lvl7pPr>
            <a:lvl8pPr marL="0" indent="0">
              <a:defRPr sz="1000"/>
            </a:lvl8pPr>
            <a:lvl9pPr marL="0" indent="0">
              <a:defRPr sz="1000"/>
            </a:lvl9pPr>
          </a:lstStyle>
          <a:p>
            <a:r>
              <a:rPr lang="en-US">
                <a:solidFill>
                  <a:schemeClr val="bg1"/>
                </a:solidFill>
              </a:rPr>
              <a:t>© 2024 Brillio |</a:t>
            </a:r>
          </a:p>
        </p:txBody>
      </p:sp>
      <p:sp>
        <p:nvSpPr>
          <p:cNvPr id="12" name="Slide Number Placeholder 9">
            <a:extLst>
              <a:ext uri="{FF2B5EF4-FFF2-40B4-BE49-F238E27FC236}">
                <a16:creationId xmlns:a16="http://schemas.microsoft.com/office/drawing/2014/main" id="{00E14087-30FA-BF40-B4B2-888C000DFD32}"/>
              </a:ext>
            </a:extLst>
          </p:cNvPr>
          <p:cNvSpPr>
            <a:spLocks noGrp="1"/>
          </p:cNvSpPr>
          <p:nvPr>
            <p:ph type="sldNum" sz="quarter" idx="4"/>
          </p:nvPr>
        </p:nvSpPr>
        <p:spPr>
          <a:xfrm>
            <a:off x="11387328" y="6326049"/>
            <a:ext cx="304800" cy="207264"/>
          </a:xfrm>
          <a:prstGeom prst="rect">
            <a:avLst/>
          </a:prstGeom>
        </p:spPr>
        <p:txBody>
          <a:bodyPr vert="horz" lIns="0" tIns="0" rIns="0" bIns="0" rtlCol="0" anchor="ctr"/>
          <a:lstStyle>
            <a:lvl1pPr algn="r">
              <a:defRPr sz="1067" b="0" baseline="0">
                <a:solidFill>
                  <a:schemeClr val="bg1"/>
                </a:solidFill>
                <a:latin typeface="Arial" panose="020B0604020202020204" pitchFamily="34" charset="0"/>
                <a:cs typeface="Arial" panose="020B0604020202020204" pitchFamily="34" charset="0"/>
              </a:defRPr>
            </a:lvl1pPr>
          </a:lstStyle>
          <a:p>
            <a:fld id="{2EFEF571-C9B4-4D92-A7F7-315B894862A8}" type="slidenum">
              <a:rPr lang="en-US" smtClean="0"/>
              <a:pPr/>
              <a:t>‹#›</a:t>
            </a:fld>
            <a:endParaRPr lang="en-US"/>
          </a:p>
        </p:txBody>
      </p:sp>
      <p:pic>
        <p:nvPicPr>
          <p:cNvPr id="8" name="Picture 7">
            <a:extLst>
              <a:ext uri="{FF2B5EF4-FFF2-40B4-BE49-F238E27FC236}">
                <a16:creationId xmlns:a16="http://schemas.microsoft.com/office/drawing/2014/main" id="{C70B2725-3303-4F43-96FE-B48CFD6AD67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6549" y="6017337"/>
            <a:ext cx="1481977" cy="810596"/>
          </a:xfrm>
          <a:prstGeom prst="rect">
            <a:avLst/>
          </a:prstGeom>
        </p:spPr>
      </p:pic>
    </p:spTree>
    <p:extLst>
      <p:ext uri="{BB962C8B-B14F-4D97-AF65-F5344CB8AC3E}">
        <p14:creationId xmlns:p14="http://schemas.microsoft.com/office/powerpoint/2010/main" val="26750270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3 image">
    <p:bg>
      <p:bgPr>
        <a:solidFill>
          <a:schemeClr val="tx1"/>
        </a:solidFill>
        <a:effectLst/>
      </p:bgPr>
    </p:bg>
    <p:spTree>
      <p:nvGrpSpPr>
        <p:cNvPr id="1" name=""/>
        <p:cNvGrpSpPr/>
        <p:nvPr/>
      </p:nvGrpSpPr>
      <p:grpSpPr>
        <a:xfrm>
          <a:off x="0" y="0"/>
          <a:ext cx="0" cy="0"/>
          <a:chOff x="0" y="0"/>
          <a:chExt cx="0" cy="0"/>
        </a:xfrm>
      </p:grpSpPr>
      <p:sp>
        <p:nvSpPr>
          <p:cNvPr id="4" name="Picture Placeholder 5">
            <a:extLst>
              <a:ext uri="{FF2B5EF4-FFF2-40B4-BE49-F238E27FC236}">
                <a16:creationId xmlns:a16="http://schemas.microsoft.com/office/drawing/2014/main" id="{06CF6CF3-8491-8469-EF6E-6DF4249EBF58}"/>
              </a:ext>
            </a:extLst>
          </p:cNvPr>
          <p:cNvSpPr>
            <a:spLocks noGrp="1"/>
          </p:cNvSpPr>
          <p:nvPr>
            <p:ph type="pic" sz="quarter" idx="13" hasCustomPrompt="1"/>
          </p:nvPr>
        </p:nvSpPr>
        <p:spPr>
          <a:xfrm>
            <a:off x="4254501" y="0"/>
            <a:ext cx="7937499" cy="6858000"/>
          </a:xfrm>
          <a:solidFill>
            <a:schemeClr val="bg1"/>
          </a:solidFill>
        </p:spPr>
        <p:txBody>
          <a:bodyPr anchor="ctr"/>
          <a:lstStyle>
            <a:lvl1pPr algn="ctr">
              <a:defRPr>
                <a:solidFill>
                  <a:schemeClr val="tx1"/>
                </a:solidFill>
              </a:defRPr>
            </a:lvl1pPr>
          </a:lstStyle>
          <a:p>
            <a:r>
              <a:rPr lang="en-US"/>
              <a:t>[add image]</a:t>
            </a:r>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95470" y="1221441"/>
            <a:ext cx="3673281" cy="4938059"/>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itle Text">
            <a:extLst>
              <a:ext uri="{FF2B5EF4-FFF2-40B4-BE49-F238E27FC236}">
                <a16:creationId xmlns:a16="http://schemas.microsoft.com/office/drawing/2014/main" id="{4B5980F9-A7B7-7DE7-65FD-745FC498DFDB}"/>
              </a:ext>
            </a:extLst>
          </p:cNvPr>
          <p:cNvSpPr txBox="1">
            <a:spLocks noGrp="1"/>
          </p:cNvSpPr>
          <p:nvPr>
            <p:ph type="title" hasCustomPrompt="1"/>
          </p:nvPr>
        </p:nvSpPr>
        <p:spPr>
          <a:xfrm>
            <a:off x="290211" y="295139"/>
            <a:ext cx="3673281" cy="38660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73152" rIns="0" bIns="0"/>
          <a:lstStyle/>
          <a:p>
            <a:r>
              <a:rPr lang="en-US"/>
              <a:t>2/3 image</a:t>
            </a:r>
            <a:endParaRPr/>
          </a:p>
        </p:txBody>
      </p:sp>
      <p:sp>
        <p:nvSpPr>
          <p:cNvPr id="6" name="Text Placeholder 3">
            <a:extLst>
              <a:ext uri="{FF2B5EF4-FFF2-40B4-BE49-F238E27FC236}">
                <a16:creationId xmlns:a16="http://schemas.microsoft.com/office/drawing/2014/main" id="{97CF5AB9-188C-F7FE-47D0-616D908F404A}"/>
              </a:ext>
            </a:extLst>
          </p:cNvPr>
          <p:cNvSpPr txBox="1">
            <a:spLocks/>
          </p:cNvSpPr>
          <p:nvPr userDrawn="1"/>
        </p:nvSpPr>
        <p:spPr>
          <a:xfrm>
            <a:off x="11438259" y="6458629"/>
            <a:ext cx="462473" cy="150303"/>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Outfit Light" pitchFamily="2" charset="0"/>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r" defTabSz="1218948" rtl="0" eaLnBrk="1" fontAlgn="auto" latinLnBrk="0" hangingPunct="1">
              <a:lnSpc>
                <a:spcPct val="110000"/>
              </a:lnSpc>
              <a:spcBef>
                <a:spcPts val="0"/>
              </a:spcBef>
              <a:spcAft>
                <a:spcPts val="0"/>
              </a:spcAft>
              <a:buClrTx/>
              <a:buSzTx/>
              <a:buFontTx/>
              <a:buNone/>
              <a:tabLst/>
              <a:defRPr/>
            </a:pPr>
            <a:fld id="{64F0821C-65D3-DD4D-8DB2-745946DB9115}" type="slidenum">
              <a:rPr kumimoji="0" lang="en-US" sz="917" b="0" i="0" u="none" strike="noStrike" kern="0" cap="none" spc="0" normalizeH="0" baseline="0" noProof="0" smtClean="0">
                <a:ln>
                  <a:noFill/>
                </a:ln>
                <a:solidFill>
                  <a:schemeClr val="tx1"/>
                </a:solidFill>
                <a:effectLst/>
                <a:uLnTx/>
                <a:uFillTx/>
                <a:latin typeface="Aptos" panose="020B0004020202020204" pitchFamily="34" charset="0"/>
                <a:ea typeface="+mj-ea"/>
                <a:cs typeface="+mj-cs"/>
                <a:sym typeface="IBM Plex Sans Light"/>
              </a:rPr>
              <a:pPr marL="0" marR="0" lvl="0" indent="0" algn="r" defTabSz="1218948" rtl="0" eaLnBrk="1" fontAlgn="auto" latinLnBrk="0" hangingPunct="1">
                <a:lnSpc>
                  <a:spcPct val="110000"/>
                </a:lnSpc>
                <a:spcBef>
                  <a:spcPts val="0"/>
                </a:spcBef>
                <a:spcAft>
                  <a:spcPts val="0"/>
                </a:spcAft>
                <a:buClrTx/>
                <a:buSzTx/>
                <a:buFontTx/>
                <a:buNone/>
                <a:tabLst/>
                <a:defRPr/>
              </a:pPr>
              <a:t>‹#›</a:t>
            </a:fld>
            <a:endParaRPr kumimoji="0" lang="en-US" sz="917" b="0" i="0" u="none" strike="noStrike" kern="0" cap="none" spc="0" normalizeH="0" baseline="0" noProof="0">
              <a:ln>
                <a:noFill/>
              </a:ln>
              <a:solidFill>
                <a:schemeClr val="tx1"/>
              </a:solidFill>
              <a:effectLst/>
              <a:uLnTx/>
              <a:uFillTx/>
              <a:latin typeface="Aptos" panose="020B0004020202020204" pitchFamily="34" charset="0"/>
              <a:ea typeface="+mj-ea"/>
              <a:cs typeface="+mj-cs"/>
              <a:sym typeface="IBM Plex Sans Light"/>
            </a:endParaRPr>
          </a:p>
        </p:txBody>
      </p:sp>
      <p:pic>
        <p:nvPicPr>
          <p:cNvPr id="8" name="Graphic 7">
            <a:extLst>
              <a:ext uri="{FF2B5EF4-FFF2-40B4-BE49-F238E27FC236}">
                <a16:creationId xmlns:a16="http://schemas.microsoft.com/office/drawing/2014/main" id="{347BA4B1-3F51-247D-13A4-970446FB362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543540" y="6495499"/>
            <a:ext cx="167269" cy="81501"/>
          </a:xfrm>
          <a:prstGeom prst="rect">
            <a:avLst/>
          </a:prstGeom>
        </p:spPr>
      </p:pic>
    </p:spTree>
    <p:extLst>
      <p:ext uri="{BB962C8B-B14F-4D97-AF65-F5344CB8AC3E}">
        <p14:creationId xmlns:p14="http://schemas.microsoft.com/office/powerpoint/2010/main" val="3200974952"/>
      </p:ext>
    </p:extLst>
  </p:cSld>
  <p:clrMapOvr>
    <a:masterClrMapping/>
  </p:clrMapOvr>
  <p:transition spd="med"/>
  <p:extLst>
    <p:ext uri="{DCECCB84-F9BA-43D5-87BE-67443E8EF086}">
      <p15:sldGuideLst xmlns:p15="http://schemas.microsoft.com/office/powerpoint/2012/main">
        <p15:guide id="2" orient="horz" pos="4656">
          <p15:clr>
            <a:srgbClr val="F26B43"/>
          </p15:clr>
        </p15:guide>
        <p15:guide id="3" orient="horz" pos="912">
          <p15:clr>
            <a:srgbClr val="F26B43"/>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2_Main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423FD12-D675-874A-B6F2-0917A63371DF}"/>
              </a:ext>
            </a:extLst>
          </p:cNvPr>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326E17DD-19FC-4C3A-8168-1354DEB9B32C}"/>
              </a:ext>
            </a:extLst>
          </p:cNvPr>
          <p:cNvSpPr>
            <a:spLocks noGrp="1"/>
          </p:cNvSpPr>
          <p:nvPr>
            <p:ph idx="1"/>
          </p:nvPr>
        </p:nvSpPr>
        <p:spPr>
          <a:xfrm>
            <a:off x="512064" y="1110343"/>
            <a:ext cx="11180064" cy="4823926"/>
          </a:xfrm>
        </p:spPr>
        <p:txBody>
          <a:bodyPr/>
          <a:lstStyle>
            <a:lvl1pPr>
              <a:defRPr baseline="0">
                <a:solidFill>
                  <a:schemeClr val="bg1"/>
                </a:solidFill>
                <a:latin typeface="Arial" panose="020B0604020202020204" pitchFamily="34" charset="0"/>
                <a:cs typeface="Arial" panose="020B0604020202020204" pitchFamily="34" charset="0"/>
              </a:defRPr>
            </a:lvl1pPr>
            <a:lvl2pPr>
              <a:defRPr baseline="0">
                <a:solidFill>
                  <a:schemeClr val="bg1"/>
                </a:solidFill>
                <a:latin typeface="Arial" panose="020B0604020202020204" pitchFamily="34" charset="0"/>
                <a:cs typeface="Arial" panose="020B0604020202020204" pitchFamily="34" charset="0"/>
              </a:defRPr>
            </a:lvl2pPr>
            <a:lvl3pPr>
              <a:defRPr baseline="0">
                <a:solidFill>
                  <a:schemeClr val="bg1"/>
                </a:solidFill>
                <a:latin typeface="Arial" panose="020B0604020202020204" pitchFamily="34" charset="0"/>
                <a:cs typeface="Arial" panose="020B0604020202020204" pitchFamily="34" charset="0"/>
              </a:defRPr>
            </a:lvl3pPr>
            <a:lvl4pPr>
              <a:defRPr baseline="0">
                <a:solidFill>
                  <a:schemeClr val="bg1"/>
                </a:solidFill>
                <a:latin typeface="Arial" panose="020B0604020202020204" pitchFamily="34" charset="0"/>
                <a:cs typeface="Arial" panose="020B0604020202020204" pitchFamily="34" charset="0"/>
              </a:defRPr>
            </a:lvl4pPr>
            <a:lvl5pPr>
              <a:defRPr baseline="0">
                <a:solidFill>
                  <a:schemeClr val="bg1"/>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8">
            <a:extLst>
              <a:ext uri="{FF2B5EF4-FFF2-40B4-BE49-F238E27FC236}">
                <a16:creationId xmlns:a16="http://schemas.microsoft.com/office/drawing/2014/main" id="{17A71629-F15B-8D41-8164-2180E384FBB5}"/>
              </a:ext>
            </a:extLst>
          </p:cNvPr>
          <p:cNvSpPr>
            <a:spLocks noGrp="1"/>
          </p:cNvSpPr>
          <p:nvPr>
            <p:ph type="ftr" sz="quarter" idx="3"/>
          </p:nvPr>
        </p:nvSpPr>
        <p:spPr>
          <a:xfrm>
            <a:off x="9637452" y="6327648"/>
            <a:ext cx="1706880" cy="207264"/>
          </a:xfrm>
          <a:prstGeom prst="rect">
            <a:avLst/>
          </a:prstGeom>
        </p:spPr>
        <p:txBody>
          <a:bodyPr vert="horz" lIns="0" tIns="0" rIns="0" bIns="0" rtlCol="0" anchor="ctr"/>
          <a:lstStyle>
            <a:lvl1pPr algn="r">
              <a:defRPr sz="1067" baseline="0">
                <a:solidFill>
                  <a:schemeClr val="tx2"/>
                </a:solidFill>
                <a:latin typeface="Arial" panose="020B0604020202020204" pitchFamily="34" charset="0"/>
                <a:cs typeface="Arial" panose="020B0604020202020204" pitchFamily="34" charset="0"/>
              </a:defRPr>
            </a:lvl1pPr>
            <a:lvl2pPr marL="0" indent="0">
              <a:defRPr sz="1000"/>
            </a:lvl2pPr>
            <a:lvl3pPr marL="0" indent="0">
              <a:defRPr sz="1000"/>
            </a:lvl3pPr>
            <a:lvl4pPr marL="0" indent="0">
              <a:defRPr sz="1000"/>
            </a:lvl4pPr>
            <a:lvl5pPr marL="0" indent="0">
              <a:defRPr sz="1000"/>
            </a:lvl5pPr>
            <a:lvl6pPr marL="0" indent="0">
              <a:defRPr sz="1000"/>
            </a:lvl6pPr>
            <a:lvl7pPr marL="0" indent="0">
              <a:defRPr sz="1000"/>
            </a:lvl7pPr>
            <a:lvl8pPr marL="0" indent="0">
              <a:defRPr sz="1000"/>
            </a:lvl8pPr>
            <a:lvl9pPr marL="0" indent="0">
              <a:defRPr sz="1000"/>
            </a:lvl9pPr>
          </a:lstStyle>
          <a:p>
            <a:r>
              <a:rPr lang="en-US">
                <a:solidFill>
                  <a:schemeClr val="bg1"/>
                </a:solidFill>
              </a:rPr>
              <a:t>© 2024 Brillio |</a:t>
            </a:r>
          </a:p>
        </p:txBody>
      </p:sp>
      <p:sp>
        <p:nvSpPr>
          <p:cNvPr id="12" name="Slide Number Placeholder 9">
            <a:extLst>
              <a:ext uri="{FF2B5EF4-FFF2-40B4-BE49-F238E27FC236}">
                <a16:creationId xmlns:a16="http://schemas.microsoft.com/office/drawing/2014/main" id="{00E14087-30FA-BF40-B4B2-888C000DFD32}"/>
              </a:ext>
            </a:extLst>
          </p:cNvPr>
          <p:cNvSpPr>
            <a:spLocks noGrp="1"/>
          </p:cNvSpPr>
          <p:nvPr>
            <p:ph type="sldNum" sz="quarter" idx="4"/>
          </p:nvPr>
        </p:nvSpPr>
        <p:spPr>
          <a:xfrm>
            <a:off x="11387328" y="6326049"/>
            <a:ext cx="304800" cy="207264"/>
          </a:xfrm>
          <a:prstGeom prst="rect">
            <a:avLst/>
          </a:prstGeom>
        </p:spPr>
        <p:txBody>
          <a:bodyPr vert="horz" lIns="0" tIns="0" rIns="0" bIns="0" rtlCol="0" anchor="ctr"/>
          <a:lstStyle>
            <a:lvl1pPr algn="r">
              <a:defRPr sz="1067" b="0" baseline="0">
                <a:solidFill>
                  <a:schemeClr val="bg1"/>
                </a:solidFill>
                <a:latin typeface="Arial" panose="020B0604020202020204" pitchFamily="34" charset="0"/>
                <a:cs typeface="Arial" panose="020B0604020202020204" pitchFamily="34" charset="0"/>
              </a:defRPr>
            </a:lvl1pPr>
          </a:lstStyle>
          <a:p>
            <a:fld id="{2EFEF571-C9B4-4D92-A7F7-315B894862A8}" type="slidenum">
              <a:rPr lang="en-US" smtClean="0"/>
              <a:pPr/>
              <a:t>‹#›</a:t>
            </a:fld>
            <a:endParaRPr lang="en-US"/>
          </a:p>
        </p:txBody>
      </p:sp>
      <p:pic>
        <p:nvPicPr>
          <p:cNvPr id="8" name="Picture 7">
            <a:extLst>
              <a:ext uri="{FF2B5EF4-FFF2-40B4-BE49-F238E27FC236}">
                <a16:creationId xmlns:a16="http://schemas.microsoft.com/office/drawing/2014/main" id="{C70B2725-3303-4F43-96FE-B48CFD6AD67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6549" y="6017337"/>
            <a:ext cx="1481977" cy="810596"/>
          </a:xfrm>
          <a:prstGeom prst="rect">
            <a:avLst/>
          </a:prstGeom>
        </p:spPr>
      </p:pic>
      <p:sp>
        <p:nvSpPr>
          <p:cNvPr id="9" name="Title 1">
            <a:extLst>
              <a:ext uri="{FF2B5EF4-FFF2-40B4-BE49-F238E27FC236}">
                <a16:creationId xmlns:a16="http://schemas.microsoft.com/office/drawing/2014/main" id="{280D78C3-80B6-49DF-A0FA-DDCB75759120}"/>
              </a:ext>
            </a:extLst>
          </p:cNvPr>
          <p:cNvSpPr>
            <a:spLocks noGrp="1"/>
          </p:cNvSpPr>
          <p:nvPr>
            <p:ph type="title" hasCustomPrompt="1"/>
          </p:nvPr>
        </p:nvSpPr>
        <p:spPr>
          <a:xfrm>
            <a:off x="512064" y="365760"/>
            <a:ext cx="11180064" cy="570992"/>
          </a:xfrm>
        </p:spPr>
        <p:txBody>
          <a:bodyPr>
            <a:normAutofit/>
          </a:bodyPr>
          <a:lstStyle>
            <a:lvl1pPr>
              <a:defRPr sz="2400" cap="none" spc="-150">
                <a:solidFill>
                  <a:schemeClr val="bg1"/>
                </a:solidFill>
              </a:defRPr>
            </a:lvl1pPr>
          </a:lstStyle>
          <a:p>
            <a:r>
              <a:rPr lang="en-US"/>
              <a:t>Click to edit master title style</a:t>
            </a:r>
            <a:endParaRPr lang="en-IN"/>
          </a:p>
        </p:txBody>
      </p:sp>
      <p:sp>
        <p:nvSpPr>
          <p:cNvPr id="10" name="Text Placeholder 6">
            <a:extLst>
              <a:ext uri="{FF2B5EF4-FFF2-40B4-BE49-F238E27FC236}">
                <a16:creationId xmlns:a16="http://schemas.microsoft.com/office/drawing/2014/main" id="{B0D35454-165D-4B65-852F-65D6F214D304}"/>
              </a:ext>
            </a:extLst>
          </p:cNvPr>
          <p:cNvSpPr>
            <a:spLocks noGrp="1"/>
          </p:cNvSpPr>
          <p:nvPr>
            <p:ph type="body" sz="quarter" idx="12" hasCustomPrompt="1"/>
          </p:nvPr>
        </p:nvSpPr>
        <p:spPr>
          <a:xfrm>
            <a:off x="512763" y="825500"/>
            <a:ext cx="11222037" cy="396875"/>
          </a:xfrm>
        </p:spPr>
        <p:txBody>
          <a:bodyPr vert="horz" lIns="0" tIns="0" rIns="0" bIns="0" rtlCol="0" anchor="t" anchorCtr="0">
            <a:normAutofit/>
          </a:bodyPr>
          <a:lstStyle>
            <a:lvl1pPr>
              <a:defRPr lang="en-US" sz="1600" b="1" cap="none" spc="-150" dirty="0" smtClean="0">
                <a:solidFill>
                  <a:srgbClr val="28C855"/>
                </a:solidFill>
                <a:ea typeface="+mj-ea"/>
              </a:defRPr>
            </a:lvl1pPr>
            <a:lvl2pPr>
              <a:defRPr lang="en-US" dirty="0" smtClean="0"/>
            </a:lvl2pPr>
            <a:lvl3pPr>
              <a:defRPr lang="en-US" dirty="0" smtClean="0"/>
            </a:lvl3pPr>
            <a:lvl4pPr>
              <a:defRPr lang="en-US" dirty="0" smtClean="0"/>
            </a:lvl4pPr>
            <a:lvl5pPr>
              <a:defRPr lang="en-US" dirty="0"/>
            </a:lvl5pPr>
          </a:lstStyle>
          <a:p>
            <a:pPr lvl="0">
              <a:lnSpc>
                <a:spcPct val="90000"/>
              </a:lnSpc>
              <a:spcBef>
                <a:spcPct val="0"/>
              </a:spcBef>
            </a:pPr>
            <a:r>
              <a:rPr lang="en-US"/>
              <a:t>Click to edit sub text styles</a:t>
            </a:r>
          </a:p>
        </p:txBody>
      </p:sp>
    </p:spTree>
    <p:extLst>
      <p:ext uri="{BB962C8B-B14F-4D97-AF65-F5344CB8AC3E}">
        <p14:creationId xmlns:p14="http://schemas.microsoft.com/office/powerpoint/2010/main" val="201424973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ED4332-4997-4D36-A90C-2EDB78522A23}"/>
              </a:ext>
            </a:extLst>
          </p:cNvPr>
          <p:cNvSpPr>
            <a:spLocks noGrp="1"/>
          </p:cNvSpPr>
          <p:nvPr>
            <p:ph type="title" hasCustomPrompt="1"/>
          </p:nvPr>
        </p:nvSpPr>
        <p:spPr/>
        <p:txBody>
          <a:bodyPr>
            <a:normAutofit/>
          </a:bodyPr>
          <a:lstStyle>
            <a:lvl1pPr>
              <a:defRPr sz="2400" cap="none" spc="-150">
                <a:solidFill>
                  <a:schemeClr val="tx1"/>
                </a:solidFill>
              </a:defRPr>
            </a:lvl1pPr>
          </a:lstStyle>
          <a:p>
            <a:r>
              <a:rPr lang="en-US"/>
              <a:t>Click to edit master title style</a:t>
            </a:r>
            <a:endParaRPr lang="en-IN"/>
          </a:p>
        </p:txBody>
      </p:sp>
      <p:sp>
        <p:nvSpPr>
          <p:cNvPr id="3" name="Footer Placeholder 2">
            <a:extLst>
              <a:ext uri="{FF2B5EF4-FFF2-40B4-BE49-F238E27FC236}">
                <a16:creationId xmlns:a16="http://schemas.microsoft.com/office/drawing/2014/main" id="{AC40E83E-066C-417D-AF13-F8C411697F95}"/>
              </a:ext>
            </a:extLst>
          </p:cNvPr>
          <p:cNvSpPr>
            <a:spLocks noGrp="1"/>
          </p:cNvSpPr>
          <p:nvPr>
            <p:ph type="ftr" sz="quarter" idx="10"/>
          </p:nvPr>
        </p:nvSpPr>
        <p:spPr/>
        <p:txBody>
          <a:bodyPr/>
          <a:lstStyle/>
          <a:p>
            <a:r>
              <a:rPr lang="en-US"/>
              <a:t>© 2024 Brillio |</a:t>
            </a:r>
          </a:p>
        </p:txBody>
      </p:sp>
      <p:sp>
        <p:nvSpPr>
          <p:cNvPr id="4" name="Slide Number Placeholder 3">
            <a:extLst>
              <a:ext uri="{FF2B5EF4-FFF2-40B4-BE49-F238E27FC236}">
                <a16:creationId xmlns:a16="http://schemas.microsoft.com/office/drawing/2014/main" id="{159C0274-0441-4CFA-9B06-DDB03048D0E6}"/>
              </a:ext>
            </a:extLst>
          </p:cNvPr>
          <p:cNvSpPr>
            <a:spLocks noGrp="1"/>
          </p:cNvSpPr>
          <p:nvPr>
            <p:ph type="sldNum" sz="quarter" idx="11"/>
          </p:nvPr>
        </p:nvSpPr>
        <p:spPr/>
        <p:txBody>
          <a:bodyPr/>
          <a:lstStyle/>
          <a:p>
            <a:fld id="{2EFEF571-C9B4-4D92-A7F7-315B894862A8}" type="slidenum">
              <a:rPr lang="en-US" smtClean="0"/>
              <a:pPr/>
              <a:t>‹#›</a:t>
            </a:fld>
            <a:endParaRPr lang="en-US"/>
          </a:p>
        </p:txBody>
      </p:sp>
    </p:spTree>
    <p:extLst>
      <p:ext uri="{BB962C8B-B14F-4D97-AF65-F5344CB8AC3E}">
        <p14:creationId xmlns:p14="http://schemas.microsoft.com/office/powerpoint/2010/main" val="2694448976"/>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ED4332-4997-4D36-A90C-2EDB78522A23}"/>
              </a:ext>
            </a:extLst>
          </p:cNvPr>
          <p:cNvSpPr>
            <a:spLocks noGrp="1"/>
          </p:cNvSpPr>
          <p:nvPr>
            <p:ph type="title" hasCustomPrompt="1"/>
          </p:nvPr>
        </p:nvSpPr>
        <p:spPr/>
        <p:txBody>
          <a:bodyPr>
            <a:normAutofit/>
          </a:bodyPr>
          <a:lstStyle>
            <a:lvl1pPr>
              <a:defRPr sz="2400" cap="none" spc="-150">
                <a:solidFill>
                  <a:schemeClr val="tx1"/>
                </a:solidFill>
              </a:defRPr>
            </a:lvl1pPr>
          </a:lstStyle>
          <a:p>
            <a:r>
              <a:rPr lang="en-US"/>
              <a:t>Click to edit master title style</a:t>
            </a:r>
            <a:endParaRPr lang="en-IN"/>
          </a:p>
        </p:txBody>
      </p:sp>
      <p:sp>
        <p:nvSpPr>
          <p:cNvPr id="3" name="Footer Placeholder 2">
            <a:extLst>
              <a:ext uri="{FF2B5EF4-FFF2-40B4-BE49-F238E27FC236}">
                <a16:creationId xmlns:a16="http://schemas.microsoft.com/office/drawing/2014/main" id="{AC40E83E-066C-417D-AF13-F8C411697F95}"/>
              </a:ext>
            </a:extLst>
          </p:cNvPr>
          <p:cNvSpPr>
            <a:spLocks noGrp="1"/>
          </p:cNvSpPr>
          <p:nvPr>
            <p:ph type="ftr" sz="quarter" idx="10"/>
          </p:nvPr>
        </p:nvSpPr>
        <p:spPr/>
        <p:txBody>
          <a:bodyPr/>
          <a:lstStyle/>
          <a:p>
            <a:r>
              <a:rPr lang="en-US"/>
              <a:t>© 2024 Brillio |</a:t>
            </a:r>
          </a:p>
        </p:txBody>
      </p:sp>
      <p:sp>
        <p:nvSpPr>
          <p:cNvPr id="4" name="Slide Number Placeholder 3">
            <a:extLst>
              <a:ext uri="{FF2B5EF4-FFF2-40B4-BE49-F238E27FC236}">
                <a16:creationId xmlns:a16="http://schemas.microsoft.com/office/drawing/2014/main" id="{159C0274-0441-4CFA-9B06-DDB03048D0E6}"/>
              </a:ext>
            </a:extLst>
          </p:cNvPr>
          <p:cNvSpPr>
            <a:spLocks noGrp="1"/>
          </p:cNvSpPr>
          <p:nvPr>
            <p:ph type="sldNum" sz="quarter" idx="11"/>
          </p:nvPr>
        </p:nvSpPr>
        <p:spPr/>
        <p:txBody>
          <a:bodyPr/>
          <a:lstStyle/>
          <a:p>
            <a:fld id="{2EFEF571-C9B4-4D92-A7F7-315B894862A8}" type="slidenum">
              <a:rPr lang="en-US" smtClean="0"/>
              <a:pPr/>
              <a:t>‹#›</a:t>
            </a:fld>
            <a:endParaRPr lang="en-US"/>
          </a:p>
        </p:txBody>
      </p:sp>
      <p:sp>
        <p:nvSpPr>
          <p:cNvPr id="7" name="Text Placeholder 6">
            <a:extLst>
              <a:ext uri="{FF2B5EF4-FFF2-40B4-BE49-F238E27FC236}">
                <a16:creationId xmlns:a16="http://schemas.microsoft.com/office/drawing/2014/main" id="{AB09D225-0CEA-4248-825C-7FE836C043C5}"/>
              </a:ext>
            </a:extLst>
          </p:cNvPr>
          <p:cNvSpPr>
            <a:spLocks noGrp="1"/>
          </p:cNvSpPr>
          <p:nvPr>
            <p:ph type="body" sz="quarter" idx="12" hasCustomPrompt="1"/>
          </p:nvPr>
        </p:nvSpPr>
        <p:spPr>
          <a:xfrm>
            <a:off x="512763" y="825500"/>
            <a:ext cx="11222037" cy="396875"/>
          </a:xfrm>
        </p:spPr>
        <p:txBody>
          <a:bodyPr vert="horz" lIns="0" tIns="0" rIns="0" bIns="0" rtlCol="0" anchor="t" anchorCtr="0">
            <a:normAutofit/>
          </a:bodyPr>
          <a:lstStyle>
            <a:lvl1pPr>
              <a:defRPr lang="en-US" sz="1600" b="1" cap="none" spc="-150" dirty="0" smtClean="0">
                <a:solidFill>
                  <a:srgbClr val="28C855"/>
                </a:solidFill>
                <a:ea typeface="+mj-ea"/>
              </a:defRPr>
            </a:lvl1pPr>
            <a:lvl2pPr>
              <a:defRPr lang="en-US" dirty="0" smtClean="0"/>
            </a:lvl2pPr>
            <a:lvl3pPr>
              <a:defRPr lang="en-US" dirty="0" smtClean="0"/>
            </a:lvl3pPr>
            <a:lvl4pPr>
              <a:defRPr lang="en-US" dirty="0" smtClean="0"/>
            </a:lvl4pPr>
            <a:lvl5pPr>
              <a:defRPr lang="en-US" dirty="0"/>
            </a:lvl5pPr>
          </a:lstStyle>
          <a:p>
            <a:pPr lvl="0">
              <a:lnSpc>
                <a:spcPct val="90000"/>
              </a:lnSpc>
              <a:spcBef>
                <a:spcPct val="0"/>
              </a:spcBef>
            </a:pPr>
            <a:r>
              <a:rPr lang="en-US"/>
              <a:t>Click to edit sub text styles</a:t>
            </a:r>
          </a:p>
        </p:txBody>
      </p:sp>
    </p:spTree>
    <p:extLst>
      <p:ext uri="{BB962C8B-B14F-4D97-AF65-F5344CB8AC3E}">
        <p14:creationId xmlns:p14="http://schemas.microsoft.com/office/powerpoint/2010/main" val="373341755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3_Main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423FD12-D675-874A-B6F2-0917A63371DF}"/>
              </a:ext>
            </a:extLst>
          </p:cNvPr>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759AFEE-79A3-4996-B06D-D9A66A9C5048}"/>
              </a:ext>
            </a:extLst>
          </p:cNvPr>
          <p:cNvSpPr>
            <a:spLocks noGrp="1"/>
          </p:cNvSpPr>
          <p:nvPr>
            <p:ph type="title"/>
          </p:nvPr>
        </p:nvSpPr>
        <p:spPr>
          <a:xfrm>
            <a:off x="512064" y="365762"/>
            <a:ext cx="11180064" cy="332399"/>
          </a:xfrm>
        </p:spPr>
        <p:txBody>
          <a:bodyPr>
            <a:spAutoFit/>
          </a:bodyPr>
          <a:lstStyle>
            <a:lvl1pPr>
              <a:defRPr sz="2400" b="1" baseline="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326E17DD-19FC-4C3A-8168-1354DEB9B32C}"/>
              </a:ext>
            </a:extLst>
          </p:cNvPr>
          <p:cNvSpPr>
            <a:spLocks noGrp="1"/>
          </p:cNvSpPr>
          <p:nvPr>
            <p:ph idx="1"/>
          </p:nvPr>
        </p:nvSpPr>
        <p:spPr>
          <a:xfrm>
            <a:off x="512064" y="1110343"/>
            <a:ext cx="11180064" cy="4823926"/>
          </a:xfrm>
        </p:spPr>
        <p:txBody>
          <a:bodyPr/>
          <a:lstStyle>
            <a:lvl1pPr>
              <a:defRPr baseline="0">
                <a:solidFill>
                  <a:schemeClr val="bg1"/>
                </a:solidFill>
                <a:latin typeface="Arial" panose="020B0604020202020204" pitchFamily="34" charset="0"/>
                <a:cs typeface="Arial" panose="020B0604020202020204" pitchFamily="34" charset="0"/>
              </a:defRPr>
            </a:lvl1pPr>
            <a:lvl2pPr>
              <a:defRPr baseline="0">
                <a:solidFill>
                  <a:schemeClr val="bg1"/>
                </a:solidFill>
                <a:latin typeface="Arial" panose="020B0604020202020204" pitchFamily="34" charset="0"/>
                <a:cs typeface="Arial" panose="020B0604020202020204" pitchFamily="34" charset="0"/>
              </a:defRPr>
            </a:lvl2pPr>
            <a:lvl3pPr>
              <a:defRPr baseline="0">
                <a:solidFill>
                  <a:schemeClr val="bg1"/>
                </a:solidFill>
                <a:latin typeface="Arial" panose="020B0604020202020204" pitchFamily="34" charset="0"/>
                <a:cs typeface="Arial" panose="020B0604020202020204" pitchFamily="34" charset="0"/>
              </a:defRPr>
            </a:lvl3pPr>
            <a:lvl4pPr>
              <a:defRPr baseline="0">
                <a:solidFill>
                  <a:schemeClr val="bg1"/>
                </a:solidFill>
                <a:latin typeface="Arial" panose="020B0604020202020204" pitchFamily="34" charset="0"/>
                <a:cs typeface="Arial" panose="020B0604020202020204" pitchFamily="34" charset="0"/>
              </a:defRPr>
            </a:lvl4pPr>
            <a:lvl5pPr>
              <a:defRPr baseline="0">
                <a:solidFill>
                  <a:schemeClr val="bg1"/>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8">
            <a:extLst>
              <a:ext uri="{FF2B5EF4-FFF2-40B4-BE49-F238E27FC236}">
                <a16:creationId xmlns:a16="http://schemas.microsoft.com/office/drawing/2014/main" id="{17A71629-F15B-8D41-8164-2180E384FBB5}"/>
              </a:ext>
            </a:extLst>
          </p:cNvPr>
          <p:cNvSpPr>
            <a:spLocks noGrp="1"/>
          </p:cNvSpPr>
          <p:nvPr>
            <p:ph type="ftr" sz="quarter" idx="3"/>
          </p:nvPr>
        </p:nvSpPr>
        <p:spPr>
          <a:xfrm>
            <a:off x="9637452" y="6327648"/>
            <a:ext cx="1706880" cy="207264"/>
          </a:xfrm>
          <a:prstGeom prst="rect">
            <a:avLst/>
          </a:prstGeom>
        </p:spPr>
        <p:txBody>
          <a:bodyPr vert="horz" lIns="0" tIns="0" rIns="0" bIns="0" rtlCol="0" anchor="ctr"/>
          <a:lstStyle>
            <a:lvl1pPr algn="r">
              <a:defRPr sz="1067" baseline="0">
                <a:solidFill>
                  <a:schemeClr val="tx2"/>
                </a:solidFill>
                <a:latin typeface="Arial" panose="020B0604020202020204" pitchFamily="34" charset="0"/>
                <a:cs typeface="Arial" panose="020B0604020202020204" pitchFamily="34" charset="0"/>
              </a:defRPr>
            </a:lvl1pPr>
            <a:lvl2pPr marL="0" indent="0">
              <a:defRPr sz="1000"/>
            </a:lvl2pPr>
            <a:lvl3pPr marL="0" indent="0">
              <a:defRPr sz="1000"/>
            </a:lvl3pPr>
            <a:lvl4pPr marL="0" indent="0">
              <a:defRPr sz="1000"/>
            </a:lvl4pPr>
            <a:lvl5pPr marL="0" indent="0">
              <a:defRPr sz="1000"/>
            </a:lvl5pPr>
            <a:lvl6pPr marL="0" indent="0">
              <a:defRPr sz="1000"/>
            </a:lvl6pPr>
            <a:lvl7pPr marL="0" indent="0">
              <a:defRPr sz="1000"/>
            </a:lvl7pPr>
            <a:lvl8pPr marL="0" indent="0">
              <a:defRPr sz="1000"/>
            </a:lvl8pPr>
            <a:lvl9pPr marL="0" indent="0">
              <a:defRPr sz="1000"/>
            </a:lvl9pPr>
          </a:lstStyle>
          <a:p>
            <a:r>
              <a:rPr lang="en-US">
                <a:solidFill>
                  <a:schemeClr val="bg1"/>
                </a:solidFill>
              </a:rPr>
              <a:t>© 2024 Brillio |</a:t>
            </a:r>
          </a:p>
        </p:txBody>
      </p:sp>
      <p:sp>
        <p:nvSpPr>
          <p:cNvPr id="12" name="Slide Number Placeholder 9">
            <a:extLst>
              <a:ext uri="{FF2B5EF4-FFF2-40B4-BE49-F238E27FC236}">
                <a16:creationId xmlns:a16="http://schemas.microsoft.com/office/drawing/2014/main" id="{00E14087-30FA-BF40-B4B2-888C000DFD32}"/>
              </a:ext>
            </a:extLst>
          </p:cNvPr>
          <p:cNvSpPr>
            <a:spLocks noGrp="1"/>
          </p:cNvSpPr>
          <p:nvPr>
            <p:ph type="sldNum" sz="quarter" idx="4"/>
          </p:nvPr>
        </p:nvSpPr>
        <p:spPr>
          <a:xfrm>
            <a:off x="11387328" y="6326049"/>
            <a:ext cx="304800" cy="207264"/>
          </a:xfrm>
          <a:prstGeom prst="rect">
            <a:avLst/>
          </a:prstGeom>
        </p:spPr>
        <p:txBody>
          <a:bodyPr vert="horz" lIns="0" tIns="0" rIns="0" bIns="0" rtlCol="0" anchor="ctr"/>
          <a:lstStyle>
            <a:lvl1pPr algn="r">
              <a:defRPr sz="1067" b="0" baseline="0">
                <a:solidFill>
                  <a:schemeClr val="bg1"/>
                </a:solidFill>
                <a:latin typeface="Arial" panose="020B0604020202020204" pitchFamily="34" charset="0"/>
                <a:cs typeface="Arial" panose="020B0604020202020204" pitchFamily="34" charset="0"/>
              </a:defRPr>
            </a:lvl1pPr>
          </a:lstStyle>
          <a:p>
            <a:fld id="{2EFEF571-C9B4-4D92-A7F7-315B894862A8}" type="slidenum">
              <a:rPr lang="en-US" smtClean="0"/>
              <a:pPr/>
              <a:t>‹#›</a:t>
            </a:fld>
            <a:endParaRPr lang="en-US"/>
          </a:p>
        </p:txBody>
      </p:sp>
      <p:pic>
        <p:nvPicPr>
          <p:cNvPr id="8" name="Picture 7">
            <a:extLst>
              <a:ext uri="{FF2B5EF4-FFF2-40B4-BE49-F238E27FC236}">
                <a16:creationId xmlns:a16="http://schemas.microsoft.com/office/drawing/2014/main" id="{C70B2725-3303-4F43-96FE-B48CFD6AD67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6549" y="6017337"/>
            <a:ext cx="1481977" cy="810596"/>
          </a:xfrm>
          <a:prstGeom prst="rect">
            <a:avLst/>
          </a:prstGeom>
        </p:spPr>
      </p:pic>
    </p:spTree>
    <p:extLst>
      <p:ext uri="{BB962C8B-B14F-4D97-AF65-F5344CB8AC3E}">
        <p14:creationId xmlns:p14="http://schemas.microsoft.com/office/powerpoint/2010/main" val="143596230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ED4332-4997-4D36-A90C-2EDB78522A23}"/>
              </a:ext>
            </a:extLst>
          </p:cNvPr>
          <p:cNvSpPr>
            <a:spLocks noGrp="1"/>
          </p:cNvSpPr>
          <p:nvPr>
            <p:ph type="title"/>
          </p:nvPr>
        </p:nvSpPr>
        <p:spPr/>
        <p:txBody>
          <a:bodyPr/>
          <a:lstStyle/>
          <a:p>
            <a:r>
              <a:rPr lang="en-US"/>
              <a:t>Click to edit Master title style</a:t>
            </a:r>
            <a:endParaRPr lang="en-IN"/>
          </a:p>
        </p:txBody>
      </p:sp>
      <p:sp>
        <p:nvSpPr>
          <p:cNvPr id="3" name="Footer Placeholder 2">
            <a:extLst>
              <a:ext uri="{FF2B5EF4-FFF2-40B4-BE49-F238E27FC236}">
                <a16:creationId xmlns:a16="http://schemas.microsoft.com/office/drawing/2014/main" id="{AC40E83E-066C-417D-AF13-F8C411697F95}"/>
              </a:ext>
            </a:extLst>
          </p:cNvPr>
          <p:cNvSpPr>
            <a:spLocks noGrp="1"/>
          </p:cNvSpPr>
          <p:nvPr>
            <p:ph type="ftr" sz="quarter" idx="10"/>
          </p:nvPr>
        </p:nvSpPr>
        <p:spPr/>
        <p:txBody>
          <a:bodyPr/>
          <a:lstStyle/>
          <a:p>
            <a:r>
              <a:rPr lang="en-US"/>
              <a:t>© 2024 Brillio |</a:t>
            </a:r>
          </a:p>
        </p:txBody>
      </p:sp>
      <p:sp>
        <p:nvSpPr>
          <p:cNvPr id="4" name="Slide Number Placeholder 3">
            <a:extLst>
              <a:ext uri="{FF2B5EF4-FFF2-40B4-BE49-F238E27FC236}">
                <a16:creationId xmlns:a16="http://schemas.microsoft.com/office/drawing/2014/main" id="{159C0274-0441-4CFA-9B06-DDB03048D0E6}"/>
              </a:ext>
            </a:extLst>
          </p:cNvPr>
          <p:cNvSpPr>
            <a:spLocks noGrp="1"/>
          </p:cNvSpPr>
          <p:nvPr>
            <p:ph type="sldNum" sz="quarter" idx="11"/>
          </p:nvPr>
        </p:nvSpPr>
        <p:spPr/>
        <p:txBody>
          <a:bodyPr/>
          <a:lstStyle/>
          <a:p>
            <a:fld id="{2EFEF571-C9B4-4D92-A7F7-315B894862A8}" type="slidenum">
              <a:rPr lang="en-US" smtClean="0"/>
              <a:pPr/>
              <a:t>‹#›</a:t>
            </a:fld>
            <a:endParaRPr lang="en-US"/>
          </a:p>
        </p:txBody>
      </p:sp>
    </p:spTree>
    <p:extLst>
      <p:ext uri="{BB962C8B-B14F-4D97-AF65-F5344CB8AC3E}">
        <p14:creationId xmlns:p14="http://schemas.microsoft.com/office/powerpoint/2010/main" val="1631452954"/>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Brillio_Text over image slide">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E9E4CBBC-6571-7242-A07F-751C14380720}"/>
              </a:ext>
            </a:extLst>
          </p:cNvPr>
          <p:cNvSpPr/>
          <p:nvPr userDrawn="1"/>
        </p:nvSpPr>
        <p:spPr>
          <a:xfrm>
            <a:off x="0" y="0"/>
            <a:ext cx="7899400" cy="6858000"/>
          </a:xfrm>
          <a:prstGeom prst="rect">
            <a:avLst/>
          </a:prstGeom>
          <a:gradFill>
            <a:gsLst>
              <a:gs pos="100000">
                <a:srgbClr val="FFFFFF">
                  <a:alpha val="0"/>
                </a:srgbClr>
              </a:gs>
              <a:gs pos="46000">
                <a:schemeClr val="tx1">
                  <a:alpha val="9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22" name="Title 1">
            <a:extLst>
              <a:ext uri="{FF2B5EF4-FFF2-40B4-BE49-F238E27FC236}">
                <a16:creationId xmlns:a16="http://schemas.microsoft.com/office/drawing/2014/main" id="{01E92A18-E3B1-944C-B14B-9620C4432374}"/>
              </a:ext>
            </a:extLst>
          </p:cNvPr>
          <p:cNvSpPr>
            <a:spLocks noGrp="1"/>
          </p:cNvSpPr>
          <p:nvPr>
            <p:ph type="title" hasCustomPrompt="1"/>
          </p:nvPr>
        </p:nvSpPr>
        <p:spPr>
          <a:xfrm>
            <a:off x="381000" y="1869742"/>
            <a:ext cx="5583237" cy="926620"/>
          </a:xfrm>
          <a:noFill/>
        </p:spPr>
        <p:txBody>
          <a:bodyPr lIns="457200" tIns="457200" rIns="457200" anchor="b"/>
          <a:lstStyle>
            <a:lvl1pPr>
              <a:defRPr sz="2400" b="1">
                <a:solidFill>
                  <a:srgbClr val="2CC84D"/>
                </a:solidFill>
              </a:defRPr>
            </a:lvl1pPr>
          </a:lstStyle>
          <a:p>
            <a:r>
              <a:rPr lang="en-US"/>
              <a:t>Click to edit </a:t>
            </a:r>
            <a:br>
              <a:rPr lang="en-US"/>
            </a:br>
            <a:r>
              <a:rPr lang="en-US"/>
              <a:t>Master title style</a:t>
            </a:r>
          </a:p>
        </p:txBody>
      </p:sp>
      <p:sp>
        <p:nvSpPr>
          <p:cNvPr id="27" name="Text Placeholder 25">
            <a:extLst>
              <a:ext uri="{FF2B5EF4-FFF2-40B4-BE49-F238E27FC236}">
                <a16:creationId xmlns:a16="http://schemas.microsoft.com/office/drawing/2014/main" id="{D511F4E7-B90F-EB43-9806-3BC440542630}"/>
              </a:ext>
            </a:extLst>
          </p:cNvPr>
          <p:cNvSpPr>
            <a:spLocks noGrp="1"/>
          </p:cNvSpPr>
          <p:nvPr>
            <p:ph type="body" sz="quarter" idx="13"/>
          </p:nvPr>
        </p:nvSpPr>
        <p:spPr>
          <a:xfrm>
            <a:off x="381000" y="2796362"/>
            <a:ext cx="5583238" cy="2301874"/>
          </a:xfrm>
        </p:spPr>
        <p:txBody>
          <a:bodyPr lIns="457200" tIns="457200" rIns="457200" bIns="457200"/>
          <a:lstStyle>
            <a:lvl1pPr>
              <a:defRPr sz="1600" baseline="0">
                <a:solidFill>
                  <a:schemeClr val="bg1"/>
                </a:solidFill>
              </a:defRPr>
            </a:lvl1pPr>
            <a:lvl2pPr>
              <a:defRPr sz="1600" baseline="0">
                <a:solidFill>
                  <a:schemeClr val="bg1"/>
                </a:solidFill>
              </a:defRPr>
            </a:lvl2pPr>
            <a:lvl3pPr>
              <a:defRPr sz="1600" baseline="0">
                <a:solidFill>
                  <a:schemeClr val="bg1"/>
                </a:solidFill>
              </a:defRPr>
            </a:lvl3pPr>
            <a:lvl4pPr>
              <a:defRPr sz="1600" baseline="0">
                <a:solidFill>
                  <a:schemeClr val="bg1"/>
                </a:solidFill>
              </a:defRPr>
            </a:lvl4pPr>
            <a:lvl5pPr>
              <a:defRPr sz="1600"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descr="A picture containing icon&#10;&#10;Description automatically generated">
            <a:extLst>
              <a:ext uri="{FF2B5EF4-FFF2-40B4-BE49-F238E27FC236}">
                <a16:creationId xmlns:a16="http://schemas.microsoft.com/office/drawing/2014/main" id="{1017ED92-5BBD-FA47-B4F6-6986B426E03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1000" y="6083780"/>
            <a:ext cx="1121928" cy="475499"/>
          </a:xfrm>
          <a:prstGeom prst="rect">
            <a:avLst/>
          </a:prstGeom>
        </p:spPr>
      </p:pic>
      <p:sp>
        <p:nvSpPr>
          <p:cNvPr id="9" name="Slide Number Placeholder 10">
            <a:extLst>
              <a:ext uri="{FF2B5EF4-FFF2-40B4-BE49-F238E27FC236}">
                <a16:creationId xmlns:a16="http://schemas.microsoft.com/office/drawing/2014/main" id="{C7E2AF1C-82C7-5F47-A5AB-5D04057FD4EE}"/>
              </a:ext>
            </a:extLst>
          </p:cNvPr>
          <p:cNvSpPr>
            <a:spLocks noGrp="1"/>
          </p:cNvSpPr>
          <p:nvPr>
            <p:ph type="sldNum" sz="quarter" idx="4"/>
          </p:nvPr>
        </p:nvSpPr>
        <p:spPr>
          <a:xfrm>
            <a:off x="9856788" y="6212312"/>
            <a:ext cx="1969451" cy="263308"/>
          </a:xfrm>
          <a:prstGeom prst="rect">
            <a:avLst/>
          </a:prstGeom>
        </p:spPr>
        <p:txBody>
          <a:bodyPr vert="horz" lIns="0" tIns="0" rIns="0" bIns="0" rtlCol="0" anchor="b"/>
          <a:lstStyle>
            <a:lvl1pPr algn="r">
              <a:defRPr lang="en-US" sz="1000" b="0" i="0" kern="1200" smtClean="0">
                <a:solidFill>
                  <a:schemeClr val="bg2"/>
                </a:solidFill>
                <a:latin typeface="Arial" panose="020B0604020202020204" pitchFamily="34" charset="0"/>
                <a:ea typeface="+mn-ea"/>
                <a:cs typeface="Arial" panose="020B0604020202020204" pitchFamily="34" charset="0"/>
              </a:defRPr>
            </a:lvl1pPr>
          </a:lstStyle>
          <a:p>
            <a:r>
              <a:rPr lang="en-US"/>
              <a:t>©2024 Brillio  |  </a:t>
            </a:r>
            <a:fld id="{F1FE5E21-FD07-B44E-90A3-0254BFCDB49A}" type="slidenum">
              <a:rPr lang="en-US" smtClean="0"/>
              <a:pPr/>
              <a:t>‹#›</a:t>
            </a:fld>
            <a:endParaRPr lang="en-US"/>
          </a:p>
        </p:txBody>
      </p:sp>
    </p:spTree>
    <p:extLst>
      <p:ext uri="{BB962C8B-B14F-4D97-AF65-F5344CB8AC3E}">
        <p14:creationId xmlns:p14="http://schemas.microsoft.com/office/powerpoint/2010/main" val="215427021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2_Brillio_Quote slide">
    <p:bg>
      <p:bgPr>
        <a:solidFill>
          <a:srgbClr val="21174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25940" y="2022741"/>
            <a:ext cx="9887803" cy="3609432"/>
          </a:xfrm>
        </p:spPr>
        <p:txBody>
          <a:bodyPr rIns="228600" anchor="t"/>
          <a:lstStyle>
            <a:lvl1pPr>
              <a:defRPr sz="5400" b="0">
                <a:solidFill>
                  <a:schemeClr val="bg1"/>
                </a:solidFill>
              </a:defRPr>
            </a:lvl1pPr>
          </a:lstStyle>
          <a:p>
            <a:r>
              <a:rPr lang="en-US"/>
              <a:t>“Click to edit Master title style”</a:t>
            </a:r>
          </a:p>
        </p:txBody>
      </p:sp>
      <p:sp>
        <p:nvSpPr>
          <p:cNvPr id="4" name="Slide Number Placeholder 10">
            <a:extLst>
              <a:ext uri="{FF2B5EF4-FFF2-40B4-BE49-F238E27FC236}">
                <a16:creationId xmlns:a16="http://schemas.microsoft.com/office/drawing/2014/main" id="{3E1A1356-EC89-514D-9B0D-36B289BC02EE}"/>
              </a:ext>
            </a:extLst>
          </p:cNvPr>
          <p:cNvSpPr>
            <a:spLocks noGrp="1"/>
          </p:cNvSpPr>
          <p:nvPr>
            <p:ph type="sldNum" sz="quarter" idx="4"/>
          </p:nvPr>
        </p:nvSpPr>
        <p:spPr>
          <a:xfrm>
            <a:off x="9856790" y="6212312"/>
            <a:ext cx="1969450" cy="263308"/>
          </a:xfrm>
          <a:prstGeom prst="rect">
            <a:avLst/>
          </a:prstGeom>
        </p:spPr>
        <p:txBody>
          <a:bodyPr vert="horz" lIns="0" tIns="0" rIns="0" bIns="0" rtlCol="0" anchor="b"/>
          <a:lstStyle>
            <a:lvl1pPr algn="r">
              <a:defRPr lang="en-US" sz="1000" b="0" i="0" kern="1200" smtClean="0">
                <a:solidFill>
                  <a:schemeClr val="bg1"/>
                </a:solidFill>
                <a:latin typeface="Arial" panose="020B0604020202020204" pitchFamily="34" charset="0"/>
                <a:ea typeface="+mn-ea"/>
                <a:cs typeface="Arial" panose="020B0604020202020204" pitchFamily="34" charset="0"/>
              </a:defRPr>
            </a:lvl1pPr>
          </a:lstStyle>
          <a:p>
            <a:r>
              <a:rPr lang="en-US"/>
              <a:t>©2024 Brillio  |  </a:t>
            </a:r>
            <a:fld id="{F1FE5E21-FD07-B44E-90A3-0254BFCDB49A}" type="slidenum">
              <a:rPr smtClean="0"/>
              <a:pPr/>
              <a:t>‹#›</a:t>
            </a:fld>
            <a:endParaRPr/>
          </a:p>
        </p:txBody>
      </p:sp>
      <p:cxnSp>
        <p:nvCxnSpPr>
          <p:cNvPr id="7" name="Straight Connector 6">
            <a:extLst>
              <a:ext uri="{FF2B5EF4-FFF2-40B4-BE49-F238E27FC236}">
                <a16:creationId xmlns:a16="http://schemas.microsoft.com/office/drawing/2014/main" id="{5C74CBC2-4515-AF47-B548-7718CE3772D3}"/>
              </a:ext>
            </a:extLst>
          </p:cNvPr>
          <p:cNvCxnSpPr>
            <a:cxnSpLocks/>
          </p:cNvCxnSpPr>
          <p:nvPr userDrawn="1"/>
        </p:nvCxnSpPr>
        <p:spPr>
          <a:xfrm>
            <a:off x="1125940" y="1748485"/>
            <a:ext cx="4271555" cy="0"/>
          </a:xfrm>
          <a:prstGeom prst="line">
            <a:avLst/>
          </a:prstGeom>
          <a:ln w="12700">
            <a:solidFill>
              <a:srgbClr val="2CC84D"/>
            </a:solidFill>
          </a:ln>
        </p:spPr>
        <p:style>
          <a:lnRef idx="1">
            <a:schemeClr val="accent1"/>
          </a:lnRef>
          <a:fillRef idx="0">
            <a:schemeClr val="accent1"/>
          </a:fillRef>
          <a:effectRef idx="0">
            <a:schemeClr val="accent1"/>
          </a:effectRef>
          <a:fontRef idx="minor">
            <a:schemeClr val="tx1"/>
          </a:fontRef>
        </p:style>
      </p:cxnSp>
      <p:pic>
        <p:nvPicPr>
          <p:cNvPr id="8" name="Picture 7" descr="A picture containing icon&#10;&#10;Description automatically generated">
            <a:extLst>
              <a:ext uri="{FF2B5EF4-FFF2-40B4-BE49-F238E27FC236}">
                <a16:creationId xmlns:a16="http://schemas.microsoft.com/office/drawing/2014/main" id="{D47EEA8D-74AC-FC4E-8BD2-2F8722BF2138}"/>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1000" y="6083780"/>
            <a:ext cx="1121928" cy="475499"/>
          </a:xfrm>
          <a:prstGeom prst="rect">
            <a:avLst/>
          </a:prstGeom>
        </p:spPr>
      </p:pic>
    </p:spTree>
    <p:extLst>
      <p:ext uri="{BB962C8B-B14F-4D97-AF65-F5344CB8AC3E}">
        <p14:creationId xmlns:p14="http://schemas.microsoft.com/office/powerpoint/2010/main" val="1956201529"/>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Brillio_Divider slide-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5760" y="381000"/>
            <a:ext cx="6630463" cy="5349875"/>
          </a:xfrm>
        </p:spPr>
        <p:txBody>
          <a:bodyPr rIns="228600" anchor="ctr"/>
          <a:lstStyle>
            <a:lvl1pPr>
              <a:defRPr sz="5400" b="0">
                <a:solidFill>
                  <a:schemeClr val="bg1"/>
                </a:solidFill>
              </a:defRPr>
            </a:lvl1pPr>
          </a:lstStyle>
          <a:p>
            <a:r>
              <a:rPr lang="en-US"/>
              <a:t>Click to edit Master title style</a:t>
            </a:r>
          </a:p>
        </p:txBody>
      </p:sp>
      <p:pic>
        <p:nvPicPr>
          <p:cNvPr id="7" name="Picture 6" descr="A picture containing icon&#10;&#10;Description automatically generated">
            <a:extLst>
              <a:ext uri="{FF2B5EF4-FFF2-40B4-BE49-F238E27FC236}">
                <a16:creationId xmlns:a16="http://schemas.microsoft.com/office/drawing/2014/main" id="{9C192AEC-5E7A-9E42-B332-313C2549F318}"/>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381000" y="6083780"/>
            <a:ext cx="1121928" cy="475499"/>
          </a:xfrm>
          <a:prstGeom prst="rect">
            <a:avLst/>
          </a:prstGeom>
        </p:spPr>
      </p:pic>
    </p:spTree>
    <p:extLst>
      <p:ext uri="{BB962C8B-B14F-4D97-AF65-F5344CB8AC3E}">
        <p14:creationId xmlns:p14="http://schemas.microsoft.com/office/powerpoint/2010/main" val="4281079117"/>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1_Brillio_Title slide-Dark">
    <p:spTree>
      <p:nvGrpSpPr>
        <p:cNvPr id="1" name=""/>
        <p:cNvGrpSpPr/>
        <p:nvPr/>
      </p:nvGrpSpPr>
      <p:grpSpPr>
        <a:xfrm>
          <a:off x="0" y="0"/>
          <a:ext cx="0" cy="0"/>
          <a:chOff x="0" y="0"/>
          <a:chExt cx="0" cy="0"/>
        </a:xfrm>
      </p:grpSpPr>
      <p:sp>
        <p:nvSpPr>
          <p:cNvPr id="8" name="TextBox 7"/>
          <p:cNvSpPr txBox="1"/>
          <p:nvPr userDrawn="1"/>
        </p:nvSpPr>
        <p:spPr>
          <a:xfrm>
            <a:off x="381000" y="6323112"/>
            <a:ext cx="3048000" cy="153888"/>
          </a:xfrm>
          <a:prstGeom prst="rect">
            <a:avLst/>
          </a:prstGeom>
          <a:noFill/>
        </p:spPr>
        <p:txBody>
          <a:bodyPr wrap="square" lIns="0" tIns="0" rIns="0" bIns="0" rtlCol="0" anchor="b" anchorCtr="0">
            <a:spAutoFit/>
          </a:bodyPr>
          <a:lstStyle/>
          <a:p>
            <a:pPr algn="l"/>
            <a:r>
              <a:rPr lang="en-US" sz="1000" b="0" i="0">
                <a:solidFill>
                  <a:schemeClr val="bg1"/>
                </a:solidFill>
                <a:latin typeface="Outfit"/>
                <a:cs typeface="Arial" panose="020B0604020202020204" pitchFamily="34" charset="0"/>
              </a:rPr>
              <a:t>©2024</a:t>
            </a:r>
            <a:r>
              <a:rPr lang="en-US" sz="1000" b="0" i="0" baseline="0">
                <a:solidFill>
                  <a:schemeClr val="bg1"/>
                </a:solidFill>
                <a:latin typeface="Outfit"/>
                <a:cs typeface="Arial" panose="020B0604020202020204" pitchFamily="34" charset="0"/>
              </a:rPr>
              <a:t> Brillio  |  Proprietary &amp; Confidential</a:t>
            </a:r>
            <a:endParaRPr lang="en-US" sz="1000" b="0" i="0">
              <a:solidFill>
                <a:schemeClr val="bg1"/>
              </a:solidFill>
              <a:latin typeface="Outfit"/>
              <a:cs typeface="Arial" panose="020B0604020202020204" pitchFamily="34" charset="0"/>
            </a:endParaRPr>
          </a:p>
        </p:txBody>
      </p:sp>
      <p:pic>
        <p:nvPicPr>
          <p:cNvPr id="11" name="Picture 10" descr="A picture containing icon&#10;&#10;Description automatically generated">
            <a:extLst>
              <a:ext uri="{FF2B5EF4-FFF2-40B4-BE49-F238E27FC236}">
                <a16:creationId xmlns:a16="http://schemas.microsoft.com/office/drawing/2014/main" id="{DD17517B-F3A6-E24F-8D87-5BB06E05E44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81000" y="375097"/>
            <a:ext cx="1691640" cy="716956"/>
          </a:xfrm>
          <a:prstGeom prst="rect">
            <a:avLst/>
          </a:prstGeom>
        </p:spPr>
      </p:pic>
      <p:sp>
        <p:nvSpPr>
          <p:cNvPr id="7" name="Title 1">
            <a:extLst>
              <a:ext uri="{FF2B5EF4-FFF2-40B4-BE49-F238E27FC236}">
                <a16:creationId xmlns:a16="http://schemas.microsoft.com/office/drawing/2014/main" id="{EAAAB278-9F91-8B40-A29F-A34306522F07}"/>
              </a:ext>
            </a:extLst>
          </p:cNvPr>
          <p:cNvSpPr>
            <a:spLocks noGrp="1"/>
          </p:cNvSpPr>
          <p:nvPr>
            <p:ph type="ctrTitle" hasCustomPrompt="1"/>
          </p:nvPr>
        </p:nvSpPr>
        <p:spPr>
          <a:xfrm>
            <a:off x="365759" y="2276856"/>
            <a:ext cx="6630463" cy="1599405"/>
          </a:xfrm>
        </p:spPr>
        <p:txBody>
          <a:bodyPr anchor="t" anchorCtr="0"/>
          <a:lstStyle>
            <a:lvl1pPr marL="0" indent="0" algn="l">
              <a:lnSpc>
                <a:spcPts val="5200"/>
              </a:lnSpc>
              <a:buFont typeface="Arial" panose="020B0604020202020204" pitchFamily="34" charset="0"/>
              <a:buNone/>
              <a:defRPr sz="4400" b="0" i="0">
                <a:solidFill>
                  <a:schemeClr val="bg1"/>
                </a:solidFill>
                <a:latin typeface="Outfit"/>
                <a:cs typeface="Arial" panose="020B0604020202020204" pitchFamily="34" charset="0"/>
              </a:defRPr>
            </a:lvl1pPr>
          </a:lstStyle>
          <a:p>
            <a:r>
              <a:rPr lang="en-US"/>
              <a:t>Click to edit Master title style two lines</a:t>
            </a:r>
          </a:p>
        </p:txBody>
      </p:sp>
      <p:sp>
        <p:nvSpPr>
          <p:cNvPr id="9" name="Subtitle 2">
            <a:extLst>
              <a:ext uri="{FF2B5EF4-FFF2-40B4-BE49-F238E27FC236}">
                <a16:creationId xmlns:a16="http://schemas.microsoft.com/office/drawing/2014/main" id="{571D17FF-57BA-574D-8CC1-2326FCFFC357}"/>
              </a:ext>
            </a:extLst>
          </p:cNvPr>
          <p:cNvSpPr>
            <a:spLocks noGrp="1"/>
          </p:cNvSpPr>
          <p:nvPr>
            <p:ph type="subTitle" idx="1"/>
          </p:nvPr>
        </p:nvSpPr>
        <p:spPr>
          <a:xfrm>
            <a:off x="365760" y="4228304"/>
            <a:ext cx="3663315" cy="451104"/>
          </a:xfrm>
        </p:spPr>
        <p:txBody>
          <a:bodyPr>
            <a:noAutofit/>
          </a:bodyPr>
          <a:lstStyle>
            <a:lvl1pPr marL="0" indent="0" algn="l">
              <a:spcAft>
                <a:spcPts val="0"/>
              </a:spcAft>
              <a:buFont typeface="Arial" panose="020B0604020202020204" pitchFamily="34" charset="0"/>
              <a:buNone/>
              <a:defRPr sz="1600" b="0" i="0" baseline="0">
                <a:solidFill>
                  <a:schemeClr val="bg1"/>
                </a:solidFill>
                <a:latin typeface="Outfit"/>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0" name="Date Placeholder 3">
            <a:extLst>
              <a:ext uri="{FF2B5EF4-FFF2-40B4-BE49-F238E27FC236}">
                <a16:creationId xmlns:a16="http://schemas.microsoft.com/office/drawing/2014/main" id="{872C4F7A-3AC8-324F-8577-14F18AAC19B1}"/>
              </a:ext>
            </a:extLst>
          </p:cNvPr>
          <p:cNvSpPr>
            <a:spLocks noGrp="1"/>
          </p:cNvSpPr>
          <p:nvPr>
            <p:ph type="dt" sz="half" idx="10"/>
          </p:nvPr>
        </p:nvSpPr>
        <p:spPr>
          <a:xfrm>
            <a:off x="365759" y="4645613"/>
            <a:ext cx="3663315" cy="325142"/>
          </a:xfrm>
          <a:prstGeom prst="rect">
            <a:avLst/>
          </a:prstGeom>
        </p:spPr>
        <p:txBody>
          <a:bodyPr lIns="0"/>
          <a:lstStyle>
            <a:lvl1pPr algn="l">
              <a:defRPr sz="1600" b="0" i="0" baseline="0">
                <a:solidFill>
                  <a:schemeClr val="bg1"/>
                </a:solidFill>
                <a:latin typeface="Outfit"/>
                <a:cs typeface="Arial" panose="020B0604020202020204" pitchFamily="34" charset="0"/>
              </a:defRPr>
            </a:lvl1pPr>
          </a:lstStyle>
          <a:p>
            <a:endParaRPr lang="en-US"/>
          </a:p>
        </p:txBody>
      </p:sp>
    </p:spTree>
    <p:extLst>
      <p:ext uri="{BB962C8B-B14F-4D97-AF65-F5344CB8AC3E}">
        <p14:creationId xmlns:p14="http://schemas.microsoft.com/office/powerpoint/2010/main" val="2034555094"/>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blank">
  <p:cSld name="2_Brillio_Blank slide-Light">
    <p:spTree>
      <p:nvGrpSpPr>
        <p:cNvPr id="1" name=""/>
        <p:cNvGrpSpPr/>
        <p:nvPr/>
      </p:nvGrpSpPr>
      <p:grpSpPr>
        <a:xfrm>
          <a:off x="0" y="0"/>
          <a:ext cx="0" cy="0"/>
          <a:chOff x="0" y="0"/>
          <a:chExt cx="0" cy="0"/>
        </a:xfrm>
      </p:grpSpPr>
      <p:sp>
        <p:nvSpPr>
          <p:cNvPr id="5" name="Slide Number Placeholder 10">
            <a:extLst>
              <a:ext uri="{FF2B5EF4-FFF2-40B4-BE49-F238E27FC236}">
                <a16:creationId xmlns:a16="http://schemas.microsoft.com/office/drawing/2014/main" id="{710E8E78-F523-3289-08A7-0F6F3B752445}"/>
              </a:ext>
            </a:extLst>
          </p:cNvPr>
          <p:cNvSpPr>
            <a:spLocks noGrp="1"/>
          </p:cNvSpPr>
          <p:nvPr>
            <p:ph type="sldNum" sz="quarter" idx="4"/>
          </p:nvPr>
        </p:nvSpPr>
        <p:spPr>
          <a:xfrm>
            <a:off x="9856790" y="6398287"/>
            <a:ext cx="1969450" cy="259715"/>
          </a:xfrm>
          <a:prstGeom prst="rect">
            <a:avLst/>
          </a:prstGeom>
        </p:spPr>
        <p:txBody>
          <a:bodyPr vert="horz" lIns="0" tIns="0" rIns="0" bIns="0" rtlCol="0" anchor="b"/>
          <a:lstStyle>
            <a:lvl1pPr algn="r">
              <a:defRPr lang="en-US" sz="1000" b="0" i="0" kern="1200" smtClean="0">
                <a:solidFill>
                  <a:schemeClr val="tx1"/>
                </a:solidFill>
                <a:latin typeface="Arial" panose="020B0604020202020204" pitchFamily="34" charset="0"/>
                <a:ea typeface="+mn-ea"/>
                <a:cs typeface="Arial" panose="020B0604020202020204" pitchFamily="34" charset="0"/>
              </a:defRPr>
            </a:lvl1pPr>
          </a:lstStyle>
          <a:p>
            <a:r>
              <a:rPr lang="en-US"/>
              <a:t>©2024 Brillio  |  </a:t>
            </a:r>
            <a:fld id="{F1FE5E21-FD07-B44E-90A3-0254BFCDB49A}" type="slidenum">
              <a:rPr lang="en-US" smtClean="0"/>
              <a:pPr/>
              <a:t>‹#›</a:t>
            </a:fld>
            <a:endParaRPr lang="en-US"/>
          </a:p>
        </p:txBody>
      </p:sp>
    </p:spTree>
    <p:extLst>
      <p:ext uri="{BB962C8B-B14F-4D97-AF65-F5344CB8AC3E}">
        <p14:creationId xmlns:p14="http://schemas.microsoft.com/office/powerpoint/2010/main" val="170723826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ull image">
    <p:bg>
      <p:bgPr>
        <a:solidFill>
          <a:schemeClr val="tx1"/>
        </a:solidFill>
        <a:effectLst/>
      </p:bgPr>
    </p:bg>
    <p:spTree>
      <p:nvGrpSpPr>
        <p:cNvPr id="1" name=""/>
        <p:cNvGrpSpPr/>
        <p:nvPr/>
      </p:nvGrpSpPr>
      <p:grpSpPr>
        <a:xfrm>
          <a:off x="0" y="0"/>
          <a:ext cx="0" cy="0"/>
          <a:chOff x="0" y="0"/>
          <a:chExt cx="0" cy="0"/>
        </a:xfrm>
      </p:grpSpPr>
      <p:sp>
        <p:nvSpPr>
          <p:cNvPr id="4" name="Picture Placeholder 5">
            <a:extLst>
              <a:ext uri="{FF2B5EF4-FFF2-40B4-BE49-F238E27FC236}">
                <a16:creationId xmlns:a16="http://schemas.microsoft.com/office/drawing/2014/main" id="{06CF6CF3-8491-8469-EF6E-6DF4249EBF58}"/>
              </a:ext>
            </a:extLst>
          </p:cNvPr>
          <p:cNvSpPr>
            <a:spLocks noGrp="1"/>
          </p:cNvSpPr>
          <p:nvPr>
            <p:ph type="pic" sz="quarter" idx="13" hasCustomPrompt="1"/>
          </p:nvPr>
        </p:nvSpPr>
        <p:spPr>
          <a:xfrm>
            <a:off x="1" y="0"/>
            <a:ext cx="12191999" cy="6858000"/>
          </a:xfrm>
          <a:solidFill>
            <a:schemeClr val="bg1"/>
          </a:solidFill>
        </p:spPr>
        <p:txBody>
          <a:bodyPr anchor="ctr"/>
          <a:lstStyle>
            <a:lvl1pPr algn="ctr">
              <a:defRPr>
                <a:solidFill>
                  <a:schemeClr val="tx1"/>
                </a:solidFill>
              </a:defRPr>
            </a:lvl1pPr>
          </a:lstStyle>
          <a:p>
            <a:r>
              <a:rPr lang="en-US"/>
              <a:t>[add full image]</a:t>
            </a:r>
          </a:p>
        </p:txBody>
      </p:sp>
      <p:sp>
        <p:nvSpPr>
          <p:cNvPr id="2" name="Text Placeholder 3">
            <a:extLst>
              <a:ext uri="{FF2B5EF4-FFF2-40B4-BE49-F238E27FC236}">
                <a16:creationId xmlns:a16="http://schemas.microsoft.com/office/drawing/2014/main" id="{58FB3813-5A01-A86A-A140-973431D7417F}"/>
              </a:ext>
            </a:extLst>
          </p:cNvPr>
          <p:cNvSpPr txBox="1">
            <a:spLocks/>
          </p:cNvSpPr>
          <p:nvPr userDrawn="1"/>
        </p:nvSpPr>
        <p:spPr>
          <a:xfrm>
            <a:off x="11438259" y="6458629"/>
            <a:ext cx="462473" cy="150303"/>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Outfit Light" pitchFamily="2" charset="0"/>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r" defTabSz="1218948" rtl="0" eaLnBrk="1" fontAlgn="auto" latinLnBrk="0" hangingPunct="1">
              <a:lnSpc>
                <a:spcPct val="110000"/>
              </a:lnSpc>
              <a:spcBef>
                <a:spcPts val="0"/>
              </a:spcBef>
              <a:spcAft>
                <a:spcPts val="0"/>
              </a:spcAft>
              <a:buClrTx/>
              <a:buSzTx/>
              <a:buFontTx/>
              <a:buNone/>
              <a:tabLst/>
              <a:defRPr/>
            </a:pPr>
            <a:fld id="{64F0821C-65D3-DD4D-8DB2-745946DB9115}" type="slidenum">
              <a:rPr kumimoji="0" lang="en-US" sz="917" b="0" i="0" u="none" strike="noStrike" kern="0" cap="none" spc="0" normalizeH="0" baseline="0" noProof="0" smtClean="0">
                <a:ln>
                  <a:noFill/>
                </a:ln>
                <a:solidFill>
                  <a:schemeClr val="tx1"/>
                </a:solidFill>
                <a:effectLst/>
                <a:uLnTx/>
                <a:uFillTx/>
                <a:latin typeface="Aptos" panose="020B0004020202020204" pitchFamily="34" charset="0"/>
                <a:ea typeface="+mj-ea"/>
                <a:cs typeface="+mj-cs"/>
                <a:sym typeface="IBM Plex Sans Light"/>
              </a:rPr>
              <a:pPr marL="0" marR="0" lvl="0" indent="0" algn="r" defTabSz="1218948" rtl="0" eaLnBrk="1" fontAlgn="auto" latinLnBrk="0" hangingPunct="1">
                <a:lnSpc>
                  <a:spcPct val="110000"/>
                </a:lnSpc>
                <a:spcBef>
                  <a:spcPts val="0"/>
                </a:spcBef>
                <a:spcAft>
                  <a:spcPts val="0"/>
                </a:spcAft>
                <a:buClrTx/>
                <a:buSzTx/>
                <a:buFontTx/>
                <a:buNone/>
                <a:tabLst/>
                <a:defRPr/>
              </a:pPr>
              <a:t>‹#›</a:t>
            </a:fld>
            <a:endParaRPr kumimoji="0" lang="en-US" sz="917" b="0" i="0" u="none" strike="noStrike" kern="0" cap="none" spc="0" normalizeH="0" baseline="0" noProof="0">
              <a:ln>
                <a:noFill/>
              </a:ln>
              <a:solidFill>
                <a:schemeClr val="tx1"/>
              </a:solidFill>
              <a:effectLst/>
              <a:uLnTx/>
              <a:uFillTx/>
              <a:latin typeface="Aptos" panose="020B0004020202020204" pitchFamily="34" charset="0"/>
              <a:ea typeface="+mj-ea"/>
              <a:cs typeface="+mj-cs"/>
              <a:sym typeface="IBM Plex Sans Light"/>
            </a:endParaRPr>
          </a:p>
        </p:txBody>
      </p:sp>
      <p:pic>
        <p:nvPicPr>
          <p:cNvPr id="7" name="Graphic 6">
            <a:extLst>
              <a:ext uri="{FF2B5EF4-FFF2-40B4-BE49-F238E27FC236}">
                <a16:creationId xmlns:a16="http://schemas.microsoft.com/office/drawing/2014/main" id="{45931F86-4C64-9FBF-098B-1ADD1A26506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543540" y="6495499"/>
            <a:ext cx="167269" cy="81501"/>
          </a:xfrm>
          <a:prstGeom prst="rect">
            <a:avLst/>
          </a:prstGeom>
        </p:spPr>
      </p:pic>
      <p:sp>
        <p:nvSpPr>
          <p:cNvPr id="9" name="Text Placeholder 3">
            <a:extLst>
              <a:ext uri="{FF2B5EF4-FFF2-40B4-BE49-F238E27FC236}">
                <a16:creationId xmlns:a16="http://schemas.microsoft.com/office/drawing/2014/main" id="{866CA566-8F60-03D9-049C-F5E33522BDB6}"/>
              </a:ext>
            </a:extLst>
          </p:cNvPr>
          <p:cNvSpPr txBox="1">
            <a:spLocks/>
          </p:cNvSpPr>
          <p:nvPr userDrawn="1"/>
        </p:nvSpPr>
        <p:spPr>
          <a:xfrm>
            <a:off x="288889" y="6458629"/>
            <a:ext cx="4088233" cy="150303"/>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Outfit Light" pitchFamily="2" charset="0"/>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1218948" rtl="0" eaLnBrk="1" fontAlgn="auto" latinLnBrk="0" hangingPunct="1">
              <a:lnSpc>
                <a:spcPct val="110000"/>
              </a:lnSpc>
              <a:spcBef>
                <a:spcPts val="0"/>
              </a:spcBef>
              <a:spcAft>
                <a:spcPts val="0"/>
              </a:spcAft>
              <a:buClrTx/>
              <a:buSzTx/>
              <a:buFontTx/>
              <a:buNone/>
              <a:tabLst/>
              <a:defRPr/>
            </a:pPr>
            <a:r>
              <a:rPr kumimoji="0" lang="en-US" sz="917" b="0" i="0" u="none" strike="noStrike" kern="0" cap="none" spc="0" normalizeH="0" baseline="0" noProof="0">
                <a:ln>
                  <a:noFill/>
                </a:ln>
                <a:solidFill>
                  <a:schemeClr val="tx1"/>
                </a:solidFill>
                <a:effectLst/>
                <a:uLnTx/>
                <a:uFillTx/>
                <a:latin typeface="Aptos Light" panose="020B0004020202020204" pitchFamily="34" charset="0"/>
                <a:ea typeface="+mj-ea"/>
                <a:cs typeface="+mj-cs"/>
                <a:sym typeface="IBM Plex Sans Light"/>
              </a:rPr>
              <a:t>Confidential</a:t>
            </a:r>
            <a:r>
              <a:rPr kumimoji="0" lang="en-US" sz="917" b="0" i="0" u="none" strike="noStrike" kern="0" cap="none" spc="0" normalizeH="0" baseline="0" noProof="0">
                <a:ln>
                  <a:noFill/>
                </a:ln>
                <a:solidFill>
                  <a:schemeClr val="tx1"/>
                </a:solidFill>
                <a:effectLst/>
                <a:uLnTx/>
                <a:uFillTx/>
                <a:latin typeface="Aptos" panose="020B0004020202020204" pitchFamily="34" charset="0"/>
                <a:ea typeface="+mj-ea"/>
                <a:cs typeface="+mj-cs"/>
                <a:sym typeface="IBM Plex Sans Light"/>
              </a:rPr>
              <a:t>  /  </a:t>
            </a:r>
            <a:r>
              <a:rPr kumimoji="0" lang="en-US" sz="917" b="0" i="0" u="none" strike="noStrike" kern="0" cap="none" spc="0" normalizeH="0" baseline="0" noProof="0">
                <a:ln>
                  <a:noFill/>
                </a:ln>
                <a:solidFill>
                  <a:schemeClr val="tx1"/>
                </a:solidFill>
                <a:effectLst/>
                <a:uLnTx/>
                <a:uFillTx/>
                <a:latin typeface="Aptos Light" panose="020B0004020202020204" pitchFamily="34" charset="0"/>
                <a:ea typeface="+mj-ea"/>
                <a:cs typeface="+mj-cs"/>
                <a:sym typeface="IBM Plex Sans Light"/>
              </a:rPr>
              <a:t>Brillio</a:t>
            </a:r>
          </a:p>
        </p:txBody>
      </p:sp>
      <p:sp>
        <p:nvSpPr>
          <p:cNvPr id="10" name="Title Text">
            <a:extLst>
              <a:ext uri="{FF2B5EF4-FFF2-40B4-BE49-F238E27FC236}">
                <a16:creationId xmlns:a16="http://schemas.microsoft.com/office/drawing/2014/main" id="{2F82232D-23DD-4283-0987-40C92FF7B6C8}"/>
              </a:ext>
            </a:extLst>
          </p:cNvPr>
          <p:cNvSpPr txBox="1">
            <a:spLocks noGrp="1"/>
          </p:cNvSpPr>
          <p:nvPr>
            <p:ph type="title" hasCustomPrompt="1"/>
          </p:nvPr>
        </p:nvSpPr>
        <p:spPr>
          <a:xfrm>
            <a:off x="288555" y="305437"/>
            <a:ext cx="11606656" cy="38660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73152" rIns="0" bIns="0"/>
          <a:lstStyle>
            <a:lvl1pPr>
              <a:defRPr>
                <a:solidFill>
                  <a:schemeClr val="tx1"/>
                </a:solidFill>
              </a:defRPr>
            </a:lvl1pPr>
          </a:lstStyle>
          <a:p>
            <a:r>
              <a:rPr lang="en-US"/>
              <a:t>Full image</a:t>
            </a:r>
            <a:endParaRPr/>
          </a:p>
        </p:txBody>
      </p:sp>
    </p:spTree>
    <p:extLst>
      <p:ext uri="{BB962C8B-B14F-4D97-AF65-F5344CB8AC3E}">
        <p14:creationId xmlns:p14="http://schemas.microsoft.com/office/powerpoint/2010/main" val="4025292376"/>
      </p:ext>
    </p:extLst>
  </p:cSld>
  <p:clrMapOvr>
    <a:masterClrMapping/>
  </p:clrMapOvr>
  <p:transition spd="med"/>
  <p:extLst>
    <p:ext uri="{DCECCB84-F9BA-43D5-87BE-67443E8EF086}">
      <p15:sldGuideLst xmlns:p15="http://schemas.microsoft.com/office/powerpoint/2012/main"/>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Brillio_Agenda slide-Light">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460480" cy="899478"/>
          </a:xfrm>
        </p:spPr>
        <p:txBody>
          <a:bodyPr/>
          <a:lstStyle>
            <a:lvl1pPr>
              <a:defRPr/>
            </a:lvl1pPr>
          </a:lstStyle>
          <a:p>
            <a:r>
              <a:rPr lang="en-US"/>
              <a:t>Click to edit Master title style</a:t>
            </a:r>
          </a:p>
        </p:txBody>
      </p:sp>
      <p:sp>
        <p:nvSpPr>
          <p:cNvPr id="3" name="Content Placeholder 2"/>
          <p:cNvSpPr>
            <a:spLocks noGrp="1"/>
          </p:cNvSpPr>
          <p:nvPr>
            <p:ph idx="1"/>
          </p:nvPr>
        </p:nvSpPr>
        <p:spPr>
          <a:xfrm>
            <a:off x="365760" y="1527048"/>
            <a:ext cx="11460480" cy="4203827"/>
          </a:xfrm>
        </p:spPr>
        <p:txBody>
          <a:bodyPr>
            <a:noAutofit/>
          </a:bodyPr>
          <a:lstStyle>
            <a:lvl1pPr marL="345948" indent="-342900" defTabSz="914377">
              <a:lnSpc>
                <a:spcPts val="2100"/>
              </a:lnSpc>
              <a:spcAft>
                <a:spcPts val="600"/>
              </a:spcAft>
              <a:buFont typeface="+mj-lt"/>
              <a:buAutoNum type="arabicPeriod"/>
              <a:defRPr lang="en-US" sz="1800" b="0" i="0" kern="1200" baseline="0" dirty="0">
                <a:solidFill>
                  <a:schemeClr val="tx2"/>
                </a:solidFill>
                <a:latin typeface="Arial" panose="020B0604020202020204" pitchFamily="34" charset="0"/>
                <a:ea typeface="+mn-ea"/>
                <a:cs typeface="+mn-cs"/>
              </a:defRPr>
            </a:lvl1pPr>
            <a:lvl2pPr marL="577590" indent="-342900">
              <a:lnSpc>
                <a:spcPts val="2100"/>
              </a:lnSpc>
              <a:spcBef>
                <a:spcPts val="400"/>
              </a:spcBef>
              <a:spcAft>
                <a:spcPts val="600"/>
              </a:spcAft>
              <a:buFont typeface="+mj-lt"/>
              <a:buAutoNum type="arabicPeriod"/>
              <a:defRPr lang="en-US" sz="1800" b="0" i="0" kern="1200" baseline="0" dirty="0">
                <a:solidFill>
                  <a:schemeClr val="tx2"/>
                </a:solidFill>
                <a:latin typeface="Arial" panose="020B0604020202020204" pitchFamily="34" charset="0"/>
                <a:ea typeface="+mn-ea"/>
                <a:cs typeface="+mn-cs"/>
              </a:defRPr>
            </a:lvl2pPr>
            <a:lvl3pPr marL="234690" indent="0">
              <a:lnSpc>
                <a:spcPts val="2100"/>
              </a:lnSpc>
              <a:spcBef>
                <a:spcPts val="400"/>
              </a:spcBef>
              <a:spcAft>
                <a:spcPts val="600"/>
              </a:spcAft>
              <a:buFont typeface="+mj-lt"/>
              <a:buNone/>
              <a:defRPr sz="1800" b="0" i="0" baseline="0">
                <a:solidFill>
                  <a:schemeClr val="tx2"/>
                </a:solidFill>
                <a:latin typeface="Arial" panose="020B0604020202020204" pitchFamily="34" charset="0"/>
              </a:defRPr>
            </a:lvl3pPr>
            <a:lvl4pPr marL="234690" indent="0">
              <a:lnSpc>
                <a:spcPts val="2100"/>
              </a:lnSpc>
              <a:spcBef>
                <a:spcPts val="400"/>
              </a:spcBef>
              <a:spcAft>
                <a:spcPts val="600"/>
              </a:spcAft>
              <a:buFont typeface="+mj-lt"/>
              <a:buNone/>
              <a:defRPr sz="1800" b="0" i="0" baseline="0">
                <a:solidFill>
                  <a:schemeClr val="tx2"/>
                </a:solidFill>
                <a:latin typeface="Arial" panose="020B0604020202020204" pitchFamily="34" charset="0"/>
              </a:defRPr>
            </a:lvl4pPr>
            <a:lvl5pPr marL="234690" indent="0" algn="l">
              <a:lnSpc>
                <a:spcPts val="2100"/>
              </a:lnSpc>
              <a:spcAft>
                <a:spcPts val="600"/>
              </a:spcAft>
              <a:buFont typeface="+mj-lt"/>
              <a:buNone/>
              <a:defRPr sz="1800" b="0" i="0" baseline="0">
                <a:solidFill>
                  <a:schemeClr val="tx2"/>
                </a:solidFill>
                <a:latin typeface="Arial" panose="020B0604020202020204" pitchFamily="34" charset="0"/>
              </a:defRPr>
            </a:lvl5pPr>
            <a:lvl6pPr marL="463284">
              <a:defRPr sz="1867"/>
            </a:lvl6pPr>
            <a:lvl7pPr marL="463284" indent="-228594">
              <a:defRPr sz="1867"/>
            </a:lvl7pPr>
            <a:lvl8pPr marL="463284">
              <a:defRPr sz="1867"/>
            </a:lvl8pPr>
            <a:lvl9pPr marL="463284" indent="-228594">
              <a:spcBef>
                <a:spcPts val="40"/>
              </a:spcBef>
              <a:defRPr sz="18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A picture containing icon&#10;&#10;Description automatically generated">
            <a:extLst>
              <a:ext uri="{FF2B5EF4-FFF2-40B4-BE49-F238E27FC236}">
                <a16:creationId xmlns:a16="http://schemas.microsoft.com/office/drawing/2014/main" id="{15CFB0DF-3946-A848-ACBF-E4A50556AD2C}"/>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2772" y="6086103"/>
            <a:ext cx="1121928" cy="473945"/>
          </a:xfrm>
          <a:prstGeom prst="rect">
            <a:avLst/>
          </a:prstGeom>
        </p:spPr>
      </p:pic>
      <p:sp>
        <p:nvSpPr>
          <p:cNvPr id="13" name="Slide Number Placeholder 12">
            <a:extLst>
              <a:ext uri="{FF2B5EF4-FFF2-40B4-BE49-F238E27FC236}">
                <a16:creationId xmlns:a16="http://schemas.microsoft.com/office/drawing/2014/main" id="{1E7A03D6-B851-2644-B887-2D56582A9345}"/>
              </a:ext>
            </a:extLst>
          </p:cNvPr>
          <p:cNvSpPr>
            <a:spLocks noGrp="1"/>
          </p:cNvSpPr>
          <p:nvPr>
            <p:ph type="sldNum" sz="quarter" idx="11"/>
          </p:nvPr>
        </p:nvSpPr>
        <p:spPr>
          <a:xfrm>
            <a:off x="9856788" y="6191046"/>
            <a:ext cx="1969452" cy="280563"/>
          </a:xfrm>
        </p:spPr>
        <p:txBody>
          <a:bodyPr/>
          <a:lstStyle/>
          <a:p>
            <a:r>
              <a:rPr lang="en-US"/>
              <a:t>©2024 Brillio  |  </a:t>
            </a:r>
            <a:fld id="{F1FE5E21-FD07-B44E-90A3-0254BFCDB49A}" type="slidenum">
              <a:rPr smtClean="0"/>
              <a:pPr/>
              <a:t>‹#›</a:t>
            </a:fld>
            <a:endParaRPr/>
          </a:p>
        </p:txBody>
      </p:sp>
    </p:spTree>
    <p:extLst>
      <p:ext uri="{BB962C8B-B14F-4D97-AF65-F5344CB8AC3E}">
        <p14:creationId xmlns:p14="http://schemas.microsoft.com/office/powerpoint/2010/main" val="10350888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Bottom color block">
    <p:bg>
      <p:bgPr>
        <a:solidFill>
          <a:schemeClr val="tx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95470" y="1217706"/>
            <a:ext cx="2681094" cy="4941794"/>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itle Text">
            <a:extLst>
              <a:ext uri="{FF2B5EF4-FFF2-40B4-BE49-F238E27FC236}">
                <a16:creationId xmlns:a16="http://schemas.microsoft.com/office/drawing/2014/main" id="{4B5980F9-A7B7-7DE7-65FD-745FC498DFDB}"/>
              </a:ext>
            </a:extLst>
          </p:cNvPr>
          <p:cNvSpPr txBox="1">
            <a:spLocks noGrp="1"/>
          </p:cNvSpPr>
          <p:nvPr>
            <p:ph type="title" hasCustomPrompt="1"/>
          </p:nvPr>
        </p:nvSpPr>
        <p:spPr>
          <a:xfrm>
            <a:off x="290212" y="295139"/>
            <a:ext cx="8639476" cy="38660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73152" rIns="0" bIns="0"/>
          <a:lstStyle/>
          <a:p>
            <a:r>
              <a:rPr lang="en-US"/>
              <a:t>Half circle image</a:t>
            </a:r>
            <a:endParaRPr/>
          </a:p>
        </p:txBody>
      </p:sp>
      <p:sp>
        <p:nvSpPr>
          <p:cNvPr id="4" name="Text Placeholder 4">
            <a:extLst>
              <a:ext uri="{FF2B5EF4-FFF2-40B4-BE49-F238E27FC236}">
                <a16:creationId xmlns:a16="http://schemas.microsoft.com/office/drawing/2014/main" id="{6B78AFFA-760B-C379-5035-CB7ECAE05516}"/>
              </a:ext>
            </a:extLst>
          </p:cNvPr>
          <p:cNvSpPr>
            <a:spLocks noGrp="1"/>
          </p:cNvSpPr>
          <p:nvPr>
            <p:ph type="body" sz="quarter" idx="12"/>
          </p:nvPr>
        </p:nvSpPr>
        <p:spPr>
          <a:xfrm>
            <a:off x="3272031" y="1217706"/>
            <a:ext cx="2681094" cy="4941794"/>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ext Placeholder 4">
            <a:extLst>
              <a:ext uri="{FF2B5EF4-FFF2-40B4-BE49-F238E27FC236}">
                <a16:creationId xmlns:a16="http://schemas.microsoft.com/office/drawing/2014/main" id="{376D964F-C8A1-C871-5753-80704C0AE4DC}"/>
              </a:ext>
            </a:extLst>
          </p:cNvPr>
          <p:cNvSpPr>
            <a:spLocks noGrp="1"/>
          </p:cNvSpPr>
          <p:nvPr>
            <p:ph type="body" sz="quarter" idx="13"/>
          </p:nvPr>
        </p:nvSpPr>
        <p:spPr>
          <a:xfrm>
            <a:off x="6250082" y="1217706"/>
            <a:ext cx="2679606" cy="4941794"/>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Freeform: Shape 5">
            <a:extLst>
              <a:ext uri="{FF2B5EF4-FFF2-40B4-BE49-F238E27FC236}">
                <a16:creationId xmlns:a16="http://schemas.microsoft.com/office/drawing/2014/main" id="{E4B0EB2B-7117-FC86-E8DC-933DB03191EF}"/>
              </a:ext>
            </a:extLst>
          </p:cNvPr>
          <p:cNvSpPr>
            <a:spLocks noGrp="1"/>
          </p:cNvSpPr>
          <p:nvPr>
            <p:ph type="pic" sz="quarter" idx="10" hasCustomPrompt="1"/>
          </p:nvPr>
        </p:nvSpPr>
        <p:spPr>
          <a:xfrm flipH="1">
            <a:off x="9303437" y="299085"/>
            <a:ext cx="2890043" cy="5860415"/>
          </a:xfrm>
          <a:custGeom>
            <a:avLst/>
            <a:gdLst>
              <a:gd name="connsiteX0" fmla="*/ 0 w 2264458"/>
              <a:gd name="connsiteY0" fmla="*/ 0 h 4673463"/>
              <a:gd name="connsiteX1" fmla="*/ 163193 w 2264458"/>
              <a:gd name="connsiteY1" fmla="*/ 8241 h 4673463"/>
              <a:gd name="connsiteX2" fmla="*/ 2264458 w 2264458"/>
              <a:gd name="connsiteY2" fmla="*/ 2336732 h 4673463"/>
              <a:gd name="connsiteX3" fmla="*/ 163193 w 2264458"/>
              <a:gd name="connsiteY3" fmla="*/ 4665223 h 4673463"/>
              <a:gd name="connsiteX4" fmla="*/ 0 w 2264458"/>
              <a:gd name="connsiteY4" fmla="*/ 4673463 h 4673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4458" h="4673463">
                <a:moveTo>
                  <a:pt x="0" y="0"/>
                </a:moveTo>
                <a:lnTo>
                  <a:pt x="163193" y="8241"/>
                </a:lnTo>
                <a:cubicBezTo>
                  <a:pt x="1343443" y="128102"/>
                  <a:pt x="2264458" y="1124859"/>
                  <a:pt x="2264458" y="2336732"/>
                </a:cubicBezTo>
                <a:cubicBezTo>
                  <a:pt x="2264458" y="3548604"/>
                  <a:pt x="1343443" y="4545363"/>
                  <a:pt x="163193" y="4665223"/>
                </a:cubicBezTo>
                <a:lnTo>
                  <a:pt x="0" y="4673463"/>
                </a:lnTo>
                <a:close/>
              </a:path>
            </a:pathLst>
          </a:custGeom>
          <a:solidFill>
            <a:schemeClr val="bg1"/>
          </a:solidFill>
        </p:spPr>
        <p:txBody>
          <a:bodyPr wrap="square" anchor="ctr">
            <a:noAutofit/>
          </a:bodyPr>
          <a:lstStyle>
            <a:lvl1pPr marL="0" indent="0" algn="ctr">
              <a:buNone/>
              <a:defRPr>
                <a:solidFill>
                  <a:schemeClr val="tx1"/>
                </a:solidFill>
              </a:defRPr>
            </a:lvl1pPr>
          </a:lstStyle>
          <a:p>
            <a:pPr lvl="0"/>
            <a:r>
              <a:rPr lang="en-ID" noProof="0"/>
              <a:t>[add image]</a:t>
            </a:r>
          </a:p>
        </p:txBody>
      </p:sp>
    </p:spTree>
    <p:extLst>
      <p:ext uri="{BB962C8B-B14F-4D97-AF65-F5344CB8AC3E}">
        <p14:creationId xmlns:p14="http://schemas.microsoft.com/office/powerpoint/2010/main" val="289114337"/>
      </p:ext>
    </p:extLst>
  </p:cSld>
  <p:clrMapOvr>
    <a:masterClrMapping/>
  </p:clrMapOvr>
  <p:transition spd="med"/>
  <p:extLst>
    <p:ext uri="{DCECCB84-F9BA-43D5-87BE-67443E8EF086}">
      <p15:sldGuideLst xmlns:p15="http://schemas.microsoft.com/office/powerpoint/2012/main">
        <p15:guide id="2" orient="horz" pos="4656">
          <p15:clr>
            <a:srgbClr val="F26B43"/>
          </p15:clr>
        </p15:guide>
        <p15:guide id="3" orient="horz" pos="912">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onut Image">
    <p:bg>
      <p:bgPr>
        <a:solidFill>
          <a:schemeClr val="tx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95470" y="1221441"/>
            <a:ext cx="5658439" cy="4938059"/>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itle Text">
            <a:extLst>
              <a:ext uri="{FF2B5EF4-FFF2-40B4-BE49-F238E27FC236}">
                <a16:creationId xmlns:a16="http://schemas.microsoft.com/office/drawing/2014/main" id="{4B5980F9-A7B7-7DE7-65FD-745FC498DFDB}"/>
              </a:ext>
            </a:extLst>
          </p:cNvPr>
          <p:cNvSpPr txBox="1">
            <a:spLocks noGrp="1"/>
          </p:cNvSpPr>
          <p:nvPr>
            <p:ph type="title" hasCustomPrompt="1"/>
          </p:nvPr>
        </p:nvSpPr>
        <p:spPr>
          <a:xfrm>
            <a:off x="290212" y="295139"/>
            <a:ext cx="5662913" cy="38660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73152" rIns="0" bIns="0"/>
          <a:lstStyle/>
          <a:p>
            <a:r>
              <a:rPr lang="en-US"/>
              <a:t>Circle image</a:t>
            </a:r>
            <a:endParaRPr/>
          </a:p>
        </p:txBody>
      </p:sp>
      <p:sp>
        <p:nvSpPr>
          <p:cNvPr id="7" name="Rectangle 6">
            <a:extLst>
              <a:ext uri="{FF2B5EF4-FFF2-40B4-BE49-F238E27FC236}">
                <a16:creationId xmlns:a16="http://schemas.microsoft.com/office/drawing/2014/main" id="{92499C85-30F2-6EA7-FA46-49F8397A724D}"/>
              </a:ext>
            </a:extLst>
          </p:cNvPr>
          <p:cNvSpPr/>
          <p:nvPr userDrawn="1"/>
        </p:nvSpPr>
        <p:spPr bwMode="auto">
          <a:xfrm>
            <a:off x="8223251" y="0"/>
            <a:ext cx="3968750" cy="6858000"/>
          </a:xfrm>
          <a:prstGeom prst="rect">
            <a:avLst/>
          </a:prstGeom>
          <a:solidFill>
            <a:schemeClr val="tx2"/>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76200" tIns="76200" rIns="76200" bIns="76200" numCol="1" rtlCol="0" anchor="t" anchorCtr="0" compatLnSpc="1">
            <a:prstTxWarp prst="textNoShape">
              <a:avLst/>
            </a:prstTxWarp>
          </a:bodyPr>
          <a:lstStyle/>
          <a:p>
            <a:pPr marL="0" marR="0" indent="0" algn="l" defTabSz="761970" rtl="0" eaLnBrk="1" fontAlgn="base" latinLnBrk="0" hangingPunct="1">
              <a:lnSpc>
                <a:spcPct val="100000"/>
              </a:lnSpc>
              <a:spcBef>
                <a:spcPct val="0"/>
              </a:spcBef>
              <a:spcAft>
                <a:spcPct val="0"/>
              </a:spcAft>
              <a:buClrTx/>
              <a:buSzTx/>
              <a:buFont typeface="IBM Plex Sans Light"/>
              <a:buNone/>
              <a:tabLst/>
            </a:pPr>
            <a:endParaRPr kumimoji="0" lang="en-US" sz="1167" b="0" i="0" u="none" strike="noStrike" cap="none" normalizeH="0" baseline="0">
              <a:ln>
                <a:noFill/>
              </a:ln>
              <a:solidFill>
                <a:schemeClr val="bg1"/>
              </a:solidFill>
              <a:effectLst/>
              <a:latin typeface="+mn-lt"/>
            </a:endParaRPr>
          </a:p>
        </p:txBody>
      </p:sp>
      <p:sp>
        <p:nvSpPr>
          <p:cNvPr id="8" name="Text Placeholder 3">
            <a:extLst>
              <a:ext uri="{FF2B5EF4-FFF2-40B4-BE49-F238E27FC236}">
                <a16:creationId xmlns:a16="http://schemas.microsoft.com/office/drawing/2014/main" id="{33C5F6AC-C223-7C2D-70E0-C185CE6DC6CE}"/>
              </a:ext>
            </a:extLst>
          </p:cNvPr>
          <p:cNvSpPr txBox="1">
            <a:spLocks/>
          </p:cNvSpPr>
          <p:nvPr userDrawn="1"/>
        </p:nvSpPr>
        <p:spPr>
          <a:xfrm>
            <a:off x="11438259" y="6458629"/>
            <a:ext cx="462473" cy="150303"/>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Outfit Light" pitchFamily="2" charset="0"/>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r" defTabSz="1218948" rtl="0" eaLnBrk="1" fontAlgn="auto" latinLnBrk="0" hangingPunct="1">
              <a:lnSpc>
                <a:spcPct val="110000"/>
              </a:lnSpc>
              <a:spcBef>
                <a:spcPts val="0"/>
              </a:spcBef>
              <a:spcAft>
                <a:spcPts val="0"/>
              </a:spcAft>
              <a:buClrTx/>
              <a:buSzTx/>
              <a:buFontTx/>
              <a:buNone/>
              <a:tabLst/>
              <a:defRPr/>
            </a:pPr>
            <a:fld id="{64F0821C-65D3-DD4D-8DB2-745946DB9115}" type="slidenum">
              <a:rPr kumimoji="0" lang="en-US" sz="917" b="0" i="0" u="none" strike="noStrike" kern="0" cap="none" spc="0" normalizeH="0" baseline="0" noProof="0" smtClean="0">
                <a:ln>
                  <a:noFill/>
                </a:ln>
                <a:solidFill>
                  <a:srgbClr val="000000"/>
                </a:solidFill>
                <a:effectLst/>
                <a:uLnTx/>
                <a:uFillTx/>
                <a:latin typeface="Aptos" panose="020B0004020202020204" pitchFamily="34" charset="0"/>
                <a:ea typeface="+mj-ea"/>
                <a:cs typeface="+mj-cs"/>
                <a:sym typeface="IBM Plex Sans Light"/>
              </a:rPr>
              <a:pPr marL="0" marR="0" lvl="0" indent="0" algn="r" defTabSz="1218948" rtl="0" eaLnBrk="1" fontAlgn="auto" latinLnBrk="0" hangingPunct="1">
                <a:lnSpc>
                  <a:spcPct val="110000"/>
                </a:lnSpc>
                <a:spcBef>
                  <a:spcPts val="0"/>
                </a:spcBef>
                <a:spcAft>
                  <a:spcPts val="0"/>
                </a:spcAft>
                <a:buClrTx/>
                <a:buSzTx/>
                <a:buFontTx/>
                <a:buNone/>
                <a:tabLst/>
                <a:defRPr/>
              </a:pPr>
              <a:t>‹#›</a:t>
            </a:fld>
            <a:endParaRPr kumimoji="0" lang="en-US" sz="917" b="0" i="0" u="none" strike="noStrike" kern="0" cap="none" spc="0" normalizeH="0" baseline="0" noProof="0">
              <a:ln>
                <a:noFill/>
              </a:ln>
              <a:solidFill>
                <a:srgbClr val="000000"/>
              </a:solidFill>
              <a:effectLst/>
              <a:uLnTx/>
              <a:uFillTx/>
              <a:latin typeface="Aptos" panose="020B0004020202020204" pitchFamily="34" charset="0"/>
              <a:ea typeface="+mj-ea"/>
              <a:cs typeface="+mj-cs"/>
              <a:sym typeface="IBM Plex Sans Light"/>
            </a:endParaRPr>
          </a:p>
        </p:txBody>
      </p:sp>
      <p:pic>
        <p:nvPicPr>
          <p:cNvPr id="9" name="Graphic 8">
            <a:extLst>
              <a:ext uri="{FF2B5EF4-FFF2-40B4-BE49-F238E27FC236}">
                <a16:creationId xmlns:a16="http://schemas.microsoft.com/office/drawing/2014/main" id="{2C2E667E-748C-1FD6-BBC9-A8FCDA06743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543540" y="6495499"/>
            <a:ext cx="167269" cy="81501"/>
          </a:xfrm>
          <a:prstGeom prst="rect">
            <a:avLst/>
          </a:prstGeom>
        </p:spPr>
      </p:pic>
      <p:sp>
        <p:nvSpPr>
          <p:cNvPr id="2" name="Freeform: Shape 5">
            <a:extLst>
              <a:ext uri="{FF2B5EF4-FFF2-40B4-BE49-F238E27FC236}">
                <a16:creationId xmlns:a16="http://schemas.microsoft.com/office/drawing/2014/main" id="{E0ECF2DF-7B98-4586-E79B-667D49C0527B}"/>
              </a:ext>
            </a:extLst>
          </p:cNvPr>
          <p:cNvSpPr>
            <a:spLocks noGrp="1"/>
          </p:cNvSpPr>
          <p:nvPr>
            <p:ph type="pic" sz="quarter" idx="10" hasCustomPrompt="1"/>
          </p:nvPr>
        </p:nvSpPr>
        <p:spPr>
          <a:xfrm>
            <a:off x="6521356" y="307695"/>
            <a:ext cx="6264555" cy="6264555"/>
          </a:xfrm>
          <a:prstGeom prst="ellipse">
            <a:avLst/>
          </a:prstGeom>
          <a:solidFill>
            <a:schemeClr val="bg1"/>
          </a:solidFill>
        </p:spPr>
        <p:txBody>
          <a:bodyPr wrap="square" anchor="ctr">
            <a:noAutofit/>
          </a:bodyPr>
          <a:lstStyle>
            <a:lvl1pPr algn="ctr">
              <a:defRPr/>
            </a:lvl1pPr>
          </a:lstStyle>
          <a:p>
            <a:pPr lvl="0"/>
            <a:r>
              <a:rPr lang="en-ID" noProof="0"/>
              <a:t>[add image]</a:t>
            </a:r>
          </a:p>
        </p:txBody>
      </p:sp>
    </p:spTree>
    <p:extLst>
      <p:ext uri="{BB962C8B-B14F-4D97-AF65-F5344CB8AC3E}">
        <p14:creationId xmlns:p14="http://schemas.microsoft.com/office/powerpoint/2010/main" val="3954280624"/>
      </p:ext>
    </p:extLst>
  </p:cSld>
  <p:clrMapOvr>
    <a:masterClrMapping/>
  </p:clrMapOvr>
  <p:transition spd="med"/>
  <p:extLst>
    <p:ext uri="{DCECCB84-F9BA-43D5-87BE-67443E8EF086}">
      <p15:sldGuideLst xmlns:p15="http://schemas.microsoft.com/office/powerpoint/2012/main">
        <p15:guide id="2" orient="horz" pos="4656">
          <p15:clr>
            <a:srgbClr val="F26B43"/>
          </p15:clr>
        </p15:guide>
        <p15:guide id="3" orient="horz" pos="912">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ong title + data callout donut image">
    <p:bg>
      <p:bgPr>
        <a:solidFill>
          <a:schemeClr val="tx1"/>
        </a:solidFill>
        <a:effectLst/>
      </p:bgPr>
    </p:bg>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376D964F-C8A1-C871-5753-80704C0AE4DC}"/>
              </a:ext>
            </a:extLst>
          </p:cNvPr>
          <p:cNvSpPr>
            <a:spLocks noGrp="1"/>
          </p:cNvSpPr>
          <p:nvPr>
            <p:ph type="body" sz="quarter" idx="13"/>
          </p:nvPr>
        </p:nvSpPr>
        <p:spPr>
          <a:xfrm>
            <a:off x="6250082" y="295140"/>
            <a:ext cx="2679606" cy="5864361"/>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BC3CC31F-CAF3-5950-1F6D-B721F038F566}"/>
              </a:ext>
            </a:extLst>
          </p:cNvPr>
          <p:cNvSpPr>
            <a:spLocks noGrp="1"/>
          </p:cNvSpPr>
          <p:nvPr>
            <p:ph type="body" sz="quarter" idx="14"/>
          </p:nvPr>
        </p:nvSpPr>
        <p:spPr>
          <a:xfrm>
            <a:off x="9219640" y="295140"/>
            <a:ext cx="2686611" cy="5864361"/>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4">
            <a:extLst>
              <a:ext uri="{FF2B5EF4-FFF2-40B4-BE49-F238E27FC236}">
                <a16:creationId xmlns:a16="http://schemas.microsoft.com/office/drawing/2014/main" id="{45E7ABC2-B6FB-0C1F-1966-D82DAA4A1561}"/>
              </a:ext>
            </a:extLst>
          </p:cNvPr>
          <p:cNvSpPr>
            <a:spLocks noGrp="1"/>
          </p:cNvSpPr>
          <p:nvPr>
            <p:ph type="pic" sz="quarter" idx="10" hasCustomPrompt="1"/>
          </p:nvPr>
        </p:nvSpPr>
        <p:spPr>
          <a:xfrm>
            <a:off x="-15051" y="2132154"/>
            <a:ext cx="4975988" cy="4736413"/>
          </a:xfrm>
          <a:custGeom>
            <a:avLst/>
            <a:gdLst>
              <a:gd name="connsiteX0" fmla="*/ 908955 w 5627911"/>
              <a:gd name="connsiteY0" fmla="*/ 0 h 5361214"/>
              <a:gd name="connsiteX1" fmla="*/ 5627911 w 5627911"/>
              <a:gd name="connsiteY1" fmla="*/ 4718957 h 5361214"/>
              <a:gd name="connsiteX2" fmla="*/ 5603548 w 5627911"/>
              <a:gd name="connsiteY2" fmla="*/ 5201443 h 5361214"/>
              <a:gd name="connsiteX3" fmla="*/ 5583246 w 5627911"/>
              <a:gd name="connsiteY3" fmla="*/ 5361214 h 5361214"/>
              <a:gd name="connsiteX4" fmla="*/ 2611863 w 5627911"/>
              <a:gd name="connsiteY4" fmla="*/ 5361214 h 5361214"/>
              <a:gd name="connsiteX5" fmla="*/ 2648671 w 5627911"/>
              <a:gd name="connsiteY5" fmla="*/ 5260649 h 5361214"/>
              <a:gd name="connsiteX6" fmla="*/ 2730567 w 5627911"/>
              <a:gd name="connsiteY6" fmla="*/ 4718957 h 5361214"/>
              <a:gd name="connsiteX7" fmla="*/ 908955 w 5627911"/>
              <a:gd name="connsiteY7" fmla="*/ 2897345 h 5361214"/>
              <a:gd name="connsiteX8" fmla="*/ 40666 w 5627911"/>
              <a:gd name="connsiteY8" fmla="*/ 3117204 h 5361214"/>
              <a:gd name="connsiteX9" fmla="*/ 0 w 5627911"/>
              <a:gd name="connsiteY9" fmla="*/ 3141911 h 5361214"/>
              <a:gd name="connsiteX10" fmla="*/ 0 w 5627911"/>
              <a:gd name="connsiteY10" fmla="*/ 88358 h 5361214"/>
              <a:gd name="connsiteX11" fmla="*/ 190304 w 5627911"/>
              <a:gd name="connsiteY11" fmla="*/ 54373 h 5361214"/>
              <a:gd name="connsiteX12" fmla="*/ 908955 w 5627911"/>
              <a:gd name="connsiteY12" fmla="*/ 0 h 5361214"/>
              <a:gd name="connsiteX0" fmla="*/ 943847 w 5662803"/>
              <a:gd name="connsiteY0" fmla="*/ 0 h 5364183"/>
              <a:gd name="connsiteX1" fmla="*/ 5662803 w 5662803"/>
              <a:gd name="connsiteY1" fmla="*/ 4718957 h 5364183"/>
              <a:gd name="connsiteX2" fmla="*/ 5638440 w 5662803"/>
              <a:gd name="connsiteY2" fmla="*/ 5201443 h 5364183"/>
              <a:gd name="connsiteX3" fmla="*/ 5618138 w 5662803"/>
              <a:gd name="connsiteY3" fmla="*/ 5361214 h 5364183"/>
              <a:gd name="connsiteX4" fmla="*/ 2646755 w 5662803"/>
              <a:gd name="connsiteY4" fmla="*/ 5361214 h 5364183"/>
              <a:gd name="connsiteX5" fmla="*/ 2683563 w 5662803"/>
              <a:gd name="connsiteY5" fmla="*/ 5260649 h 5364183"/>
              <a:gd name="connsiteX6" fmla="*/ 2765459 w 5662803"/>
              <a:gd name="connsiteY6" fmla="*/ 4718957 h 5364183"/>
              <a:gd name="connsiteX7" fmla="*/ 100484 w 5662803"/>
              <a:gd name="connsiteY7" fmla="*/ 5364183 h 5364183"/>
              <a:gd name="connsiteX8" fmla="*/ 75558 w 5662803"/>
              <a:gd name="connsiteY8" fmla="*/ 3117204 h 5364183"/>
              <a:gd name="connsiteX9" fmla="*/ 34892 w 5662803"/>
              <a:gd name="connsiteY9" fmla="*/ 3141911 h 5364183"/>
              <a:gd name="connsiteX10" fmla="*/ 34892 w 5662803"/>
              <a:gd name="connsiteY10" fmla="*/ 88358 h 5364183"/>
              <a:gd name="connsiteX11" fmla="*/ 225196 w 5662803"/>
              <a:gd name="connsiteY11" fmla="*/ 54373 h 5364183"/>
              <a:gd name="connsiteX12" fmla="*/ 943847 w 5662803"/>
              <a:gd name="connsiteY12" fmla="*/ 0 h 5364183"/>
              <a:gd name="connsiteX0" fmla="*/ 908955 w 5627911"/>
              <a:gd name="connsiteY0" fmla="*/ 0 h 5361214"/>
              <a:gd name="connsiteX1" fmla="*/ 5627911 w 5627911"/>
              <a:gd name="connsiteY1" fmla="*/ 4718957 h 5361214"/>
              <a:gd name="connsiteX2" fmla="*/ 5603548 w 5627911"/>
              <a:gd name="connsiteY2" fmla="*/ 5201443 h 5361214"/>
              <a:gd name="connsiteX3" fmla="*/ 5583246 w 5627911"/>
              <a:gd name="connsiteY3" fmla="*/ 5361214 h 5361214"/>
              <a:gd name="connsiteX4" fmla="*/ 2611863 w 5627911"/>
              <a:gd name="connsiteY4" fmla="*/ 5361214 h 5361214"/>
              <a:gd name="connsiteX5" fmla="*/ 2648671 w 5627911"/>
              <a:gd name="connsiteY5" fmla="*/ 5260649 h 5361214"/>
              <a:gd name="connsiteX6" fmla="*/ 2730567 w 5627911"/>
              <a:gd name="connsiteY6" fmla="*/ 4718957 h 5361214"/>
              <a:gd name="connsiteX7" fmla="*/ 40666 w 5627911"/>
              <a:gd name="connsiteY7" fmla="*/ 3117204 h 5361214"/>
              <a:gd name="connsiteX8" fmla="*/ 0 w 5627911"/>
              <a:gd name="connsiteY8" fmla="*/ 3141911 h 5361214"/>
              <a:gd name="connsiteX9" fmla="*/ 0 w 5627911"/>
              <a:gd name="connsiteY9" fmla="*/ 88358 h 5361214"/>
              <a:gd name="connsiteX10" fmla="*/ 190304 w 5627911"/>
              <a:gd name="connsiteY10" fmla="*/ 54373 h 5361214"/>
              <a:gd name="connsiteX11" fmla="*/ 908955 w 5627911"/>
              <a:gd name="connsiteY11" fmla="*/ 0 h 5361214"/>
              <a:gd name="connsiteX0" fmla="*/ 908955 w 5627911"/>
              <a:gd name="connsiteY0" fmla="*/ 0 h 5361214"/>
              <a:gd name="connsiteX1" fmla="*/ 5627911 w 5627911"/>
              <a:gd name="connsiteY1" fmla="*/ 4718957 h 5361214"/>
              <a:gd name="connsiteX2" fmla="*/ 5603548 w 5627911"/>
              <a:gd name="connsiteY2" fmla="*/ 5201443 h 5361214"/>
              <a:gd name="connsiteX3" fmla="*/ 5583246 w 5627911"/>
              <a:gd name="connsiteY3" fmla="*/ 5361214 h 5361214"/>
              <a:gd name="connsiteX4" fmla="*/ 2611863 w 5627911"/>
              <a:gd name="connsiteY4" fmla="*/ 5361214 h 5361214"/>
              <a:gd name="connsiteX5" fmla="*/ 2648671 w 5627911"/>
              <a:gd name="connsiteY5" fmla="*/ 5260649 h 5361214"/>
              <a:gd name="connsiteX6" fmla="*/ 40666 w 5627911"/>
              <a:gd name="connsiteY6" fmla="*/ 3117204 h 5361214"/>
              <a:gd name="connsiteX7" fmla="*/ 0 w 5627911"/>
              <a:gd name="connsiteY7" fmla="*/ 3141911 h 5361214"/>
              <a:gd name="connsiteX8" fmla="*/ 0 w 5627911"/>
              <a:gd name="connsiteY8" fmla="*/ 88358 h 5361214"/>
              <a:gd name="connsiteX9" fmla="*/ 190304 w 5627911"/>
              <a:gd name="connsiteY9" fmla="*/ 54373 h 5361214"/>
              <a:gd name="connsiteX10" fmla="*/ 908955 w 5627911"/>
              <a:gd name="connsiteY10" fmla="*/ 0 h 5361214"/>
              <a:gd name="connsiteX0" fmla="*/ 908955 w 5627911"/>
              <a:gd name="connsiteY0" fmla="*/ 0 h 5361214"/>
              <a:gd name="connsiteX1" fmla="*/ 5627911 w 5627911"/>
              <a:gd name="connsiteY1" fmla="*/ 4718957 h 5361214"/>
              <a:gd name="connsiteX2" fmla="*/ 5603548 w 5627911"/>
              <a:gd name="connsiteY2" fmla="*/ 5201443 h 5361214"/>
              <a:gd name="connsiteX3" fmla="*/ 5583246 w 5627911"/>
              <a:gd name="connsiteY3" fmla="*/ 5361214 h 5361214"/>
              <a:gd name="connsiteX4" fmla="*/ 2611863 w 5627911"/>
              <a:gd name="connsiteY4" fmla="*/ 5361214 h 5361214"/>
              <a:gd name="connsiteX5" fmla="*/ 40666 w 5627911"/>
              <a:gd name="connsiteY5" fmla="*/ 3117204 h 5361214"/>
              <a:gd name="connsiteX6" fmla="*/ 0 w 5627911"/>
              <a:gd name="connsiteY6" fmla="*/ 3141911 h 5361214"/>
              <a:gd name="connsiteX7" fmla="*/ 0 w 5627911"/>
              <a:gd name="connsiteY7" fmla="*/ 88358 h 5361214"/>
              <a:gd name="connsiteX8" fmla="*/ 190304 w 5627911"/>
              <a:gd name="connsiteY8" fmla="*/ 54373 h 5361214"/>
              <a:gd name="connsiteX9" fmla="*/ 908955 w 5627911"/>
              <a:gd name="connsiteY9" fmla="*/ 0 h 5361214"/>
              <a:gd name="connsiteX0" fmla="*/ 908955 w 5627911"/>
              <a:gd name="connsiteY0" fmla="*/ 0 h 5361214"/>
              <a:gd name="connsiteX1" fmla="*/ 5627911 w 5627911"/>
              <a:gd name="connsiteY1" fmla="*/ 4718957 h 5361214"/>
              <a:gd name="connsiteX2" fmla="*/ 5603548 w 5627911"/>
              <a:gd name="connsiteY2" fmla="*/ 5201443 h 5361214"/>
              <a:gd name="connsiteX3" fmla="*/ 5583246 w 5627911"/>
              <a:gd name="connsiteY3" fmla="*/ 5361214 h 5361214"/>
              <a:gd name="connsiteX4" fmla="*/ 2611863 w 5627911"/>
              <a:gd name="connsiteY4" fmla="*/ 5361214 h 5361214"/>
              <a:gd name="connsiteX5" fmla="*/ 40666 w 5627911"/>
              <a:gd name="connsiteY5" fmla="*/ 3117204 h 5361214"/>
              <a:gd name="connsiteX6" fmla="*/ 126505 w 5627911"/>
              <a:gd name="connsiteY6" fmla="*/ 2751855 h 5361214"/>
              <a:gd name="connsiteX7" fmla="*/ 0 w 5627911"/>
              <a:gd name="connsiteY7" fmla="*/ 88358 h 5361214"/>
              <a:gd name="connsiteX8" fmla="*/ 190304 w 5627911"/>
              <a:gd name="connsiteY8" fmla="*/ 54373 h 5361214"/>
              <a:gd name="connsiteX9" fmla="*/ 908955 w 5627911"/>
              <a:gd name="connsiteY9" fmla="*/ 0 h 5361214"/>
              <a:gd name="connsiteX0" fmla="*/ 920999 w 5639955"/>
              <a:gd name="connsiteY0" fmla="*/ 0 h 5373201"/>
              <a:gd name="connsiteX1" fmla="*/ 5639955 w 5639955"/>
              <a:gd name="connsiteY1" fmla="*/ 4718957 h 5373201"/>
              <a:gd name="connsiteX2" fmla="*/ 5615592 w 5639955"/>
              <a:gd name="connsiteY2" fmla="*/ 5201443 h 5373201"/>
              <a:gd name="connsiteX3" fmla="*/ 5595290 w 5639955"/>
              <a:gd name="connsiteY3" fmla="*/ 5361214 h 5373201"/>
              <a:gd name="connsiteX4" fmla="*/ 2623907 w 5639955"/>
              <a:gd name="connsiteY4" fmla="*/ 5361214 h 5373201"/>
              <a:gd name="connsiteX5" fmla="*/ 0 w 5639955"/>
              <a:gd name="connsiteY5" fmla="*/ 5373201 h 5373201"/>
              <a:gd name="connsiteX6" fmla="*/ 138549 w 5639955"/>
              <a:gd name="connsiteY6" fmla="*/ 2751855 h 5373201"/>
              <a:gd name="connsiteX7" fmla="*/ 12044 w 5639955"/>
              <a:gd name="connsiteY7" fmla="*/ 88358 h 5373201"/>
              <a:gd name="connsiteX8" fmla="*/ 202348 w 5639955"/>
              <a:gd name="connsiteY8" fmla="*/ 54373 h 5373201"/>
              <a:gd name="connsiteX9" fmla="*/ 920999 w 5639955"/>
              <a:gd name="connsiteY9" fmla="*/ 0 h 5373201"/>
              <a:gd name="connsiteX0" fmla="*/ 930039 w 5648995"/>
              <a:gd name="connsiteY0" fmla="*/ 0 h 5373201"/>
              <a:gd name="connsiteX1" fmla="*/ 5648995 w 5648995"/>
              <a:gd name="connsiteY1" fmla="*/ 4718957 h 5373201"/>
              <a:gd name="connsiteX2" fmla="*/ 5624632 w 5648995"/>
              <a:gd name="connsiteY2" fmla="*/ 5201443 h 5373201"/>
              <a:gd name="connsiteX3" fmla="*/ 5604330 w 5648995"/>
              <a:gd name="connsiteY3" fmla="*/ 5361214 h 5373201"/>
              <a:gd name="connsiteX4" fmla="*/ 2632947 w 5648995"/>
              <a:gd name="connsiteY4" fmla="*/ 5361214 h 5373201"/>
              <a:gd name="connsiteX5" fmla="*/ 9040 w 5648995"/>
              <a:gd name="connsiteY5" fmla="*/ 5373201 h 5373201"/>
              <a:gd name="connsiteX6" fmla="*/ 0 w 5648995"/>
              <a:gd name="connsiteY6" fmla="*/ 2762397 h 5373201"/>
              <a:gd name="connsiteX7" fmla="*/ 21084 w 5648995"/>
              <a:gd name="connsiteY7" fmla="*/ 88358 h 5373201"/>
              <a:gd name="connsiteX8" fmla="*/ 211388 w 5648995"/>
              <a:gd name="connsiteY8" fmla="*/ 54373 h 5373201"/>
              <a:gd name="connsiteX9" fmla="*/ 930039 w 5648995"/>
              <a:gd name="connsiteY9" fmla="*/ 0 h 5373201"/>
              <a:gd name="connsiteX0" fmla="*/ 1118901 w 5837857"/>
              <a:gd name="connsiteY0" fmla="*/ 0 h 5373201"/>
              <a:gd name="connsiteX1" fmla="*/ 5837857 w 5837857"/>
              <a:gd name="connsiteY1" fmla="*/ 4718957 h 5373201"/>
              <a:gd name="connsiteX2" fmla="*/ 5813494 w 5837857"/>
              <a:gd name="connsiteY2" fmla="*/ 5201443 h 5373201"/>
              <a:gd name="connsiteX3" fmla="*/ 5793192 w 5837857"/>
              <a:gd name="connsiteY3" fmla="*/ 5361214 h 5373201"/>
              <a:gd name="connsiteX4" fmla="*/ 2821809 w 5837857"/>
              <a:gd name="connsiteY4" fmla="*/ 5361214 h 5373201"/>
              <a:gd name="connsiteX5" fmla="*/ 197902 w 5837857"/>
              <a:gd name="connsiteY5" fmla="*/ 5373201 h 5373201"/>
              <a:gd name="connsiteX6" fmla="*/ 209946 w 5837857"/>
              <a:gd name="connsiteY6" fmla="*/ 88358 h 5373201"/>
              <a:gd name="connsiteX7" fmla="*/ 400250 w 5837857"/>
              <a:gd name="connsiteY7" fmla="*/ 54373 h 5373201"/>
              <a:gd name="connsiteX8" fmla="*/ 1118901 w 5837857"/>
              <a:gd name="connsiteY8" fmla="*/ 0 h 5373201"/>
              <a:gd name="connsiteX0" fmla="*/ 926031 w 5644987"/>
              <a:gd name="connsiteY0" fmla="*/ 0 h 5373201"/>
              <a:gd name="connsiteX1" fmla="*/ 5644987 w 5644987"/>
              <a:gd name="connsiteY1" fmla="*/ 4718957 h 5373201"/>
              <a:gd name="connsiteX2" fmla="*/ 5620624 w 5644987"/>
              <a:gd name="connsiteY2" fmla="*/ 5201443 h 5373201"/>
              <a:gd name="connsiteX3" fmla="*/ 5600322 w 5644987"/>
              <a:gd name="connsiteY3" fmla="*/ 5361214 h 5373201"/>
              <a:gd name="connsiteX4" fmla="*/ 2628939 w 5644987"/>
              <a:gd name="connsiteY4" fmla="*/ 5361214 h 5373201"/>
              <a:gd name="connsiteX5" fmla="*/ 5032 w 5644987"/>
              <a:gd name="connsiteY5" fmla="*/ 5373201 h 5373201"/>
              <a:gd name="connsiteX6" fmla="*/ 17076 w 5644987"/>
              <a:gd name="connsiteY6" fmla="*/ 88358 h 5373201"/>
              <a:gd name="connsiteX7" fmla="*/ 207380 w 5644987"/>
              <a:gd name="connsiteY7" fmla="*/ 54373 h 5373201"/>
              <a:gd name="connsiteX8" fmla="*/ 926031 w 5644987"/>
              <a:gd name="connsiteY8" fmla="*/ 0 h 5373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44987" h="5373201">
                <a:moveTo>
                  <a:pt x="926031" y="0"/>
                </a:moveTo>
                <a:cubicBezTo>
                  <a:pt x="3532239" y="0"/>
                  <a:pt x="5644987" y="2112749"/>
                  <a:pt x="5644987" y="4718957"/>
                </a:cubicBezTo>
                <a:cubicBezTo>
                  <a:pt x="5644987" y="4881845"/>
                  <a:pt x="5636736" y="5042806"/>
                  <a:pt x="5620624" y="5201443"/>
                </a:cubicBezTo>
                <a:lnTo>
                  <a:pt x="5600322" y="5361214"/>
                </a:lnTo>
                <a:lnTo>
                  <a:pt x="2628939" y="5361214"/>
                </a:lnTo>
                <a:lnTo>
                  <a:pt x="5032" y="5373201"/>
                </a:lnTo>
                <a:cubicBezTo>
                  <a:pt x="11054" y="2730779"/>
                  <a:pt x="-16649" y="974829"/>
                  <a:pt x="17076" y="88358"/>
                </a:cubicBezTo>
                <a:lnTo>
                  <a:pt x="207380" y="54373"/>
                </a:lnTo>
                <a:cubicBezTo>
                  <a:pt x="441704" y="18569"/>
                  <a:pt x="681699" y="0"/>
                  <a:pt x="926031" y="0"/>
                </a:cubicBezTo>
                <a:close/>
              </a:path>
            </a:pathLst>
          </a:custGeom>
          <a:solidFill>
            <a:schemeClr val="bg1"/>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nchor="ctr">
            <a:noAutofit/>
          </a:bodyPr>
          <a:lstStyle>
            <a:lvl1pPr algn="ctr">
              <a:defRPr>
                <a:solidFill>
                  <a:schemeClr val="tx1"/>
                </a:solidFill>
              </a:defRPr>
            </a:lvl1pPr>
          </a:lstStyle>
          <a:p>
            <a:pPr lvl="0"/>
            <a:r>
              <a:rPr lang="en-ID" noProof="0"/>
              <a:t>[add image]</a:t>
            </a:r>
          </a:p>
        </p:txBody>
      </p:sp>
      <p:sp>
        <p:nvSpPr>
          <p:cNvPr id="8" name="Text Placeholder 9">
            <a:extLst>
              <a:ext uri="{FF2B5EF4-FFF2-40B4-BE49-F238E27FC236}">
                <a16:creationId xmlns:a16="http://schemas.microsoft.com/office/drawing/2014/main" id="{88D2A2DE-6BF0-D2F8-B826-36B16B4487C2}"/>
              </a:ext>
            </a:extLst>
          </p:cNvPr>
          <p:cNvSpPr>
            <a:spLocks noGrp="1"/>
          </p:cNvSpPr>
          <p:nvPr>
            <p:ph type="body" sz="quarter" idx="15" hasCustomPrompt="1"/>
          </p:nvPr>
        </p:nvSpPr>
        <p:spPr>
          <a:xfrm>
            <a:off x="1481765" y="4858522"/>
            <a:ext cx="4255861" cy="1771650"/>
          </a:xfrm>
          <a:prstGeom prst="rect">
            <a:avLst/>
          </a:prstGeom>
        </p:spPr>
        <p:txBody>
          <a:bodyPr anchor="b"/>
          <a:lstStyle>
            <a:lvl1pPr>
              <a:lnSpc>
                <a:spcPct val="90000"/>
              </a:lnSpc>
              <a:spcBef>
                <a:spcPts val="0"/>
              </a:spcBef>
              <a:defRPr sz="12897" b="0" i="0">
                <a:solidFill>
                  <a:schemeClr val="accent1"/>
                </a:solidFill>
                <a:latin typeface="Aptos" panose="020B0004020202020204" pitchFamily="34" charset="0"/>
              </a:defRPr>
            </a:lvl1pPr>
          </a:lstStyle>
          <a:p>
            <a:r>
              <a:rPr lang="en-US"/>
              <a:t>↗︎00M</a:t>
            </a:r>
          </a:p>
        </p:txBody>
      </p:sp>
      <p:sp>
        <p:nvSpPr>
          <p:cNvPr id="9" name="Title Text">
            <a:extLst>
              <a:ext uri="{FF2B5EF4-FFF2-40B4-BE49-F238E27FC236}">
                <a16:creationId xmlns:a16="http://schemas.microsoft.com/office/drawing/2014/main" id="{D0D1B9B5-15B7-4CA7-EE15-A2FFA81E9D9D}"/>
              </a:ext>
            </a:extLst>
          </p:cNvPr>
          <p:cNvSpPr txBox="1">
            <a:spLocks noGrp="1"/>
          </p:cNvSpPr>
          <p:nvPr>
            <p:ph type="title" hasCustomPrompt="1"/>
          </p:nvPr>
        </p:nvSpPr>
        <p:spPr>
          <a:xfrm>
            <a:off x="290212" y="259124"/>
            <a:ext cx="4670726" cy="182853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73152" rIns="0" bIns="0"/>
          <a:lstStyle>
            <a:lvl1pPr>
              <a:lnSpc>
                <a:spcPct val="90000"/>
              </a:lnSpc>
              <a:defRPr/>
            </a:lvl1pPr>
          </a:lstStyle>
          <a:p>
            <a:r>
              <a:rPr lang="en-US"/>
              <a:t>Long title + data callout donut image</a:t>
            </a:r>
            <a:endParaRPr/>
          </a:p>
        </p:txBody>
      </p:sp>
    </p:spTree>
    <p:extLst>
      <p:ext uri="{BB962C8B-B14F-4D97-AF65-F5344CB8AC3E}">
        <p14:creationId xmlns:p14="http://schemas.microsoft.com/office/powerpoint/2010/main" val="2617968082"/>
      </p:ext>
    </p:extLst>
  </p:cSld>
  <p:clrMapOvr>
    <a:masterClrMapping/>
  </p:clrMapOvr>
  <p:transition spd="med"/>
  <p:extLst>
    <p:ext uri="{DCECCB84-F9BA-43D5-87BE-67443E8EF086}">
      <p15:sldGuideLst xmlns:p15="http://schemas.microsoft.com/office/powerpoint/2012/main">
        <p15:guide id="2" orient="horz" pos="4656">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 column">
    <p:bg>
      <p:bgPr>
        <a:solidFill>
          <a:schemeClr val="tx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95001" y="1221441"/>
            <a:ext cx="3673748" cy="4938059"/>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itle Text">
            <a:extLst>
              <a:ext uri="{FF2B5EF4-FFF2-40B4-BE49-F238E27FC236}">
                <a16:creationId xmlns:a16="http://schemas.microsoft.com/office/drawing/2014/main" id="{4B5980F9-A7B7-7DE7-65FD-745FC498DFDB}"/>
              </a:ext>
            </a:extLst>
          </p:cNvPr>
          <p:cNvSpPr txBox="1">
            <a:spLocks noGrp="1"/>
          </p:cNvSpPr>
          <p:nvPr>
            <p:ph type="title" hasCustomPrompt="1"/>
          </p:nvPr>
        </p:nvSpPr>
        <p:spPr>
          <a:xfrm>
            <a:off x="290212" y="299392"/>
            <a:ext cx="11607800" cy="38660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73152" rIns="0" bIns="0"/>
          <a:lstStyle>
            <a:lvl1pPr>
              <a:defRPr sz="3500"/>
            </a:lvl1pPr>
          </a:lstStyle>
          <a:p>
            <a:r>
              <a:rPr lang="en-US"/>
              <a:t>3 column body</a:t>
            </a:r>
            <a:endParaRPr/>
          </a:p>
        </p:txBody>
      </p:sp>
      <p:sp>
        <p:nvSpPr>
          <p:cNvPr id="4" name="Text Placeholder 4">
            <a:extLst>
              <a:ext uri="{FF2B5EF4-FFF2-40B4-BE49-F238E27FC236}">
                <a16:creationId xmlns:a16="http://schemas.microsoft.com/office/drawing/2014/main" id="{6B78AFFA-760B-C379-5035-CB7ECAE05516}"/>
              </a:ext>
            </a:extLst>
          </p:cNvPr>
          <p:cNvSpPr>
            <a:spLocks noGrp="1"/>
          </p:cNvSpPr>
          <p:nvPr>
            <p:ph type="body" sz="quarter" idx="12"/>
          </p:nvPr>
        </p:nvSpPr>
        <p:spPr>
          <a:xfrm>
            <a:off x="4261419" y="1221441"/>
            <a:ext cx="3673748" cy="4938059"/>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ext Placeholder 4">
            <a:extLst>
              <a:ext uri="{FF2B5EF4-FFF2-40B4-BE49-F238E27FC236}">
                <a16:creationId xmlns:a16="http://schemas.microsoft.com/office/drawing/2014/main" id="{376D964F-C8A1-C871-5753-80704C0AE4DC}"/>
              </a:ext>
            </a:extLst>
          </p:cNvPr>
          <p:cNvSpPr>
            <a:spLocks noGrp="1"/>
          </p:cNvSpPr>
          <p:nvPr>
            <p:ph type="body" sz="quarter" idx="13"/>
          </p:nvPr>
        </p:nvSpPr>
        <p:spPr>
          <a:xfrm>
            <a:off x="8223250" y="1221441"/>
            <a:ext cx="3683000" cy="4938059"/>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146259282"/>
      </p:ext>
    </p:extLst>
  </p:cSld>
  <p:clrMapOvr>
    <a:masterClrMapping/>
  </p:clrMapOvr>
  <p:transition spd="med"/>
  <p:extLst>
    <p:ext uri="{DCECCB84-F9BA-43D5-87BE-67443E8EF086}">
      <p15:sldGuideLst xmlns:p15="http://schemas.microsoft.com/office/powerpoint/2012/main">
        <p15:guide id="2" orient="horz" pos="4656">
          <p15:clr>
            <a:srgbClr val="F26B43"/>
          </p15:clr>
        </p15:guide>
        <p15:guide id="3" orient="horz" pos="912">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allout + circle image">
    <p:bg>
      <p:bgPr>
        <a:solidFill>
          <a:schemeClr val="tx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2499C85-30F2-6EA7-FA46-49F8397A724D}"/>
              </a:ext>
            </a:extLst>
          </p:cNvPr>
          <p:cNvSpPr/>
          <p:nvPr userDrawn="1"/>
        </p:nvSpPr>
        <p:spPr bwMode="auto">
          <a:xfrm>
            <a:off x="0" y="0"/>
            <a:ext cx="4960938" cy="6858000"/>
          </a:xfrm>
          <a:prstGeom prst="rect">
            <a:avLst/>
          </a:prstGeom>
          <a:solidFill>
            <a:schemeClr val="tx2"/>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76200" tIns="76200" rIns="76200" bIns="76200" numCol="1" rtlCol="0" anchor="t" anchorCtr="0" compatLnSpc="1">
            <a:prstTxWarp prst="textNoShape">
              <a:avLst/>
            </a:prstTxWarp>
          </a:bodyPr>
          <a:lstStyle/>
          <a:p>
            <a:pPr marL="0" marR="0" indent="0" algn="l" defTabSz="761970" rtl="0" eaLnBrk="1" fontAlgn="base" latinLnBrk="0" hangingPunct="1">
              <a:lnSpc>
                <a:spcPct val="100000"/>
              </a:lnSpc>
              <a:spcBef>
                <a:spcPct val="0"/>
              </a:spcBef>
              <a:spcAft>
                <a:spcPct val="0"/>
              </a:spcAft>
              <a:buClrTx/>
              <a:buSzTx/>
              <a:buFont typeface="IBM Plex Sans Light"/>
              <a:buNone/>
              <a:tabLst/>
            </a:pPr>
            <a:endParaRPr kumimoji="0" lang="en-US" sz="1167" b="0" i="0" u="none" strike="noStrike" cap="none" normalizeH="0" baseline="0">
              <a:ln>
                <a:noFill/>
              </a:ln>
              <a:solidFill>
                <a:schemeClr val="bg1"/>
              </a:solidFill>
              <a:effectLst/>
              <a:latin typeface="+mn-lt"/>
            </a:endParaRPr>
          </a:p>
        </p:txBody>
      </p:sp>
      <p:sp>
        <p:nvSpPr>
          <p:cNvPr id="6" name="Picture Placeholder 8">
            <a:extLst>
              <a:ext uri="{FF2B5EF4-FFF2-40B4-BE49-F238E27FC236}">
                <a16:creationId xmlns:a16="http://schemas.microsoft.com/office/drawing/2014/main" id="{CFF36095-E300-0AA9-72B0-A5F33E9B47F3}"/>
              </a:ext>
            </a:extLst>
          </p:cNvPr>
          <p:cNvSpPr>
            <a:spLocks noGrp="1"/>
          </p:cNvSpPr>
          <p:nvPr>
            <p:ph type="pic" sz="quarter" idx="15" hasCustomPrompt="1"/>
          </p:nvPr>
        </p:nvSpPr>
        <p:spPr>
          <a:xfrm>
            <a:off x="307928" y="1115122"/>
            <a:ext cx="4960938" cy="5044378"/>
          </a:xfrm>
          <a:custGeom>
            <a:avLst/>
            <a:gdLst>
              <a:gd name="connsiteX0" fmla="*/ 3425847 w 6893898"/>
              <a:gd name="connsiteY0" fmla="*/ 0 h 7032498"/>
              <a:gd name="connsiteX1" fmla="*/ 3425847 w 6893898"/>
              <a:gd name="connsiteY1" fmla="*/ 2978375 h 7032498"/>
              <a:gd name="connsiteX2" fmla="*/ 3403911 w 6893898"/>
              <a:gd name="connsiteY2" fmla="*/ 2849521 h 7032498"/>
              <a:gd name="connsiteX3" fmla="*/ 249932 w 6893898"/>
              <a:gd name="connsiteY3" fmla="*/ 12401 h 7032498"/>
              <a:gd name="connsiteX4" fmla="*/ 0 w 6893898"/>
              <a:gd name="connsiteY4" fmla="*/ 0 h 7032498"/>
              <a:gd name="connsiteX5" fmla="*/ 0 w 6893898"/>
              <a:gd name="connsiteY5" fmla="*/ 7032498 h 7032498"/>
              <a:gd name="connsiteX6" fmla="*/ 249932 w 6893898"/>
              <a:gd name="connsiteY6" fmla="*/ 7020099 h 7032498"/>
              <a:gd name="connsiteX7" fmla="*/ 3403911 w 6893898"/>
              <a:gd name="connsiteY7" fmla="*/ 4182979 h 7032498"/>
              <a:gd name="connsiteX8" fmla="*/ 3425847 w 6893898"/>
              <a:gd name="connsiteY8" fmla="*/ 4054124 h 7032498"/>
              <a:gd name="connsiteX9" fmla="*/ 3425847 w 6893898"/>
              <a:gd name="connsiteY9" fmla="*/ 7032498 h 7032498"/>
              <a:gd name="connsiteX10" fmla="*/ 3675780 w 6893898"/>
              <a:gd name="connsiteY10" fmla="*/ 7020099 h 7032498"/>
              <a:gd name="connsiteX11" fmla="*/ 6893898 w 6893898"/>
              <a:gd name="connsiteY11" fmla="*/ 3516250 h 7032498"/>
              <a:gd name="connsiteX12" fmla="*/ 3675780 w 6893898"/>
              <a:gd name="connsiteY12" fmla="*/ 12401 h 7032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93898" h="7032498">
                <a:moveTo>
                  <a:pt x="3425847" y="0"/>
                </a:moveTo>
                <a:lnTo>
                  <a:pt x="3425847" y="2978375"/>
                </a:lnTo>
                <a:lnTo>
                  <a:pt x="3403911" y="2849521"/>
                </a:lnTo>
                <a:cubicBezTo>
                  <a:pt x="3109210" y="1338301"/>
                  <a:pt x="1831557" y="170219"/>
                  <a:pt x="249932" y="12401"/>
                </a:cubicBezTo>
                <a:lnTo>
                  <a:pt x="0" y="0"/>
                </a:lnTo>
                <a:lnTo>
                  <a:pt x="0" y="7032498"/>
                </a:lnTo>
                <a:lnTo>
                  <a:pt x="249932" y="7020099"/>
                </a:lnTo>
                <a:cubicBezTo>
                  <a:pt x="1831557" y="6862282"/>
                  <a:pt x="3109210" y="5694198"/>
                  <a:pt x="3403911" y="4182979"/>
                </a:cubicBezTo>
                <a:lnTo>
                  <a:pt x="3425847" y="4054124"/>
                </a:lnTo>
                <a:lnTo>
                  <a:pt x="3425847" y="7032498"/>
                </a:lnTo>
                <a:lnTo>
                  <a:pt x="3675780" y="7020099"/>
                </a:lnTo>
                <a:cubicBezTo>
                  <a:pt x="5483350" y="6839737"/>
                  <a:pt x="6893898" y="5339842"/>
                  <a:pt x="6893898" y="3516250"/>
                </a:cubicBezTo>
                <a:cubicBezTo>
                  <a:pt x="6893898" y="1692657"/>
                  <a:pt x="5483350" y="192765"/>
                  <a:pt x="3675780" y="12401"/>
                </a:cubicBezTo>
                <a:close/>
              </a:path>
            </a:pathLst>
          </a:custGeom>
          <a:solidFill>
            <a:schemeClr val="bg1"/>
          </a:solidFill>
        </p:spPr>
        <p:txBody>
          <a:bodyPr wrap="square" anchor="ctr">
            <a:noAutofit/>
          </a:bodyPr>
          <a:lstStyle>
            <a:lvl1pPr marL="0" indent="0" algn="ctr">
              <a:buNone/>
              <a:defRPr>
                <a:solidFill>
                  <a:schemeClr val="tx1"/>
                </a:solidFill>
              </a:defRPr>
            </a:lvl1pPr>
          </a:lstStyle>
          <a:p>
            <a:pPr lvl="0"/>
            <a:r>
              <a:rPr lang="en-ID" noProof="0"/>
              <a:t>[add image]</a:t>
            </a:r>
          </a:p>
        </p:txBody>
      </p:sp>
      <p:sp>
        <p:nvSpPr>
          <p:cNvPr id="3" name="Title Text">
            <a:extLst>
              <a:ext uri="{FF2B5EF4-FFF2-40B4-BE49-F238E27FC236}">
                <a16:creationId xmlns:a16="http://schemas.microsoft.com/office/drawing/2014/main" id="{4B5980F9-A7B7-7DE7-65FD-745FC498DFDB}"/>
              </a:ext>
            </a:extLst>
          </p:cNvPr>
          <p:cNvSpPr txBox="1">
            <a:spLocks noGrp="1"/>
          </p:cNvSpPr>
          <p:nvPr>
            <p:ph type="title" hasCustomPrompt="1"/>
          </p:nvPr>
        </p:nvSpPr>
        <p:spPr>
          <a:xfrm>
            <a:off x="290212" y="295139"/>
            <a:ext cx="3964290" cy="38660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73152" rIns="0" bIns="0"/>
          <a:lstStyle/>
          <a:p>
            <a:r>
              <a:rPr lang="en-US"/>
              <a:t>Callout + circle image</a:t>
            </a:r>
            <a:endParaRPr/>
          </a:p>
        </p:txBody>
      </p:sp>
      <p:sp>
        <p:nvSpPr>
          <p:cNvPr id="2" name="Text Placeholder 4">
            <a:extLst>
              <a:ext uri="{FF2B5EF4-FFF2-40B4-BE49-F238E27FC236}">
                <a16:creationId xmlns:a16="http://schemas.microsoft.com/office/drawing/2014/main" id="{376D964F-C8A1-C871-5753-80704C0AE4DC}"/>
              </a:ext>
            </a:extLst>
          </p:cNvPr>
          <p:cNvSpPr>
            <a:spLocks noGrp="1"/>
          </p:cNvSpPr>
          <p:nvPr>
            <p:ph type="body" sz="quarter" idx="13"/>
          </p:nvPr>
        </p:nvSpPr>
        <p:spPr>
          <a:xfrm>
            <a:off x="6238875" y="1221441"/>
            <a:ext cx="5667376" cy="4938059"/>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9">
            <a:extLst>
              <a:ext uri="{FF2B5EF4-FFF2-40B4-BE49-F238E27FC236}">
                <a16:creationId xmlns:a16="http://schemas.microsoft.com/office/drawing/2014/main" id="{6A4BB714-3DAF-D4C6-C94C-23D6E3F68717}"/>
              </a:ext>
            </a:extLst>
          </p:cNvPr>
          <p:cNvSpPr>
            <a:spLocks noGrp="1"/>
          </p:cNvSpPr>
          <p:nvPr>
            <p:ph type="body" sz="quarter" idx="14" hasCustomPrompt="1"/>
          </p:nvPr>
        </p:nvSpPr>
        <p:spPr>
          <a:xfrm>
            <a:off x="1697265" y="4387850"/>
            <a:ext cx="4255861" cy="1771650"/>
          </a:xfrm>
          <a:prstGeom prst="rect">
            <a:avLst/>
          </a:prstGeom>
        </p:spPr>
        <p:txBody>
          <a:bodyPr anchor="b"/>
          <a:lstStyle>
            <a:lvl1pPr>
              <a:lnSpc>
                <a:spcPct val="90000"/>
              </a:lnSpc>
              <a:spcBef>
                <a:spcPts val="0"/>
              </a:spcBef>
              <a:defRPr sz="12897" b="0" i="0">
                <a:solidFill>
                  <a:schemeClr val="accent1"/>
                </a:solidFill>
                <a:latin typeface="Aptos" panose="020B0004020202020204" pitchFamily="34" charset="0"/>
              </a:defRPr>
            </a:lvl1pPr>
          </a:lstStyle>
          <a:p>
            <a:r>
              <a:rPr lang="en-US"/>
              <a:t>↗︎00M</a:t>
            </a:r>
          </a:p>
        </p:txBody>
      </p:sp>
    </p:spTree>
    <p:extLst>
      <p:ext uri="{BB962C8B-B14F-4D97-AF65-F5344CB8AC3E}">
        <p14:creationId xmlns:p14="http://schemas.microsoft.com/office/powerpoint/2010/main" val="67170092"/>
      </p:ext>
    </p:extLst>
  </p:cSld>
  <p:clrMapOvr>
    <a:masterClrMapping/>
  </p:clrMapOvr>
  <p:transition spd="med"/>
  <p:extLst>
    <p:ext uri="{DCECCB84-F9BA-43D5-87BE-67443E8EF086}">
      <p15:sldGuideLst xmlns:p15="http://schemas.microsoft.com/office/powerpoint/2012/main">
        <p15:guide id="2" orient="horz" pos="4656">
          <p15:clr>
            <a:srgbClr val="F26B43"/>
          </p15:clr>
        </p15:guide>
        <p15:guide id="3" orient="horz" pos="912">
          <p15:clr>
            <a:srgbClr val="F26B43"/>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allout + half circle image">
    <p:bg>
      <p:bgPr>
        <a:solidFill>
          <a:schemeClr val="tx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95470" y="1221441"/>
            <a:ext cx="5658439" cy="4938059"/>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itle Text">
            <a:extLst>
              <a:ext uri="{FF2B5EF4-FFF2-40B4-BE49-F238E27FC236}">
                <a16:creationId xmlns:a16="http://schemas.microsoft.com/office/drawing/2014/main" id="{4B5980F9-A7B7-7DE7-65FD-745FC498DFDB}"/>
              </a:ext>
            </a:extLst>
          </p:cNvPr>
          <p:cNvSpPr txBox="1">
            <a:spLocks noGrp="1"/>
          </p:cNvSpPr>
          <p:nvPr>
            <p:ph type="title" hasCustomPrompt="1"/>
          </p:nvPr>
        </p:nvSpPr>
        <p:spPr>
          <a:xfrm>
            <a:off x="290212" y="295139"/>
            <a:ext cx="5662913" cy="38660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73152" rIns="0" bIns="0"/>
          <a:lstStyle/>
          <a:p>
            <a:r>
              <a:rPr lang="en-US"/>
              <a:t>Callout + half circle image</a:t>
            </a:r>
            <a:endParaRPr/>
          </a:p>
        </p:txBody>
      </p:sp>
      <p:sp>
        <p:nvSpPr>
          <p:cNvPr id="7" name="Rectangle 6">
            <a:extLst>
              <a:ext uri="{FF2B5EF4-FFF2-40B4-BE49-F238E27FC236}">
                <a16:creationId xmlns:a16="http://schemas.microsoft.com/office/drawing/2014/main" id="{92499C85-30F2-6EA7-FA46-49F8397A724D}"/>
              </a:ext>
            </a:extLst>
          </p:cNvPr>
          <p:cNvSpPr/>
          <p:nvPr userDrawn="1"/>
        </p:nvSpPr>
        <p:spPr bwMode="auto">
          <a:xfrm>
            <a:off x="8223251" y="0"/>
            <a:ext cx="3968750" cy="6858000"/>
          </a:xfrm>
          <a:prstGeom prst="rect">
            <a:avLst/>
          </a:prstGeom>
          <a:solidFill>
            <a:schemeClr val="tx2"/>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76200" tIns="76200" rIns="76200" bIns="76200" numCol="1" rtlCol="0" anchor="t" anchorCtr="0" compatLnSpc="1">
            <a:prstTxWarp prst="textNoShape">
              <a:avLst/>
            </a:prstTxWarp>
          </a:bodyPr>
          <a:lstStyle/>
          <a:p>
            <a:pPr marL="0" marR="0" indent="0" algn="l" defTabSz="761970" rtl="0" eaLnBrk="1" fontAlgn="base" latinLnBrk="0" hangingPunct="1">
              <a:lnSpc>
                <a:spcPct val="100000"/>
              </a:lnSpc>
              <a:spcBef>
                <a:spcPct val="0"/>
              </a:spcBef>
              <a:spcAft>
                <a:spcPct val="0"/>
              </a:spcAft>
              <a:buClrTx/>
              <a:buSzTx/>
              <a:buFont typeface="IBM Plex Sans Light"/>
              <a:buNone/>
              <a:tabLst/>
            </a:pPr>
            <a:endParaRPr kumimoji="0" lang="en-US" sz="1167" b="0" i="0" u="none" strike="noStrike" cap="none" normalizeH="0" baseline="0">
              <a:ln>
                <a:noFill/>
              </a:ln>
              <a:solidFill>
                <a:schemeClr val="bg1"/>
              </a:solidFill>
              <a:effectLst/>
              <a:latin typeface="+mn-lt"/>
            </a:endParaRPr>
          </a:p>
        </p:txBody>
      </p:sp>
      <p:sp>
        <p:nvSpPr>
          <p:cNvPr id="8" name="Text Placeholder 3">
            <a:extLst>
              <a:ext uri="{FF2B5EF4-FFF2-40B4-BE49-F238E27FC236}">
                <a16:creationId xmlns:a16="http://schemas.microsoft.com/office/drawing/2014/main" id="{33C5F6AC-C223-7C2D-70E0-C185CE6DC6CE}"/>
              </a:ext>
            </a:extLst>
          </p:cNvPr>
          <p:cNvSpPr txBox="1">
            <a:spLocks/>
          </p:cNvSpPr>
          <p:nvPr userDrawn="1"/>
        </p:nvSpPr>
        <p:spPr>
          <a:xfrm>
            <a:off x="11438259" y="6458629"/>
            <a:ext cx="462473" cy="150303"/>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Outfit Light" pitchFamily="2" charset="0"/>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r" defTabSz="1218948" rtl="0" eaLnBrk="1" fontAlgn="auto" latinLnBrk="0" hangingPunct="1">
              <a:lnSpc>
                <a:spcPct val="110000"/>
              </a:lnSpc>
              <a:spcBef>
                <a:spcPts val="0"/>
              </a:spcBef>
              <a:spcAft>
                <a:spcPts val="0"/>
              </a:spcAft>
              <a:buClrTx/>
              <a:buSzTx/>
              <a:buFontTx/>
              <a:buNone/>
              <a:tabLst/>
              <a:defRPr/>
            </a:pPr>
            <a:fld id="{64F0821C-65D3-DD4D-8DB2-745946DB9115}" type="slidenum">
              <a:rPr kumimoji="0" lang="en-US" sz="917" b="0" i="0" u="none" strike="noStrike" kern="0" cap="none" spc="0" normalizeH="0" baseline="0" noProof="0" smtClean="0">
                <a:ln>
                  <a:noFill/>
                </a:ln>
                <a:solidFill>
                  <a:srgbClr val="000000"/>
                </a:solidFill>
                <a:effectLst/>
                <a:uLnTx/>
                <a:uFillTx/>
                <a:latin typeface="Aptos" panose="020B0004020202020204" pitchFamily="34" charset="0"/>
                <a:ea typeface="+mj-ea"/>
                <a:cs typeface="+mj-cs"/>
                <a:sym typeface="IBM Plex Sans Light"/>
              </a:rPr>
              <a:pPr marL="0" marR="0" lvl="0" indent="0" algn="r" defTabSz="1218948" rtl="0" eaLnBrk="1" fontAlgn="auto" latinLnBrk="0" hangingPunct="1">
                <a:lnSpc>
                  <a:spcPct val="110000"/>
                </a:lnSpc>
                <a:spcBef>
                  <a:spcPts val="0"/>
                </a:spcBef>
                <a:spcAft>
                  <a:spcPts val="0"/>
                </a:spcAft>
                <a:buClrTx/>
                <a:buSzTx/>
                <a:buFontTx/>
                <a:buNone/>
                <a:tabLst/>
                <a:defRPr/>
              </a:pPr>
              <a:t>‹#›</a:t>
            </a:fld>
            <a:endParaRPr kumimoji="0" lang="en-US" sz="917" b="0" i="0" u="none" strike="noStrike" kern="0" cap="none" spc="0" normalizeH="0" baseline="0" noProof="0">
              <a:ln>
                <a:noFill/>
              </a:ln>
              <a:solidFill>
                <a:srgbClr val="000000"/>
              </a:solidFill>
              <a:effectLst/>
              <a:uLnTx/>
              <a:uFillTx/>
              <a:latin typeface="Aptos" panose="020B0004020202020204" pitchFamily="34" charset="0"/>
              <a:ea typeface="+mj-ea"/>
              <a:cs typeface="+mj-cs"/>
              <a:sym typeface="IBM Plex Sans Light"/>
            </a:endParaRPr>
          </a:p>
        </p:txBody>
      </p:sp>
      <p:pic>
        <p:nvPicPr>
          <p:cNvPr id="9" name="Graphic 8">
            <a:extLst>
              <a:ext uri="{FF2B5EF4-FFF2-40B4-BE49-F238E27FC236}">
                <a16:creationId xmlns:a16="http://schemas.microsoft.com/office/drawing/2014/main" id="{2C2E667E-748C-1FD6-BBC9-A8FCDA06743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543540" y="6495499"/>
            <a:ext cx="167269" cy="81501"/>
          </a:xfrm>
          <a:prstGeom prst="rect">
            <a:avLst/>
          </a:prstGeom>
        </p:spPr>
      </p:pic>
      <p:sp>
        <p:nvSpPr>
          <p:cNvPr id="4" name="Freeform: Shape 5">
            <a:extLst>
              <a:ext uri="{FF2B5EF4-FFF2-40B4-BE49-F238E27FC236}">
                <a16:creationId xmlns:a16="http://schemas.microsoft.com/office/drawing/2014/main" id="{2AFCE5D4-B1E9-0FAA-186A-FB447C3D0B5A}"/>
              </a:ext>
            </a:extLst>
          </p:cNvPr>
          <p:cNvSpPr>
            <a:spLocks noGrp="1"/>
          </p:cNvSpPr>
          <p:nvPr>
            <p:ph type="pic" sz="quarter" idx="10" hasCustomPrompt="1"/>
          </p:nvPr>
        </p:nvSpPr>
        <p:spPr>
          <a:xfrm>
            <a:off x="6239277" y="1221440"/>
            <a:ext cx="5669910" cy="3014383"/>
          </a:xfrm>
          <a:custGeom>
            <a:avLst/>
            <a:gdLst>
              <a:gd name="connsiteX0" fmla="*/ 2761230 w 5522459"/>
              <a:gd name="connsiteY0" fmla="*/ 0 h 2935991"/>
              <a:gd name="connsiteX1" fmla="*/ 5522459 w 5522459"/>
              <a:gd name="connsiteY1" fmla="*/ 2761230 h 2935991"/>
              <a:gd name="connsiteX2" fmla="*/ 5513634 w 5522459"/>
              <a:gd name="connsiteY2" fmla="*/ 2935991 h 2935991"/>
              <a:gd name="connsiteX3" fmla="*/ 8824 w 5522459"/>
              <a:gd name="connsiteY3" fmla="*/ 2935991 h 2935991"/>
              <a:gd name="connsiteX4" fmla="*/ 0 w 5522459"/>
              <a:gd name="connsiteY4" fmla="*/ 2761230 h 2935991"/>
              <a:gd name="connsiteX5" fmla="*/ 2761230 w 5522459"/>
              <a:gd name="connsiteY5" fmla="*/ 0 h 2935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22459" h="2935991">
                <a:moveTo>
                  <a:pt x="2761230" y="0"/>
                </a:moveTo>
                <a:cubicBezTo>
                  <a:pt x="4286214" y="0"/>
                  <a:pt x="5522459" y="1236245"/>
                  <a:pt x="5522459" y="2761230"/>
                </a:cubicBezTo>
                <a:lnTo>
                  <a:pt x="5513634" y="2935991"/>
                </a:lnTo>
                <a:lnTo>
                  <a:pt x="8824" y="2935991"/>
                </a:lnTo>
                <a:lnTo>
                  <a:pt x="0" y="2761230"/>
                </a:lnTo>
                <a:cubicBezTo>
                  <a:pt x="0" y="1236245"/>
                  <a:pt x="1236245" y="0"/>
                  <a:pt x="2761230" y="0"/>
                </a:cubicBezTo>
                <a:close/>
              </a:path>
            </a:pathLst>
          </a:custGeom>
          <a:solidFill>
            <a:schemeClr val="bg1"/>
          </a:solidFill>
        </p:spPr>
        <p:txBody>
          <a:bodyPr wrap="square" anchor="ctr">
            <a:noAutofit/>
          </a:bodyPr>
          <a:lstStyle>
            <a:lvl1pPr algn="ctr">
              <a:defRPr>
                <a:solidFill>
                  <a:schemeClr val="tx1"/>
                </a:solidFill>
              </a:defRPr>
            </a:lvl1pPr>
          </a:lstStyle>
          <a:p>
            <a:pPr lvl="0"/>
            <a:r>
              <a:rPr lang="en-ID" noProof="0"/>
              <a:t>[add image]</a:t>
            </a:r>
          </a:p>
        </p:txBody>
      </p:sp>
      <p:sp>
        <p:nvSpPr>
          <p:cNvPr id="6" name="Text Placeholder 9">
            <a:extLst>
              <a:ext uri="{FF2B5EF4-FFF2-40B4-BE49-F238E27FC236}">
                <a16:creationId xmlns:a16="http://schemas.microsoft.com/office/drawing/2014/main" id="{7AC1A966-319A-DBDE-4A3F-3DF48D3C4568}"/>
              </a:ext>
            </a:extLst>
          </p:cNvPr>
          <p:cNvSpPr>
            <a:spLocks noGrp="1"/>
          </p:cNvSpPr>
          <p:nvPr>
            <p:ph type="body" sz="quarter" idx="14" hasCustomPrompt="1"/>
          </p:nvPr>
        </p:nvSpPr>
        <p:spPr>
          <a:xfrm>
            <a:off x="6943952" y="3864910"/>
            <a:ext cx="4255861" cy="1771650"/>
          </a:xfrm>
          <a:prstGeom prst="rect">
            <a:avLst/>
          </a:prstGeom>
        </p:spPr>
        <p:txBody>
          <a:bodyPr anchor="b"/>
          <a:lstStyle>
            <a:lvl1pPr>
              <a:lnSpc>
                <a:spcPct val="90000"/>
              </a:lnSpc>
              <a:spcBef>
                <a:spcPts val="0"/>
              </a:spcBef>
              <a:defRPr sz="12897" b="0" i="0">
                <a:solidFill>
                  <a:schemeClr val="accent1"/>
                </a:solidFill>
                <a:latin typeface="Aptos" panose="020B0004020202020204" pitchFamily="34" charset="0"/>
              </a:defRPr>
            </a:lvl1pPr>
          </a:lstStyle>
          <a:p>
            <a:r>
              <a:rPr lang="en-US"/>
              <a:t>↗︎00M</a:t>
            </a:r>
          </a:p>
        </p:txBody>
      </p:sp>
    </p:spTree>
    <p:extLst>
      <p:ext uri="{BB962C8B-B14F-4D97-AF65-F5344CB8AC3E}">
        <p14:creationId xmlns:p14="http://schemas.microsoft.com/office/powerpoint/2010/main" val="1031930192"/>
      </p:ext>
    </p:extLst>
  </p:cSld>
  <p:clrMapOvr>
    <a:masterClrMapping/>
  </p:clrMapOvr>
  <p:transition spd="med"/>
  <p:extLst>
    <p:ext uri="{DCECCB84-F9BA-43D5-87BE-67443E8EF086}">
      <p15:sldGuideLst xmlns:p15="http://schemas.microsoft.com/office/powerpoint/2012/main">
        <p15:guide id="2" orient="horz" pos="4656">
          <p15:clr>
            <a:srgbClr val="F26B43"/>
          </p15:clr>
        </p15:guide>
        <p15:guide id="3" orient="horz" pos="912">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ertical 3 Col Data Callouts">
    <p:bg>
      <p:bgPr>
        <a:solidFill>
          <a:schemeClr val="tx1"/>
        </a:solidFill>
        <a:effectLst/>
      </p:bgPr>
    </p:bg>
    <p:spTree>
      <p:nvGrpSpPr>
        <p:cNvPr id="1" name=""/>
        <p:cNvGrpSpPr/>
        <p:nvPr/>
      </p:nvGrpSpPr>
      <p:grpSpPr>
        <a:xfrm>
          <a:off x="0" y="0"/>
          <a:ext cx="0" cy="0"/>
          <a:chOff x="0" y="0"/>
          <a:chExt cx="0" cy="0"/>
        </a:xfrm>
      </p:grpSpPr>
      <p:sp>
        <p:nvSpPr>
          <p:cNvPr id="3" name="Title Text">
            <a:extLst>
              <a:ext uri="{FF2B5EF4-FFF2-40B4-BE49-F238E27FC236}">
                <a16:creationId xmlns:a16="http://schemas.microsoft.com/office/drawing/2014/main" id="{4B5980F9-A7B7-7DE7-65FD-745FC498DFDB}"/>
              </a:ext>
            </a:extLst>
          </p:cNvPr>
          <p:cNvSpPr txBox="1">
            <a:spLocks noGrp="1"/>
          </p:cNvSpPr>
          <p:nvPr>
            <p:ph type="title" hasCustomPrompt="1"/>
          </p:nvPr>
        </p:nvSpPr>
        <p:spPr>
          <a:xfrm>
            <a:off x="290211" y="295140"/>
            <a:ext cx="2686352" cy="9319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73152" rIns="0" bIns="0"/>
          <a:lstStyle/>
          <a:p>
            <a:r>
              <a:rPr lang="en-US"/>
              <a:t>Vertical </a:t>
            </a:r>
            <a:br>
              <a:rPr lang="en-US"/>
            </a:br>
            <a:r>
              <a:rPr lang="en-US"/>
              <a:t>3 column data callouts</a:t>
            </a:r>
            <a:endParaRPr/>
          </a:p>
        </p:txBody>
      </p:sp>
      <p:sp>
        <p:nvSpPr>
          <p:cNvPr id="2" name="Text Placeholder 4">
            <a:extLst>
              <a:ext uri="{FF2B5EF4-FFF2-40B4-BE49-F238E27FC236}">
                <a16:creationId xmlns:a16="http://schemas.microsoft.com/office/drawing/2014/main" id="{4E5124E6-ADC3-5365-0866-3D4CAB4CAE95}"/>
              </a:ext>
            </a:extLst>
          </p:cNvPr>
          <p:cNvSpPr>
            <a:spLocks noGrp="1"/>
          </p:cNvSpPr>
          <p:nvPr>
            <p:ph type="body" sz="quarter" idx="12"/>
          </p:nvPr>
        </p:nvSpPr>
        <p:spPr>
          <a:xfrm>
            <a:off x="3277290" y="1221441"/>
            <a:ext cx="2681093" cy="4938059"/>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6394E0EF-43E2-28B1-FCC7-2EC2EB4727A5}"/>
              </a:ext>
            </a:extLst>
          </p:cNvPr>
          <p:cNvSpPr>
            <a:spLocks noGrp="1"/>
          </p:cNvSpPr>
          <p:nvPr>
            <p:ph type="body" sz="quarter" idx="13"/>
          </p:nvPr>
        </p:nvSpPr>
        <p:spPr>
          <a:xfrm>
            <a:off x="6258055" y="1221441"/>
            <a:ext cx="2681093" cy="4938059"/>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4">
            <a:extLst>
              <a:ext uri="{FF2B5EF4-FFF2-40B4-BE49-F238E27FC236}">
                <a16:creationId xmlns:a16="http://schemas.microsoft.com/office/drawing/2014/main" id="{60F5193B-8452-7552-6381-8E0C8601D667}"/>
              </a:ext>
            </a:extLst>
          </p:cNvPr>
          <p:cNvSpPr>
            <a:spLocks noGrp="1"/>
          </p:cNvSpPr>
          <p:nvPr>
            <p:ph type="body" sz="quarter" idx="14"/>
          </p:nvPr>
        </p:nvSpPr>
        <p:spPr>
          <a:xfrm>
            <a:off x="9227614" y="1221441"/>
            <a:ext cx="2681093" cy="4938059"/>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7">
            <a:extLst>
              <a:ext uri="{FF2B5EF4-FFF2-40B4-BE49-F238E27FC236}">
                <a16:creationId xmlns:a16="http://schemas.microsoft.com/office/drawing/2014/main" id="{2CA48826-54B2-A53F-9724-5A0B5829288C}"/>
              </a:ext>
            </a:extLst>
          </p:cNvPr>
          <p:cNvSpPr>
            <a:spLocks noGrp="1"/>
          </p:cNvSpPr>
          <p:nvPr>
            <p:ph type="body" sz="quarter" idx="16" hasCustomPrompt="1"/>
          </p:nvPr>
        </p:nvSpPr>
        <p:spPr>
          <a:xfrm>
            <a:off x="6244977" y="293704"/>
            <a:ext cx="2686352" cy="910459"/>
          </a:xfrm>
          <a:prstGeom prst="rect">
            <a:avLst/>
          </a:prstGeom>
        </p:spPr>
        <p:txBody>
          <a:bodyPr/>
          <a:lstStyle>
            <a:lvl1pPr>
              <a:lnSpc>
                <a:spcPct val="90000"/>
              </a:lnSpc>
              <a:defRPr sz="6499">
                <a:solidFill>
                  <a:schemeClr val="accent1"/>
                </a:solidFill>
              </a:defRPr>
            </a:lvl1pPr>
          </a:lstStyle>
          <a:p>
            <a:pPr lvl="0"/>
            <a:r>
              <a:rPr lang="en-US"/>
              <a:t>00%</a:t>
            </a:r>
          </a:p>
        </p:txBody>
      </p:sp>
      <p:sp>
        <p:nvSpPr>
          <p:cNvPr id="14" name="Text Placeholder 19">
            <a:extLst>
              <a:ext uri="{FF2B5EF4-FFF2-40B4-BE49-F238E27FC236}">
                <a16:creationId xmlns:a16="http://schemas.microsoft.com/office/drawing/2014/main" id="{B6ECCCC4-EFD9-6EE1-1F2A-AADFAE3FF5ED}"/>
              </a:ext>
            </a:extLst>
          </p:cNvPr>
          <p:cNvSpPr>
            <a:spLocks noGrp="1"/>
          </p:cNvSpPr>
          <p:nvPr>
            <p:ph type="body" sz="quarter" idx="17" hasCustomPrompt="1"/>
          </p:nvPr>
        </p:nvSpPr>
        <p:spPr>
          <a:xfrm>
            <a:off x="9222356" y="295139"/>
            <a:ext cx="2686352" cy="908943"/>
          </a:xfrm>
          <a:prstGeom prst="rect">
            <a:avLst/>
          </a:prstGeom>
        </p:spPr>
        <p:txBody>
          <a:bodyPr/>
          <a:lstStyle>
            <a:lvl1pPr>
              <a:lnSpc>
                <a:spcPct val="90000"/>
              </a:lnSpc>
              <a:defRPr sz="6499">
                <a:solidFill>
                  <a:schemeClr val="accent1"/>
                </a:solidFill>
              </a:defRPr>
            </a:lvl1pPr>
          </a:lstStyle>
          <a:p>
            <a:pPr lvl="0"/>
            <a:r>
              <a:rPr lang="en-US"/>
              <a:t>00%</a:t>
            </a:r>
          </a:p>
        </p:txBody>
      </p:sp>
      <p:sp>
        <p:nvSpPr>
          <p:cNvPr id="15" name="Text Placeholder 15">
            <a:extLst>
              <a:ext uri="{FF2B5EF4-FFF2-40B4-BE49-F238E27FC236}">
                <a16:creationId xmlns:a16="http://schemas.microsoft.com/office/drawing/2014/main" id="{652DB5B9-CDC4-82D2-0B62-B66204713691}"/>
              </a:ext>
            </a:extLst>
          </p:cNvPr>
          <p:cNvSpPr>
            <a:spLocks noGrp="1"/>
          </p:cNvSpPr>
          <p:nvPr>
            <p:ph type="body" sz="quarter" idx="15" hasCustomPrompt="1"/>
          </p:nvPr>
        </p:nvSpPr>
        <p:spPr>
          <a:xfrm>
            <a:off x="3262227" y="295409"/>
            <a:ext cx="2686352" cy="911091"/>
          </a:xfrm>
          <a:prstGeom prst="rect">
            <a:avLst/>
          </a:prstGeom>
        </p:spPr>
        <p:txBody>
          <a:bodyPr/>
          <a:lstStyle>
            <a:lvl1pPr>
              <a:lnSpc>
                <a:spcPct val="90000"/>
              </a:lnSpc>
              <a:defRPr sz="6499">
                <a:solidFill>
                  <a:schemeClr val="accent1"/>
                </a:solidFill>
              </a:defRPr>
            </a:lvl1pPr>
            <a:lvl2pPr marL="0" indent="0">
              <a:buNone/>
              <a:defRPr/>
            </a:lvl2pPr>
          </a:lstStyle>
          <a:p>
            <a:pPr lvl="0"/>
            <a:r>
              <a:rPr lang="en-US"/>
              <a:t>00%</a:t>
            </a:r>
          </a:p>
        </p:txBody>
      </p:sp>
    </p:spTree>
    <p:extLst>
      <p:ext uri="{BB962C8B-B14F-4D97-AF65-F5344CB8AC3E}">
        <p14:creationId xmlns:p14="http://schemas.microsoft.com/office/powerpoint/2010/main" val="1046304056"/>
      </p:ext>
    </p:extLst>
  </p:cSld>
  <p:clrMapOvr>
    <a:masterClrMapping/>
  </p:clrMapOvr>
  <p:transition spd="med"/>
  <p:extLst>
    <p:ext uri="{DCECCB84-F9BA-43D5-87BE-67443E8EF086}">
      <p15:sldGuideLst xmlns:p15="http://schemas.microsoft.com/office/powerpoint/2012/main">
        <p15:guide id="2" orient="horz" pos="4656">
          <p15:clr>
            <a:srgbClr val="F26B43"/>
          </p15:clr>
        </p15:guide>
        <p15:guide id="3" orient="horz" pos="912">
          <p15:clr>
            <a:srgbClr val="F26B43"/>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orizontal 3 Col Data Callouts">
    <p:bg>
      <p:bgPr>
        <a:solidFill>
          <a:schemeClr val="tx1"/>
        </a:solidFill>
        <a:effectLst/>
      </p:bgPr>
    </p:bg>
    <p:spTree>
      <p:nvGrpSpPr>
        <p:cNvPr id="1" name=""/>
        <p:cNvGrpSpPr/>
        <p:nvPr/>
      </p:nvGrpSpPr>
      <p:grpSpPr>
        <a:xfrm>
          <a:off x="0" y="0"/>
          <a:ext cx="0" cy="0"/>
          <a:chOff x="0" y="0"/>
          <a:chExt cx="0" cy="0"/>
        </a:xfrm>
      </p:grpSpPr>
      <p:sp>
        <p:nvSpPr>
          <p:cNvPr id="3" name="Title Text">
            <a:extLst>
              <a:ext uri="{FF2B5EF4-FFF2-40B4-BE49-F238E27FC236}">
                <a16:creationId xmlns:a16="http://schemas.microsoft.com/office/drawing/2014/main" id="{4B5980F9-A7B7-7DE7-65FD-745FC498DFDB}"/>
              </a:ext>
            </a:extLst>
          </p:cNvPr>
          <p:cNvSpPr txBox="1">
            <a:spLocks noGrp="1"/>
          </p:cNvSpPr>
          <p:nvPr>
            <p:ph type="title" hasCustomPrompt="1"/>
          </p:nvPr>
        </p:nvSpPr>
        <p:spPr>
          <a:xfrm>
            <a:off x="290211" y="295140"/>
            <a:ext cx="2686352" cy="9319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73152" rIns="0" bIns="0"/>
          <a:lstStyle/>
          <a:p>
            <a:r>
              <a:rPr lang="en-US"/>
              <a:t>Horizontal </a:t>
            </a:r>
            <a:br>
              <a:rPr lang="en-US"/>
            </a:br>
            <a:r>
              <a:rPr lang="en-US"/>
              <a:t>3 column data callouts</a:t>
            </a:r>
            <a:endParaRPr/>
          </a:p>
        </p:txBody>
      </p:sp>
      <p:sp>
        <p:nvSpPr>
          <p:cNvPr id="2" name="Text Placeholder 4">
            <a:extLst>
              <a:ext uri="{FF2B5EF4-FFF2-40B4-BE49-F238E27FC236}">
                <a16:creationId xmlns:a16="http://schemas.microsoft.com/office/drawing/2014/main" id="{4E5124E6-ADC3-5365-0866-3D4CAB4CAE95}"/>
              </a:ext>
            </a:extLst>
          </p:cNvPr>
          <p:cNvSpPr>
            <a:spLocks noGrp="1"/>
          </p:cNvSpPr>
          <p:nvPr>
            <p:ph type="body" sz="quarter" idx="12"/>
          </p:nvPr>
        </p:nvSpPr>
        <p:spPr>
          <a:xfrm>
            <a:off x="6243422" y="296049"/>
            <a:ext cx="5662828" cy="1788246"/>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15">
            <a:extLst>
              <a:ext uri="{FF2B5EF4-FFF2-40B4-BE49-F238E27FC236}">
                <a16:creationId xmlns:a16="http://schemas.microsoft.com/office/drawing/2014/main" id="{652DB5B9-CDC4-82D2-0B62-B66204713691}"/>
              </a:ext>
            </a:extLst>
          </p:cNvPr>
          <p:cNvSpPr>
            <a:spLocks noGrp="1"/>
          </p:cNvSpPr>
          <p:nvPr>
            <p:ph type="body" sz="quarter" idx="15" hasCustomPrompt="1"/>
          </p:nvPr>
        </p:nvSpPr>
        <p:spPr>
          <a:xfrm>
            <a:off x="3262312" y="285751"/>
            <a:ext cx="2686267" cy="1798543"/>
          </a:xfrm>
          <a:prstGeom prst="rect">
            <a:avLst/>
          </a:prstGeom>
        </p:spPr>
        <p:txBody>
          <a:bodyPr/>
          <a:lstStyle>
            <a:lvl1pPr algn="r">
              <a:lnSpc>
                <a:spcPct val="90000"/>
              </a:lnSpc>
              <a:defRPr sz="6499">
                <a:solidFill>
                  <a:schemeClr val="accent1"/>
                </a:solidFill>
              </a:defRPr>
            </a:lvl1pPr>
            <a:lvl2pPr marL="0" indent="0">
              <a:buNone/>
              <a:defRPr/>
            </a:lvl2pPr>
          </a:lstStyle>
          <a:p>
            <a:pPr lvl="0"/>
            <a:r>
              <a:rPr lang="en-US"/>
              <a:t>00%</a:t>
            </a:r>
          </a:p>
        </p:txBody>
      </p:sp>
      <p:sp>
        <p:nvSpPr>
          <p:cNvPr id="16" name="Text Placeholder 4">
            <a:extLst>
              <a:ext uri="{FF2B5EF4-FFF2-40B4-BE49-F238E27FC236}">
                <a16:creationId xmlns:a16="http://schemas.microsoft.com/office/drawing/2014/main" id="{489A396A-EC4B-6C7D-9BC2-25F2413D4A51}"/>
              </a:ext>
            </a:extLst>
          </p:cNvPr>
          <p:cNvSpPr>
            <a:spLocks noGrp="1"/>
          </p:cNvSpPr>
          <p:nvPr>
            <p:ph type="body" sz="quarter" idx="16"/>
          </p:nvPr>
        </p:nvSpPr>
        <p:spPr>
          <a:xfrm>
            <a:off x="6243422" y="2342031"/>
            <a:ext cx="5662828" cy="1794807"/>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15">
            <a:extLst>
              <a:ext uri="{FF2B5EF4-FFF2-40B4-BE49-F238E27FC236}">
                <a16:creationId xmlns:a16="http://schemas.microsoft.com/office/drawing/2014/main" id="{F1283630-C45B-3FFD-0FF4-71EF8BAB1AF9}"/>
              </a:ext>
            </a:extLst>
          </p:cNvPr>
          <p:cNvSpPr>
            <a:spLocks noGrp="1"/>
          </p:cNvSpPr>
          <p:nvPr>
            <p:ph type="body" sz="quarter" idx="17" hasCustomPrompt="1"/>
          </p:nvPr>
        </p:nvSpPr>
        <p:spPr>
          <a:xfrm>
            <a:off x="3262312" y="2341830"/>
            <a:ext cx="2686267" cy="1795008"/>
          </a:xfrm>
          <a:prstGeom prst="rect">
            <a:avLst/>
          </a:prstGeom>
        </p:spPr>
        <p:txBody>
          <a:bodyPr/>
          <a:lstStyle>
            <a:lvl1pPr algn="r">
              <a:lnSpc>
                <a:spcPct val="90000"/>
              </a:lnSpc>
              <a:defRPr sz="6499">
                <a:solidFill>
                  <a:schemeClr val="accent1"/>
                </a:solidFill>
              </a:defRPr>
            </a:lvl1pPr>
            <a:lvl2pPr marL="0" indent="0">
              <a:buNone/>
              <a:defRPr/>
            </a:lvl2pPr>
          </a:lstStyle>
          <a:p>
            <a:pPr lvl="0"/>
            <a:r>
              <a:rPr lang="en-US"/>
              <a:t>00%</a:t>
            </a:r>
          </a:p>
        </p:txBody>
      </p:sp>
      <p:sp>
        <p:nvSpPr>
          <p:cNvPr id="18" name="Text Placeholder 4">
            <a:extLst>
              <a:ext uri="{FF2B5EF4-FFF2-40B4-BE49-F238E27FC236}">
                <a16:creationId xmlns:a16="http://schemas.microsoft.com/office/drawing/2014/main" id="{7D7903A5-9767-AD20-0F18-95FC5C16B39B}"/>
              </a:ext>
            </a:extLst>
          </p:cNvPr>
          <p:cNvSpPr>
            <a:spLocks noGrp="1"/>
          </p:cNvSpPr>
          <p:nvPr>
            <p:ph type="body" sz="quarter" idx="18"/>
          </p:nvPr>
        </p:nvSpPr>
        <p:spPr>
          <a:xfrm>
            <a:off x="6243422" y="4364692"/>
            <a:ext cx="5662828" cy="1794807"/>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15">
            <a:extLst>
              <a:ext uri="{FF2B5EF4-FFF2-40B4-BE49-F238E27FC236}">
                <a16:creationId xmlns:a16="http://schemas.microsoft.com/office/drawing/2014/main" id="{696349FA-3CB3-B6D9-CBCE-B3BA68AAB02A}"/>
              </a:ext>
            </a:extLst>
          </p:cNvPr>
          <p:cNvSpPr>
            <a:spLocks noGrp="1"/>
          </p:cNvSpPr>
          <p:nvPr>
            <p:ph type="body" sz="quarter" idx="19" hasCustomPrompt="1"/>
          </p:nvPr>
        </p:nvSpPr>
        <p:spPr>
          <a:xfrm>
            <a:off x="3262312" y="4364492"/>
            <a:ext cx="2686267" cy="1795008"/>
          </a:xfrm>
          <a:prstGeom prst="rect">
            <a:avLst/>
          </a:prstGeom>
        </p:spPr>
        <p:txBody>
          <a:bodyPr/>
          <a:lstStyle>
            <a:lvl1pPr algn="r">
              <a:lnSpc>
                <a:spcPct val="90000"/>
              </a:lnSpc>
              <a:defRPr sz="6499">
                <a:solidFill>
                  <a:schemeClr val="accent1"/>
                </a:solidFill>
              </a:defRPr>
            </a:lvl1pPr>
            <a:lvl2pPr marL="0" indent="0">
              <a:buNone/>
              <a:defRPr/>
            </a:lvl2pPr>
          </a:lstStyle>
          <a:p>
            <a:pPr lvl="0"/>
            <a:r>
              <a:rPr lang="en-US"/>
              <a:t>00%</a:t>
            </a:r>
          </a:p>
        </p:txBody>
      </p:sp>
    </p:spTree>
    <p:extLst>
      <p:ext uri="{BB962C8B-B14F-4D97-AF65-F5344CB8AC3E}">
        <p14:creationId xmlns:p14="http://schemas.microsoft.com/office/powerpoint/2010/main" val="3370392991"/>
      </p:ext>
    </p:extLst>
  </p:cSld>
  <p:clrMapOvr>
    <a:masterClrMapping/>
  </p:clrMapOvr>
  <p:transition spd="med"/>
  <p:extLst>
    <p:ext uri="{DCECCB84-F9BA-43D5-87BE-67443E8EF086}">
      <p15:sldGuideLst xmlns:p15="http://schemas.microsoft.com/office/powerpoint/2012/main">
        <p15:guide id="2" orient="horz" pos="4656">
          <p15:clr>
            <a:srgbClr val="F26B43"/>
          </p15:clr>
        </p15:guide>
        <p15:guide id="3" orient="horz" pos="912">
          <p15:clr>
            <a:srgbClr val="F26B43"/>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arge 2 col data callouts">
    <p:bg>
      <p:bgPr>
        <a:solidFill>
          <a:schemeClr val="tx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87998" y="4389374"/>
            <a:ext cx="5665121" cy="1771650"/>
          </a:xfrm>
          <a:prstGeom prst="rect">
            <a:avLst/>
          </a:prstGeom>
        </p:spPr>
        <p:txBody>
          <a:bodyPr anchor="b"/>
          <a:lstStyle>
            <a:lvl1pPr>
              <a:lnSpc>
                <a:spcPct val="90000"/>
              </a:lnSpc>
              <a:spcBef>
                <a:spcPts val="0"/>
              </a:spcBef>
              <a:defRPr sz="12897" b="0" i="0">
                <a:solidFill>
                  <a:schemeClr val="accent1"/>
                </a:solidFill>
                <a:latin typeface="Aptos" panose="020B0004020202020204" pitchFamily="34" charset="0"/>
              </a:defRPr>
            </a:lvl1pPr>
          </a:lstStyle>
          <a:p>
            <a:r>
              <a:rPr lang="en-US"/>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6238876" y="4387850"/>
            <a:ext cx="5665825" cy="1771650"/>
          </a:xfrm>
          <a:prstGeom prst="rect">
            <a:avLst/>
          </a:prstGeom>
        </p:spPr>
        <p:txBody>
          <a:bodyPr anchor="b"/>
          <a:lstStyle>
            <a:lvl1pPr>
              <a:lnSpc>
                <a:spcPct val="90000"/>
              </a:lnSpc>
              <a:spcBef>
                <a:spcPts val="0"/>
              </a:spcBef>
              <a:defRPr sz="12897" b="0" i="0">
                <a:solidFill>
                  <a:schemeClr val="accent1"/>
                </a:solidFill>
                <a:latin typeface="Aptos" panose="020B0004020202020204" pitchFamily="34" charset="0"/>
              </a:defRPr>
            </a:lvl1pPr>
          </a:lstStyle>
          <a:p>
            <a:r>
              <a:rPr lang="en-US"/>
              <a:t>+00%</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6096000" y="284957"/>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ext Placeholder 4">
            <a:extLst>
              <a:ext uri="{FF2B5EF4-FFF2-40B4-BE49-F238E27FC236}">
                <a16:creationId xmlns:a16="http://schemas.microsoft.com/office/drawing/2014/main" id="{0BF01BD5-9D58-62B6-D197-096BEF11002A}"/>
              </a:ext>
            </a:extLst>
          </p:cNvPr>
          <p:cNvSpPr>
            <a:spLocks noGrp="1"/>
          </p:cNvSpPr>
          <p:nvPr>
            <p:ph type="body" sz="quarter" idx="11"/>
          </p:nvPr>
        </p:nvSpPr>
        <p:spPr>
          <a:xfrm>
            <a:off x="295469" y="296956"/>
            <a:ext cx="5657648" cy="3950073"/>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ext Placeholder 4">
            <a:extLst>
              <a:ext uri="{FF2B5EF4-FFF2-40B4-BE49-F238E27FC236}">
                <a16:creationId xmlns:a16="http://schemas.microsoft.com/office/drawing/2014/main" id="{8B578D6B-A381-8EB1-A3B8-5B2CD96A4253}"/>
              </a:ext>
            </a:extLst>
          </p:cNvPr>
          <p:cNvSpPr>
            <a:spLocks noGrp="1"/>
          </p:cNvSpPr>
          <p:nvPr>
            <p:ph type="body" sz="quarter" idx="15"/>
          </p:nvPr>
        </p:nvSpPr>
        <p:spPr>
          <a:xfrm>
            <a:off x="6245793" y="296956"/>
            <a:ext cx="5657648" cy="3950073"/>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250479935"/>
      </p:ext>
    </p:extLst>
  </p:cSld>
  <p:clrMapOvr>
    <a:masterClrMapping/>
  </p:clrMapOvr>
  <p:transition spd="med"/>
  <p:extLst>
    <p:ext uri="{DCECCB84-F9BA-43D5-87BE-67443E8EF086}">
      <p15:sldGuideLst xmlns:p15="http://schemas.microsoft.com/office/powerpoint/2012/main">
        <p15:guide id="1" orient="horz" pos="4656">
          <p15:clr>
            <a:srgbClr val="F26B43"/>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tx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F45FA02-9260-0C95-436B-0FD0CB867653}"/>
              </a:ext>
            </a:extLst>
          </p:cNvPr>
          <p:cNvSpPr>
            <a:spLocks noGrp="1" noRot="1" noMove="1" noResize="1" noEditPoints="1" noAdjustHandles="1" noChangeArrowheads="1" noChangeShapeType="1"/>
          </p:cNvSpPr>
          <p:nvPr userDrawn="1"/>
        </p:nvSpPr>
        <p:spPr bwMode="auto">
          <a:xfrm>
            <a:off x="1" y="1"/>
            <a:ext cx="12191999" cy="6858000"/>
          </a:xfrm>
          <a:prstGeom prst="rect">
            <a:avLst/>
          </a:prstGeom>
          <a:solidFill>
            <a:schemeClr val="tx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indent="0" algn="l" defTabSz="457106" rtl="0" eaLnBrk="1" fontAlgn="base" latinLnBrk="0" hangingPunct="1">
              <a:lnSpc>
                <a:spcPct val="100000"/>
              </a:lnSpc>
              <a:spcBef>
                <a:spcPct val="0"/>
              </a:spcBef>
              <a:spcAft>
                <a:spcPct val="0"/>
              </a:spcAft>
              <a:buClrTx/>
              <a:buSzTx/>
              <a:buFont typeface="IBM Plex Sans Light"/>
              <a:buNone/>
              <a:tabLst/>
            </a:pPr>
            <a:endParaRPr kumimoji="0" lang="en-US" sz="700" b="0" i="0" u="none" strike="noStrike" cap="none" normalizeH="0" baseline="0">
              <a:ln>
                <a:noFill/>
              </a:ln>
              <a:solidFill>
                <a:schemeClr val="bg1"/>
              </a:solidFill>
              <a:effectLst/>
              <a:latin typeface="+mn-lt"/>
            </a:endParaRPr>
          </a:p>
        </p:txBody>
      </p:sp>
    </p:spTree>
    <p:extLst>
      <p:ext uri="{BB962C8B-B14F-4D97-AF65-F5344CB8AC3E}">
        <p14:creationId xmlns:p14="http://schemas.microsoft.com/office/powerpoint/2010/main" val="4219736804"/>
      </p:ext>
    </p:extLst>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lumn">
    <p:bg>
      <p:bgPr>
        <a:solidFill>
          <a:schemeClr val="tx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94715" y="1221441"/>
            <a:ext cx="5658409" cy="4938059"/>
          </a:xfrm>
          <a:prstGeom prst="rect">
            <a:avLst/>
          </a:prstGeom>
        </p:spPr>
        <p:txBody>
          <a:bodyPr/>
          <a:lstStyle>
            <a:lvl1pPr>
              <a:spcBef>
                <a:spcPts val="0"/>
              </a:spcBef>
              <a:defRPr sz="1500" b="0" i="0">
                <a:solidFill>
                  <a:schemeClr val="bg2"/>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2"/>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2"/>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2"/>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itle Text">
            <a:extLst>
              <a:ext uri="{FF2B5EF4-FFF2-40B4-BE49-F238E27FC236}">
                <a16:creationId xmlns:a16="http://schemas.microsoft.com/office/drawing/2014/main" id="{4B5980F9-A7B7-7DE7-65FD-745FC498DFDB}"/>
              </a:ext>
            </a:extLst>
          </p:cNvPr>
          <p:cNvSpPr txBox="1">
            <a:spLocks noGrp="1"/>
          </p:cNvSpPr>
          <p:nvPr>
            <p:ph type="title" hasCustomPrompt="1"/>
          </p:nvPr>
        </p:nvSpPr>
        <p:spPr>
          <a:xfrm>
            <a:off x="288555" y="299392"/>
            <a:ext cx="11606656" cy="386603"/>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73152" rIns="0" bIns="0"/>
          <a:lstStyle>
            <a:lvl1pPr>
              <a:defRPr sz="3500"/>
            </a:lvl1pPr>
          </a:lstStyle>
          <a:p>
            <a:r>
              <a:rPr lang="en-US"/>
              <a:t>2 column body</a:t>
            </a:r>
            <a:endParaRPr/>
          </a:p>
        </p:txBody>
      </p:sp>
      <p:sp>
        <p:nvSpPr>
          <p:cNvPr id="4" name="Text Placeholder 4">
            <a:extLst>
              <a:ext uri="{FF2B5EF4-FFF2-40B4-BE49-F238E27FC236}">
                <a16:creationId xmlns:a16="http://schemas.microsoft.com/office/drawing/2014/main" id="{6B78AFFA-760B-C379-5035-CB7ECAE05516}"/>
              </a:ext>
            </a:extLst>
          </p:cNvPr>
          <p:cNvSpPr>
            <a:spLocks noGrp="1"/>
          </p:cNvSpPr>
          <p:nvPr>
            <p:ph type="body" sz="quarter" idx="12"/>
          </p:nvPr>
        </p:nvSpPr>
        <p:spPr>
          <a:xfrm>
            <a:off x="6238877" y="1221441"/>
            <a:ext cx="5667373" cy="4938059"/>
          </a:xfrm>
          <a:prstGeom prst="rect">
            <a:avLst/>
          </a:prstGeom>
        </p:spPr>
        <p:txBody>
          <a:bodyPr/>
          <a:lstStyle>
            <a:lvl1pPr>
              <a:spcBef>
                <a:spcPts val="0"/>
              </a:spcBef>
              <a:defRPr sz="1500" b="0" i="0">
                <a:solidFill>
                  <a:schemeClr val="bg2"/>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2"/>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2"/>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2"/>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787862011"/>
      </p:ext>
    </p:extLst>
  </p:cSld>
  <p:clrMapOvr>
    <a:masterClrMapping/>
  </p:clrMapOvr>
  <p:transition spd="med"/>
  <p:extLst>
    <p:ext uri="{DCECCB84-F9BA-43D5-87BE-67443E8EF086}">
      <p15:sldGuideLst xmlns:p15="http://schemas.microsoft.com/office/powerpoint/2012/main">
        <p15:guide id="2" orient="horz" pos="4656">
          <p15:clr>
            <a:srgbClr val="F26B43"/>
          </p15:clr>
        </p15:guide>
        <p15:guide id="3" orient="horz" pos="912">
          <p15:clr>
            <a:srgbClr val="F26B43"/>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column">
    <p:bg>
      <p:bgPr>
        <a:solidFill>
          <a:schemeClr val="tx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95001" y="1221441"/>
            <a:ext cx="3673748" cy="4938059"/>
          </a:xfrm>
          <a:prstGeom prst="rect">
            <a:avLst/>
          </a:prstGeom>
        </p:spPr>
        <p:txBody>
          <a:bodyPr/>
          <a:lstStyle>
            <a:lvl1pPr>
              <a:spcBef>
                <a:spcPts val="0"/>
              </a:spcBef>
              <a:defRPr sz="1500" b="0" i="0">
                <a:solidFill>
                  <a:schemeClr val="bg2"/>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2"/>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2"/>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2"/>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itle Text">
            <a:extLst>
              <a:ext uri="{FF2B5EF4-FFF2-40B4-BE49-F238E27FC236}">
                <a16:creationId xmlns:a16="http://schemas.microsoft.com/office/drawing/2014/main" id="{4B5980F9-A7B7-7DE7-65FD-745FC498DFDB}"/>
              </a:ext>
            </a:extLst>
          </p:cNvPr>
          <p:cNvSpPr txBox="1">
            <a:spLocks noGrp="1"/>
          </p:cNvSpPr>
          <p:nvPr>
            <p:ph type="title" hasCustomPrompt="1"/>
          </p:nvPr>
        </p:nvSpPr>
        <p:spPr>
          <a:xfrm>
            <a:off x="290212" y="299392"/>
            <a:ext cx="11607800" cy="386603"/>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73152" rIns="0" bIns="0"/>
          <a:lstStyle>
            <a:lvl1pPr>
              <a:defRPr sz="3500"/>
            </a:lvl1pPr>
          </a:lstStyle>
          <a:p>
            <a:r>
              <a:rPr lang="en-US"/>
              <a:t>3 column body</a:t>
            </a:r>
            <a:endParaRPr/>
          </a:p>
        </p:txBody>
      </p:sp>
      <p:sp>
        <p:nvSpPr>
          <p:cNvPr id="4" name="Text Placeholder 4">
            <a:extLst>
              <a:ext uri="{FF2B5EF4-FFF2-40B4-BE49-F238E27FC236}">
                <a16:creationId xmlns:a16="http://schemas.microsoft.com/office/drawing/2014/main" id="{6B78AFFA-760B-C379-5035-CB7ECAE05516}"/>
              </a:ext>
            </a:extLst>
          </p:cNvPr>
          <p:cNvSpPr>
            <a:spLocks noGrp="1"/>
          </p:cNvSpPr>
          <p:nvPr>
            <p:ph type="body" sz="quarter" idx="12"/>
          </p:nvPr>
        </p:nvSpPr>
        <p:spPr>
          <a:xfrm>
            <a:off x="4261419" y="1221441"/>
            <a:ext cx="3673748" cy="4938059"/>
          </a:xfrm>
          <a:prstGeom prst="rect">
            <a:avLst/>
          </a:prstGeom>
        </p:spPr>
        <p:txBody>
          <a:bodyPr/>
          <a:lstStyle>
            <a:lvl1pPr>
              <a:spcBef>
                <a:spcPts val="0"/>
              </a:spcBef>
              <a:defRPr sz="1500" b="0" i="0">
                <a:solidFill>
                  <a:schemeClr val="bg2"/>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2"/>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2"/>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2"/>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ext Placeholder 4">
            <a:extLst>
              <a:ext uri="{FF2B5EF4-FFF2-40B4-BE49-F238E27FC236}">
                <a16:creationId xmlns:a16="http://schemas.microsoft.com/office/drawing/2014/main" id="{376D964F-C8A1-C871-5753-80704C0AE4DC}"/>
              </a:ext>
            </a:extLst>
          </p:cNvPr>
          <p:cNvSpPr>
            <a:spLocks noGrp="1"/>
          </p:cNvSpPr>
          <p:nvPr>
            <p:ph type="body" sz="quarter" idx="13"/>
          </p:nvPr>
        </p:nvSpPr>
        <p:spPr>
          <a:xfrm>
            <a:off x="8223250" y="1221441"/>
            <a:ext cx="3683000" cy="4938059"/>
          </a:xfrm>
          <a:prstGeom prst="rect">
            <a:avLst/>
          </a:prstGeom>
        </p:spPr>
        <p:txBody>
          <a:bodyPr/>
          <a:lstStyle>
            <a:lvl1pPr>
              <a:spcBef>
                <a:spcPts val="0"/>
              </a:spcBef>
              <a:defRPr sz="1500" b="0" i="0">
                <a:solidFill>
                  <a:schemeClr val="bg2"/>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2"/>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2"/>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2"/>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84053852"/>
      </p:ext>
    </p:extLst>
  </p:cSld>
  <p:clrMapOvr>
    <a:masterClrMapping/>
  </p:clrMapOvr>
  <p:transition spd="med"/>
  <p:extLst>
    <p:ext uri="{DCECCB84-F9BA-43D5-87BE-67443E8EF086}">
      <p15:sldGuideLst xmlns:p15="http://schemas.microsoft.com/office/powerpoint/2012/main">
        <p15:guide id="2" orient="horz" pos="4656">
          <p15:clr>
            <a:srgbClr val="F26B43"/>
          </p15:clr>
        </p15:guide>
        <p15:guide id="3" orient="horz" pos="912">
          <p15:clr>
            <a:srgbClr val="F26B43"/>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column">
    <p:bg>
      <p:bgPr>
        <a:solidFill>
          <a:schemeClr val="tx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95470" y="1221441"/>
            <a:ext cx="2681094" cy="4938059"/>
          </a:xfrm>
          <a:prstGeom prst="rect">
            <a:avLst/>
          </a:prstGeom>
        </p:spPr>
        <p:txBody>
          <a:bodyPr/>
          <a:lstStyle>
            <a:lvl1pPr>
              <a:spcBef>
                <a:spcPts val="0"/>
              </a:spcBef>
              <a:defRPr sz="1500" b="0" i="0">
                <a:solidFill>
                  <a:schemeClr val="bg2"/>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2"/>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2"/>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2"/>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itle Text">
            <a:extLst>
              <a:ext uri="{FF2B5EF4-FFF2-40B4-BE49-F238E27FC236}">
                <a16:creationId xmlns:a16="http://schemas.microsoft.com/office/drawing/2014/main" id="{4B5980F9-A7B7-7DE7-65FD-745FC498DFDB}"/>
              </a:ext>
            </a:extLst>
          </p:cNvPr>
          <p:cNvSpPr txBox="1">
            <a:spLocks noGrp="1"/>
          </p:cNvSpPr>
          <p:nvPr>
            <p:ph type="title" hasCustomPrompt="1"/>
          </p:nvPr>
        </p:nvSpPr>
        <p:spPr>
          <a:xfrm>
            <a:off x="290212" y="295139"/>
            <a:ext cx="11607800" cy="386603"/>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73152" rIns="0" bIns="0"/>
          <a:lstStyle>
            <a:lvl1pPr>
              <a:defRPr sz="3500"/>
            </a:lvl1pPr>
          </a:lstStyle>
          <a:p>
            <a:r>
              <a:rPr lang="en-US"/>
              <a:t>4 column body</a:t>
            </a:r>
            <a:endParaRPr/>
          </a:p>
        </p:txBody>
      </p:sp>
      <p:sp>
        <p:nvSpPr>
          <p:cNvPr id="4" name="Text Placeholder 4">
            <a:extLst>
              <a:ext uri="{FF2B5EF4-FFF2-40B4-BE49-F238E27FC236}">
                <a16:creationId xmlns:a16="http://schemas.microsoft.com/office/drawing/2014/main" id="{6B78AFFA-760B-C379-5035-CB7ECAE05516}"/>
              </a:ext>
            </a:extLst>
          </p:cNvPr>
          <p:cNvSpPr>
            <a:spLocks noGrp="1"/>
          </p:cNvSpPr>
          <p:nvPr>
            <p:ph type="body" sz="quarter" idx="12"/>
          </p:nvPr>
        </p:nvSpPr>
        <p:spPr>
          <a:xfrm>
            <a:off x="3272031" y="1221441"/>
            <a:ext cx="2681094" cy="4938059"/>
          </a:xfrm>
          <a:prstGeom prst="rect">
            <a:avLst/>
          </a:prstGeom>
        </p:spPr>
        <p:txBody>
          <a:bodyPr/>
          <a:lstStyle>
            <a:lvl1pPr>
              <a:spcBef>
                <a:spcPts val="0"/>
              </a:spcBef>
              <a:defRPr sz="1500" b="0" i="0">
                <a:solidFill>
                  <a:schemeClr val="bg2"/>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2"/>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2"/>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2"/>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ext Placeholder 4">
            <a:extLst>
              <a:ext uri="{FF2B5EF4-FFF2-40B4-BE49-F238E27FC236}">
                <a16:creationId xmlns:a16="http://schemas.microsoft.com/office/drawing/2014/main" id="{376D964F-C8A1-C871-5753-80704C0AE4DC}"/>
              </a:ext>
            </a:extLst>
          </p:cNvPr>
          <p:cNvSpPr>
            <a:spLocks noGrp="1"/>
          </p:cNvSpPr>
          <p:nvPr>
            <p:ph type="body" sz="quarter" idx="13"/>
          </p:nvPr>
        </p:nvSpPr>
        <p:spPr>
          <a:xfrm>
            <a:off x="6250082" y="1221441"/>
            <a:ext cx="2679606" cy="4938059"/>
          </a:xfrm>
          <a:prstGeom prst="rect">
            <a:avLst/>
          </a:prstGeom>
        </p:spPr>
        <p:txBody>
          <a:bodyPr/>
          <a:lstStyle>
            <a:lvl1pPr>
              <a:spcBef>
                <a:spcPts val="0"/>
              </a:spcBef>
              <a:defRPr sz="1500" b="0" i="0">
                <a:solidFill>
                  <a:schemeClr val="bg2"/>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2"/>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2"/>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2"/>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BC3CC31F-CAF3-5950-1F6D-B721F038F566}"/>
              </a:ext>
            </a:extLst>
          </p:cNvPr>
          <p:cNvSpPr>
            <a:spLocks noGrp="1"/>
          </p:cNvSpPr>
          <p:nvPr>
            <p:ph type="body" sz="quarter" idx="14"/>
          </p:nvPr>
        </p:nvSpPr>
        <p:spPr>
          <a:xfrm>
            <a:off x="9219640" y="1221441"/>
            <a:ext cx="2686611" cy="4938059"/>
          </a:xfrm>
          <a:prstGeom prst="rect">
            <a:avLst/>
          </a:prstGeom>
        </p:spPr>
        <p:txBody>
          <a:bodyPr/>
          <a:lstStyle>
            <a:lvl1pPr>
              <a:spcBef>
                <a:spcPts val="0"/>
              </a:spcBef>
              <a:defRPr sz="1500" b="0" i="0">
                <a:solidFill>
                  <a:schemeClr val="bg2"/>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2"/>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2"/>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2"/>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949524342"/>
      </p:ext>
    </p:extLst>
  </p:cSld>
  <p:clrMapOvr>
    <a:masterClrMapping/>
  </p:clrMapOvr>
  <p:transition spd="med"/>
  <p:extLst>
    <p:ext uri="{DCECCB84-F9BA-43D5-87BE-67443E8EF086}">
      <p15:sldGuideLst xmlns:p15="http://schemas.microsoft.com/office/powerpoint/2012/main">
        <p15:guide id="2" orient="horz" pos="4656">
          <p15:clr>
            <a:srgbClr val="F26B43"/>
          </p15:clr>
        </p15:guide>
        <p15:guide id="3" orient="horz" pos="912">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2 intro text">
    <p:bg>
      <p:bgPr>
        <a:solidFill>
          <a:schemeClr val="tx1"/>
        </a:solidFill>
        <a:effectLst/>
      </p:bgPr>
    </p:bg>
    <p:spTree>
      <p:nvGrpSpPr>
        <p:cNvPr id="1" name=""/>
        <p:cNvGrpSpPr/>
        <p:nvPr/>
      </p:nvGrpSpPr>
      <p:grpSpPr>
        <a:xfrm>
          <a:off x="0" y="0"/>
          <a:ext cx="0" cy="0"/>
          <a:chOff x="0" y="0"/>
          <a:chExt cx="0" cy="0"/>
        </a:xfrm>
      </p:grpSpPr>
      <p:sp>
        <p:nvSpPr>
          <p:cNvPr id="3" name="Title Text">
            <a:extLst>
              <a:ext uri="{FF2B5EF4-FFF2-40B4-BE49-F238E27FC236}">
                <a16:creationId xmlns:a16="http://schemas.microsoft.com/office/drawing/2014/main" id="{4B5980F9-A7B7-7DE7-65FD-745FC498DFDB}"/>
              </a:ext>
            </a:extLst>
          </p:cNvPr>
          <p:cNvSpPr txBox="1">
            <a:spLocks noGrp="1"/>
          </p:cNvSpPr>
          <p:nvPr>
            <p:ph type="title" hasCustomPrompt="1"/>
          </p:nvPr>
        </p:nvSpPr>
        <p:spPr>
          <a:xfrm>
            <a:off x="290212" y="259124"/>
            <a:ext cx="4670726" cy="317686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73152" rIns="0" bIns="0"/>
          <a:lstStyle>
            <a:lvl1pPr>
              <a:lnSpc>
                <a:spcPct val="90000"/>
              </a:lnSpc>
              <a:defRPr/>
            </a:lvl1pPr>
          </a:lstStyle>
          <a:p>
            <a:r>
              <a:rPr lang="en-US"/>
              <a:t>Long title or </a:t>
            </a:r>
            <a:br>
              <a:rPr lang="en-US"/>
            </a:br>
            <a:r>
              <a:rPr lang="en-US"/>
              <a:t>large intro text</a:t>
            </a:r>
            <a:endParaRPr/>
          </a:p>
        </p:txBody>
      </p:sp>
      <p:sp>
        <p:nvSpPr>
          <p:cNvPr id="2" name="Text Placeholder 4">
            <a:extLst>
              <a:ext uri="{FF2B5EF4-FFF2-40B4-BE49-F238E27FC236}">
                <a16:creationId xmlns:a16="http://schemas.microsoft.com/office/drawing/2014/main" id="{376D964F-C8A1-C871-5753-80704C0AE4DC}"/>
              </a:ext>
            </a:extLst>
          </p:cNvPr>
          <p:cNvSpPr>
            <a:spLocks noGrp="1"/>
          </p:cNvSpPr>
          <p:nvPr>
            <p:ph type="body" sz="quarter" idx="13"/>
          </p:nvPr>
        </p:nvSpPr>
        <p:spPr>
          <a:xfrm>
            <a:off x="6250082" y="295140"/>
            <a:ext cx="2679606" cy="5864361"/>
          </a:xfrm>
          <a:prstGeom prst="rect">
            <a:avLst/>
          </a:prstGeom>
        </p:spPr>
        <p:txBody>
          <a:bodyPr/>
          <a:lstStyle>
            <a:lvl1pPr>
              <a:spcBef>
                <a:spcPts val="0"/>
              </a:spcBef>
              <a:defRPr sz="1500" b="0" i="0">
                <a:solidFill>
                  <a:schemeClr val="bg2"/>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2"/>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2"/>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2"/>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BC3CC31F-CAF3-5950-1F6D-B721F038F566}"/>
              </a:ext>
            </a:extLst>
          </p:cNvPr>
          <p:cNvSpPr>
            <a:spLocks noGrp="1"/>
          </p:cNvSpPr>
          <p:nvPr>
            <p:ph type="body" sz="quarter" idx="14"/>
          </p:nvPr>
        </p:nvSpPr>
        <p:spPr>
          <a:xfrm>
            <a:off x="9219640" y="295140"/>
            <a:ext cx="2686611" cy="5864361"/>
          </a:xfrm>
          <a:prstGeom prst="rect">
            <a:avLst/>
          </a:prstGeom>
        </p:spPr>
        <p:txBody>
          <a:bodyPr/>
          <a:lstStyle>
            <a:lvl1pPr>
              <a:spcBef>
                <a:spcPts val="0"/>
              </a:spcBef>
              <a:defRPr sz="1500" b="0" i="0">
                <a:solidFill>
                  <a:schemeClr val="bg2"/>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2"/>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2"/>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2"/>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599626542"/>
      </p:ext>
    </p:extLst>
  </p:cSld>
  <p:clrMapOvr>
    <a:masterClrMapping/>
  </p:clrMapOvr>
  <p:transition spd="med"/>
  <p:extLst>
    <p:ext uri="{DCECCB84-F9BA-43D5-87BE-67443E8EF086}">
      <p15:sldGuideLst xmlns:p15="http://schemas.microsoft.com/office/powerpoint/2012/main">
        <p15:guide id="2" orient="horz" pos="4656">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 column">
    <p:bg>
      <p:bgPr>
        <a:solidFill>
          <a:schemeClr val="tx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95470" y="1221441"/>
            <a:ext cx="2681094" cy="4938059"/>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itle Text">
            <a:extLst>
              <a:ext uri="{FF2B5EF4-FFF2-40B4-BE49-F238E27FC236}">
                <a16:creationId xmlns:a16="http://schemas.microsoft.com/office/drawing/2014/main" id="{4B5980F9-A7B7-7DE7-65FD-745FC498DFDB}"/>
              </a:ext>
            </a:extLst>
          </p:cNvPr>
          <p:cNvSpPr txBox="1">
            <a:spLocks noGrp="1"/>
          </p:cNvSpPr>
          <p:nvPr>
            <p:ph type="title" hasCustomPrompt="1"/>
          </p:nvPr>
        </p:nvSpPr>
        <p:spPr>
          <a:xfrm>
            <a:off x="290212" y="295139"/>
            <a:ext cx="11607800" cy="38660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73152" rIns="0" bIns="0"/>
          <a:lstStyle>
            <a:lvl1pPr>
              <a:defRPr sz="3500"/>
            </a:lvl1pPr>
          </a:lstStyle>
          <a:p>
            <a:r>
              <a:rPr lang="en-US"/>
              <a:t>4 column body</a:t>
            </a:r>
            <a:endParaRPr/>
          </a:p>
        </p:txBody>
      </p:sp>
      <p:sp>
        <p:nvSpPr>
          <p:cNvPr id="4" name="Text Placeholder 4">
            <a:extLst>
              <a:ext uri="{FF2B5EF4-FFF2-40B4-BE49-F238E27FC236}">
                <a16:creationId xmlns:a16="http://schemas.microsoft.com/office/drawing/2014/main" id="{6B78AFFA-760B-C379-5035-CB7ECAE05516}"/>
              </a:ext>
            </a:extLst>
          </p:cNvPr>
          <p:cNvSpPr>
            <a:spLocks noGrp="1"/>
          </p:cNvSpPr>
          <p:nvPr>
            <p:ph type="body" sz="quarter" idx="12"/>
          </p:nvPr>
        </p:nvSpPr>
        <p:spPr>
          <a:xfrm>
            <a:off x="3272031" y="1221441"/>
            <a:ext cx="2681094" cy="4938059"/>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ext Placeholder 4">
            <a:extLst>
              <a:ext uri="{FF2B5EF4-FFF2-40B4-BE49-F238E27FC236}">
                <a16:creationId xmlns:a16="http://schemas.microsoft.com/office/drawing/2014/main" id="{376D964F-C8A1-C871-5753-80704C0AE4DC}"/>
              </a:ext>
            </a:extLst>
          </p:cNvPr>
          <p:cNvSpPr>
            <a:spLocks noGrp="1"/>
          </p:cNvSpPr>
          <p:nvPr>
            <p:ph type="body" sz="quarter" idx="13"/>
          </p:nvPr>
        </p:nvSpPr>
        <p:spPr>
          <a:xfrm>
            <a:off x="6250082" y="1221441"/>
            <a:ext cx="2679606" cy="4938059"/>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BC3CC31F-CAF3-5950-1F6D-B721F038F566}"/>
              </a:ext>
            </a:extLst>
          </p:cNvPr>
          <p:cNvSpPr>
            <a:spLocks noGrp="1"/>
          </p:cNvSpPr>
          <p:nvPr>
            <p:ph type="body" sz="quarter" idx="14"/>
          </p:nvPr>
        </p:nvSpPr>
        <p:spPr>
          <a:xfrm>
            <a:off x="9219640" y="1221441"/>
            <a:ext cx="2686611" cy="4938059"/>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584363634"/>
      </p:ext>
    </p:extLst>
  </p:cSld>
  <p:clrMapOvr>
    <a:masterClrMapping/>
  </p:clrMapOvr>
  <p:transition spd="med"/>
  <p:extLst>
    <p:ext uri="{DCECCB84-F9BA-43D5-87BE-67443E8EF086}">
      <p15:sldGuideLst xmlns:p15="http://schemas.microsoft.com/office/powerpoint/2012/main">
        <p15:guide id="2" orient="horz" pos="4656">
          <p15:clr>
            <a:srgbClr val="F26B43"/>
          </p15:clr>
        </p15:guide>
        <p15:guide id="3" orient="horz" pos="912">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Right color block">
    <p:bg>
      <p:bgPr>
        <a:solidFill>
          <a:schemeClr val="tx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95470" y="1221441"/>
            <a:ext cx="3673281" cy="4938059"/>
          </a:xfrm>
          <a:prstGeom prst="rect">
            <a:avLst/>
          </a:prstGeom>
        </p:spPr>
        <p:txBody>
          <a:bodyPr/>
          <a:lstStyle>
            <a:lvl1pPr>
              <a:spcBef>
                <a:spcPts val="0"/>
              </a:spcBef>
              <a:defRPr sz="1500" b="0" i="0">
                <a:solidFill>
                  <a:schemeClr val="bg2"/>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2"/>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2"/>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2"/>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itle Text">
            <a:extLst>
              <a:ext uri="{FF2B5EF4-FFF2-40B4-BE49-F238E27FC236}">
                <a16:creationId xmlns:a16="http://schemas.microsoft.com/office/drawing/2014/main" id="{4B5980F9-A7B7-7DE7-65FD-745FC498DFDB}"/>
              </a:ext>
            </a:extLst>
          </p:cNvPr>
          <p:cNvSpPr txBox="1">
            <a:spLocks noGrp="1"/>
          </p:cNvSpPr>
          <p:nvPr>
            <p:ph type="title" hasCustomPrompt="1"/>
          </p:nvPr>
        </p:nvSpPr>
        <p:spPr>
          <a:xfrm>
            <a:off x="290211" y="295139"/>
            <a:ext cx="7647289" cy="386603"/>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73152" rIns="0" bIns="0"/>
          <a:lstStyle/>
          <a:p>
            <a:r>
              <a:rPr lang="en-US"/>
              <a:t>Right color block</a:t>
            </a:r>
            <a:endParaRPr/>
          </a:p>
        </p:txBody>
      </p:sp>
      <p:sp>
        <p:nvSpPr>
          <p:cNvPr id="7" name="Round Single Corner Rectangle 6">
            <a:extLst>
              <a:ext uri="{FF2B5EF4-FFF2-40B4-BE49-F238E27FC236}">
                <a16:creationId xmlns:a16="http://schemas.microsoft.com/office/drawing/2014/main" id="{92499C85-30F2-6EA7-FA46-49F8397A724D}"/>
              </a:ext>
            </a:extLst>
          </p:cNvPr>
          <p:cNvSpPr/>
          <p:nvPr userDrawn="1"/>
        </p:nvSpPr>
        <p:spPr bwMode="auto">
          <a:xfrm flipH="1">
            <a:off x="8232971" y="0"/>
            <a:ext cx="3959029" cy="6858000"/>
          </a:xfrm>
          <a:prstGeom prst="round1Rect">
            <a:avLst>
              <a:gd name="adj" fmla="val 15209"/>
            </a:avLst>
          </a:prstGeom>
          <a:solidFill>
            <a:schemeClr val="tx2"/>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76200" tIns="76200" rIns="76200" bIns="76200" numCol="1" rtlCol="0" anchor="t" anchorCtr="0" compatLnSpc="1">
            <a:prstTxWarp prst="textNoShape">
              <a:avLst/>
            </a:prstTxWarp>
          </a:bodyPr>
          <a:lstStyle/>
          <a:p>
            <a:pPr marL="0" marR="0" indent="0" algn="l" defTabSz="761970" rtl="0" eaLnBrk="1" fontAlgn="base" latinLnBrk="0" hangingPunct="1">
              <a:lnSpc>
                <a:spcPct val="100000"/>
              </a:lnSpc>
              <a:spcBef>
                <a:spcPct val="0"/>
              </a:spcBef>
              <a:spcAft>
                <a:spcPct val="0"/>
              </a:spcAft>
              <a:buClrTx/>
              <a:buSzTx/>
              <a:buFont typeface="IBM Plex Sans Light"/>
              <a:buNone/>
              <a:tabLst/>
            </a:pPr>
            <a:endParaRPr kumimoji="0" lang="en-US" sz="1167" b="0" i="0" u="none" strike="noStrike" cap="none" normalizeH="0" baseline="0">
              <a:ln>
                <a:noFill/>
              </a:ln>
              <a:solidFill>
                <a:schemeClr val="bg1"/>
              </a:solidFill>
              <a:effectLst/>
              <a:latin typeface="+mn-lt"/>
            </a:endParaRPr>
          </a:p>
        </p:txBody>
      </p:sp>
      <p:sp>
        <p:nvSpPr>
          <p:cNvPr id="8" name="Text Placeholder 3">
            <a:extLst>
              <a:ext uri="{FF2B5EF4-FFF2-40B4-BE49-F238E27FC236}">
                <a16:creationId xmlns:a16="http://schemas.microsoft.com/office/drawing/2014/main" id="{33C5F6AC-C223-7C2D-70E0-C185CE6DC6CE}"/>
              </a:ext>
            </a:extLst>
          </p:cNvPr>
          <p:cNvSpPr txBox="1">
            <a:spLocks/>
          </p:cNvSpPr>
          <p:nvPr userDrawn="1"/>
        </p:nvSpPr>
        <p:spPr>
          <a:xfrm>
            <a:off x="11438259" y="6458629"/>
            <a:ext cx="462473" cy="150303"/>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Outfit Light" pitchFamily="2" charset="0"/>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r" defTabSz="1218948" rtl="0" eaLnBrk="1" fontAlgn="auto" latinLnBrk="0" hangingPunct="1">
              <a:lnSpc>
                <a:spcPct val="110000"/>
              </a:lnSpc>
              <a:spcBef>
                <a:spcPts val="0"/>
              </a:spcBef>
              <a:spcAft>
                <a:spcPts val="0"/>
              </a:spcAft>
              <a:buClrTx/>
              <a:buSzTx/>
              <a:buFontTx/>
              <a:buNone/>
              <a:tabLst/>
              <a:defRPr/>
            </a:pPr>
            <a:fld id="{64F0821C-65D3-DD4D-8DB2-745946DB9115}" type="slidenum">
              <a:rPr kumimoji="0" lang="en-US" sz="917" b="0" i="0" u="none" strike="noStrike" kern="0" cap="none" spc="0" normalizeH="0" baseline="0" noProof="0" smtClean="0">
                <a:ln>
                  <a:noFill/>
                </a:ln>
                <a:solidFill>
                  <a:srgbClr val="000000"/>
                </a:solidFill>
                <a:effectLst/>
                <a:uLnTx/>
                <a:uFillTx/>
                <a:latin typeface="Aptos" panose="020B0004020202020204" pitchFamily="34" charset="0"/>
                <a:ea typeface="+mj-ea"/>
                <a:cs typeface="+mj-cs"/>
                <a:sym typeface="IBM Plex Sans Light"/>
              </a:rPr>
              <a:pPr marL="0" marR="0" lvl="0" indent="0" algn="r" defTabSz="1218948" rtl="0" eaLnBrk="1" fontAlgn="auto" latinLnBrk="0" hangingPunct="1">
                <a:lnSpc>
                  <a:spcPct val="110000"/>
                </a:lnSpc>
                <a:spcBef>
                  <a:spcPts val="0"/>
                </a:spcBef>
                <a:spcAft>
                  <a:spcPts val="0"/>
                </a:spcAft>
                <a:buClrTx/>
                <a:buSzTx/>
                <a:buFontTx/>
                <a:buNone/>
                <a:tabLst/>
                <a:defRPr/>
              </a:pPr>
              <a:t>‹#›</a:t>
            </a:fld>
            <a:endParaRPr kumimoji="0" lang="en-US" sz="917" b="0" i="0" u="none" strike="noStrike" kern="0" cap="none" spc="0" normalizeH="0" baseline="0" noProof="0">
              <a:ln>
                <a:noFill/>
              </a:ln>
              <a:solidFill>
                <a:srgbClr val="000000"/>
              </a:solidFill>
              <a:effectLst/>
              <a:uLnTx/>
              <a:uFillTx/>
              <a:latin typeface="Aptos" panose="020B0004020202020204" pitchFamily="34" charset="0"/>
              <a:ea typeface="+mj-ea"/>
              <a:cs typeface="+mj-cs"/>
              <a:sym typeface="IBM Plex Sans Light"/>
            </a:endParaRPr>
          </a:p>
        </p:txBody>
      </p:sp>
      <p:pic>
        <p:nvPicPr>
          <p:cNvPr id="9" name="Graphic 8">
            <a:extLst>
              <a:ext uri="{FF2B5EF4-FFF2-40B4-BE49-F238E27FC236}">
                <a16:creationId xmlns:a16="http://schemas.microsoft.com/office/drawing/2014/main" id="{2C2E667E-748C-1FD6-BBC9-A8FCDA06743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543540" y="6495499"/>
            <a:ext cx="167269" cy="81501"/>
          </a:xfrm>
          <a:prstGeom prst="rect">
            <a:avLst/>
          </a:prstGeom>
        </p:spPr>
      </p:pic>
      <p:sp>
        <p:nvSpPr>
          <p:cNvPr id="10" name="Text Placeholder 4">
            <a:extLst>
              <a:ext uri="{FF2B5EF4-FFF2-40B4-BE49-F238E27FC236}">
                <a16:creationId xmlns:a16="http://schemas.microsoft.com/office/drawing/2014/main" id="{D3170F25-7039-028E-4417-CFD9A7247BEF}"/>
              </a:ext>
            </a:extLst>
          </p:cNvPr>
          <p:cNvSpPr>
            <a:spLocks noGrp="1"/>
          </p:cNvSpPr>
          <p:nvPr>
            <p:ph type="body" sz="quarter" idx="12"/>
          </p:nvPr>
        </p:nvSpPr>
        <p:spPr>
          <a:xfrm>
            <a:off x="4264221" y="1221441"/>
            <a:ext cx="3673279" cy="4938059"/>
          </a:xfrm>
          <a:prstGeom prst="rect">
            <a:avLst/>
          </a:prstGeom>
        </p:spPr>
        <p:txBody>
          <a:bodyPr/>
          <a:lstStyle>
            <a:lvl1pPr>
              <a:spcBef>
                <a:spcPts val="0"/>
              </a:spcBef>
              <a:defRPr sz="1500" b="0" i="0">
                <a:solidFill>
                  <a:schemeClr val="bg2"/>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2"/>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2"/>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2"/>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343385539"/>
      </p:ext>
    </p:extLst>
  </p:cSld>
  <p:clrMapOvr>
    <a:masterClrMapping/>
  </p:clrMapOvr>
  <p:transition spd="med"/>
  <p:extLst>
    <p:ext uri="{DCECCB84-F9BA-43D5-87BE-67443E8EF086}">
      <p15:sldGuideLst xmlns:p15="http://schemas.microsoft.com/office/powerpoint/2012/main">
        <p15:guide id="2" orient="horz" pos="4656">
          <p15:clr>
            <a:srgbClr val="F26B43"/>
          </p15:clr>
        </p15:guide>
        <p15:guide id="3" orient="horz" pos="912">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eft color block">
    <p:bg>
      <p:bgPr>
        <a:solidFill>
          <a:schemeClr val="tx1"/>
        </a:solidFill>
        <a:effectLst/>
      </p:bgPr>
    </p:bg>
    <p:spTree>
      <p:nvGrpSpPr>
        <p:cNvPr id="1" name=""/>
        <p:cNvGrpSpPr/>
        <p:nvPr/>
      </p:nvGrpSpPr>
      <p:grpSpPr>
        <a:xfrm>
          <a:off x="0" y="0"/>
          <a:ext cx="0" cy="0"/>
          <a:chOff x="0" y="0"/>
          <a:chExt cx="0" cy="0"/>
        </a:xfrm>
      </p:grpSpPr>
      <p:sp>
        <p:nvSpPr>
          <p:cNvPr id="7" name="Round Single Corner Rectangle 6">
            <a:extLst>
              <a:ext uri="{FF2B5EF4-FFF2-40B4-BE49-F238E27FC236}">
                <a16:creationId xmlns:a16="http://schemas.microsoft.com/office/drawing/2014/main" id="{92499C85-30F2-6EA7-FA46-49F8397A724D}"/>
              </a:ext>
            </a:extLst>
          </p:cNvPr>
          <p:cNvSpPr/>
          <p:nvPr userDrawn="1"/>
        </p:nvSpPr>
        <p:spPr bwMode="auto">
          <a:xfrm>
            <a:off x="-1488" y="0"/>
            <a:ext cx="3970238" cy="6858000"/>
          </a:xfrm>
          <a:prstGeom prst="round1Rect">
            <a:avLst>
              <a:gd name="adj" fmla="val 14631"/>
            </a:avLst>
          </a:prstGeom>
          <a:solidFill>
            <a:schemeClr val="tx2"/>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76200" tIns="76200" rIns="76200" bIns="76200" numCol="1" rtlCol="0" anchor="t" anchorCtr="0" compatLnSpc="1">
            <a:prstTxWarp prst="textNoShape">
              <a:avLst/>
            </a:prstTxWarp>
          </a:bodyPr>
          <a:lstStyle/>
          <a:p>
            <a:pPr marL="0" marR="0" indent="0" algn="l" defTabSz="761970" rtl="0" eaLnBrk="1" fontAlgn="base" latinLnBrk="0" hangingPunct="1">
              <a:lnSpc>
                <a:spcPct val="100000"/>
              </a:lnSpc>
              <a:spcBef>
                <a:spcPct val="0"/>
              </a:spcBef>
              <a:spcAft>
                <a:spcPct val="0"/>
              </a:spcAft>
              <a:buClrTx/>
              <a:buSzTx/>
              <a:buFont typeface="IBM Plex Sans Light"/>
              <a:buNone/>
              <a:tabLst/>
            </a:pPr>
            <a:endParaRPr kumimoji="0" lang="en-US" sz="1167" b="0" i="0" u="none" strike="noStrike" cap="none" normalizeH="0" baseline="0">
              <a:ln>
                <a:noFill/>
              </a:ln>
              <a:solidFill>
                <a:schemeClr val="bg1"/>
              </a:solidFill>
              <a:effectLst/>
              <a:latin typeface="+mn-lt"/>
            </a:endParaRPr>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95469" y="1221441"/>
            <a:ext cx="3413678" cy="4938059"/>
          </a:xfrm>
          <a:prstGeom prst="rect">
            <a:avLst/>
          </a:prstGeom>
        </p:spPr>
        <p:txBody>
          <a:bodyPr/>
          <a:lstStyle>
            <a:lvl1pPr>
              <a:spcBef>
                <a:spcPts val="0"/>
              </a:spcBef>
              <a:defRPr sz="1500" b="0" i="0">
                <a:solidFill>
                  <a:schemeClr val="bg2"/>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2"/>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2"/>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2"/>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itle Text">
            <a:extLst>
              <a:ext uri="{FF2B5EF4-FFF2-40B4-BE49-F238E27FC236}">
                <a16:creationId xmlns:a16="http://schemas.microsoft.com/office/drawing/2014/main" id="{4B5980F9-A7B7-7DE7-65FD-745FC498DFDB}"/>
              </a:ext>
            </a:extLst>
          </p:cNvPr>
          <p:cNvSpPr txBox="1">
            <a:spLocks noGrp="1"/>
          </p:cNvSpPr>
          <p:nvPr>
            <p:ph type="title" hasCustomPrompt="1"/>
          </p:nvPr>
        </p:nvSpPr>
        <p:spPr>
          <a:xfrm>
            <a:off x="290211" y="295139"/>
            <a:ext cx="3420371" cy="386603"/>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73152" rIns="0" bIns="0"/>
          <a:lstStyle/>
          <a:p>
            <a:r>
              <a:rPr lang="en-US"/>
              <a:t>Left color block</a:t>
            </a:r>
            <a:endParaRPr/>
          </a:p>
        </p:txBody>
      </p:sp>
      <p:sp>
        <p:nvSpPr>
          <p:cNvPr id="4" name="Text Placeholder 4">
            <a:extLst>
              <a:ext uri="{FF2B5EF4-FFF2-40B4-BE49-F238E27FC236}">
                <a16:creationId xmlns:a16="http://schemas.microsoft.com/office/drawing/2014/main" id="{6B78AFFA-760B-C379-5035-CB7ECAE05516}"/>
              </a:ext>
            </a:extLst>
          </p:cNvPr>
          <p:cNvSpPr>
            <a:spLocks noGrp="1"/>
          </p:cNvSpPr>
          <p:nvPr>
            <p:ph type="body" sz="quarter" idx="12"/>
          </p:nvPr>
        </p:nvSpPr>
        <p:spPr>
          <a:xfrm>
            <a:off x="4254501" y="1221441"/>
            <a:ext cx="7651749" cy="4938059"/>
          </a:xfrm>
          <a:prstGeom prst="rect">
            <a:avLst/>
          </a:prstGeom>
        </p:spPr>
        <p:txBody>
          <a:bodyPr/>
          <a:lstStyle>
            <a:lvl1pPr>
              <a:spcBef>
                <a:spcPts val="0"/>
              </a:spcBef>
              <a:defRPr sz="1500" b="0" i="0">
                <a:solidFill>
                  <a:schemeClr val="bg2"/>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2"/>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2"/>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2"/>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A8FAF656-3110-CFBB-DE50-C13ECC3BA27C}"/>
              </a:ext>
            </a:extLst>
          </p:cNvPr>
          <p:cNvSpPr txBox="1">
            <a:spLocks/>
          </p:cNvSpPr>
          <p:nvPr userDrawn="1"/>
        </p:nvSpPr>
        <p:spPr>
          <a:xfrm>
            <a:off x="288889" y="6458629"/>
            <a:ext cx="4088233" cy="150303"/>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Outfit Light" pitchFamily="2" charset="0"/>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1218948" rtl="0" eaLnBrk="1" fontAlgn="auto" latinLnBrk="0" hangingPunct="1">
              <a:lnSpc>
                <a:spcPct val="110000"/>
              </a:lnSpc>
              <a:spcBef>
                <a:spcPts val="0"/>
              </a:spcBef>
              <a:spcAft>
                <a:spcPts val="0"/>
              </a:spcAft>
              <a:buClrTx/>
              <a:buSzTx/>
              <a:buFontTx/>
              <a:buNone/>
              <a:tabLst/>
              <a:defRPr/>
            </a:pPr>
            <a:r>
              <a:rPr kumimoji="0" lang="en-US" sz="917" b="0" i="0" u="none" strike="noStrike" kern="0" cap="none" spc="0" normalizeH="0" baseline="0" noProof="0">
                <a:ln>
                  <a:noFill/>
                </a:ln>
                <a:solidFill>
                  <a:srgbClr val="000000"/>
                </a:solidFill>
                <a:effectLst/>
                <a:uLnTx/>
                <a:uFillTx/>
                <a:latin typeface="Aptos Light" panose="020B0004020202020204" pitchFamily="34" charset="0"/>
                <a:ea typeface="+mj-ea"/>
                <a:cs typeface="+mj-cs"/>
                <a:sym typeface="IBM Plex Sans Light"/>
              </a:rPr>
              <a:t>Confidential</a:t>
            </a:r>
            <a:r>
              <a:rPr kumimoji="0" lang="en-US" sz="917" b="0" i="0" u="none" strike="noStrike" kern="0" cap="none" spc="0" normalizeH="0" baseline="0" noProof="0">
                <a:ln>
                  <a:noFill/>
                </a:ln>
                <a:solidFill>
                  <a:srgbClr val="2CC84D"/>
                </a:solidFill>
                <a:effectLst/>
                <a:uLnTx/>
                <a:uFillTx/>
                <a:latin typeface="Aptos" panose="020B0004020202020204" pitchFamily="34" charset="0"/>
                <a:ea typeface="+mj-ea"/>
                <a:cs typeface="+mj-cs"/>
                <a:sym typeface="IBM Plex Sans Light"/>
              </a:rPr>
              <a:t>  </a:t>
            </a:r>
            <a:r>
              <a:rPr kumimoji="0" lang="en-US" sz="917" b="0" i="0" u="none" strike="noStrike" kern="0" cap="none" spc="0" normalizeH="0" baseline="0" noProof="0">
                <a:ln>
                  <a:noFill/>
                </a:ln>
                <a:solidFill>
                  <a:schemeClr val="accent1"/>
                </a:solidFill>
                <a:effectLst/>
                <a:uLnTx/>
                <a:uFillTx/>
                <a:latin typeface="Aptos" panose="020B0004020202020204" pitchFamily="34" charset="0"/>
                <a:ea typeface="+mj-ea"/>
                <a:cs typeface="+mj-cs"/>
                <a:sym typeface="IBM Plex Sans Light"/>
              </a:rPr>
              <a:t>/</a:t>
            </a:r>
            <a:r>
              <a:rPr kumimoji="0" lang="en-US" sz="917" b="0" i="0" u="none" strike="noStrike" kern="0" cap="none" spc="0" normalizeH="0" baseline="0" noProof="0">
                <a:ln>
                  <a:noFill/>
                </a:ln>
                <a:solidFill>
                  <a:srgbClr val="2CC84D"/>
                </a:solidFill>
                <a:effectLst/>
                <a:uLnTx/>
                <a:uFillTx/>
                <a:latin typeface="Aptos" panose="020B0004020202020204" pitchFamily="34" charset="0"/>
                <a:ea typeface="+mj-ea"/>
                <a:cs typeface="+mj-cs"/>
                <a:sym typeface="IBM Plex Sans Light"/>
              </a:rPr>
              <a:t>  </a:t>
            </a:r>
            <a:r>
              <a:rPr kumimoji="0" lang="en-US" sz="917" b="0" i="0" u="none" strike="noStrike" kern="0" cap="none" spc="0" normalizeH="0" baseline="0" noProof="0">
                <a:ln>
                  <a:noFill/>
                </a:ln>
                <a:solidFill>
                  <a:srgbClr val="000000"/>
                </a:solidFill>
                <a:effectLst/>
                <a:uLnTx/>
                <a:uFillTx/>
                <a:latin typeface="Aptos Light" panose="020B0004020202020204" pitchFamily="34" charset="0"/>
                <a:ea typeface="+mj-ea"/>
                <a:cs typeface="+mj-cs"/>
                <a:sym typeface="IBM Plex Sans Light"/>
              </a:rPr>
              <a:t>Brillio</a:t>
            </a:r>
          </a:p>
        </p:txBody>
      </p:sp>
    </p:spTree>
    <p:extLst>
      <p:ext uri="{BB962C8B-B14F-4D97-AF65-F5344CB8AC3E}">
        <p14:creationId xmlns:p14="http://schemas.microsoft.com/office/powerpoint/2010/main" val="1996400725"/>
      </p:ext>
    </p:extLst>
  </p:cSld>
  <p:clrMapOvr>
    <a:masterClrMapping/>
  </p:clrMapOvr>
  <p:transition spd="med"/>
  <p:extLst>
    <p:ext uri="{DCECCB84-F9BA-43D5-87BE-67443E8EF086}">
      <p15:sldGuideLst xmlns:p15="http://schemas.microsoft.com/office/powerpoint/2012/main">
        <p15:guide id="2" orient="horz" pos="4656">
          <p15:clr>
            <a:srgbClr val="F26B43"/>
          </p15:clr>
        </p15:guide>
        <p15:guide id="3" orient="horz" pos="912">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Half color block">
    <p:bg>
      <p:bgPr>
        <a:solidFill>
          <a:schemeClr val="tx1"/>
        </a:solidFill>
        <a:effectLst/>
      </p:bgPr>
    </p:bg>
    <p:spTree>
      <p:nvGrpSpPr>
        <p:cNvPr id="1" name=""/>
        <p:cNvGrpSpPr/>
        <p:nvPr/>
      </p:nvGrpSpPr>
      <p:grpSpPr>
        <a:xfrm>
          <a:off x="0" y="0"/>
          <a:ext cx="0" cy="0"/>
          <a:chOff x="0" y="0"/>
          <a:chExt cx="0" cy="0"/>
        </a:xfrm>
      </p:grpSpPr>
      <p:sp>
        <p:nvSpPr>
          <p:cNvPr id="7" name="Round Single Corner Rectangle 6">
            <a:extLst>
              <a:ext uri="{FF2B5EF4-FFF2-40B4-BE49-F238E27FC236}">
                <a16:creationId xmlns:a16="http://schemas.microsoft.com/office/drawing/2014/main" id="{92499C85-30F2-6EA7-FA46-49F8397A724D}"/>
              </a:ext>
            </a:extLst>
          </p:cNvPr>
          <p:cNvSpPr/>
          <p:nvPr userDrawn="1"/>
        </p:nvSpPr>
        <p:spPr bwMode="auto">
          <a:xfrm flipH="1">
            <a:off x="6096000" y="0"/>
            <a:ext cx="6096000" cy="6858000"/>
          </a:xfrm>
          <a:prstGeom prst="round1Rect">
            <a:avLst>
              <a:gd name="adj" fmla="val 9091"/>
            </a:avLst>
          </a:prstGeom>
          <a:solidFill>
            <a:schemeClr val="tx2"/>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76200" tIns="76200" rIns="76200" bIns="76200" numCol="1" rtlCol="0" anchor="t" anchorCtr="0" compatLnSpc="1">
            <a:prstTxWarp prst="textNoShape">
              <a:avLst/>
            </a:prstTxWarp>
          </a:bodyPr>
          <a:lstStyle/>
          <a:p>
            <a:pPr marL="0" marR="0" indent="0" algn="l" defTabSz="761970" rtl="0" eaLnBrk="1" fontAlgn="base" latinLnBrk="0" hangingPunct="1">
              <a:lnSpc>
                <a:spcPct val="100000"/>
              </a:lnSpc>
              <a:spcBef>
                <a:spcPct val="0"/>
              </a:spcBef>
              <a:spcAft>
                <a:spcPct val="0"/>
              </a:spcAft>
              <a:buClrTx/>
              <a:buSzTx/>
              <a:buFont typeface="IBM Plex Sans Light"/>
              <a:buNone/>
              <a:tabLst/>
            </a:pPr>
            <a:endParaRPr kumimoji="0" lang="en-US" sz="1167" b="0" i="0" u="none" strike="noStrike" cap="none" normalizeH="0" baseline="0">
              <a:ln>
                <a:noFill/>
              </a:ln>
              <a:solidFill>
                <a:schemeClr val="bg1"/>
              </a:solidFill>
              <a:effectLst/>
              <a:latin typeface="+mn-lt"/>
            </a:endParaRPr>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95470" y="1221441"/>
            <a:ext cx="5520039" cy="4938059"/>
          </a:xfrm>
          <a:prstGeom prst="rect">
            <a:avLst/>
          </a:prstGeom>
        </p:spPr>
        <p:txBody>
          <a:bodyPr/>
          <a:lstStyle>
            <a:lvl1pPr>
              <a:spcBef>
                <a:spcPts val="0"/>
              </a:spcBef>
              <a:defRPr sz="1500" b="0" i="0">
                <a:solidFill>
                  <a:schemeClr val="bg2"/>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2"/>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2"/>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2"/>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itle Text">
            <a:extLst>
              <a:ext uri="{FF2B5EF4-FFF2-40B4-BE49-F238E27FC236}">
                <a16:creationId xmlns:a16="http://schemas.microsoft.com/office/drawing/2014/main" id="{4B5980F9-A7B7-7DE7-65FD-745FC498DFDB}"/>
              </a:ext>
            </a:extLst>
          </p:cNvPr>
          <p:cNvSpPr txBox="1">
            <a:spLocks noGrp="1"/>
          </p:cNvSpPr>
          <p:nvPr>
            <p:ph type="title" hasCustomPrompt="1"/>
          </p:nvPr>
        </p:nvSpPr>
        <p:spPr>
          <a:xfrm>
            <a:off x="290211" y="295139"/>
            <a:ext cx="5520039" cy="386603"/>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73152" rIns="0" bIns="0"/>
          <a:lstStyle/>
          <a:p>
            <a:r>
              <a:rPr lang="en-US"/>
              <a:t>Half color block</a:t>
            </a:r>
            <a:endParaRPr/>
          </a:p>
        </p:txBody>
      </p:sp>
      <p:sp>
        <p:nvSpPr>
          <p:cNvPr id="2" name="Text Placeholder 4">
            <a:extLst>
              <a:ext uri="{FF2B5EF4-FFF2-40B4-BE49-F238E27FC236}">
                <a16:creationId xmlns:a16="http://schemas.microsoft.com/office/drawing/2014/main" id="{376D964F-C8A1-C871-5753-80704C0AE4DC}"/>
              </a:ext>
            </a:extLst>
          </p:cNvPr>
          <p:cNvSpPr>
            <a:spLocks noGrp="1"/>
          </p:cNvSpPr>
          <p:nvPr>
            <p:ph type="body" sz="quarter" idx="13"/>
          </p:nvPr>
        </p:nvSpPr>
        <p:spPr>
          <a:xfrm>
            <a:off x="6381751" y="1221441"/>
            <a:ext cx="5524500" cy="4938059"/>
          </a:xfrm>
          <a:prstGeom prst="rect">
            <a:avLst/>
          </a:prstGeom>
        </p:spPr>
        <p:txBody>
          <a:bodyPr/>
          <a:lstStyle>
            <a:lvl1pPr>
              <a:spcBef>
                <a:spcPts val="0"/>
              </a:spcBef>
              <a:defRPr sz="1500" b="0" i="0">
                <a:solidFill>
                  <a:schemeClr val="bg2"/>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2"/>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2"/>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2"/>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3">
            <a:extLst>
              <a:ext uri="{FF2B5EF4-FFF2-40B4-BE49-F238E27FC236}">
                <a16:creationId xmlns:a16="http://schemas.microsoft.com/office/drawing/2014/main" id="{97CF5AB9-188C-F7FE-47D0-616D908F404A}"/>
              </a:ext>
            </a:extLst>
          </p:cNvPr>
          <p:cNvSpPr txBox="1">
            <a:spLocks/>
          </p:cNvSpPr>
          <p:nvPr userDrawn="1"/>
        </p:nvSpPr>
        <p:spPr>
          <a:xfrm>
            <a:off x="11438259" y="6458629"/>
            <a:ext cx="462473" cy="150303"/>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Outfit Light" pitchFamily="2" charset="0"/>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r" defTabSz="1218948" rtl="0" eaLnBrk="1" fontAlgn="auto" latinLnBrk="0" hangingPunct="1">
              <a:lnSpc>
                <a:spcPct val="110000"/>
              </a:lnSpc>
              <a:spcBef>
                <a:spcPts val="0"/>
              </a:spcBef>
              <a:spcAft>
                <a:spcPts val="0"/>
              </a:spcAft>
              <a:buClrTx/>
              <a:buSzTx/>
              <a:buFontTx/>
              <a:buNone/>
              <a:tabLst/>
              <a:defRPr/>
            </a:pPr>
            <a:fld id="{64F0821C-65D3-DD4D-8DB2-745946DB9115}" type="slidenum">
              <a:rPr kumimoji="0" lang="en-US" sz="917" b="0" i="0" u="none" strike="noStrike" kern="0" cap="none" spc="0" normalizeH="0" baseline="0" noProof="0" smtClean="0">
                <a:ln>
                  <a:noFill/>
                </a:ln>
                <a:solidFill>
                  <a:srgbClr val="000000"/>
                </a:solidFill>
                <a:effectLst/>
                <a:uLnTx/>
                <a:uFillTx/>
                <a:latin typeface="Aptos" panose="020B0004020202020204" pitchFamily="34" charset="0"/>
                <a:ea typeface="+mj-ea"/>
                <a:cs typeface="+mj-cs"/>
                <a:sym typeface="IBM Plex Sans Light"/>
              </a:rPr>
              <a:pPr marL="0" marR="0" lvl="0" indent="0" algn="r" defTabSz="1218948" rtl="0" eaLnBrk="1" fontAlgn="auto" latinLnBrk="0" hangingPunct="1">
                <a:lnSpc>
                  <a:spcPct val="110000"/>
                </a:lnSpc>
                <a:spcBef>
                  <a:spcPts val="0"/>
                </a:spcBef>
                <a:spcAft>
                  <a:spcPts val="0"/>
                </a:spcAft>
                <a:buClrTx/>
                <a:buSzTx/>
                <a:buFontTx/>
                <a:buNone/>
                <a:tabLst/>
                <a:defRPr/>
              </a:pPr>
              <a:t>‹#›</a:t>
            </a:fld>
            <a:endParaRPr kumimoji="0" lang="en-US" sz="917" b="0" i="0" u="none" strike="noStrike" kern="0" cap="none" spc="0" normalizeH="0" baseline="0" noProof="0">
              <a:ln>
                <a:noFill/>
              </a:ln>
              <a:solidFill>
                <a:srgbClr val="000000"/>
              </a:solidFill>
              <a:effectLst/>
              <a:uLnTx/>
              <a:uFillTx/>
              <a:latin typeface="Aptos" panose="020B0004020202020204" pitchFamily="34" charset="0"/>
              <a:ea typeface="+mj-ea"/>
              <a:cs typeface="+mj-cs"/>
              <a:sym typeface="IBM Plex Sans Light"/>
            </a:endParaRPr>
          </a:p>
        </p:txBody>
      </p:sp>
      <p:pic>
        <p:nvPicPr>
          <p:cNvPr id="8" name="Graphic 7">
            <a:extLst>
              <a:ext uri="{FF2B5EF4-FFF2-40B4-BE49-F238E27FC236}">
                <a16:creationId xmlns:a16="http://schemas.microsoft.com/office/drawing/2014/main" id="{347BA4B1-3F51-247D-13A4-970446FB362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543540" y="6495499"/>
            <a:ext cx="167269" cy="81501"/>
          </a:xfrm>
          <a:prstGeom prst="rect">
            <a:avLst/>
          </a:prstGeom>
        </p:spPr>
      </p:pic>
    </p:spTree>
    <p:extLst>
      <p:ext uri="{BB962C8B-B14F-4D97-AF65-F5344CB8AC3E}">
        <p14:creationId xmlns:p14="http://schemas.microsoft.com/office/powerpoint/2010/main" val="2828262530"/>
      </p:ext>
    </p:extLst>
  </p:cSld>
  <p:clrMapOvr>
    <a:masterClrMapping/>
  </p:clrMapOvr>
  <p:transition spd="med"/>
  <p:extLst>
    <p:ext uri="{DCECCB84-F9BA-43D5-87BE-67443E8EF086}">
      <p15:sldGuideLst xmlns:p15="http://schemas.microsoft.com/office/powerpoint/2012/main">
        <p15:guide id="2" orient="horz" pos="4656">
          <p15:clr>
            <a:srgbClr val="F26B43"/>
          </p15:clr>
        </p15:guide>
        <p15:guide id="3" orient="horz" pos="912">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op color block">
    <p:bg>
      <p:bgPr>
        <a:solidFill>
          <a:schemeClr val="tx1"/>
        </a:solidFill>
        <a:effectLst/>
      </p:bgPr>
    </p:bg>
    <p:spTree>
      <p:nvGrpSpPr>
        <p:cNvPr id="1" name=""/>
        <p:cNvGrpSpPr/>
        <p:nvPr/>
      </p:nvGrpSpPr>
      <p:grpSpPr>
        <a:xfrm>
          <a:off x="0" y="0"/>
          <a:ext cx="0" cy="0"/>
          <a:chOff x="0" y="0"/>
          <a:chExt cx="0" cy="0"/>
        </a:xfrm>
      </p:grpSpPr>
      <p:sp>
        <p:nvSpPr>
          <p:cNvPr id="7" name="Round Same Side Corner Rectangle 6">
            <a:extLst>
              <a:ext uri="{FF2B5EF4-FFF2-40B4-BE49-F238E27FC236}">
                <a16:creationId xmlns:a16="http://schemas.microsoft.com/office/drawing/2014/main" id="{78FAD1F5-A942-6244-5E87-9764C0D1F058}"/>
              </a:ext>
            </a:extLst>
          </p:cNvPr>
          <p:cNvSpPr/>
          <p:nvPr userDrawn="1"/>
        </p:nvSpPr>
        <p:spPr bwMode="auto">
          <a:xfrm flipV="1">
            <a:off x="0" y="1"/>
            <a:ext cx="12192000" cy="2846294"/>
          </a:xfrm>
          <a:prstGeom prst="round2SameRect">
            <a:avLst/>
          </a:prstGeom>
          <a:solidFill>
            <a:schemeClr val="tx2"/>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76200" tIns="76200" rIns="76200" bIns="76200" numCol="1" rtlCol="0" anchor="t" anchorCtr="0" compatLnSpc="1">
            <a:prstTxWarp prst="textNoShape">
              <a:avLst/>
            </a:prstTxWarp>
          </a:bodyPr>
          <a:lstStyle/>
          <a:p>
            <a:pPr marL="0" marR="0" indent="0" algn="l" defTabSz="761970" rtl="0" eaLnBrk="1" fontAlgn="base" latinLnBrk="0" hangingPunct="1">
              <a:lnSpc>
                <a:spcPct val="100000"/>
              </a:lnSpc>
              <a:spcBef>
                <a:spcPct val="0"/>
              </a:spcBef>
              <a:spcAft>
                <a:spcPct val="0"/>
              </a:spcAft>
              <a:buClrTx/>
              <a:buSzTx/>
              <a:buFont typeface="IBM Plex Sans Light"/>
              <a:buNone/>
              <a:tabLst/>
            </a:pPr>
            <a:endParaRPr kumimoji="0" lang="en-US" sz="1167" b="0" i="0" u="none" strike="noStrike" cap="none" normalizeH="0" baseline="0">
              <a:ln>
                <a:noFill/>
              </a:ln>
              <a:solidFill>
                <a:schemeClr val="bg1"/>
              </a:solidFill>
              <a:effectLst/>
              <a:latin typeface="+mn-lt"/>
            </a:endParaRPr>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95470" y="3238500"/>
            <a:ext cx="2681094" cy="2921000"/>
          </a:xfrm>
          <a:prstGeom prst="rect">
            <a:avLst/>
          </a:prstGeom>
        </p:spPr>
        <p:txBody>
          <a:bodyPr/>
          <a:lstStyle>
            <a:lvl1pPr>
              <a:spcBef>
                <a:spcPts val="0"/>
              </a:spcBef>
              <a:defRPr sz="1500" b="0" i="0">
                <a:solidFill>
                  <a:schemeClr val="bg2"/>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2"/>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2"/>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2"/>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itle Text">
            <a:extLst>
              <a:ext uri="{FF2B5EF4-FFF2-40B4-BE49-F238E27FC236}">
                <a16:creationId xmlns:a16="http://schemas.microsoft.com/office/drawing/2014/main" id="{4B5980F9-A7B7-7DE7-65FD-745FC498DFDB}"/>
              </a:ext>
            </a:extLst>
          </p:cNvPr>
          <p:cNvSpPr txBox="1">
            <a:spLocks noGrp="1"/>
          </p:cNvSpPr>
          <p:nvPr>
            <p:ph type="title" hasCustomPrompt="1"/>
          </p:nvPr>
        </p:nvSpPr>
        <p:spPr>
          <a:xfrm>
            <a:off x="290212" y="295139"/>
            <a:ext cx="11607800" cy="386603"/>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73152" rIns="0" bIns="0"/>
          <a:lstStyle/>
          <a:p>
            <a:r>
              <a:rPr lang="en-US"/>
              <a:t>Top color block</a:t>
            </a:r>
            <a:endParaRPr/>
          </a:p>
        </p:txBody>
      </p:sp>
      <p:sp>
        <p:nvSpPr>
          <p:cNvPr id="4" name="Text Placeholder 4">
            <a:extLst>
              <a:ext uri="{FF2B5EF4-FFF2-40B4-BE49-F238E27FC236}">
                <a16:creationId xmlns:a16="http://schemas.microsoft.com/office/drawing/2014/main" id="{6B78AFFA-760B-C379-5035-CB7ECAE05516}"/>
              </a:ext>
            </a:extLst>
          </p:cNvPr>
          <p:cNvSpPr>
            <a:spLocks noGrp="1"/>
          </p:cNvSpPr>
          <p:nvPr>
            <p:ph type="body" sz="quarter" idx="12"/>
          </p:nvPr>
        </p:nvSpPr>
        <p:spPr>
          <a:xfrm>
            <a:off x="3272031" y="3238500"/>
            <a:ext cx="2681094" cy="2921000"/>
          </a:xfrm>
          <a:prstGeom prst="rect">
            <a:avLst/>
          </a:prstGeom>
        </p:spPr>
        <p:txBody>
          <a:bodyPr/>
          <a:lstStyle>
            <a:lvl1pPr>
              <a:spcBef>
                <a:spcPts val="0"/>
              </a:spcBef>
              <a:defRPr sz="1500" b="0" i="0">
                <a:solidFill>
                  <a:schemeClr val="bg2"/>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2"/>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2"/>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2"/>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ext Placeholder 4">
            <a:extLst>
              <a:ext uri="{FF2B5EF4-FFF2-40B4-BE49-F238E27FC236}">
                <a16:creationId xmlns:a16="http://schemas.microsoft.com/office/drawing/2014/main" id="{376D964F-C8A1-C871-5753-80704C0AE4DC}"/>
              </a:ext>
            </a:extLst>
          </p:cNvPr>
          <p:cNvSpPr>
            <a:spLocks noGrp="1"/>
          </p:cNvSpPr>
          <p:nvPr>
            <p:ph type="body" sz="quarter" idx="13"/>
          </p:nvPr>
        </p:nvSpPr>
        <p:spPr>
          <a:xfrm>
            <a:off x="6250082" y="3238500"/>
            <a:ext cx="2679606" cy="2921000"/>
          </a:xfrm>
          <a:prstGeom prst="rect">
            <a:avLst/>
          </a:prstGeom>
        </p:spPr>
        <p:txBody>
          <a:bodyPr/>
          <a:lstStyle>
            <a:lvl1pPr>
              <a:spcBef>
                <a:spcPts val="0"/>
              </a:spcBef>
              <a:defRPr sz="1500" b="0" i="0">
                <a:solidFill>
                  <a:schemeClr val="bg2"/>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2"/>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2"/>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2"/>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BC3CC31F-CAF3-5950-1F6D-B721F038F566}"/>
              </a:ext>
            </a:extLst>
          </p:cNvPr>
          <p:cNvSpPr>
            <a:spLocks noGrp="1"/>
          </p:cNvSpPr>
          <p:nvPr>
            <p:ph type="body" sz="quarter" idx="14"/>
          </p:nvPr>
        </p:nvSpPr>
        <p:spPr>
          <a:xfrm>
            <a:off x="9219640" y="3238500"/>
            <a:ext cx="2686611" cy="2921000"/>
          </a:xfrm>
          <a:prstGeom prst="rect">
            <a:avLst/>
          </a:prstGeom>
        </p:spPr>
        <p:txBody>
          <a:bodyPr/>
          <a:lstStyle>
            <a:lvl1pPr>
              <a:spcBef>
                <a:spcPts val="0"/>
              </a:spcBef>
              <a:defRPr sz="1500" b="0" i="0">
                <a:solidFill>
                  <a:schemeClr val="bg2"/>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2"/>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2"/>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2"/>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9967184"/>
      </p:ext>
    </p:extLst>
  </p:cSld>
  <p:clrMapOvr>
    <a:masterClrMapping/>
  </p:clrMapOvr>
  <p:transition spd="med"/>
  <p:extLst>
    <p:ext uri="{DCECCB84-F9BA-43D5-87BE-67443E8EF086}">
      <p15:sldGuideLst xmlns:p15="http://schemas.microsoft.com/office/powerpoint/2012/main">
        <p15:guide id="2" orient="horz" pos="4656">
          <p15:clr>
            <a:srgbClr val="F26B43"/>
          </p15:clr>
        </p15:guide>
        <p15:guide id="3" orient="horz" pos="2448">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ottom color block">
    <p:bg>
      <p:bgPr>
        <a:solidFill>
          <a:schemeClr val="tx1"/>
        </a:solidFill>
        <a:effectLst/>
      </p:bgPr>
    </p:bg>
    <p:spTree>
      <p:nvGrpSpPr>
        <p:cNvPr id="1" name=""/>
        <p:cNvGrpSpPr/>
        <p:nvPr/>
      </p:nvGrpSpPr>
      <p:grpSpPr>
        <a:xfrm>
          <a:off x="0" y="0"/>
          <a:ext cx="0" cy="0"/>
          <a:chOff x="0" y="0"/>
          <a:chExt cx="0" cy="0"/>
        </a:xfrm>
      </p:grpSpPr>
      <p:sp>
        <p:nvSpPr>
          <p:cNvPr id="7" name="Round Same Side Corner Rectangle 6">
            <a:extLst>
              <a:ext uri="{FF2B5EF4-FFF2-40B4-BE49-F238E27FC236}">
                <a16:creationId xmlns:a16="http://schemas.microsoft.com/office/drawing/2014/main" id="{78FAD1F5-A942-6244-5E87-9764C0D1F058}"/>
              </a:ext>
            </a:extLst>
          </p:cNvPr>
          <p:cNvSpPr/>
          <p:nvPr userDrawn="1"/>
        </p:nvSpPr>
        <p:spPr bwMode="auto">
          <a:xfrm>
            <a:off x="0" y="4549589"/>
            <a:ext cx="12192000" cy="2308412"/>
          </a:xfrm>
          <a:prstGeom prst="round2SameRect">
            <a:avLst>
              <a:gd name="adj1" fmla="val 21168"/>
              <a:gd name="adj2" fmla="val 0"/>
            </a:avLst>
          </a:prstGeom>
          <a:solidFill>
            <a:schemeClr val="tx2"/>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76200" tIns="76200" rIns="76200" bIns="76200" numCol="1" rtlCol="0" anchor="t" anchorCtr="0" compatLnSpc="1">
            <a:prstTxWarp prst="textNoShape">
              <a:avLst/>
            </a:prstTxWarp>
          </a:bodyPr>
          <a:lstStyle/>
          <a:p>
            <a:pPr marL="0" marR="0" indent="0" algn="l" defTabSz="761970" rtl="0" eaLnBrk="1" fontAlgn="base" latinLnBrk="0" hangingPunct="1">
              <a:lnSpc>
                <a:spcPct val="100000"/>
              </a:lnSpc>
              <a:spcBef>
                <a:spcPct val="0"/>
              </a:spcBef>
              <a:spcAft>
                <a:spcPct val="0"/>
              </a:spcAft>
              <a:buClrTx/>
              <a:buSzTx/>
              <a:buFont typeface="IBM Plex Sans Light"/>
              <a:buNone/>
              <a:tabLst/>
            </a:pPr>
            <a:endParaRPr kumimoji="0" lang="en-US" sz="1167" b="0" i="0" u="none" strike="noStrike" cap="none" normalizeH="0" baseline="0">
              <a:ln>
                <a:noFill/>
              </a:ln>
              <a:solidFill>
                <a:schemeClr val="bg1"/>
              </a:solidFill>
              <a:effectLst/>
              <a:latin typeface="+mn-lt"/>
            </a:endParaRPr>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95470" y="1217706"/>
            <a:ext cx="2681094" cy="2782794"/>
          </a:xfrm>
          <a:prstGeom prst="rect">
            <a:avLst/>
          </a:prstGeom>
        </p:spPr>
        <p:txBody>
          <a:bodyPr/>
          <a:lstStyle>
            <a:lvl1pPr>
              <a:spcBef>
                <a:spcPts val="0"/>
              </a:spcBef>
              <a:defRPr sz="1500" b="0" i="0">
                <a:solidFill>
                  <a:schemeClr val="bg2"/>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2"/>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2"/>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2"/>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itle Text">
            <a:extLst>
              <a:ext uri="{FF2B5EF4-FFF2-40B4-BE49-F238E27FC236}">
                <a16:creationId xmlns:a16="http://schemas.microsoft.com/office/drawing/2014/main" id="{4B5980F9-A7B7-7DE7-65FD-745FC498DFDB}"/>
              </a:ext>
            </a:extLst>
          </p:cNvPr>
          <p:cNvSpPr txBox="1">
            <a:spLocks noGrp="1"/>
          </p:cNvSpPr>
          <p:nvPr>
            <p:ph type="title" hasCustomPrompt="1"/>
          </p:nvPr>
        </p:nvSpPr>
        <p:spPr>
          <a:xfrm>
            <a:off x="290212" y="295139"/>
            <a:ext cx="11607800" cy="386603"/>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73152" rIns="0" bIns="0"/>
          <a:lstStyle/>
          <a:p>
            <a:r>
              <a:rPr lang="en-US"/>
              <a:t>Bottom color block</a:t>
            </a:r>
            <a:endParaRPr/>
          </a:p>
        </p:txBody>
      </p:sp>
      <p:sp>
        <p:nvSpPr>
          <p:cNvPr id="4" name="Text Placeholder 4">
            <a:extLst>
              <a:ext uri="{FF2B5EF4-FFF2-40B4-BE49-F238E27FC236}">
                <a16:creationId xmlns:a16="http://schemas.microsoft.com/office/drawing/2014/main" id="{6B78AFFA-760B-C379-5035-CB7ECAE05516}"/>
              </a:ext>
            </a:extLst>
          </p:cNvPr>
          <p:cNvSpPr>
            <a:spLocks noGrp="1"/>
          </p:cNvSpPr>
          <p:nvPr>
            <p:ph type="body" sz="quarter" idx="12"/>
          </p:nvPr>
        </p:nvSpPr>
        <p:spPr>
          <a:xfrm>
            <a:off x="3272031" y="1217706"/>
            <a:ext cx="2681094" cy="2782794"/>
          </a:xfrm>
          <a:prstGeom prst="rect">
            <a:avLst/>
          </a:prstGeom>
        </p:spPr>
        <p:txBody>
          <a:bodyPr/>
          <a:lstStyle>
            <a:lvl1pPr>
              <a:spcBef>
                <a:spcPts val="0"/>
              </a:spcBef>
              <a:defRPr sz="1500" b="0" i="0">
                <a:solidFill>
                  <a:schemeClr val="bg2"/>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2"/>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2"/>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2"/>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ext Placeholder 4">
            <a:extLst>
              <a:ext uri="{FF2B5EF4-FFF2-40B4-BE49-F238E27FC236}">
                <a16:creationId xmlns:a16="http://schemas.microsoft.com/office/drawing/2014/main" id="{376D964F-C8A1-C871-5753-80704C0AE4DC}"/>
              </a:ext>
            </a:extLst>
          </p:cNvPr>
          <p:cNvSpPr>
            <a:spLocks noGrp="1"/>
          </p:cNvSpPr>
          <p:nvPr>
            <p:ph type="body" sz="quarter" idx="13"/>
          </p:nvPr>
        </p:nvSpPr>
        <p:spPr>
          <a:xfrm>
            <a:off x="6250082" y="1217706"/>
            <a:ext cx="2679606" cy="2782794"/>
          </a:xfrm>
          <a:prstGeom prst="rect">
            <a:avLst/>
          </a:prstGeom>
        </p:spPr>
        <p:txBody>
          <a:bodyPr/>
          <a:lstStyle>
            <a:lvl1pPr>
              <a:spcBef>
                <a:spcPts val="0"/>
              </a:spcBef>
              <a:defRPr sz="1500" b="0" i="0">
                <a:solidFill>
                  <a:schemeClr val="bg2"/>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2"/>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2"/>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2"/>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BC3CC31F-CAF3-5950-1F6D-B721F038F566}"/>
              </a:ext>
            </a:extLst>
          </p:cNvPr>
          <p:cNvSpPr>
            <a:spLocks noGrp="1"/>
          </p:cNvSpPr>
          <p:nvPr>
            <p:ph type="body" sz="quarter" idx="14"/>
          </p:nvPr>
        </p:nvSpPr>
        <p:spPr>
          <a:xfrm>
            <a:off x="9219640" y="1217706"/>
            <a:ext cx="2686611" cy="2782794"/>
          </a:xfrm>
          <a:prstGeom prst="rect">
            <a:avLst/>
          </a:prstGeom>
        </p:spPr>
        <p:txBody>
          <a:bodyPr/>
          <a:lstStyle>
            <a:lvl1pPr>
              <a:spcBef>
                <a:spcPts val="0"/>
              </a:spcBef>
              <a:defRPr sz="1500" b="0" i="0">
                <a:solidFill>
                  <a:schemeClr val="bg2"/>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2"/>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2"/>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2"/>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591102396"/>
      </p:ext>
    </p:extLst>
  </p:cSld>
  <p:clrMapOvr>
    <a:masterClrMapping/>
  </p:clrMapOvr>
  <p:transition spd="med"/>
  <p:extLst>
    <p:ext uri="{DCECCB84-F9BA-43D5-87BE-67443E8EF086}">
      <p15:sldGuideLst xmlns:p15="http://schemas.microsoft.com/office/powerpoint/2012/main">
        <p15:guide id="2" orient="horz" pos="3024">
          <p15:clr>
            <a:srgbClr val="F26B43"/>
          </p15:clr>
        </p15:guide>
        <p15:guide id="3" orient="horz" pos="912">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lor block + image">
    <p:bg>
      <p:bgPr>
        <a:solidFill>
          <a:schemeClr val="tx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2499C85-30F2-6EA7-FA46-49F8397A724D}"/>
              </a:ext>
            </a:extLst>
          </p:cNvPr>
          <p:cNvSpPr/>
          <p:nvPr userDrawn="1"/>
        </p:nvSpPr>
        <p:spPr bwMode="auto">
          <a:xfrm>
            <a:off x="-1488" y="0"/>
            <a:ext cx="3263801" cy="6858000"/>
          </a:xfrm>
          <a:prstGeom prst="rect">
            <a:avLst/>
          </a:prstGeom>
          <a:solidFill>
            <a:schemeClr val="tx2"/>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76200" tIns="76200" rIns="76200" bIns="76200" numCol="1" rtlCol="0" anchor="t" anchorCtr="0" compatLnSpc="1">
            <a:prstTxWarp prst="textNoShape">
              <a:avLst/>
            </a:prstTxWarp>
          </a:bodyPr>
          <a:lstStyle/>
          <a:p>
            <a:pPr marL="0" marR="0" indent="0" algn="l" defTabSz="761970" rtl="0" eaLnBrk="1" fontAlgn="base" latinLnBrk="0" hangingPunct="1">
              <a:lnSpc>
                <a:spcPct val="100000"/>
              </a:lnSpc>
              <a:spcBef>
                <a:spcPct val="0"/>
              </a:spcBef>
              <a:spcAft>
                <a:spcPct val="0"/>
              </a:spcAft>
              <a:buClrTx/>
              <a:buSzTx/>
              <a:buFont typeface="IBM Plex Sans Light"/>
              <a:buNone/>
              <a:tabLst/>
            </a:pPr>
            <a:endParaRPr kumimoji="0" lang="en-US" sz="1167" b="0" i="0" u="none" strike="noStrike" cap="none" normalizeH="0" baseline="0">
              <a:ln>
                <a:noFill/>
              </a:ln>
              <a:solidFill>
                <a:schemeClr val="bg1"/>
              </a:solidFill>
              <a:effectLst/>
              <a:latin typeface="+mn-lt"/>
            </a:endParaRPr>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95470" y="1471706"/>
            <a:ext cx="2681094" cy="4687794"/>
          </a:xfrm>
          <a:prstGeom prst="rect">
            <a:avLst/>
          </a:prstGeom>
        </p:spPr>
        <p:txBody>
          <a:bodyPr/>
          <a:lstStyle>
            <a:lvl1pPr>
              <a:spcBef>
                <a:spcPts val="0"/>
              </a:spcBef>
              <a:defRPr sz="1500" b="0" i="0">
                <a:solidFill>
                  <a:schemeClr val="bg2"/>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2"/>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2"/>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2"/>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itle Text">
            <a:extLst>
              <a:ext uri="{FF2B5EF4-FFF2-40B4-BE49-F238E27FC236}">
                <a16:creationId xmlns:a16="http://schemas.microsoft.com/office/drawing/2014/main" id="{4B5980F9-A7B7-7DE7-65FD-745FC498DFDB}"/>
              </a:ext>
            </a:extLst>
          </p:cNvPr>
          <p:cNvSpPr txBox="1">
            <a:spLocks noGrp="1"/>
          </p:cNvSpPr>
          <p:nvPr>
            <p:ph type="title" hasCustomPrompt="1"/>
          </p:nvPr>
        </p:nvSpPr>
        <p:spPr>
          <a:xfrm>
            <a:off x="290212" y="295139"/>
            <a:ext cx="2686352" cy="386603"/>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73152" rIns="0" bIns="0"/>
          <a:lstStyle/>
          <a:p>
            <a:r>
              <a:rPr lang="en-US"/>
              <a:t>Color block + image</a:t>
            </a:r>
            <a:endParaRPr/>
          </a:p>
        </p:txBody>
      </p:sp>
      <p:sp>
        <p:nvSpPr>
          <p:cNvPr id="4" name="Text Placeholder 4">
            <a:extLst>
              <a:ext uri="{FF2B5EF4-FFF2-40B4-BE49-F238E27FC236}">
                <a16:creationId xmlns:a16="http://schemas.microsoft.com/office/drawing/2014/main" id="{6B78AFFA-760B-C379-5035-CB7ECAE05516}"/>
              </a:ext>
            </a:extLst>
          </p:cNvPr>
          <p:cNvSpPr>
            <a:spLocks noGrp="1"/>
          </p:cNvSpPr>
          <p:nvPr>
            <p:ph type="body" sz="quarter" idx="12"/>
          </p:nvPr>
        </p:nvSpPr>
        <p:spPr>
          <a:xfrm>
            <a:off x="7231062" y="1471706"/>
            <a:ext cx="4675187" cy="4687794"/>
          </a:xfrm>
          <a:prstGeom prst="rect">
            <a:avLst/>
          </a:prstGeom>
        </p:spPr>
        <p:txBody>
          <a:bodyPr/>
          <a:lstStyle>
            <a:lvl1pPr>
              <a:spcBef>
                <a:spcPts val="0"/>
              </a:spcBef>
              <a:defRPr sz="1500" b="0" i="0">
                <a:solidFill>
                  <a:schemeClr val="bg2"/>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2"/>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2"/>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2"/>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A8FAF656-3110-CFBB-DE50-C13ECC3BA27C}"/>
              </a:ext>
            </a:extLst>
          </p:cNvPr>
          <p:cNvSpPr txBox="1">
            <a:spLocks/>
          </p:cNvSpPr>
          <p:nvPr userDrawn="1"/>
        </p:nvSpPr>
        <p:spPr>
          <a:xfrm>
            <a:off x="288889" y="6458629"/>
            <a:ext cx="4088233" cy="150303"/>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Outfit Light" pitchFamily="2" charset="0"/>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1218948" rtl="0" eaLnBrk="1" fontAlgn="auto" latinLnBrk="0" hangingPunct="1">
              <a:lnSpc>
                <a:spcPct val="110000"/>
              </a:lnSpc>
              <a:spcBef>
                <a:spcPts val="0"/>
              </a:spcBef>
              <a:spcAft>
                <a:spcPts val="0"/>
              </a:spcAft>
              <a:buClrTx/>
              <a:buSzTx/>
              <a:buFontTx/>
              <a:buNone/>
              <a:tabLst/>
              <a:defRPr/>
            </a:pPr>
            <a:r>
              <a:rPr kumimoji="0" lang="en-US" sz="917" b="0" i="0" u="none" strike="noStrike" kern="0" cap="none" spc="0" normalizeH="0" baseline="0" noProof="0">
                <a:ln>
                  <a:noFill/>
                </a:ln>
                <a:solidFill>
                  <a:srgbClr val="000000"/>
                </a:solidFill>
                <a:effectLst/>
                <a:uLnTx/>
                <a:uFillTx/>
                <a:latin typeface="Aptos Light" panose="020B0004020202020204" pitchFamily="34" charset="0"/>
                <a:ea typeface="+mj-ea"/>
                <a:cs typeface="+mj-cs"/>
                <a:sym typeface="IBM Plex Sans Light"/>
              </a:rPr>
              <a:t>Confidential</a:t>
            </a:r>
            <a:r>
              <a:rPr kumimoji="0" lang="en-US" sz="917" b="0" i="0" u="none" strike="noStrike" kern="0" cap="none" spc="0" normalizeH="0" baseline="0" noProof="0">
                <a:ln>
                  <a:noFill/>
                </a:ln>
                <a:solidFill>
                  <a:srgbClr val="000000"/>
                </a:solidFill>
                <a:effectLst/>
                <a:uLnTx/>
                <a:uFillTx/>
                <a:latin typeface="Aptos" panose="020B0004020202020204" pitchFamily="34" charset="0"/>
                <a:ea typeface="+mj-ea"/>
                <a:cs typeface="+mj-cs"/>
                <a:sym typeface="IBM Plex Sans Light"/>
              </a:rPr>
              <a:t>  /  </a:t>
            </a:r>
            <a:r>
              <a:rPr kumimoji="0" lang="en-US" sz="917" b="0" i="0" u="none" strike="noStrike" kern="0" cap="none" spc="0" normalizeH="0" baseline="0" noProof="0">
                <a:ln>
                  <a:noFill/>
                </a:ln>
                <a:solidFill>
                  <a:srgbClr val="000000"/>
                </a:solidFill>
                <a:effectLst/>
                <a:uLnTx/>
                <a:uFillTx/>
                <a:latin typeface="Aptos Light" panose="020B0004020202020204" pitchFamily="34" charset="0"/>
                <a:ea typeface="+mj-ea"/>
                <a:cs typeface="+mj-cs"/>
                <a:sym typeface="IBM Plex Sans Light"/>
              </a:rPr>
              <a:t>Brillio</a:t>
            </a:r>
          </a:p>
        </p:txBody>
      </p:sp>
      <p:sp>
        <p:nvSpPr>
          <p:cNvPr id="6" name="Picture Placeholder 5">
            <a:extLst>
              <a:ext uri="{FF2B5EF4-FFF2-40B4-BE49-F238E27FC236}">
                <a16:creationId xmlns:a16="http://schemas.microsoft.com/office/drawing/2014/main" id="{4077A984-71DC-DF43-919A-0A8AFF4FF163}"/>
              </a:ext>
            </a:extLst>
          </p:cNvPr>
          <p:cNvSpPr>
            <a:spLocks noGrp="1"/>
          </p:cNvSpPr>
          <p:nvPr>
            <p:ph type="pic" sz="quarter" idx="13" hasCustomPrompt="1"/>
          </p:nvPr>
        </p:nvSpPr>
        <p:spPr>
          <a:xfrm>
            <a:off x="3262313" y="0"/>
            <a:ext cx="3683000" cy="6858000"/>
          </a:xfrm>
          <a:solidFill>
            <a:schemeClr val="bg1"/>
          </a:solidFill>
        </p:spPr>
        <p:txBody>
          <a:bodyPr anchor="ctr"/>
          <a:lstStyle>
            <a:lvl1pPr algn="ctr">
              <a:defRPr>
                <a:solidFill>
                  <a:schemeClr val="tx1"/>
                </a:solidFill>
              </a:defRPr>
            </a:lvl1pPr>
          </a:lstStyle>
          <a:p>
            <a:r>
              <a:rPr lang="en-US"/>
              <a:t>[add image]</a:t>
            </a:r>
          </a:p>
        </p:txBody>
      </p:sp>
    </p:spTree>
    <p:extLst>
      <p:ext uri="{BB962C8B-B14F-4D97-AF65-F5344CB8AC3E}">
        <p14:creationId xmlns:p14="http://schemas.microsoft.com/office/powerpoint/2010/main" val="1520843710"/>
      </p:ext>
    </p:extLst>
  </p:cSld>
  <p:clrMapOvr>
    <a:masterClrMapping/>
  </p:clrMapOvr>
  <p:transition spd="med"/>
  <p:extLst>
    <p:ext uri="{DCECCB84-F9BA-43D5-87BE-67443E8EF086}">
      <p15:sldGuideLst xmlns:p15="http://schemas.microsoft.com/office/powerpoint/2012/main">
        <p15:guide id="2" orient="horz" pos="4656">
          <p15:clr>
            <a:srgbClr val="F26B43"/>
          </p15:clr>
        </p15:guide>
        <p15:guide id="3" orient="horz" pos="1104">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Middle image">
    <p:bg>
      <p:bgPr>
        <a:solidFill>
          <a:schemeClr val="tx1"/>
        </a:solidFill>
        <a:effectLst/>
      </p:bgPr>
    </p:bg>
    <p:spTree>
      <p:nvGrpSpPr>
        <p:cNvPr id="1" name=""/>
        <p:cNvGrpSpPr/>
        <p:nvPr/>
      </p:nvGrpSpPr>
      <p:grpSpPr>
        <a:xfrm>
          <a:off x="0" y="0"/>
          <a:ext cx="0" cy="0"/>
          <a:chOff x="0" y="0"/>
          <a:chExt cx="0" cy="0"/>
        </a:xfrm>
      </p:grpSpPr>
      <p:sp>
        <p:nvSpPr>
          <p:cNvPr id="4" name="Picture Placeholder 5">
            <a:extLst>
              <a:ext uri="{FF2B5EF4-FFF2-40B4-BE49-F238E27FC236}">
                <a16:creationId xmlns:a16="http://schemas.microsoft.com/office/drawing/2014/main" id="{06CF6CF3-8491-8469-EF6E-6DF4249EBF58}"/>
              </a:ext>
            </a:extLst>
          </p:cNvPr>
          <p:cNvSpPr>
            <a:spLocks noGrp="1"/>
          </p:cNvSpPr>
          <p:nvPr>
            <p:ph type="pic" sz="quarter" idx="13" hasCustomPrompt="1"/>
          </p:nvPr>
        </p:nvSpPr>
        <p:spPr>
          <a:xfrm>
            <a:off x="4258959" y="0"/>
            <a:ext cx="3678540" cy="6858000"/>
          </a:xfrm>
          <a:solidFill>
            <a:schemeClr val="bg1"/>
          </a:solidFill>
        </p:spPr>
        <p:txBody>
          <a:bodyPr anchor="ctr"/>
          <a:lstStyle>
            <a:lvl1pPr algn="ctr">
              <a:defRPr>
                <a:solidFill>
                  <a:schemeClr val="tx1"/>
                </a:solidFill>
              </a:defRPr>
            </a:lvl1pPr>
          </a:lstStyle>
          <a:p>
            <a:r>
              <a:rPr lang="en-US"/>
              <a:t>[add image]</a:t>
            </a:r>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95469" y="1221441"/>
            <a:ext cx="3673281" cy="4938059"/>
          </a:xfrm>
          <a:prstGeom prst="rect">
            <a:avLst/>
          </a:prstGeom>
        </p:spPr>
        <p:txBody>
          <a:bodyPr/>
          <a:lstStyle>
            <a:lvl1pPr>
              <a:spcBef>
                <a:spcPts val="0"/>
              </a:spcBef>
              <a:defRPr sz="1500" b="0" i="0">
                <a:solidFill>
                  <a:schemeClr val="bg2"/>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2"/>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2"/>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2"/>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itle Text">
            <a:extLst>
              <a:ext uri="{FF2B5EF4-FFF2-40B4-BE49-F238E27FC236}">
                <a16:creationId xmlns:a16="http://schemas.microsoft.com/office/drawing/2014/main" id="{4B5980F9-A7B7-7DE7-65FD-745FC498DFDB}"/>
              </a:ext>
            </a:extLst>
          </p:cNvPr>
          <p:cNvSpPr txBox="1">
            <a:spLocks noGrp="1"/>
          </p:cNvSpPr>
          <p:nvPr>
            <p:ph type="title" hasCustomPrompt="1"/>
          </p:nvPr>
        </p:nvSpPr>
        <p:spPr>
          <a:xfrm>
            <a:off x="290211" y="295139"/>
            <a:ext cx="3678540" cy="386603"/>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73152" rIns="0" bIns="0"/>
          <a:lstStyle/>
          <a:p>
            <a:r>
              <a:rPr lang="en-US"/>
              <a:t>Middle image</a:t>
            </a:r>
            <a:endParaRPr/>
          </a:p>
        </p:txBody>
      </p:sp>
      <p:sp>
        <p:nvSpPr>
          <p:cNvPr id="2" name="Text Placeholder 4">
            <a:extLst>
              <a:ext uri="{FF2B5EF4-FFF2-40B4-BE49-F238E27FC236}">
                <a16:creationId xmlns:a16="http://schemas.microsoft.com/office/drawing/2014/main" id="{268CFDAC-21E1-B6CB-5526-A2AB72858990}"/>
              </a:ext>
            </a:extLst>
          </p:cNvPr>
          <p:cNvSpPr>
            <a:spLocks noGrp="1"/>
          </p:cNvSpPr>
          <p:nvPr>
            <p:ph type="body" sz="quarter" idx="14"/>
          </p:nvPr>
        </p:nvSpPr>
        <p:spPr>
          <a:xfrm>
            <a:off x="8240440" y="1221441"/>
            <a:ext cx="3673281" cy="4938059"/>
          </a:xfrm>
          <a:prstGeom prst="rect">
            <a:avLst/>
          </a:prstGeom>
        </p:spPr>
        <p:txBody>
          <a:bodyPr/>
          <a:lstStyle>
            <a:lvl1pPr>
              <a:spcBef>
                <a:spcPts val="0"/>
              </a:spcBef>
              <a:defRPr sz="1500" b="0" i="0">
                <a:solidFill>
                  <a:schemeClr val="bg2"/>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2"/>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2"/>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2"/>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706272313"/>
      </p:ext>
    </p:extLst>
  </p:cSld>
  <p:clrMapOvr>
    <a:masterClrMapping/>
  </p:clrMapOvr>
  <p:transition spd="med"/>
  <p:extLst>
    <p:ext uri="{DCECCB84-F9BA-43D5-87BE-67443E8EF086}">
      <p15:sldGuideLst xmlns:p15="http://schemas.microsoft.com/office/powerpoint/2012/main">
        <p15:guide id="2" orient="horz" pos="4656">
          <p15:clr>
            <a:srgbClr val="F26B43"/>
          </p15:clr>
        </p15:guide>
        <p15:guide id="3" orient="horz" pos="912">
          <p15:clr>
            <a:srgbClr val="F26B43"/>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eft image">
    <p:bg>
      <p:bgPr>
        <a:solidFill>
          <a:schemeClr val="tx1"/>
        </a:solidFill>
        <a:effectLst/>
      </p:bgPr>
    </p:bg>
    <p:spTree>
      <p:nvGrpSpPr>
        <p:cNvPr id="1" name=""/>
        <p:cNvGrpSpPr/>
        <p:nvPr/>
      </p:nvGrpSpPr>
      <p:grpSpPr>
        <a:xfrm>
          <a:off x="0" y="0"/>
          <a:ext cx="0" cy="0"/>
          <a:chOff x="0" y="0"/>
          <a:chExt cx="0" cy="0"/>
        </a:xfrm>
      </p:grpSpPr>
      <p:sp>
        <p:nvSpPr>
          <p:cNvPr id="4" name="Picture Placeholder 5">
            <a:extLst>
              <a:ext uri="{FF2B5EF4-FFF2-40B4-BE49-F238E27FC236}">
                <a16:creationId xmlns:a16="http://schemas.microsoft.com/office/drawing/2014/main" id="{06CF6CF3-8491-8469-EF6E-6DF4249EBF58}"/>
              </a:ext>
            </a:extLst>
          </p:cNvPr>
          <p:cNvSpPr>
            <a:spLocks noGrp="1"/>
          </p:cNvSpPr>
          <p:nvPr>
            <p:ph type="pic" sz="quarter" idx="13" hasCustomPrompt="1"/>
          </p:nvPr>
        </p:nvSpPr>
        <p:spPr>
          <a:xfrm>
            <a:off x="0" y="0"/>
            <a:ext cx="5246688" cy="6858000"/>
          </a:xfrm>
          <a:solidFill>
            <a:schemeClr val="bg1"/>
          </a:solidFill>
        </p:spPr>
        <p:txBody>
          <a:bodyPr anchor="ctr"/>
          <a:lstStyle>
            <a:lvl1pPr algn="ctr">
              <a:defRPr>
                <a:solidFill>
                  <a:schemeClr val="tx1"/>
                </a:solidFill>
              </a:defRPr>
            </a:lvl1pPr>
          </a:lstStyle>
          <a:p>
            <a:r>
              <a:rPr lang="en-US"/>
              <a:t>[add image]</a:t>
            </a:r>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6246977" y="2265456"/>
            <a:ext cx="4952836" cy="3894044"/>
          </a:xfrm>
          <a:prstGeom prst="rect">
            <a:avLst/>
          </a:prstGeom>
        </p:spPr>
        <p:txBody>
          <a:bodyPr/>
          <a:lstStyle>
            <a:lvl1pPr>
              <a:spcBef>
                <a:spcPts val="0"/>
              </a:spcBef>
              <a:defRPr sz="1500" b="0" i="0">
                <a:solidFill>
                  <a:schemeClr val="bg2"/>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2"/>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2"/>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2"/>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itle Text">
            <a:extLst>
              <a:ext uri="{FF2B5EF4-FFF2-40B4-BE49-F238E27FC236}">
                <a16:creationId xmlns:a16="http://schemas.microsoft.com/office/drawing/2014/main" id="{4B5980F9-A7B7-7DE7-65FD-745FC498DFDB}"/>
              </a:ext>
            </a:extLst>
          </p:cNvPr>
          <p:cNvSpPr txBox="1">
            <a:spLocks noGrp="1"/>
          </p:cNvSpPr>
          <p:nvPr>
            <p:ph type="title" hasCustomPrompt="1"/>
          </p:nvPr>
        </p:nvSpPr>
        <p:spPr>
          <a:xfrm>
            <a:off x="6238876" y="1280298"/>
            <a:ext cx="4959927" cy="386603"/>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73152" rIns="0" bIns="0"/>
          <a:lstStyle/>
          <a:p>
            <a:r>
              <a:rPr lang="en-US"/>
              <a:t>Left image short agenda</a:t>
            </a:r>
            <a:endParaRPr/>
          </a:p>
        </p:txBody>
      </p:sp>
      <p:sp>
        <p:nvSpPr>
          <p:cNvPr id="7" name="Text Placeholder 3">
            <a:extLst>
              <a:ext uri="{FF2B5EF4-FFF2-40B4-BE49-F238E27FC236}">
                <a16:creationId xmlns:a16="http://schemas.microsoft.com/office/drawing/2014/main" id="{C5EDB870-A99C-88B9-5C4B-1911ED2B4E5C}"/>
              </a:ext>
            </a:extLst>
          </p:cNvPr>
          <p:cNvSpPr txBox="1">
            <a:spLocks/>
          </p:cNvSpPr>
          <p:nvPr userDrawn="1"/>
        </p:nvSpPr>
        <p:spPr>
          <a:xfrm>
            <a:off x="288889" y="6458629"/>
            <a:ext cx="4088233" cy="150303"/>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Outfit Light" pitchFamily="2" charset="0"/>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1218948" rtl="0" eaLnBrk="1" fontAlgn="auto" latinLnBrk="0" hangingPunct="1">
              <a:lnSpc>
                <a:spcPct val="110000"/>
              </a:lnSpc>
              <a:spcBef>
                <a:spcPts val="0"/>
              </a:spcBef>
              <a:spcAft>
                <a:spcPts val="0"/>
              </a:spcAft>
              <a:buClrTx/>
              <a:buSzTx/>
              <a:buFontTx/>
              <a:buNone/>
              <a:tabLst/>
              <a:defRPr/>
            </a:pPr>
            <a:r>
              <a:rPr kumimoji="0" lang="en-US" sz="917" b="0" i="0" u="none" strike="noStrike" kern="0" cap="none" spc="0" normalizeH="0" baseline="0" noProof="0">
                <a:ln>
                  <a:noFill/>
                </a:ln>
                <a:solidFill>
                  <a:schemeClr val="tx1"/>
                </a:solidFill>
                <a:effectLst/>
                <a:uLnTx/>
                <a:uFillTx/>
                <a:latin typeface="Aptos Light" panose="020B0004020202020204" pitchFamily="34" charset="0"/>
                <a:ea typeface="+mj-ea"/>
                <a:cs typeface="+mj-cs"/>
                <a:sym typeface="IBM Plex Sans Light"/>
              </a:rPr>
              <a:t>Confidential</a:t>
            </a:r>
            <a:r>
              <a:rPr kumimoji="0" lang="en-US" sz="917" b="0" i="0" u="none" strike="noStrike" kern="0" cap="none" spc="0" normalizeH="0" baseline="0" noProof="0">
                <a:ln>
                  <a:noFill/>
                </a:ln>
                <a:solidFill>
                  <a:schemeClr val="tx1"/>
                </a:solidFill>
                <a:effectLst/>
                <a:uLnTx/>
                <a:uFillTx/>
                <a:latin typeface="Aptos" panose="020B0004020202020204" pitchFamily="34" charset="0"/>
                <a:ea typeface="+mj-ea"/>
                <a:cs typeface="+mj-cs"/>
                <a:sym typeface="IBM Plex Sans Light"/>
              </a:rPr>
              <a:t>  /  </a:t>
            </a:r>
            <a:r>
              <a:rPr kumimoji="0" lang="en-US" sz="917" b="0" i="0" u="none" strike="noStrike" kern="0" cap="none" spc="0" normalizeH="0" baseline="0" noProof="0">
                <a:ln>
                  <a:noFill/>
                </a:ln>
                <a:solidFill>
                  <a:schemeClr val="tx1"/>
                </a:solidFill>
                <a:effectLst/>
                <a:uLnTx/>
                <a:uFillTx/>
                <a:latin typeface="Aptos Light" panose="020B0004020202020204" pitchFamily="34" charset="0"/>
                <a:ea typeface="+mj-ea"/>
                <a:cs typeface="+mj-cs"/>
                <a:sym typeface="IBM Plex Sans Light"/>
              </a:rPr>
              <a:t>Brillio</a:t>
            </a:r>
          </a:p>
        </p:txBody>
      </p:sp>
      <p:sp>
        <p:nvSpPr>
          <p:cNvPr id="2" name="TextBox 1">
            <a:extLst>
              <a:ext uri="{FF2B5EF4-FFF2-40B4-BE49-F238E27FC236}">
                <a16:creationId xmlns:a16="http://schemas.microsoft.com/office/drawing/2014/main" id="{CD1EB4D0-099B-9525-A8CA-941F955CFF63}"/>
              </a:ext>
            </a:extLst>
          </p:cNvPr>
          <p:cNvSpPr txBox="1"/>
          <p:nvPr userDrawn="1"/>
        </p:nvSpPr>
        <p:spPr>
          <a:xfrm>
            <a:off x="-219456" y="1929384"/>
            <a:ext cx="0" cy="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rtlCol="0">
            <a:noAutofit/>
          </a:bodyPr>
          <a:lstStyle/>
          <a:p>
            <a:pPr marL="444465" indent="-446749" algn="l" defTabSz="2438400">
              <a:spcBef>
                <a:spcPts val="2900"/>
              </a:spcBef>
              <a:buSzPct val="100000"/>
              <a:buFontTx/>
              <a:buChar char="–"/>
            </a:pPr>
            <a:endParaRPr lang="en-US" kern="0">
              <a:solidFill>
                <a:srgbClr val="000000"/>
              </a:solidFill>
              <a:ea typeface="+mj-ea"/>
              <a:cs typeface="+mj-cs"/>
              <a:sym typeface="IBM Plex Sans Light"/>
            </a:endParaRPr>
          </a:p>
        </p:txBody>
      </p:sp>
    </p:spTree>
    <p:extLst>
      <p:ext uri="{BB962C8B-B14F-4D97-AF65-F5344CB8AC3E}">
        <p14:creationId xmlns:p14="http://schemas.microsoft.com/office/powerpoint/2010/main" val="3487819201"/>
      </p:ext>
    </p:extLst>
  </p:cSld>
  <p:clrMapOvr>
    <a:masterClrMapping/>
  </p:clrMapOvr>
  <p:transition spd="med"/>
  <p:extLst>
    <p:ext uri="{DCECCB84-F9BA-43D5-87BE-67443E8EF086}">
      <p15:sldGuideLst xmlns:p15="http://schemas.microsoft.com/office/powerpoint/2012/main">
        <p15:guide id="2" orient="horz" pos="4656">
          <p15:clr>
            <a:srgbClr val="F26B43"/>
          </p15:clr>
        </p15:guide>
        <p15:guide id="3" orient="horz" pos="960">
          <p15:clr>
            <a:srgbClr val="F26B43"/>
          </p15:clr>
        </p15:guide>
        <p15:guide id="4" orient="horz" pos="1704">
          <p15:clr>
            <a:srgbClr val="F26B43"/>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Half image">
    <p:bg>
      <p:bgPr>
        <a:solidFill>
          <a:schemeClr val="tx1"/>
        </a:solidFill>
        <a:effectLst/>
      </p:bgPr>
    </p:bg>
    <p:spTree>
      <p:nvGrpSpPr>
        <p:cNvPr id="1" name=""/>
        <p:cNvGrpSpPr/>
        <p:nvPr/>
      </p:nvGrpSpPr>
      <p:grpSpPr>
        <a:xfrm>
          <a:off x="0" y="0"/>
          <a:ext cx="0" cy="0"/>
          <a:chOff x="0" y="0"/>
          <a:chExt cx="0" cy="0"/>
        </a:xfrm>
      </p:grpSpPr>
      <p:sp>
        <p:nvSpPr>
          <p:cNvPr id="4" name="Picture Placeholder 5">
            <a:extLst>
              <a:ext uri="{FF2B5EF4-FFF2-40B4-BE49-F238E27FC236}">
                <a16:creationId xmlns:a16="http://schemas.microsoft.com/office/drawing/2014/main" id="{06CF6CF3-8491-8469-EF6E-6DF4249EBF58}"/>
              </a:ext>
            </a:extLst>
          </p:cNvPr>
          <p:cNvSpPr>
            <a:spLocks noGrp="1"/>
          </p:cNvSpPr>
          <p:nvPr>
            <p:ph type="pic" sz="quarter" idx="13" hasCustomPrompt="1"/>
          </p:nvPr>
        </p:nvSpPr>
        <p:spPr>
          <a:xfrm>
            <a:off x="6238875" y="0"/>
            <a:ext cx="5953125" cy="6858000"/>
          </a:xfrm>
          <a:solidFill>
            <a:schemeClr val="bg1"/>
          </a:solidFill>
        </p:spPr>
        <p:txBody>
          <a:bodyPr anchor="ctr"/>
          <a:lstStyle>
            <a:lvl1pPr algn="ctr">
              <a:defRPr>
                <a:solidFill>
                  <a:schemeClr val="tx1"/>
                </a:solidFill>
              </a:defRPr>
            </a:lvl1pPr>
          </a:lstStyle>
          <a:p>
            <a:r>
              <a:rPr lang="en-US"/>
              <a:t>[add image]</a:t>
            </a:r>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95469" y="1221441"/>
            <a:ext cx="5657657" cy="4938059"/>
          </a:xfrm>
          <a:prstGeom prst="rect">
            <a:avLst/>
          </a:prstGeom>
        </p:spPr>
        <p:txBody>
          <a:bodyPr/>
          <a:lstStyle>
            <a:lvl1pPr>
              <a:spcBef>
                <a:spcPts val="0"/>
              </a:spcBef>
              <a:defRPr sz="1500" b="0" i="0">
                <a:solidFill>
                  <a:schemeClr val="bg2"/>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2"/>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2"/>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2"/>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itle Text">
            <a:extLst>
              <a:ext uri="{FF2B5EF4-FFF2-40B4-BE49-F238E27FC236}">
                <a16:creationId xmlns:a16="http://schemas.microsoft.com/office/drawing/2014/main" id="{4B5980F9-A7B7-7DE7-65FD-745FC498DFDB}"/>
              </a:ext>
            </a:extLst>
          </p:cNvPr>
          <p:cNvSpPr txBox="1">
            <a:spLocks noGrp="1"/>
          </p:cNvSpPr>
          <p:nvPr>
            <p:ph type="title" hasCustomPrompt="1"/>
          </p:nvPr>
        </p:nvSpPr>
        <p:spPr>
          <a:xfrm>
            <a:off x="290211" y="295139"/>
            <a:ext cx="5657657" cy="386603"/>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73152" rIns="0" bIns="0"/>
          <a:lstStyle/>
          <a:p>
            <a:r>
              <a:rPr lang="en-US"/>
              <a:t>Half image</a:t>
            </a:r>
            <a:endParaRPr/>
          </a:p>
        </p:txBody>
      </p:sp>
      <p:sp>
        <p:nvSpPr>
          <p:cNvPr id="6" name="Text Placeholder 3">
            <a:extLst>
              <a:ext uri="{FF2B5EF4-FFF2-40B4-BE49-F238E27FC236}">
                <a16:creationId xmlns:a16="http://schemas.microsoft.com/office/drawing/2014/main" id="{97CF5AB9-188C-F7FE-47D0-616D908F404A}"/>
              </a:ext>
            </a:extLst>
          </p:cNvPr>
          <p:cNvSpPr txBox="1">
            <a:spLocks/>
          </p:cNvSpPr>
          <p:nvPr userDrawn="1"/>
        </p:nvSpPr>
        <p:spPr>
          <a:xfrm>
            <a:off x="11438259" y="6458629"/>
            <a:ext cx="462473" cy="150303"/>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Outfit Light" pitchFamily="2" charset="0"/>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r" defTabSz="1218948" rtl="0" eaLnBrk="1" fontAlgn="auto" latinLnBrk="0" hangingPunct="1">
              <a:lnSpc>
                <a:spcPct val="110000"/>
              </a:lnSpc>
              <a:spcBef>
                <a:spcPts val="0"/>
              </a:spcBef>
              <a:spcAft>
                <a:spcPts val="0"/>
              </a:spcAft>
              <a:buClrTx/>
              <a:buSzTx/>
              <a:buFontTx/>
              <a:buNone/>
              <a:tabLst/>
              <a:defRPr/>
            </a:pPr>
            <a:fld id="{64F0821C-65D3-DD4D-8DB2-745946DB9115}" type="slidenum">
              <a:rPr kumimoji="0" lang="en-US" sz="917" b="0" i="0" u="none" strike="noStrike" kern="0" cap="none" spc="0" normalizeH="0" baseline="0" noProof="0" smtClean="0">
                <a:ln>
                  <a:noFill/>
                </a:ln>
                <a:solidFill>
                  <a:schemeClr val="tx1"/>
                </a:solidFill>
                <a:effectLst/>
                <a:uLnTx/>
                <a:uFillTx/>
                <a:latin typeface="Aptos" panose="020B0004020202020204" pitchFamily="34" charset="0"/>
                <a:ea typeface="+mj-ea"/>
                <a:cs typeface="+mj-cs"/>
                <a:sym typeface="IBM Plex Sans Light"/>
              </a:rPr>
              <a:pPr marL="0" marR="0" lvl="0" indent="0" algn="r" defTabSz="1218948" rtl="0" eaLnBrk="1" fontAlgn="auto" latinLnBrk="0" hangingPunct="1">
                <a:lnSpc>
                  <a:spcPct val="110000"/>
                </a:lnSpc>
                <a:spcBef>
                  <a:spcPts val="0"/>
                </a:spcBef>
                <a:spcAft>
                  <a:spcPts val="0"/>
                </a:spcAft>
                <a:buClrTx/>
                <a:buSzTx/>
                <a:buFontTx/>
                <a:buNone/>
                <a:tabLst/>
                <a:defRPr/>
              </a:pPr>
              <a:t>‹#›</a:t>
            </a:fld>
            <a:endParaRPr kumimoji="0" lang="en-US" sz="917" b="0" i="0" u="none" strike="noStrike" kern="0" cap="none" spc="0" normalizeH="0" baseline="0" noProof="0">
              <a:ln>
                <a:noFill/>
              </a:ln>
              <a:solidFill>
                <a:schemeClr val="tx1"/>
              </a:solidFill>
              <a:effectLst/>
              <a:uLnTx/>
              <a:uFillTx/>
              <a:latin typeface="Aptos" panose="020B0004020202020204" pitchFamily="34" charset="0"/>
              <a:ea typeface="+mj-ea"/>
              <a:cs typeface="+mj-cs"/>
              <a:sym typeface="IBM Plex Sans Light"/>
            </a:endParaRPr>
          </a:p>
        </p:txBody>
      </p:sp>
      <p:pic>
        <p:nvPicPr>
          <p:cNvPr id="8" name="Graphic 7">
            <a:extLst>
              <a:ext uri="{FF2B5EF4-FFF2-40B4-BE49-F238E27FC236}">
                <a16:creationId xmlns:a16="http://schemas.microsoft.com/office/drawing/2014/main" id="{347BA4B1-3F51-247D-13A4-970446FB362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543540" y="6495499"/>
            <a:ext cx="167269" cy="81501"/>
          </a:xfrm>
          <a:prstGeom prst="rect">
            <a:avLst/>
          </a:prstGeom>
        </p:spPr>
      </p:pic>
    </p:spTree>
    <p:extLst>
      <p:ext uri="{BB962C8B-B14F-4D97-AF65-F5344CB8AC3E}">
        <p14:creationId xmlns:p14="http://schemas.microsoft.com/office/powerpoint/2010/main" val="3824168222"/>
      </p:ext>
    </p:extLst>
  </p:cSld>
  <p:clrMapOvr>
    <a:masterClrMapping/>
  </p:clrMapOvr>
  <p:transition spd="med"/>
  <p:extLst>
    <p:ext uri="{DCECCB84-F9BA-43D5-87BE-67443E8EF086}">
      <p15:sldGuideLst xmlns:p15="http://schemas.microsoft.com/office/powerpoint/2012/main">
        <p15:guide id="2" orient="horz" pos="4656">
          <p15:clr>
            <a:srgbClr val="F26B43"/>
          </p15:clr>
        </p15:guide>
        <p15:guide id="3" orient="horz" pos="912">
          <p15:clr>
            <a:srgbClr val="F26B43"/>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4 image">
    <p:bg>
      <p:bgPr>
        <a:solidFill>
          <a:schemeClr val="tx1"/>
        </a:solidFill>
        <a:effectLst/>
      </p:bgPr>
    </p:bg>
    <p:spTree>
      <p:nvGrpSpPr>
        <p:cNvPr id="1" name=""/>
        <p:cNvGrpSpPr/>
        <p:nvPr/>
      </p:nvGrpSpPr>
      <p:grpSpPr>
        <a:xfrm>
          <a:off x="0" y="0"/>
          <a:ext cx="0" cy="0"/>
          <a:chOff x="0" y="0"/>
          <a:chExt cx="0" cy="0"/>
        </a:xfrm>
      </p:grpSpPr>
      <p:sp>
        <p:nvSpPr>
          <p:cNvPr id="4" name="Picture Placeholder 5">
            <a:extLst>
              <a:ext uri="{FF2B5EF4-FFF2-40B4-BE49-F238E27FC236}">
                <a16:creationId xmlns:a16="http://schemas.microsoft.com/office/drawing/2014/main" id="{06CF6CF3-8491-8469-EF6E-6DF4249EBF58}"/>
              </a:ext>
            </a:extLst>
          </p:cNvPr>
          <p:cNvSpPr>
            <a:spLocks noGrp="1"/>
          </p:cNvSpPr>
          <p:nvPr>
            <p:ph type="pic" sz="quarter" idx="13" hasCustomPrompt="1"/>
          </p:nvPr>
        </p:nvSpPr>
        <p:spPr>
          <a:xfrm>
            <a:off x="9215437" y="0"/>
            <a:ext cx="2976562" cy="6858000"/>
          </a:xfrm>
          <a:solidFill>
            <a:schemeClr val="bg1"/>
          </a:solidFill>
        </p:spPr>
        <p:txBody>
          <a:bodyPr anchor="ctr"/>
          <a:lstStyle>
            <a:lvl1pPr algn="ctr">
              <a:defRPr>
                <a:solidFill>
                  <a:schemeClr val="tx1"/>
                </a:solidFill>
              </a:defRPr>
            </a:lvl1pPr>
          </a:lstStyle>
          <a:p>
            <a:r>
              <a:rPr lang="en-US"/>
              <a:t>[add image]</a:t>
            </a:r>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95469" y="1221441"/>
            <a:ext cx="8639478" cy="4938059"/>
          </a:xfrm>
          <a:prstGeom prst="rect">
            <a:avLst/>
          </a:prstGeom>
        </p:spPr>
        <p:txBody>
          <a:bodyPr/>
          <a:lstStyle>
            <a:lvl1pPr>
              <a:spcBef>
                <a:spcPts val="0"/>
              </a:spcBef>
              <a:defRPr sz="1500" b="0" i="0">
                <a:solidFill>
                  <a:schemeClr val="bg2"/>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2"/>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2"/>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2"/>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itle Text">
            <a:extLst>
              <a:ext uri="{FF2B5EF4-FFF2-40B4-BE49-F238E27FC236}">
                <a16:creationId xmlns:a16="http://schemas.microsoft.com/office/drawing/2014/main" id="{4B5980F9-A7B7-7DE7-65FD-745FC498DFDB}"/>
              </a:ext>
            </a:extLst>
          </p:cNvPr>
          <p:cNvSpPr txBox="1">
            <a:spLocks noGrp="1"/>
          </p:cNvSpPr>
          <p:nvPr>
            <p:ph type="title" hasCustomPrompt="1"/>
          </p:nvPr>
        </p:nvSpPr>
        <p:spPr>
          <a:xfrm>
            <a:off x="290210" y="295139"/>
            <a:ext cx="8639478" cy="386603"/>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73152" rIns="0" bIns="0"/>
          <a:lstStyle/>
          <a:p>
            <a:r>
              <a:rPr lang="en-US"/>
              <a:t>1/4 image</a:t>
            </a:r>
            <a:endParaRPr/>
          </a:p>
        </p:txBody>
      </p:sp>
      <p:sp>
        <p:nvSpPr>
          <p:cNvPr id="6" name="Text Placeholder 3">
            <a:extLst>
              <a:ext uri="{FF2B5EF4-FFF2-40B4-BE49-F238E27FC236}">
                <a16:creationId xmlns:a16="http://schemas.microsoft.com/office/drawing/2014/main" id="{97CF5AB9-188C-F7FE-47D0-616D908F404A}"/>
              </a:ext>
            </a:extLst>
          </p:cNvPr>
          <p:cNvSpPr txBox="1">
            <a:spLocks/>
          </p:cNvSpPr>
          <p:nvPr userDrawn="1"/>
        </p:nvSpPr>
        <p:spPr>
          <a:xfrm>
            <a:off x="11438259" y="6458629"/>
            <a:ext cx="462473" cy="150303"/>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Outfit Light" pitchFamily="2" charset="0"/>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r" defTabSz="1218948" rtl="0" eaLnBrk="1" fontAlgn="auto" latinLnBrk="0" hangingPunct="1">
              <a:lnSpc>
                <a:spcPct val="110000"/>
              </a:lnSpc>
              <a:spcBef>
                <a:spcPts val="0"/>
              </a:spcBef>
              <a:spcAft>
                <a:spcPts val="0"/>
              </a:spcAft>
              <a:buClrTx/>
              <a:buSzTx/>
              <a:buFontTx/>
              <a:buNone/>
              <a:tabLst/>
              <a:defRPr/>
            </a:pPr>
            <a:fld id="{64F0821C-65D3-DD4D-8DB2-745946DB9115}" type="slidenum">
              <a:rPr kumimoji="0" lang="en-US" sz="917" b="0" i="0" u="none" strike="noStrike" kern="0" cap="none" spc="0" normalizeH="0" baseline="0" noProof="0" smtClean="0">
                <a:ln>
                  <a:noFill/>
                </a:ln>
                <a:solidFill>
                  <a:schemeClr val="tx1"/>
                </a:solidFill>
                <a:effectLst/>
                <a:uLnTx/>
                <a:uFillTx/>
                <a:latin typeface="Aptos" panose="020B0004020202020204" pitchFamily="34" charset="0"/>
                <a:ea typeface="+mj-ea"/>
                <a:cs typeface="+mj-cs"/>
                <a:sym typeface="IBM Plex Sans Light"/>
              </a:rPr>
              <a:pPr marL="0" marR="0" lvl="0" indent="0" algn="r" defTabSz="1218948" rtl="0" eaLnBrk="1" fontAlgn="auto" latinLnBrk="0" hangingPunct="1">
                <a:lnSpc>
                  <a:spcPct val="110000"/>
                </a:lnSpc>
                <a:spcBef>
                  <a:spcPts val="0"/>
                </a:spcBef>
                <a:spcAft>
                  <a:spcPts val="0"/>
                </a:spcAft>
                <a:buClrTx/>
                <a:buSzTx/>
                <a:buFontTx/>
                <a:buNone/>
                <a:tabLst/>
                <a:defRPr/>
              </a:pPr>
              <a:t>‹#›</a:t>
            </a:fld>
            <a:endParaRPr kumimoji="0" lang="en-US" sz="917" b="0" i="0" u="none" strike="noStrike" kern="0" cap="none" spc="0" normalizeH="0" baseline="0" noProof="0">
              <a:ln>
                <a:noFill/>
              </a:ln>
              <a:solidFill>
                <a:schemeClr val="tx1"/>
              </a:solidFill>
              <a:effectLst/>
              <a:uLnTx/>
              <a:uFillTx/>
              <a:latin typeface="Aptos" panose="020B0004020202020204" pitchFamily="34" charset="0"/>
              <a:ea typeface="+mj-ea"/>
              <a:cs typeface="+mj-cs"/>
              <a:sym typeface="IBM Plex Sans Light"/>
            </a:endParaRPr>
          </a:p>
        </p:txBody>
      </p:sp>
      <p:pic>
        <p:nvPicPr>
          <p:cNvPr id="8" name="Graphic 7">
            <a:extLst>
              <a:ext uri="{FF2B5EF4-FFF2-40B4-BE49-F238E27FC236}">
                <a16:creationId xmlns:a16="http://schemas.microsoft.com/office/drawing/2014/main" id="{347BA4B1-3F51-247D-13A4-970446FB362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543540" y="6495499"/>
            <a:ext cx="167269" cy="81501"/>
          </a:xfrm>
          <a:prstGeom prst="rect">
            <a:avLst/>
          </a:prstGeom>
        </p:spPr>
      </p:pic>
    </p:spTree>
    <p:extLst>
      <p:ext uri="{BB962C8B-B14F-4D97-AF65-F5344CB8AC3E}">
        <p14:creationId xmlns:p14="http://schemas.microsoft.com/office/powerpoint/2010/main" val="372497779"/>
      </p:ext>
    </p:extLst>
  </p:cSld>
  <p:clrMapOvr>
    <a:masterClrMapping/>
  </p:clrMapOvr>
  <p:transition spd="med"/>
  <p:extLst>
    <p:ext uri="{DCECCB84-F9BA-43D5-87BE-67443E8EF086}">
      <p15:sldGuideLst xmlns:p15="http://schemas.microsoft.com/office/powerpoint/2012/main">
        <p15:guide id="2" orient="horz" pos="4656">
          <p15:clr>
            <a:srgbClr val="F26B43"/>
          </p15:clr>
        </p15:guide>
        <p15:guide id="3" orient="horz" pos="912">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2 intro text">
    <p:bg>
      <p:bgPr>
        <a:solidFill>
          <a:schemeClr val="tx1"/>
        </a:solidFill>
        <a:effectLst/>
      </p:bgPr>
    </p:bg>
    <p:spTree>
      <p:nvGrpSpPr>
        <p:cNvPr id="1" name=""/>
        <p:cNvGrpSpPr/>
        <p:nvPr/>
      </p:nvGrpSpPr>
      <p:grpSpPr>
        <a:xfrm>
          <a:off x="0" y="0"/>
          <a:ext cx="0" cy="0"/>
          <a:chOff x="0" y="0"/>
          <a:chExt cx="0" cy="0"/>
        </a:xfrm>
      </p:grpSpPr>
      <p:sp>
        <p:nvSpPr>
          <p:cNvPr id="3" name="Title Text">
            <a:extLst>
              <a:ext uri="{FF2B5EF4-FFF2-40B4-BE49-F238E27FC236}">
                <a16:creationId xmlns:a16="http://schemas.microsoft.com/office/drawing/2014/main" id="{4B5980F9-A7B7-7DE7-65FD-745FC498DFDB}"/>
              </a:ext>
            </a:extLst>
          </p:cNvPr>
          <p:cNvSpPr txBox="1">
            <a:spLocks noGrp="1"/>
          </p:cNvSpPr>
          <p:nvPr>
            <p:ph type="title" hasCustomPrompt="1"/>
          </p:nvPr>
        </p:nvSpPr>
        <p:spPr>
          <a:xfrm>
            <a:off x="290212" y="259124"/>
            <a:ext cx="4670726" cy="317686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73152" rIns="0" bIns="0"/>
          <a:lstStyle>
            <a:lvl1pPr>
              <a:lnSpc>
                <a:spcPct val="90000"/>
              </a:lnSpc>
              <a:defRPr/>
            </a:lvl1pPr>
          </a:lstStyle>
          <a:p>
            <a:r>
              <a:rPr lang="en-US"/>
              <a:t>Long title or </a:t>
            </a:r>
            <a:br>
              <a:rPr lang="en-US"/>
            </a:br>
            <a:r>
              <a:rPr lang="en-US"/>
              <a:t>large intro text</a:t>
            </a:r>
            <a:endParaRPr/>
          </a:p>
        </p:txBody>
      </p:sp>
      <p:sp>
        <p:nvSpPr>
          <p:cNvPr id="2" name="Text Placeholder 4">
            <a:extLst>
              <a:ext uri="{FF2B5EF4-FFF2-40B4-BE49-F238E27FC236}">
                <a16:creationId xmlns:a16="http://schemas.microsoft.com/office/drawing/2014/main" id="{376D964F-C8A1-C871-5753-80704C0AE4DC}"/>
              </a:ext>
            </a:extLst>
          </p:cNvPr>
          <p:cNvSpPr>
            <a:spLocks noGrp="1"/>
          </p:cNvSpPr>
          <p:nvPr>
            <p:ph type="body" sz="quarter" idx="13"/>
          </p:nvPr>
        </p:nvSpPr>
        <p:spPr>
          <a:xfrm>
            <a:off x="6250082" y="295140"/>
            <a:ext cx="2679606" cy="5864361"/>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BC3CC31F-CAF3-5950-1F6D-B721F038F566}"/>
              </a:ext>
            </a:extLst>
          </p:cNvPr>
          <p:cNvSpPr>
            <a:spLocks noGrp="1"/>
          </p:cNvSpPr>
          <p:nvPr>
            <p:ph type="body" sz="quarter" idx="14"/>
          </p:nvPr>
        </p:nvSpPr>
        <p:spPr>
          <a:xfrm>
            <a:off x="9219640" y="295140"/>
            <a:ext cx="2686611" cy="5864361"/>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589307802"/>
      </p:ext>
    </p:extLst>
  </p:cSld>
  <p:clrMapOvr>
    <a:masterClrMapping/>
  </p:clrMapOvr>
  <p:transition spd="med"/>
  <p:extLst>
    <p:ext uri="{DCECCB84-F9BA-43D5-87BE-67443E8EF086}">
      <p15:sldGuideLst xmlns:p15="http://schemas.microsoft.com/office/powerpoint/2012/main">
        <p15:guide id="2" orient="horz" pos="4656">
          <p15:clr>
            <a:srgbClr val="F26B43"/>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3 image">
    <p:bg>
      <p:bgPr>
        <a:solidFill>
          <a:schemeClr val="tx1"/>
        </a:solidFill>
        <a:effectLst/>
      </p:bgPr>
    </p:bg>
    <p:spTree>
      <p:nvGrpSpPr>
        <p:cNvPr id="1" name=""/>
        <p:cNvGrpSpPr/>
        <p:nvPr/>
      </p:nvGrpSpPr>
      <p:grpSpPr>
        <a:xfrm>
          <a:off x="0" y="0"/>
          <a:ext cx="0" cy="0"/>
          <a:chOff x="0" y="0"/>
          <a:chExt cx="0" cy="0"/>
        </a:xfrm>
      </p:grpSpPr>
      <p:sp>
        <p:nvSpPr>
          <p:cNvPr id="4" name="Picture Placeholder 5">
            <a:extLst>
              <a:ext uri="{FF2B5EF4-FFF2-40B4-BE49-F238E27FC236}">
                <a16:creationId xmlns:a16="http://schemas.microsoft.com/office/drawing/2014/main" id="{06CF6CF3-8491-8469-EF6E-6DF4249EBF58}"/>
              </a:ext>
            </a:extLst>
          </p:cNvPr>
          <p:cNvSpPr>
            <a:spLocks noGrp="1"/>
          </p:cNvSpPr>
          <p:nvPr>
            <p:ph type="pic" sz="quarter" idx="13" hasCustomPrompt="1"/>
          </p:nvPr>
        </p:nvSpPr>
        <p:spPr>
          <a:xfrm>
            <a:off x="4254501" y="0"/>
            <a:ext cx="7937499" cy="6858000"/>
          </a:xfrm>
          <a:solidFill>
            <a:schemeClr val="bg1"/>
          </a:solidFill>
        </p:spPr>
        <p:txBody>
          <a:bodyPr anchor="ctr"/>
          <a:lstStyle>
            <a:lvl1pPr algn="ctr">
              <a:defRPr>
                <a:solidFill>
                  <a:schemeClr val="tx1"/>
                </a:solidFill>
              </a:defRPr>
            </a:lvl1pPr>
          </a:lstStyle>
          <a:p>
            <a:r>
              <a:rPr lang="en-US"/>
              <a:t>[add image]</a:t>
            </a:r>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95470" y="1221441"/>
            <a:ext cx="3673281" cy="4938059"/>
          </a:xfrm>
          <a:prstGeom prst="rect">
            <a:avLst/>
          </a:prstGeom>
        </p:spPr>
        <p:txBody>
          <a:bodyPr/>
          <a:lstStyle>
            <a:lvl1pPr>
              <a:spcBef>
                <a:spcPts val="0"/>
              </a:spcBef>
              <a:defRPr sz="1500" b="0" i="0">
                <a:solidFill>
                  <a:schemeClr val="bg2"/>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2"/>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2"/>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2"/>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itle Text">
            <a:extLst>
              <a:ext uri="{FF2B5EF4-FFF2-40B4-BE49-F238E27FC236}">
                <a16:creationId xmlns:a16="http://schemas.microsoft.com/office/drawing/2014/main" id="{4B5980F9-A7B7-7DE7-65FD-745FC498DFDB}"/>
              </a:ext>
            </a:extLst>
          </p:cNvPr>
          <p:cNvSpPr txBox="1">
            <a:spLocks noGrp="1"/>
          </p:cNvSpPr>
          <p:nvPr>
            <p:ph type="title" hasCustomPrompt="1"/>
          </p:nvPr>
        </p:nvSpPr>
        <p:spPr>
          <a:xfrm>
            <a:off x="290211" y="295139"/>
            <a:ext cx="3673281" cy="386603"/>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73152" rIns="0" bIns="0"/>
          <a:lstStyle/>
          <a:p>
            <a:r>
              <a:rPr lang="en-US"/>
              <a:t>2/3 image</a:t>
            </a:r>
            <a:endParaRPr/>
          </a:p>
        </p:txBody>
      </p:sp>
      <p:sp>
        <p:nvSpPr>
          <p:cNvPr id="6" name="Text Placeholder 3">
            <a:extLst>
              <a:ext uri="{FF2B5EF4-FFF2-40B4-BE49-F238E27FC236}">
                <a16:creationId xmlns:a16="http://schemas.microsoft.com/office/drawing/2014/main" id="{97CF5AB9-188C-F7FE-47D0-616D908F404A}"/>
              </a:ext>
            </a:extLst>
          </p:cNvPr>
          <p:cNvSpPr txBox="1">
            <a:spLocks/>
          </p:cNvSpPr>
          <p:nvPr userDrawn="1"/>
        </p:nvSpPr>
        <p:spPr>
          <a:xfrm>
            <a:off x="11438259" y="6458629"/>
            <a:ext cx="462473" cy="150303"/>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Outfit Light" pitchFamily="2" charset="0"/>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r" defTabSz="1218948" rtl="0" eaLnBrk="1" fontAlgn="auto" latinLnBrk="0" hangingPunct="1">
              <a:lnSpc>
                <a:spcPct val="110000"/>
              </a:lnSpc>
              <a:spcBef>
                <a:spcPts val="0"/>
              </a:spcBef>
              <a:spcAft>
                <a:spcPts val="0"/>
              </a:spcAft>
              <a:buClrTx/>
              <a:buSzTx/>
              <a:buFontTx/>
              <a:buNone/>
              <a:tabLst/>
              <a:defRPr/>
            </a:pPr>
            <a:fld id="{64F0821C-65D3-DD4D-8DB2-745946DB9115}" type="slidenum">
              <a:rPr kumimoji="0" lang="en-US" sz="917" b="0" i="0" u="none" strike="noStrike" kern="0" cap="none" spc="0" normalizeH="0" baseline="0" noProof="0" smtClean="0">
                <a:ln>
                  <a:noFill/>
                </a:ln>
                <a:solidFill>
                  <a:schemeClr val="tx1"/>
                </a:solidFill>
                <a:effectLst/>
                <a:uLnTx/>
                <a:uFillTx/>
                <a:latin typeface="Aptos" panose="020B0004020202020204" pitchFamily="34" charset="0"/>
                <a:ea typeface="+mj-ea"/>
                <a:cs typeface="+mj-cs"/>
                <a:sym typeface="IBM Plex Sans Light"/>
              </a:rPr>
              <a:pPr marL="0" marR="0" lvl="0" indent="0" algn="r" defTabSz="1218948" rtl="0" eaLnBrk="1" fontAlgn="auto" latinLnBrk="0" hangingPunct="1">
                <a:lnSpc>
                  <a:spcPct val="110000"/>
                </a:lnSpc>
                <a:spcBef>
                  <a:spcPts val="0"/>
                </a:spcBef>
                <a:spcAft>
                  <a:spcPts val="0"/>
                </a:spcAft>
                <a:buClrTx/>
                <a:buSzTx/>
                <a:buFontTx/>
                <a:buNone/>
                <a:tabLst/>
                <a:defRPr/>
              </a:pPr>
              <a:t>‹#›</a:t>
            </a:fld>
            <a:endParaRPr kumimoji="0" lang="en-US" sz="917" b="0" i="0" u="none" strike="noStrike" kern="0" cap="none" spc="0" normalizeH="0" baseline="0" noProof="0">
              <a:ln>
                <a:noFill/>
              </a:ln>
              <a:solidFill>
                <a:schemeClr val="tx1"/>
              </a:solidFill>
              <a:effectLst/>
              <a:uLnTx/>
              <a:uFillTx/>
              <a:latin typeface="Aptos" panose="020B0004020202020204" pitchFamily="34" charset="0"/>
              <a:ea typeface="+mj-ea"/>
              <a:cs typeface="+mj-cs"/>
              <a:sym typeface="IBM Plex Sans Light"/>
            </a:endParaRPr>
          </a:p>
        </p:txBody>
      </p:sp>
      <p:pic>
        <p:nvPicPr>
          <p:cNvPr id="8" name="Graphic 7">
            <a:extLst>
              <a:ext uri="{FF2B5EF4-FFF2-40B4-BE49-F238E27FC236}">
                <a16:creationId xmlns:a16="http://schemas.microsoft.com/office/drawing/2014/main" id="{347BA4B1-3F51-247D-13A4-970446FB362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543540" y="6495499"/>
            <a:ext cx="167269" cy="81501"/>
          </a:xfrm>
          <a:prstGeom prst="rect">
            <a:avLst/>
          </a:prstGeom>
        </p:spPr>
      </p:pic>
    </p:spTree>
    <p:extLst>
      <p:ext uri="{BB962C8B-B14F-4D97-AF65-F5344CB8AC3E}">
        <p14:creationId xmlns:p14="http://schemas.microsoft.com/office/powerpoint/2010/main" val="3028121344"/>
      </p:ext>
    </p:extLst>
  </p:cSld>
  <p:clrMapOvr>
    <a:masterClrMapping/>
  </p:clrMapOvr>
  <p:transition spd="med"/>
  <p:extLst>
    <p:ext uri="{DCECCB84-F9BA-43D5-87BE-67443E8EF086}">
      <p15:sldGuideLst xmlns:p15="http://schemas.microsoft.com/office/powerpoint/2012/main">
        <p15:guide id="2" orient="horz" pos="4656">
          <p15:clr>
            <a:srgbClr val="F26B43"/>
          </p15:clr>
        </p15:guide>
        <p15:guide id="3" orient="horz" pos="912">
          <p15:clr>
            <a:srgbClr val="F26B43"/>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ull image">
    <p:bg>
      <p:bgPr>
        <a:solidFill>
          <a:schemeClr val="tx1"/>
        </a:solidFill>
        <a:effectLst/>
      </p:bgPr>
    </p:bg>
    <p:spTree>
      <p:nvGrpSpPr>
        <p:cNvPr id="1" name=""/>
        <p:cNvGrpSpPr/>
        <p:nvPr/>
      </p:nvGrpSpPr>
      <p:grpSpPr>
        <a:xfrm>
          <a:off x="0" y="0"/>
          <a:ext cx="0" cy="0"/>
          <a:chOff x="0" y="0"/>
          <a:chExt cx="0" cy="0"/>
        </a:xfrm>
      </p:grpSpPr>
      <p:sp>
        <p:nvSpPr>
          <p:cNvPr id="4" name="Picture Placeholder 5">
            <a:extLst>
              <a:ext uri="{FF2B5EF4-FFF2-40B4-BE49-F238E27FC236}">
                <a16:creationId xmlns:a16="http://schemas.microsoft.com/office/drawing/2014/main" id="{06CF6CF3-8491-8469-EF6E-6DF4249EBF58}"/>
              </a:ext>
            </a:extLst>
          </p:cNvPr>
          <p:cNvSpPr>
            <a:spLocks noGrp="1"/>
          </p:cNvSpPr>
          <p:nvPr>
            <p:ph type="pic" sz="quarter" idx="13" hasCustomPrompt="1"/>
          </p:nvPr>
        </p:nvSpPr>
        <p:spPr>
          <a:xfrm>
            <a:off x="1" y="0"/>
            <a:ext cx="12191999" cy="6858000"/>
          </a:xfrm>
          <a:solidFill>
            <a:schemeClr val="bg1"/>
          </a:solidFill>
        </p:spPr>
        <p:txBody>
          <a:bodyPr anchor="ctr"/>
          <a:lstStyle>
            <a:lvl1pPr algn="ctr">
              <a:defRPr>
                <a:solidFill>
                  <a:schemeClr val="tx1"/>
                </a:solidFill>
              </a:defRPr>
            </a:lvl1pPr>
          </a:lstStyle>
          <a:p>
            <a:r>
              <a:rPr lang="en-US"/>
              <a:t>[add full image]</a:t>
            </a:r>
          </a:p>
        </p:txBody>
      </p:sp>
      <p:sp>
        <p:nvSpPr>
          <p:cNvPr id="2" name="Text Placeholder 3">
            <a:extLst>
              <a:ext uri="{FF2B5EF4-FFF2-40B4-BE49-F238E27FC236}">
                <a16:creationId xmlns:a16="http://schemas.microsoft.com/office/drawing/2014/main" id="{58FB3813-5A01-A86A-A140-973431D7417F}"/>
              </a:ext>
            </a:extLst>
          </p:cNvPr>
          <p:cNvSpPr txBox="1">
            <a:spLocks/>
          </p:cNvSpPr>
          <p:nvPr userDrawn="1"/>
        </p:nvSpPr>
        <p:spPr>
          <a:xfrm>
            <a:off x="11438259" y="6458629"/>
            <a:ext cx="462473" cy="150303"/>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Outfit Light" pitchFamily="2" charset="0"/>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r" defTabSz="1218948" rtl="0" eaLnBrk="1" fontAlgn="auto" latinLnBrk="0" hangingPunct="1">
              <a:lnSpc>
                <a:spcPct val="110000"/>
              </a:lnSpc>
              <a:spcBef>
                <a:spcPts val="0"/>
              </a:spcBef>
              <a:spcAft>
                <a:spcPts val="0"/>
              </a:spcAft>
              <a:buClrTx/>
              <a:buSzTx/>
              <a:buFontTx/>
              <a:buNone/>
              <a:tabLst/>
              <a:defRPr/>
            </a:pPr>
            <a:fld id="{64F0821C-65D3-DD4D-8DB2-745946DB9115}" type="slidenum">
              <a:rPr kumimoji="0" lang="en-US" sz="917" b="0" i="0" u="none" strike="noStrike" kern="0" cap="none" spc="0" normalizeH="0" baseline="0" noProof="0" smtClean="0">
                <a:ln>
                  <a:noFill/>
                </a:ln>
                <a:solidFill>
                  <a:schemeClr val="tx1"/>
                </a:solidFill>
                <a:effectLst/>
                <a:uLnTx/>
                <a:uFillTx/>
                <a:latin typeface="Aptos" panose="020B0004020202020204" pitchFamily="34" charset="0"/>
                <a:ea typeface="+mj-ea"/>
                <a:cs typeface="+mj-cs"/>
                <a:sym typeface="IBM Plex Sans Light"/>
              </a:rPr>
              <a:pPr marL="0" marR="0" lvl="0" indent="0" algn="r" defTabSz="1218948" rtl="0" eaLnBrk="1" fontAlgn="auto" latinLnBrk="0" hangingPunct="1">
                <a:lnSpc>
                  <a:spcPct val="110000"/>
                </a:lnSpc>
                <a:spcBef>
                  <a:spcPts val="0"/>
                </a:spcBef>
                <a:spcAft>
                  <a:spcPts val="0"/>
                </a:spcAft>
                <a:buClrTx/>
                <a:buSzTx/>
                <a:buFontTx/>
                <a:buNone/>
                <a:tabLst/>
                <a:defRPr/>
              </a:pPr>
              <a:t>‹#›</a:t>
            </a:fld>
            <a:endParaRPr kumimoji="0" lang="en-US" sz="917" b="0" i="0" u="none" strike="noStrike" kern="0" cap="none" spc="0" normalizeH="0" baseline="0" noProof="0">
              <a:ln>
                <a:noFill/>
              </a:ln>
              <a:solidFill>
                <a:schemeClr val="tx1"/>
              </a:solidFill>
              <a:effectLst/>
              <a:uLnTx/>
              <a:uFillTx/>
              <a:latin typeface="Aptos" panose="020B0004020202020204" pitchFamily="34" charset="0"/>
              <a:ea typeface="+mj-ea"/>
              <a:cs typeface="+mj-cs"/>
              <a:sym typeface="IBM Plex Sans Light"/>
            </a:endParaRPr>
          </a:p>
        </p:txBody>
      </p:sp>
      <p:pic>
        <p:nvPicPr>
          <p:cNvPr id="7" name="Graphic 6">
            <a:extLst>
              <a:ext uri="{FF2B5EF4-FFF2-40B4-BE49-F238E27FC236}">
                <a16:creationId xmlns:a16="http://schemas.microsoft.com/office/drawing/2014/main" id="{45931F86-4C64-9FBF-098B-1ADD1A26506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543540" y="6495499"/>
            <a:ext cx="167269" cy="81501"/>
          </a:xfrm>
          <a:prstGeom prst="rect">
            <a:avLst/>
          </a:prstGeom>
        </p:spPr>
      </p:pic>
      <p:sp>
        <p:nvSpPr>
          <p:cNvPr id="9" name="Text Placeholder 3">
            <a:extLst>
              <a:ext uri="{FF2B5EF4-FFF2-40B4-BE49-F238E27FC236}">
                <a16:creationId xmlns:a16="http://schemas.microsoft.com/office/drawing/2014/main" id="{866CA566-8F60-03D9-049C-F5E33522BDB6}"/>
              </a:ext>
            </a:extLst>
          </p:cNvPr>
          <p:cNvSpPr txBox="1">
            <a:spLocks/>
          </p:cNvSpPr>
          <p:nvPr userDrawn="1"/>
        </p:nvSpPr>
        <p:spPr>
          <a:xfrm>
            <a:off x="288889" y="6458629"/>
            <a:ext cx="4088233" cy="150303"/>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Outfit Light" pitchFamily="2" charset="0"/>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1218948" rtl="0" eaLnBrk="1" fontAlgn="auto" latinLnBrk="0" hangingPunct="1">
              <a:lnSpc>
                <a:spcPct val="110000"/>
              </a:lnSpc>
              <a:spcBef>
                <a:spcPts val="0"/>
              </a:spcBef>
              <a:spcAft>
                <a:spcPts val="0"/>
              </a:spcAft>
              <a:buClrTx/>
              <a:buSzTx/>
              <a:buFontTx/>
              <a:buNone/>
              <a:tabLst/>
              <a:defRPr/>
            </a:pPr>
            <a:r>
              <a:rPr kumimoji="0" lang="en-US" sz="917" b="0" i="0" u="none" strike="noStrike" kern="0" cap="none" spc="0" normalizeH="0" baseline="0" noProof="0">
                <a:ln>
                  <a:noFill/>
                </a:ln>
                <a:solidFill>
                  <a:schemeClr val="tx1"/>
                </a:solidFill>
                <a:effectLst/>
                <a:uLnTx/>
                <a:uFillTx/>
                <a:latin typeface="Aptos Light" panose="020B0004020202020204" pitchFamily="34" charset="0"/>
                <a:ea typeface="+mj-ea"/>
                <a:cs typeface="+mj-cs"/>
                <a:sym typeface="IBM Plex Sans Light"/>
              </a:rPr>
              <a:t>Confidential</a:t>
            </a:r>
            <a:r>
              <a:rPr kumimoji="0" lang="en-US" sz="917" b="0" i="0" u="none" strike="noStrike" kern="0" cap="none" spc="0" normalizeH="0" baseline="0" noProof="0">
                <a:ln>
                  <a:noFill/>
                </a:ln>
                <a:solidFill>
                  <a:schemeClr val="tx1"/>
                </a:solidFill>
                <a:effectLst/>
                <a:uLnTx/>
                <a:uFillTx/>
                <a:latin typeface="Aptos" panose="020B0004020202020204" pitchFamily="34" charset="0"/>
                <a:ea typeface="+mj-ea"/>
                <a:cs typeface="+mj-cs"/>
                <a:sym typeface="IBM Plex Sans Light"/>
              </a:rPr>
              <a:t>  /  </a:t>
            </a:r>
            <a:r>
              <a:rPr kumimoji="0" lang="en-US" sz="917" b="0" i="0" u="none" strike="noStrike" kern="0" cap="none" spc="0" normalizeH="0" baseline="0" noProof="0">
                <a:ln>
                  <a:noFill/>
                </a:ln>
                <a:solidFill>
                  <a:schemeClr val="tx1"/>
                </a:solidFill>
                <a:effectLst/>
                <a:uLnTx/>
                <a:uFillTx/>
                <a:latin typeface="Aptos Light" panose="020B0004020202020204" pitchFamily="34" charset="0"/>
                <a:ea typeface="+mj-ea"/>
                <a:cs typeface="+mj-cs"/>
                <a:sym typeface="IBM Plex Sans Light"/>
              </a:rPr>
              <a:t>Brillio</a:t>
            </a:r>
          </a:p>
        </p:txBody>
      </p:sp>
      <p:sp>
        <p:nvSpPr>
          <p:cNvPr id="10" name="Title Text">
            <a:extLst>
              <a:ext uri="{FF2B5EF4-FFF2-40B4-BE49-F238E27FC236}">
                <a16:creationId xmlns:a16="http://schemas.microsoft.com/office/drawing/2014/main" id="{2F82232D-23DD-4283-0987-40C92FF7B6C8}"/>
              </a:ext>
            </a:extLst>
          </p:cNvPr>
          <p:cNvSpPr txBox="1">
            <a:spLocks noGrp="1"/>
          </p:cNvSpPr>
          <p:nvPr>
            <p:ph type="title" hasCustomPrompt="1"/>
          </p:nvPr>
        </p:nvSpPr>
        <p:spPr>
          <a:xfrm>
            <a:off x="288555" y="305437"/>
            <a:ext cx="11606656" cy="386603"/>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73152" rIns="0" bIns="0"/>
          <a:lstStyle>
            <a:lvl1pPr>
              <a:defRPr>
                <a:solidFill>
                  <a:schemeClr val="tx1"/>
                </a:solidFill>
              </a:defRPr>
            </a:lvl1pPr>
          </a:lstStyle>
          <a:p>
            <a:r>
              <a:rPr lang="en-US"/>
              <a:t>Full image</a:t>
            </a:r>
            <a:endParaRPr/>
          </a:p>
        </p:txBody>
      </p:sp>
      <p:sp>
        <p:nvSpPr>
          <p:cNvPr id="3" name="TextBox 2">
            <a:extLst>
              <a:ext uri="{FF2B5EF4-FFF2-40B4-BE49-F238E27FC236}">
                <a16:creationId xmlns:a16="http://schemas.microsoft.com/office/drawing/2014/main" id="{948F5B8F-6D77-1116-23B9-28C0B741E1FD}"/>
              </a:ext>
            </a:extLst>
          </p:cNvPr>
          <p:cNvSpPr txBox="1"/>
          <p:nvPr userDrawn="1"/>
        </p:nvSpPr>
        <p:spPr>
          <a:xfrm>
            <a:off x="-237744" y="1527048"/>
            <a:ext cx="0" cy="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rtlCol="0">
            <a:noAutofit/>
          </a:bodyPr>
          <a:lstStyle/>
          <a:p>
            <a:pPr marL="444465" indent="-446749" algn="l" defTabSz="2438400">
              <a:spcBef>
                <a:spcPts val="2900"/>
              </a:spcBef>
              <a:buSzPct val="100000"/>
              <a:buFontTx/>
              <a:buChar char="–"/>
            </a:pPr>
            <a:endParaRPr lang="en-US" kern="0">
              <a:solidFill>
                <a:srgbClr val="000000"/>
              </a:solidFill>
              <a:ea typeface="+mj-ea"/>
              <a:cs typeface="+mj-cs"/>
              <a:sym typeface="IBM Plex Sans Light"/>
            </a:endParaRPr>
          </a:p>
        </p:txBody>
      </p:sp>
    </p:spTree>
    <p:extLst>
      <p:ext uri="{BB962C8B-B14F-4D97-AF65-F5344CB8AC3E}">
        <p14:creationId xmlns:p14="http://schemas.microsoft.com/office/powerpoint/2010/main" val="3468140499"/>
      </p:ext>
    </p:extLst>
  </p:cSld>
  <p:clrMapOvr>
    <a:masterClrMapping/>
  </p:clrMapOvr>
  <p:transition spd="med"/>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Bottom color block">
    <p:bg>
      <p:bgPr>
        <a:solidFill>
          <a:schemeClr val="tx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95470" y="1217706"/>
            <a:ext cx="2681094" cy="4941794"/>
          </a:xfrm>
          <a:prstGeom prst="rect">
            <a:avLst/>
          </a:prstGeom>
        </p:spPr>
        <p:txBody>
          <a:bodyPr/>
          <a:lstStyle>
            <a:lvl1pPr>
              <a:spcBef>
                <a:spcPts val="0"/>
              </a:spcBef>
              <a:defRPr sz="1500" b="0" i="0">
                <a:solidFill>
                  <a:schemeClr val="bg2"/>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2"/>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2"/>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2"/>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itle Text">
            <a:extLst>
              <a:ext uri="{FF2B5EF4-FFF2-40B4-BE49-F238E27FC236}">
                <a16:creationId xmlns:a16="http://schemas.microsoft.com/office/drawing/2014/main" id="{4B5980F9-A7B7-7DE7-65FD-745FC498DFDB}"/>
              </a:ext>
            </a:extLst>
          </p:cNvPr>
          <p:cNvSpPr txBox="1">
            <a:spLocks noGrp="1"/>
          </p:cNvSpPr>
          <p:nvPr>
            <p:ph type="title" hasCustomPrompt="1"/>
          </p:nvPr>
        </p:nvSpPr>
        <p:spPr>
          <a:xfrm>
            <a:off x="290212" y="295139"/>
            <a:ext cx="8639476" cy="386603"/>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73152" rIns="0" bIns="0"/>
          <a:lstStyle/>
          <a:p>
            <a:r>
              <a:rPr lang="en-US"/>
              <a:t>Half circle image</a:t>
            </a:r>
            <a:endParaRPr/>
          </a:p>
        </p:txBody>
      </p:sp>
      <p:sp>
        <p:nvSpPr>
          <p:cNvPr id="4" name="Text Placeholder 4">
            <a:extLst>
              <a:ext uri="{FF2B5EF4-FFF2-40B4-BE49-F238E27FC236}">
                <a16:creationId xmlns:a16="http://schemas.microsoft.com/office/drawing/2014/main" id="{6B78AFFA-760B-C379-5035-CB7ECAE05516}"/>
              </a:ext>
            </a:extLst>
          </p:cNvPr>
          <p:cNvSpPr>
            <a:spLocks noGrp="1"/>
          </p:cNvSpPr>
          <p:nvPr>
            <p:ph type="body" sz="quarter" idx="12"/>
          </p:nvPr>
        </p:nvSpPr>
        <p:spPr>
          <a:xfrm>
            <a:off x="3272031" y="1217706"/>
            <a:ext cx="2681094" cy="4941794"/>
          </a:xfrm>
          <a:prstGeom prst="rect">
            <a:avLst/>
          </a:prstGeom>
        </p:spPr>
        <p:txBody>
          <a:bodyPr/>
          <a:lstStyle>
            <a:lvl1pPr>
              <a:spcBef>
                <a:spcPts val="0"/>
              </a:spcBef>
              <a:defRPr sz="1500" b="0" i="0">
                <a:solidFill>
                  <a:schemeClr val="bg2"/>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2"/>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2"/>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2"/>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ext Placeholder 4">
            <a:extLst>
              <a:ext uri="{FF2B5EF4-FFF2-40B4-BE49-F238E27FC236}">
                <a16:creationId xmlns:a16="http://schemas.microsoft.com/office/drawing/2014/main" id="{376D964F-C8A1-C871-5753-80704C0AE4DC}"/>
              </a:ext>
            </a:extLst>
          </p:cNvPr>
          <p:cNvSpPr>
            <a:spLocks noGrp="1"/>
          </p:cNvSpPr>
          <p:nvPr>
            <p:ph type="body" sz="quarter" idx="13"/>
          </p:nvPr>
        </p:nvSpPr>
        <p:spPr>
          <a:xfrm>
            <a:off x="6250082" y="1217706"/>
            <a:ext cx="2679606" cy="4941794"/>
          </a:xfrm>
          <a:prstGeom prst="rect">
            <a:avLst/>
          </a:prstGeom>
        </p:spPr>
        <p:txBody>
          <a:bodyPr/>
          <a:lstStyle>
            <a:lvl1pPr>
              <a:spcBef>
                <a:spcPts val="0"/>
              </a:spcBef>
              <a:defRPr sz="1500" b="0" i="0">
                <a:solidFill>
                  <a:schemeClr val="bg2"/>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2"/>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2"/>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2"/>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Freeform: Shape 5">
            <a:extLst>
              <a:ext uri="{FF2B5EF4-FFF2-40B4-BE49-F238E27FC236}">
                <a16:creationId xmlns:a16="http://schemas.microsoft.com/office/drawing/2014/main" id="{E4B0EB2B-7117-FC86-E8DC-933DB03191EF}"/>
              </a:ext>
            </a:extLst>
          </p:cNvPr>
          <p:cNvSpPr>
            <a:spLocks noGrp="1"/>
          </p:cNvSpPr>
          <p:nvPr>
            <p:ph type="pic" sz="quarter" idx="10" hasCustomPrompt="1"/>
          </p:nvPr>
        </p:nvSpPr>
        <p:spPr>
          <a:xfrm flipH="1">
            <a:off x="9303437" y="299085"/>
            <a:ext cx="2890043" cy="5860415"/>
          </a:xfrm>
          <a:custGeom>
            <a:avLst/>
            <a:gdLst>
              <a:gd name="connsiteX0" fmla="*/ 0 w 2264458"/>
              <a:gd name="connsiteY0" fmla="*/ 0 h 4673463"/>
              <a:gd name="connsiteX1" fmla="*/ 163193 w 2264458"/>
              <a:gd name="connsiteY1" fmla="*/ 8241 h 4673463"/>
              <a:gd name="connsiteX2" fmla="*/ 2264458 w 2264458"/>
              <a:gd name="connsiteY2" fmla="*/ 2336732 h 4673463"/>
              <a:gd name="connsiteX3" fmla="*/ 163193 w 2264458"/>
              <a:gd name="connsiteY3" fmla="*/ 4665223 h 4673463"/>
              <a:gd name="connsiteX4" fmla="*/ 0 w 2264458"/>
              <a:gd name="connsiteY4" fmla="*/ 4673463 h 4673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4458" h="4673463">
                <a:moveTo>
                  <a:pt x="0" y="0"/>
                </a:moveTo>
                <a:lnTo>
                  <a:pt x="163193" y="8241"/>
                </a:lnTo>
                <a:cubicBezTo>
                  <a:pt x="1343443" y="128102"/>
                  <a:pt x="2264458" y="1124859"/>
                  <a:pt x="2264458" y="2336732"/>
                </a:cubicBezTo>
                <a:cubicBezTo>
                  <a:pt x="2264458" y="3548604"/>
                  <a:pt x="1343443" y="4545363"/>
                  <a:pt x="163193" y="4665223"/>
                </a:cubicBezTo>
                <a:lnTo>
                  <a:pt x="0" y="4673463"/>
                </a:lnTo>
                <a:close/>
              </a:path>
            </a:pathLst>
          </a:custGeom>
          <a:solidFill>
            <a:schemeClr val="bg1"/>
          </a:solidFill>
        </p:spPr>
        <p:txBody>
          <a:bodyPr wrap="square" anchor="ctr">
            <a:noAutofit/>
          </a:bodyPr>
          <a:lstStyle>
            <a:lvl1pPr marL="0" indent="0" algn="ctr">
              <a:buNone/>
              <a:defRPr>
                <a:solidFill>
                  <a:schemeClr val="tx1"/>
                </a:solidFill>
              </a:defRPr>
            </a:lvl1pPr>
          </a:lstStyle>
          <a:p>
            <a:pPr lvl="0"/>
            <a:r>
              <a:rPr lang="en-ID" noProof="0"/>
              <a:t>[add image]</a:t>
            </a:r>
          </a:p>
        </p:txBody>
      </p:sp>
    </p:spTree>
    <p:extLst>
      <p:ext uri="{BB962C8B-B14F-4D97-AF65-F5344CB8AC3E}">
        <p14:creationId xmlns:p14="http://schemas.microsoft.com/office/powerpoint/2010/main" val="3641519123"/>
      </p:ext>
    </p:extLst>
  </p:cSld>
  <p:clrMapOvr>
    <a:masterClrMapping/>
  </p:clrMapOvr>
  <p:transition spd="med"/>
  <p:extLst>
    <p:ext uri="{DCECCB84-F9BA-43D5-87BE-67443E8EF086}">
      <p15:sldGuideLst xmlns:p15="http://schemas.microsoft.com/office/powerpoint/2012/main">
        <p15:guide id="2" orient="horz" pos="4656">
          <p15:clr>
            <a:srgbClr val="F26B43"/>
          </p15:clr>
        </p15:guide>
        <p15:guide id="3" orient="horz" pos="912">
          <p15:clr>
            <a:srgbClr val="F26B43"/>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onut Image">
    <p:bg>
      <p:bgPr>
        <a:solidFill>
          <a:schemeClr val="tx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95470" y="1221441"/>
            <a:ext cx="5658439" cy="4938059"/>
          </a:xfrm>
          <a:prstGeom prst="rect">
            <a:avLst/>
          </a:prstGeom>
        </p:spPr>
        <p:txBody>
          <a:bodyPr/>
          <a:lstStyle>
            <a:lvl1pPr>
              <a:spcBef>
                <a:spcPts val="0"/>
              </a:spcBef>
              <a:defRPr sz="1500" b="0" i="0">
                <a:solidFill>
                  <a:schemeClr val="bg2"/>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2"/>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2"/>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2"/>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itle Text">
            <a:extLst>
              <a:ext uri="{FF2B5EF4-FFF2-40B4-BE49-F238E27FC236}">
                <a16:creationId xmlns:a16="http://schemas.microsoft.com/office/drawing/2014/main" id="{4B5980F9-A7B7-7DE7-65FD-745FC498DFDB}"/>
              </a:ext>
            </a:extLst>
          </p:cNvPr>
          <p:cNvSpPr txBox="1">
            <a:spLocks noGrp="1"/>
          </p:cNvSpPr>
          <p:nvPr>
            <p:ph type="title" hasCustomPrompt="1"/>
          </p:nvPr>
        </p:nvSpPr>
        <p:spPr>
          <a:xfrm>
            <a:off x="290212" y="295139"/>
            <a:ext cx="5662913" cy="386603"/>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73152" rIns="0" bIns="0"/>
          <a:lstStyle/>
          <a:p>
            <a:r>
              <a:rPr lang="en-US"/>
              <a:t>Circle image</a:t>
            </a:r>
            <a:endParaRPr/>
          </a:p>
        </p:txBody>
      </p:sp>
      <p:sp>
        <p:nvSpPr>
          <p:cNvPr id="7" name="Rectangle 6">
            <a:extLst>
              <a:ext uri="{FF2B5EF4-FFF2-40B4-BE49-F238E27FC236}">
                <a16:creationId xmlns:a16="http://schemas.microsoft.com/office/drawing/2014/main" id="{92499C85-30F2-6EA7-FA46-49F8397A724D}"/>
              </a:ext>
            </a:extLst>
          </p:cNvPr>
          <p:cNvSpPr/>
          <p:nvPr userDrawn="1"/>
        </p:nvSpPr>
        <p:spPr bwMode="auto">
          <a:xfrm>
            <a:off x="8223251" y="0"/>
            <a:ext cx="3968750" cy="6858000"/>
          </a:xfrm>
          <a:prstGeom prst="rect">
            <a:avLst/>
          </a:prstGeom>
          <a:solidFill>
            <a:schemeClr val="tx2"/>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76200" tIns="76200" rIns="76200" bIns="76200" numCol="1" rtlCol="0" anchor="t" anchorCtr="0" compatLnSpc="1">
            <a:prstTxWarp prst="textNoShape">
              <a:avLst/>
            </a:prstTxWarp>
          </a:bodyPr>
          <a:lstStyle/>
          <a:p>
            <a:pPr marL="0" marR="0" indent="0" algn="l" defTabSz="761970" rtl="0" eaLnBrk="1" fontAlgn="base" latinLnBrk="0" hangingPunct="1">
              <a:lnSpc>
                <a:spcPct val="100000"/>
              </a:lnSpc>
              <a:spcBef>
                <a:spcPct val="0"/>
              </a:spcBef>
              <a:spcAft>
                <a:spcPct val="0"/>
              </a:spcAft>
              <a:buClrTx/>
              <a:buSzTx/>
              <a:buFont typeface="IBM Plex Sans Light"/>
              <a:buNone/>
              <a:tabLst/>
            </a:pPr>
            <a:endParaRPr kumimoji="0" lang="en-US" sz="1167" b="0" i="0" u="none" strike="noStrike" cap="none" normalizeH="0" baseline="0">
              <a:ln>
                <a:noFill/>
              </a:ln>
              <a:solidFill>
                <a:schemeClr val="bg1"/>
              </a:solidFill>
              <a:effectLst/>
              <a:latin typeface="+mn-lt"/>
            </a:endParaRPr>
          </a:p>
        </p:txBody>
      </p:sp>
      <p:sp>
        <p:nvSpPr>
          <p:cNvPr id="8" name="Text Placeholder 3">
            <a:extLst>
              <a:ext uri="{FF2B5EF4-FFF2-40B4-BE49-F238E27FC236}">
                <a16:creationId xmlns:a16="http://schemas.microsoft.com/office/drawing/2014/main" id="{33C5F6AC-C223-7C2D-70E0-C185CE6DC6CE}"/>
              </a:ext>
            </a:extLst>
          </p:cNvPr>
          <p:cNvSpPr txBox="1">
            <a:spLocks/>
          </p:cNvSpPr>
          <p:nvPr userDrawn="1"/>
        </p:nvSpPr>
        <p:spPr>
          <a:xfrm>
            <a:off x="11438259" y="6458629"/>
            <a:ext cx="462473" cy="150303"/>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Outfit Light" pitchFamily="2" charset="0"/>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r" defTabSz="1218948" rtl="0" eaLnBrk="1" fontAlgn="auto" latinLnBrk="0" hangingPunct="1">
              <a:lnSpc>
                <a:spcPct val="110000"/>
              </a:lnSpc>
              <a:spcBef>
                <a:spcPts val="0"/>
              </a:spcBef>
              <a:spcAft>
                <a:spcPts val="0"/>
              </a:spcAft>
              <a:buClrTx/>
              <a:buSzTx/>
              <a:buFontTx/>
              <a:buNone/>
              <a:tabLst/>
              <a:defRPr/>
            </a:pPr>
            <a:fld id="{64F0821C-65D3-DD4D-8DB2-745946DB9115}" type="slidenum">
              <a:rPr kumimoji="0" lang="en-US" sz="917" b="0" i="0" u="none" strike="noStrike" kern="0" cap="none" spc="0" normalizeH="0" baseline="0" noProof="0" smtClean="0">
                <a:ln>
                  <a:noFill/>
                </a:ln>
                <a:solidFill>
                  <a:srgbClr val="000000"/>
                </a:solidFill>
                <a:effectLst/>
                <a:uLnTx/>
                <a:uFillTx/>
                <a:latin typeface="Aptos" panose="020B0004020202020204" pitchFamily="34" charset="0"/>
                <a:ea typeface="+mj-ea"/>
                <a:cs typeface="+mj-cs"/>
                <a:sym typeface="IBM Plex Sans Light"/>
              </a:rPr>
              <a:pPr marL="0" marR="0" lvl="0" indent="0" algn="r" defTabSz="1218948" rtl="0" eaLnBrk="1" fontAlgn="auto" latinLnBrk="0" hangingPunct="1">
                <a:lnSpc>
                  <a:spcPct val="110000"/>
                </a:lnSpc>
                <a:spcBef>
                  <a:spcPts val="0"/>
                </a:spcBef>
                <a:spcAft>
                  <a:spcPts val="0"/>
                </a:spcAft>
                <a:buClrTx/>
                <a:buSzTx/>
                <a:buFontTx/>
                <a:buNone/>
                <a:tabLst/>
                <a:defRPr/>
              </a:pPr>
              <a:t>‹#›</a:t>
            </a:fld>
            <a:endParaRPr kumimoji="0" lang="en-US" sz="917" b="0" i="0" u="none" strike="noStrike" kern="0" cap="none" spc="0" normalizeH="0" baseline="0" noProof="0">
              <a:ln>
                <a:noFill/>
              </a:ln>
              <a:solidFill>
                <a:srgbClr val="000000"/>
              </a:solidFill>
              <a:effectLst/>
              <a:uLnTx/>
              <a:uFillTx/>
              <a:latin typeface="Aptos" panose="020B0004020202020204" pitchFamily="34" charset="0"/>
              <a:ea typeface="+mj-ea"/>
              <a:cs typeface="+mj-cs"/>
              <a:sym typeface="IBM Plex Sans Light"/>
            </a:endParaRPr>
          </a:p>
        </p:txBody>
      </p:sp>
      <p:pic>
        <p:nvPicPr>
          <p:cNvPr id="9" name="Graphic 8">
            <a:extLst>
              <a:ext uri="{FF2B5EF4-FFF2-40B4-BE49-F238E27FC236}">
                <a16:creationId xmlns:a16="http://schemas.microsoft.com/office/drawing/2014/main" id="{2C2E667E-748C-1FD6-BBC9-A8FCDA06743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543540" y="6495499"/>
            <a:ext cx="167269" cy="81501"/>
          </a:xfrm>
          <a:prstGeom prst="rect">
            <a:avLst/>
          </a:prstGeom>
        </p:spPr>
      </p:pic>
      <p:sp>
        <p:nvSpPr>
          <p:cNvPr id="2" name="Freeform: Shape 5">
            <a:extLst>
              <a:ext uri="{FF2B5EF4-FFF2-40B4-BE49-F238E27FC236}">
                <a16:creationId xmlns:a16="http://schemas.microsoft.com/office/drawing/2014/main" id="{E0ECF2DF-7B98-4586-E79B-667D49C0527B}"/>
              </a:ext>
            </a:extLst>
          </p:cNvPr>
          <p:cNvSpPr>
            <a:spLocks noGrp="1"/>
          </p:cNvSpPr>
          <p:nvPr>
            <p:ph type="pic" sz="quarter" idx="10" hasCustomPrompt="1"/>
          </p:nvPr>
        </p:nvSpPr>
        <p:spPr>
          <a:xfrm>
            <a:off x="6521356" y="307695"/>
            <a:ext cx="6264555" cy="6264555"/>
          </a:xfrm>
          <a:prstGeom prst="ellipse">
            <a:avLst/>
          </a:prstGeom>
          <a:solidFill>
            <a:schemeClr val="bg1"/>
          </a:solidFill>
        </p:spPr>
        <p:txBody>
          <a:bodyPr wrap="square" anchor="ctr">
            <a:noAutofit/>
          </a:bodyPr>
          <a:lstStyle>
            <a:lvl1pPr algn="ctr">
              <a:defRPr/>
            </a:lvl1pPr>
          </a:lstStyle>
          <a:p>
            <a:pPr lvl="0"/>
            <a:r>
              <a:rPr lang="en-ID" noProof="0"/>
              <a:t>[add image]</a:t>
            </a:r>
          </a:p>
        </p:txBody>
      </p:sp>
    </p:spTree>
    <p:extLst>
      <p:ext uri="{BB962C8B-B14F-4D97-AF65-F5344CB8AC3E}">
        <p14:creationId xmlns:p14="http://schemas.microsoft.com/office/powerpoint/2010/main" val="3779778921"/>
      </p:ext>
    </p:extLst>
  </p:cSld>
  <p:clrMapOvr>
    <a:masterClrMapping/>
  </p:clrMapOvr>
  <p:transition spd="med"/>
  <p:extLst>
    <p:ext uri="{DCECCB84-F9BA-43D5-87BE-67443E8EF086}">
      <p15:sldGuideLst xmlns:p15="http://schemas.microsoft.com/office/powerpoint/2012/main">
        <p15:guide id="2" orient="horz" pos="4656">
          <p15:clr>
            <a:srgbClr val="F26B43"/>
          </p15:clr>
        </p15:guide>
        <p15:guide id="3" orient="horz" pos="912">
          <p15:clr>
            <a:srgbClr val="F26B43"/>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Long title + data callout donut image">
    <p:bg>
      <p:bgPr>
        <a:solidFill>
          <a:schemeClr val="tx1"/>
        </a:solidFill>
        <a:effectLst/>
      </p:bgPr>
    </p:bg>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376D964F-C8A1-C871-5753-80704C0AE4DC}"/>
              </a:ext>
            </a:extLst>
          </p:cNvPr>
          <p:cNvSpPr>
            <a:spLocks noGrp="1"/>
          </p:cNvSpPr>
          <p:nvPr>
            <p:ph type="body" sz="quarter" idx="13"/>
          </p:nvPr>
        </p:nvSpPr>
        <p:spPr>
          <a:xfrm>
            <a:off x="6250082" y="295140"/>
            <a:ext cx="2679606" cy="5864361"/>
          </a:xfrm>
          <a:prstGeom prst="rect">
            <a:avLst/>
          </a:prstGeom>
        </p:spPr>
        <p:txBody>
          <a:bodyPr/>
          <a:lstStyle>
            <a:lvl1pPr>
              <a:spcBef>
                <a:spcPts val="0"/>
              </a:spcBef>
              <a:defRPr sz="1500" b="0" i="0">
                <a:solidFill>
                  <a:schemeClr val="bg2"/>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2"/>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2"/>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2"/>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BC3CC31F-CAF3-5950-1F6D-B721F038F566}"/>
              </a:ext>
            </a:extLst>
          </p:cNvPr>
          <p:cNvSpPr>
            <a:spLocks noGrp="1"/>
          </p:cNvSpPr>
          <p:nvPr>
            <p:ph type="body" sz="quarter" idx="14"/>
          </p:nvPr>
        </p:nvSpPr>
        <p:spPr>
          <a:xfrm>
            <a:off x="9219640" y="295140"/>
            <a:ext cx="2686611" cy="5864361"/>
          </a:xfrm>
          <a:prstGeom prst="rect">
            <a:avLst/>
          </a:prstGeom>
        </p:spPr>
        <p:txBody>
          <a:bodyPr/>
          <a:lstStyle>
            <a:lvl1pPr>
              <a:spcBef>
                <a:spcPts val="0"/>
              </a:spcBef>
              <a:defRPr sz="1500" b="0" i="0">
                <a:solidFill>
                  <a:schemeClr val="bg2"/>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2"/>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2"/>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2"/>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4">
            <a:extLst>
              <a:ext uri="{FF2B5EF4-FFF2-40B4-BE49-F238E27FC236}">
                <a16:creationId xmlns:a16="http://schemas.microsoft.com/office/drawing/2014/main" id="{45E7ABC2-B6FB-0C1F-1966-D82DAA4A1561}"/>
              </a:ext>
            </a:extLst>
          </p:cNvPr>
          <p:cNvSpPr>
            <a:spLocks noGrp="1"/>
          </p:cNvSpPr>
          <p:nvPr>
            <p:ph type="pic" sz="quarter" idx="10" hasCustomPrompt="1"/>
          </p:nvPr>
        </p:nvSpPr>
        <p:spPr>
          <a:xfrm>
            <a:off x="-15051" y="2132154"/>
            <a:ext cx="4975988" cy="4736413"/>
          </a:xfrm>
          <a:custGeom>
            <a:avLst/>
            <a:gdLst>
              <a:gd name="connsiteX0" fmla="*/ 908955 w 5627911"/>
              <a:gd name="connsiteY0" fmla="*/ 0 h 5361214"/>
              <a:gd name="connsiteX1" fmla="*/ 5627911 w 5627911"/>
              <a:gd name="connsiteY1" fmla="*/ 4718957 h 5361214"/>
              <a:gd name="connsiteX2" fmla="*/ 5603548 w 5627911"/>
              <a:gd name="connsiteY2" fmla="*/ 5201443 h 5361214"/>
              <a:gd name="connsiteX3" fmla="*/ 5583246 w 5627911"/>
              <a:gd name="connsiteY3" fmla="*/ 5361214 h 5361214"/>
              <a:gd name="connsiteX4" fmla="*/ 2611863 w 5627911"/>
              <a:gd name="connsiteY4" fmla="*/ 5361214 h 5361214"/>
              <a:gd name="connsiteX5" fmla="*/ 2648671 w 5627911"/>
              <a:gd name="connsiteY5" fmla="*/ 5260649 h 5361214"/>
              <a:gd name="connsiteX6" fmla="*/ 2730567 w 5627911"/>
              <a:gd name="connsiteY6" fmla="*/ 4718957 h 5361214"/>
              <a:gd name="connsiteX7" fmla="*/ 908955 w 5627911"/>
              <a:gd name="connsiteY7" fmla="*/ 2897345 h 5361214"/>
              <a:gd name="connsiteX8" fmla="*/ 40666 w 5627911"/>
              <a:gd name="connsiteY8" fmla="*/ 3117204 h 5361214"/>
              <a:gd name="connsiteX9" fmla="*/ 0 w 5627911"/>
              <a:gd name="connsiteY9" fmla="*/ 3141911 h 5361214"/>
              <a:gd name="connsiteX10" fmla="*/ 0 w 5627911"/>
              <a:gd name="connsiteY10" fmla="*/ 88358 h 5361214"/>
              <a:gd name="connsiteX11" fmla="*/ 190304 w 5627911"/>
              <a:gd name="connsiteY11" fmla="*/ 54373 h 5361214"/>
              <a:gd name="connsiteX12" fmla="*/ 908955 w 5627911"/>
              <a:gd name="connsiteY12" fmla="*/ 0 h 5361214"/>
              <a:gd name="connsiteX0" fmla="*/ 943847 w 5662803"/>
              <a:gd name="connsiteY0" fmla="*/ 0 h 5364183"/>
              <a:gd name="connsiteX1" fmla="*/ 5662803 w 5662803"/>
              <a:gd name="connsiteY1" fmla="*/ 4718957 h 5364183"/>
              <a:gd name="connsiteX2" fmla="*/ 5638440 w 5662803"/>
              <a:gd name="connsiteY2" fmla="*/ 5201443 h 5364183"/>
              <a:gd name="connsiteX3" fmla="*/ 5618138 w 5662803"/>
              <a:gd name="connsiteY3" fmla="*/ 5361214 h 5364183"/>
              <a:gd name="connsiteX4" fmla="*/ 2646755 w 5662803"/>
              <a:gd name="connsiteY4" fmla="*/ 5361214 h 5364183"/>
              <a:gd name="connsiteX5" fmla="*/ 2683563 w 5662803"/>
              <a:gd name="connsiteY5" fmla="*/ 5260649 h 5364183"/>
              <a:gd name="connsiteX6" fmla="*/ 2765459 w 5662803"/>
              <a:gd name="connsiteY6" fmla="*/ 4718957 h 5364183"/>
              <a:gd name="connsiteX7" fmla="*/ 100484 w 5662803"/>
              <a:gd name="connsiteY7" fmla="*/ 5364183 h 5364183"/>
              <a:gd name="connsiteX8" fmla="*/ 75558 w 5662803"/>
              <a:gd name="connsiteY8" fmla="*/ 3117204 h 5364183"/>
              <a:gd name="connsiteX9" fmla="*/ 34892 w 5662803"/>
              <a:gd name="connsiteY9" fmla="*/ 3141911 h 5364183"/>
              <a:gd name="connsiteX10" fmla="*/ 34892 w 5662803"/>
              <a:gd name="connsiteY10" fmla="*/ 88358 h 5364183"/>
              <a:gd name="connsiteX11" fmla="*/ 225196 w 5662803"/>
              <a:gd name="connsiteY11" fmla="*/ 54373 h 5364183"/>
              <a:gd name="connsiteX12" fmla="*/ 943847 w 5662803"/>
              <a:gd name="connsiteY12" fmla="*/ 0 h 5364183"/>
              <a:gd name="connsiteX0" fmla="*/ 908955 w 5627911"/>
              <a:gd name="connsiteY0" fmla="*/ 0 h 5361214"/>
              <a:gd name="connsiteX1" fmla="*/ 5627911 w 5627911"/>
              <a:gd name="connsiteY1" fmla="*/ 4718957 h 5361214"/>
              <a:gd name="connsiteX2" fmla="*/ 5603548 w 5627911"/>
              <a:gd name="connsiteY2" fmla="*/ 5201443 h 5361214"/>
              <a:gd name="connsiteX3" fmla="*/ 5583246 w 5627911"/>
              <a:gd name="connsiteY3" fmla="*/ 5361214 h 5361214"/>
              <a:gd name="connsiteX4" fmla="*/ 2611863 w 5627911"/>
              <a:gd name="connsiteY4" fmla="*/ 5361214 h 5361214"/>
              <a:gd name="connsiteX5" fmla="*/ 2648671 w 5627911"/>
              <a:gd name="connsiteY5" fmla="*/ 5260649 h 5361214"/>
              <a:gd name="connsiteX6" fmla="*/ 2730567 w 5627911"/>
              <a:gd name="connsiteY6" fmla="*/ 4718957 h 5361214"/>
              <a:gd name="connsiteX7" fmla="*/ 40666 w 5627911"/>
              <a:gd name="connsiteY7" fmla="*/ 3117204 h 5361214"/>
              <a:gd name="connsiteX8" fmla="*/ 0 w 5627911"/>
              <a:gd name="connsiteY8" fmla="*/ 3141911 h 5361214"/>
              <a:gd name="connsiteX9" fmla="*/ 0 w 5627911"/>
              <a:gd name="connsiteY9" fmla="*/ 88358 h 5361214"/>
              <a:gd name="connsiteX10" fmla="*/ 190304 w 5627911"/>
              <a:gd name="connsiteY10" fmla="*/ 54373 h 5361214"/>
              <a:gd name="connsiteX11" fmla="*/ 908955 w 5627911"/>
              <a:gd name="connsiteY11" fmla="*/ 0 h 5361214"/>
              <a:gd name="connsiteX0" fmla="*/ 908955 w 5627911"/>
              <a:gd name="connsiteY0" fmla="*/ 0 h 5361214"/>
              <a:gd name="connsiteX1" fmla="*/ 5627911 w 5627911"/>
              <a:gd name="connsiteY1" fmla="*/ 4718957 h 5361214"/>
              <a:gd name="connsiteX2" fmla="*/ 5603548 w 5627911"/>
              <a:gd name="connsiteY2" fmla="*/ 5201443 h 5361214"/>
              <a:gd name="connsiteX3" fmla="*/ 5583246 w 5627911"/>
              <a:gd name="connsiteY3" fmla="*/ 5361214 h 5361214"/>
              <a:gd name="connsiteX4" fmla="*/ 2611863 w 5627911"/>
              <a:gd name="connsiteY4" fmla="*/ 5361214 h 5361214"/>
              <a:gd name="connsiteX5" fmla="*/ 2648671 w 5627911"/>
              <a:gd name="connsiteY5" fmla="*/ 5260649 h 5361214"/>
              <a:gd name="connsiteX6" fmla="*/ 40666 w 5627911"/>
              <a:gd name="connsiteY6" fmla="*/ 3117204 h 5361214"/>
              <a:gd name="connsiteX7" fmla="*/ 0 w 5627911"/>
              <a:gd name="connsiteY7" fmla="*/ 3141911 h 5361214"/>
              <a:gd name="connsiteX8" fmla="*/ 0 w 5627911"/>
              <a:gd name="connsiteY8" fmla="*/ 88358 h 5361214"/>
              <a:gd name="connsiteX9" fmla="*/ 190304 w 5627911"/>
              <a:gd name="connsiteY9" fmla="*/ 54373 h 5361214"/>
              <a:gd name="connsiteX10" fmla="*/ 908955 w 5627911"/>
              <a:gd name="connsiteY10" fmla="*/ 0 h 5361214"/>
              <a:gd name="connsiteX0" fmla="*/ 908955 w 5627911"/>
              <a:gd name="connsiteY0" fmla="*/ 0 h 5361214"/>
              <a:gd name="connsiteX1" fmla="*/ 5627911 w 5627911"/>
              <a:gd name="connsiteY1" fmla="*/ 4718957 h 5361214"/>
              <a:gd name="connsiteX2" fmla="*/ 5603548 w 5627911"/>
              <a:gd name="connsiteY2" fmla="*/ 5201443 h 5361214"/>
              <a:gd name="connsiteX3" fmla="*/ 5583246 w 5627911"/>
              <a:gd name="connsiteY3" fmla="*/ 5361214 h 5361214"/>
              <a:gd name="connsiteX4" fmla="*/ 2611863 w 5627911"/>
              <a:gd name="connsiteY4" fmla="*/ 5361214 h 5361214"/>
              <a:gd name="connsiteX5" fmla="*/ 40666 w 5627911"/>
              <a:gd name="connsiteY5" fmla="*/ 3117204 h 5361214"/>
              <a:gd name="connsiteX6" fmla="*/ 0 w 5627911"/>
              <a:gd name="connsiteY6" fmla="*/ 3141911 h 5361214"/>
              <a:gd name="connsiteX7" fmla="*/ 0 w 5627911"/>
              <a:gd name="connsiteY7" fmla="*/ 88358 h 5361214"/>
              <a:gd name="connsiteX8" fmla="*/ 190304 w 5627911"/>
              <a:gd name="connsiteY8" fmla="*/ 54373 h 5361214"/>
              <a:gd name="connsiteX9" fmla="*/ 908955 w 5627911"/>
              <a:gd name="connsiteY9" fmla="*/ 0 h 5361214"/>
              <a:gd name="connsiteX0" fmla="*/ 908955 w 5627911"/>
              <a:gd name="connsiteY0" fmla="*/ 0 h 5361214"/>
              <a:gd name="connsiteX1" fmla="*/ 5627911 w 5627911"/>
              <a:gd name="connsiteY1" fmla="*/ 4718957 h 5361214"/>
              <a:gd name="connsiteX2" fmla="*/ 5603548 w 5627911"/>
              <a:gd name="connsiteY2" fmla="*/ 5201443 h 5361214"/>
              <a:gd name="connsiteX3" fmla="*/ 5583246 w 5627911"/>
              <a:gd name="connsiteY3" fmla="*/ 5361214 h 5361214"/>
              <a:gd name="connsiteX4" fmla="*/ 2611863 w 5627911"/>
              <a:gd name="connsiteY4" fmla="*/ 5361214 h 5361214"/>
              <a:gd name="connsiteX5" fmla="*/ 40666 w 5627911"/>
              <a:gd name="connsiteY5" fmla="*/ 3117204 h 5361214"/>
              <a:gd name="connsiteX6" fmla="*/ 126505 w 5627911"/>
              <a:gd name="connsiteY6" fmla="*/ 2751855 h 5361214"/>
              <a:gd name="connsiteX7" fmla="*/ 0 w 5627911"/>
              <a:gd name="connsiteY7" fmla="*/ 88358 h 5361214"/>
              <a:gd name="connsiteX8" fmla="*/ 190304 w 5627911"/>
              <a:gd name="connsiteY8" fmla="*/ 54373 h 5361214"/>
              <a:gd name="connsiteX9" fmla="*/ 908955 w 5627911"/>
              <a:gd name="connsiteY9" fmla="*/ 0 h 5361214"/>
              <a:gd name="connsiteX0" fmla="*/ 920999 w 5639955"/>
              <a:gd name="connsiteY0" fmla="*/ 0 h 5373201"/>
              <a:gd name="connsiteX1" fmla="*/ 5639955 w 5639955"/>
              <a:gd name="connsiteY1" fmla="*/ 4718957 h 5373201"/>
              <a:gd name="connsiteX2" fmla="*/ 5615592 w 5639955"/>
              <a:gd name="connsiteY2" fmla="*/ 5201443 h 5373201"/>
              <a:gd name="connsiteX3" fmla="*/ 5595290 w 5639955"/>
              <a:gd name="connsiteY3" fmla="*/ 5361214 h 5373201"/>
              <a:gd name="connsiteX4" fmla="*/ 2623907 w 5639955"/>
              <a:gd name="connsiteY4" fmla="*/ 5361214 h 5373201"/>
              <a:gd name="connsiteX5" fmla="*/ 0 w 5639955"/>
              <a:gd name="connsiteY5" fmla="*/ 5373201 h 5373201"/>
              <a:gd name="connsiteX6" fmla="*/ 138549 w 5639955"/>
              <a:gd name="connsiteY6" fmla="*/ 2751855 h 5373201"/>
              <a:gd name="connsiteX7" fmla="*/ 12044 w 5639955"/>
              <a:gd name="connsiteY7" fmla="*/ 88358 h 5373201"/>
              <a:gd name="connsiteX8" fmla="*/ 202348 w 5639955"/>
              <a:gd name="connsiteY8" fmla="*/ 54373 h 5373201"/>
              <a:gd name="connsiteX9" fmla="*/ 920999 w 5639955"/>
              <a:gd name="connsiteY9" fmla="*/ 0 h 5373201"/>
              <a:gd name="connsiteX0" fmla="*/ 930039 w 5648995"/>
              <a:gd name="connsiteY0" fmla="*/ 0 h 5373201"/>
              <a:gd name="connsiteX1" fmla="*/ 5648995 w 5648995"/>
              <a:gd name="connsiteY1" fmla="*/ 4718957 h 5373201"/>
              <a:gd name="connsiteX2" fmla="*/ 5624632 w 5648995"/>
              <a:gd name="connsiteY2" fmla="*/ 5201443 h 5373201"/>
              <a:gd name="connsiteX3" fmla="*/ 5604330 w 5648995"/>
              <a:gd name="connsiteY3" fmla="*/ 5361214 h 5373201"/>
              <a:gd name="connsiteX4" fmla="*/ 2632947 w 5648995"/>
              <a:gd name="connsiteY4" fmla="*/ 5361214 h 5373201"/>
              <a:gd name="connsiteX5" fmla="*/ 9040 w 5648995"/>
              <a:gd name="connsiteY5" fmla="*/ 5373201 h 5373201"/>
              <a:gd name="connsiteX6" fmla="*/ 0 w 5648995"/>
              <a:gd name="connsiteY6" fmla="*/ 2762397 h 5373201"/>
              <a:gd name="connsiteX7" fmla="*/ 21084 w 5648995"/>
              <a:gd name="connsiteY7" fmla="*/ 88358 h 5373201"/>
              <a:gd name="connsiteX8" fmla="*/ 211388 w 5648995"/>
              <a:gd name="connsiteY8" fmla="*/ 54373 h 5373201"/>
              <a:gd name="connsiteX9" fmla="*/ 930039 w 5648995"/>
              <a:gd name="connsiteY9" fmla="*/ 0 h 5373201"/>
              <a:gd name="connsiteX0" fmla="*/ 1118901 w 5837857"/>
              <a:gd name="connsiteY0" fmla="*/ 0 h 5373201"/>
              <a:gd name="connsiteX1" fmla="*/ 5837857 w 5837857"/>
              <a:gd name="connsiteY1" fmla="*/ 4718957 h 5373201"/>
              <a:gd name="connsiteX2" fmla="*/ 5813494 w 5837857"/>
              <a:gd name="connsiteY2" fmla="*/ 5201443 h 5373201"/>
              <a:gd name="connsiteX3" fmla="*/ 5793192 w 5837857"/>
              <a:gd name="connsiteY3" fmla="*/ 5361214 h 5373201"/>
              <a:gd name="connsiteX4" fmla="*/ 2821809 w 5837857"/>
              <a:gd name="connsiteY4" fmla="*/ 5361214 h 5373201"/>
              <a:gd name="connsiteX5" fmla="*/ 197902 w 5837857"/>
              <a:gd name="connsiteY5" fmla="*/ 5373201 h 5373201"/>
              <a:gd name="connsiteX6" fmla="*/ 209946 w 5837857"/>
              <a:gd name="connsiteY6" fmla="*/ 88358 h 5373201"/>
              <a:gd name="connsiteX7" fmla="*/ 400250 w 5837857"/>
              <a:gd name="connsiteY7" fmla="*/ 54373 h 5373201"/>
              <a:gd name="connsiteX8" fmla="*/ 1118901 w 5837857"/>
              <a:gd name="connsiteY8" fmla="*/ 0 h 5373201"/>
              <a:gd name="connsiteX0" fmla="*/ 926031 w 5644987"/>
              <a:gd name="connsiteY0" fmla="*/ 0 h 5373201"/>
              <a:gd name="connsiteX1" fmla="*/ 5644987 w 5644987"/>
              <a:gd name="connsiteY1" fmla="*/ 4718957 h 5373201"/>
              <a:gd name="connsiteX2" fmla="*/ 5620624 w 5644987"/>
              <a:gd name="connsiteY2" fmla="*/ 5201443 h 5373201"/>
              <a:gd name="connsiteX3" fmla="*/ 5600322 w 5644987"/>
              <a:gd name="connsiteY3" fmla="*/ 5361214 h 5373201"/>
              <a:gd name="connsiteX4" fmla="*/ 2628939 w 5644987"/>
              <a:gd name="connsiteY4" fmla="*/ 5361214 h 5373201"/>
              <a:gd name="connsiteX5" fmla="*/ 5032 w 5644987"/>
              <a:gd name="connsiteY5" fmla="*/ 5373201 h 5373201"/>
              <a:gd name="connsiteX6" fmla="*/ 17076 w 5644987"/>
              <a:gd name="connsiteY6" fmla="*/ 88358 h 5373201"/>
              <a:gd name="connsiteX7" fmla="*/ 207380 w 5644987"/>
              <a:gd name="connsiteY7" fmla="*/ 54373 h 5373201"/>
              <a:gd name="connsiteX8" fmla="*/ 926031 w 5644987"/>
              <a:gd name="connsiteY8" fmla="*/ 0 h 5373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44987" h="5373201">
                <a:moveTo>
                  <a:pt x="926031" y="0"/>
                </a:moveTo>
                <a:cubicBezTo>
                  <a:pt x="3532239" y="0"/>
                  <a:pt x="5644987" y="2112749"/>
                  <a:pt x="5644987" y="4718957"/>
                </a:cubicBezTo>
                <a:cubicBezTo>
                  <a:pt x="5644987" y="4881845"/>
                  <a:pt x="5636736" y="5042806"/>
                  <a:pt x="5620624" y="5201443"/>
                </a:cubicBezTo>
                <a:lnTo>
                  <a:pt x="5600322" y="5361214"/>
                </a:lnTo>
                <a:lnTo>
                  <a:pt x="2628939" y="5361214"/>
                </a:lnTo>
                <a:lnTo>
                  <a:pt x="5032" y="5373201"/>
                </a:lnTo>
                <a:cubicBezTo>
                  <a:pt x="11054" y="2730779"/>
                  <a:pt x="-16649" y="974829"/>
                  <a:pt x="17076" y="88358"/>
                </a:cubicBezTo>
                <a:lnTo>
                  <a:pt x="207380" y="54373"/>
                </a:lnTo>
                <a:cubicBezTo>
                  <a:pt x="441704" y="18569"/>
                  <a:pt x="681699" y="0"/>
                  <a:pt x="926031" y="0"/>
                </a:cubicBezTo>
                <a:close/>
              </a:path>
            </a:pathLst>
          </a:custGeom>
          <a:solidFill>
            <a:schemeClr val="accent2">
              <a:lumMod val="60000"/>
              <a:lumOff val="40000"/>
            </a:schemeClr>
          </a:solidFill>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anchor="ctr">
            <a:noAutofit/>
          </a:bodyPr>
          <a:lstStyle>
            <a:lvl1pPr algn="ctr">
              <a:defRPr>
                <a:solidFill>
                  <a:schemeClr val="tx1"/>
                </a:solidFill>
              </a:defRPr>
            </a:lvl1pPr>
          </a:lstStyle>
          <a:p>
            <a:pPr lvl="0"/>
            <a:r>
              <a:rPr lang="en-ID" noProof="0"/>
              <a:t>[add image]</a:t>
            </a:r>
          </a:p>
        </p:txBody>
      </p:sp>
      <p:sp>
        <p:nvSpPr>
          <p:cNvPr id="8" name="Text Placeholder 9">
            <a:extLst>
              <a:ext uri="{FF2B5EF4-FFF2-40B4-BE49-F238E27FC236}">
                <a16:creationId xmlns:a16="http://schemas.microsoft.com/office/drawing/2014/main" id="{88D2A2DE-6BF0-D2F8-B826-36B16B4487C2}"/>
              </a:ext>
            </a:extLst>
          </p:cNvPr>
          <p:cNvSpPr>
            <a:spLocks noGrp="1"/>
          </p:cNvSpPr>
          <p:nvPr>
            <p:ph type="body" sz="quarter" idx="15" hasCustomPrompt="1"/>
          </p:nvPr>
        </p:nvSpPr>
        <p:spPr>
          <a:xfrm>
            <a:off x="1481765" y="4858522"/>
            <a:ext cx="4255861" cy="1771650"/>
          </a:xfrm>
          <a:prstGeom prst="rect">
            <a:avLst/>
          </a:prstGeom>
        </p:spPr>
        <p:txBody>
          <a:bodyPr anchor="b"/>
          <a:lstStyle>
            <a:lvl1pPr>
              <a:lnSpc>
                <a:spcPct val="90000"/>
              </a:lnSpc>
              <a:spcBef>
                <a:spcPts val="0"/>
              </a:spcBef>
              <a:defRPr sz="12897" b="0" i="0">
                <a:solidFill>
                  <a:schemeClr val="accent1"/>
                </a:solidFill>
                <a:latin typeface="Aptos" panose="020B0004020202020204" pitchFamily="34" charset="0"/>
              </a:defRPr>
            </a:lvl1pPr>
          </a:lstStyle>
          <a:p>
            <a:r>
              <a:rPr lang="en-US"/>
              <a:t>↗︎00M</a:t>
            </a:r>
          </a:p>
        </p:txBody>
      </p:sp>
      <p:sp>
        <p:nvSpPr>
          <p:cNvPr id="9" name="Title Text">
            <a:extLst>
              <a:ext uri="{FF2B5EF4-FFF2-40B4-BE49-F238E27FC236}">
                <a16:creationId xmlns:a16="http://schemas.microsoft.com/office/drawing/2014/main" id="{D0D1B9B5-15B7-4CA7-EE15-A2FFA81E9D9D}"/>
              </a:ext>
            </a:extLst>
          </p:cNvPr>
          <p:cNvSpPr txBox="1">
            <a:spLocks noGrp="1"/>
          </p:cNvSpPr>
          <p:nvPr>
            <p:ph type="title" hasCustomPrompt="1"/>
          </p:nvPr>
        </p:nvSpPr>
        <p:spPr>
          <a:xfrm>
            <a:off x="290212" y="259124"/>
            <a:ext cx="4670726" cy="1828534"/>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73152" rIns="0" bIns="0"/>
          <a:lstStyle>
            <a:lvl1pPr>
              <a:lnSpc>
                <a:spcPct val="90000"/>
              </a:lnSpc>
              <a:defRPr/>
            </a:lvl1pPr>
          </a:lstStyle>
          <a:p>
            <a:r>
              <a:rPr lang="en-US"/>
              <a:t>Long title + data callout donut image</a:t>
            </a:r>
            <a:endParaRPr/>
          </a:p>
        </p:txBody>
      </p:sp>
    </p:spTree>
    <p:extLst>
      <p:ext uri="{BB962C8B-B14F-4D97-AF65-F5344CB8AC3E}">
        <p14:creationId xmlns:p14="http://schemas.microsoft.com/office/powerpoint/2010/main" val="1649566042"/>
      </p:ext>
    </p:extLst>
  </p:cSld>
  <p:clrMapOvr>
    <a:masterClrMapping/>
  </p:clrMapOvr>
  <p:transition spd="med"/>
  <p:extLst>
    <p:ext uri="{DCECCB84-F9BA-43D5-87BE-67443E8EF086}">
      <p15:sldGuideLst xmlns:p15="http://schemas.microsoft.com/office/powerpoint/2012/main">
        <p15:guide id="2" orient="horz" pos="4656">
          <p15:clr>
            <a:srgbClr val="F26B43"/>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allout + circle image">
    <p:bg>
      <p:bgPr>
        <a:solidFill>
          <a:schemeClr val="tx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2499C85-30F2-6EA7-FA46-49F8397A724D}"/>
              </a:ext>
            </a:extLst>
          </p:cNvPr>
          <p:cNvSpPr/>
          <p:nvPr userDrawn="1"/>
        </p:nvSpPr>
        <p:spPr bwMode="auto">
          <a:xfrm>
            <a:off x="0" y="0"/>
            <a:ext cx="4960938" cy="6858000"/>
          </a:xfrm>
          <a:prstGeom prst="rect">
            <a:avLst/>
          </a:prstGeom>
          <a:solidFill>
            <a:schemeClr val="tx2"/>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76200" tIns="76200" rIns="76200" bIns="76200" numCol="1" rtlCol="0" anchor="t" anchorCtr="0" compatLnSpc="1">
            <a:prstTxWarp prst="textNoShape">
              <a:avLst/>
            </a:prstTxWarp>
          </a:bodyPr>
          <a:lstStyle/>
          <a:p>
            <a:pPr marL="0" marR="0" indent="0" algn="l" defTabSz="761970" rtl="0" eaLnBrk="1" fontAlgn="base" latinLnBrk="0" hangingPunct="1">
              <a:lnSpc>
                <a:spcPct val="100000"/>
              </a:lnSpc>
              <a:spcBef>
                <a:spcPct val="0"/>
              </a:spcBef>
              <a:spcAft>
                <a:spcPct val="0"/>
              </a:spcAft>
              <a:buClrTx/>
              <a:buSzTx/>
              <a:buFont typeface="IBM Plex Sans Light"/>
              <a:buNone/>
              <a:tabLst/>
            </a:pPr>
            <a:endParaRPr kumimoji="0" lang="en-US" sz="1167" b="0" i="0" u="none" strike="noStrike" cap="none" normalizeH="0" baseline="0">
              <a:ln>
                <a:noFill/>
              </a:ln>
              <a:solidFill>
                <a:schemeClr val="bg1"/>
              </a:solidFill>
              <a:effectLst/>
              <a:latin typeface="+mn-lt"/>
            </a:endParaRPr>
          </a:p>
        </p:txBody>
      </p:sp>
      <p:sp>
        <p:nvSpPr>
          <p:cNvPr id="6" name="Picture Placeholder 8">
            <a:extLst>
              <a:ext uri="{FF2B5EF4-FFF2-40B4-BE49-F238E27FC236}">
                <a16:creationId xmlns:a16="http://schemas.microsoft.com/office/drawing/2014/main" id="{CFF36095-E300-0AA9-72B0-A5F33E9B47F3}"/>
              </a:ext>
            </a:extLst>
          </p:cNvPr>
          <p:cNvSpPr>
            <a:spLocks noGrp="1"/>
          </p:cNvSpPr>
          <p:nvPr>
            <p:ph type="pic" sz="quarter" idx="15" hasCustomPrompt="1"/>
          </p:nvPr>
        </p:nvSpPr>
        <p:spPr>
          <a:xfrm>
            <a:off x="307928" y="1115122"/>
            <a:ext cx="4960938" cy="5044378"/>
          </a:xfrm>
          <a:custGeom>
            <a:avLst/>
            <a:gdLst>
              <a:gd name="connsiteX0" fmla="*/ 3425847 w 6893898"/>
              <a:gd name="connsiteY0" fmla="*/ 0 h 7032498"/>
              <a:gd name="connsiteX1" fmla="*/ 3425847 w 6893898"/>
              <a:gd name="connsiteY1" fmla="*/ 2978375 h 7032498"/>
              <a:gd name="connsiteX2" fmla="*/ 3403911 w 6893898"/>
              <a:gd name="connsiteY2" fmla="*/ 2849521 h 7032498"/>
              <a:gd name="connsiteX3" fmla="*/ 249932 w 6893898"/>
              <a:gd name="connsiteY3" fmla="*/ 12401 h 7032498"/>
              <a:gd name="connsiteX4" fmla="*/ 0 w 6893898"/>
              <a:gd name="connsiteY4" fmla="*/ 0 h 7032498"/>
              <a:gd name="connsiteX5" fmla="*/ 0 w 6893898"/>
              <a:gd name="connsiteY5" fmla="*/ 7032498 h 7032498"/>
              <a:gd name="connsiteX6" fmla="*/ 249932 w 6893898"/>
              <a:gd name="connsiteY6" fmla="*/ 7020099 h 7032498"/>
              <a:gd name="connsiteX7" fmla="*/ 3403911 w 6893898"/>
              <a:gd name="connsiteY7" fmla="*/ 4182979 h 7032498"/>
              <a:gd name="connsiteX8" fmla="*/ 3425847 w 6893898"/>
              <a:gd name="connsiteY8" fmla="*/ 4054124 h 7032498"/>
              <a:gd name="connsiteX9" fmla="*/ 3425847 w 6893898"/>
              <a:gd name="connsiteY9" fmla="*/ 7032498 h 7032498"/>
              <a:gd name="connsiteX10" fmla="*/ 3675780 w 6893898"/>
              <a:gd name="connsiteY10" fmla="*/ 7020099 h 7032498"/>
              <a:gd name="connsiteX11" fmla="*/ 6893898 w 6893898"/>
              <a:gd name="connsiteY11" fmla="*/ 3516250 h 7032498"/>
              <a:gd name="connsiteX12" fmla="*/ 3675780 w 6893898"/>
              <a:gd name="connsiteY12" fmla="*/ 12401 h 7032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93898" h="7032498">
                <a:moveTo>
                  <a:pt x="3425847" y="0"/>
                </a:moveTo>
                <a:lnTo>
                  <a:pt x="3425847" y="2978375"/>
                </a:lnTo>
                <a:lnTo>
                  <a:pt x="3403911" y="2849521"/>
                </a:lnTo>
                <a:cubicBezTo>
                  <a:pt x="3109210" y="1338301"/>
                  <a:pt x="1831557" y="170219"/>
                  <a:pt x="249932" y="12401"/>
                </a:cubicBezTo>
                <a:lnTo>
                  <a:pt x="0" y="0"/>
                </a:lnTo>
                <a:lnTo>
                  <a:pt x="0" y="7032498"/>
                </a:lnTo>
                <a:lnTo>
                  <a:pt x="249932" y="7020099"/>
                </a:lnTo>
                <a:cubicBezTo>
                  <a:pt x="1831557" y="6862282"/>
                  <a:pt x="3109210" y="5694198"/>
                  <a:pt x="3403911" y="4182979"/>
                </a:cubicBezTo>
                <a:lnTo>
                  <a:pt x="3425847" y="4054124"/>
                </a:lnTo>
                <a:lnTo>
                  <a:pt x="3425847" y="7032498"/>
                </a:lnTo>
                <a:lnTo>
                  <a:pt x="3675780" y="7020099"/>
                </a:lnTo>
                <a:cubicBezTo>
                  <a:pt x="5483350" y="6839737"/>
                  <a:pt x="6893898" y="5339842"/>
                  <a:pt x="6893898" y="3516250"/>
                </a:cubicBezTo>
                <a:cubicBezTo>
                  <a:pt x="6893898" y="1692657"/>
                  <a:pt x="5483350" y="192765"/>
                  <a:pt x="3675780" y="12401"/>
                </a:cubicBezTo>
                <a:close/>
              </a:path>
            </a:pathLst>
          </a:custGeom>
          <a:solidFill>
            <a:schemeClr val="accent2">
              <a:lumMod val="60000"/>
              <a:lumOff val="40000"/>
            </a:schemeClr>
          </a:solidFill>
        </p:spPr>
        <p:txBody>
          <a:bodyPr wrap="square" anchor="ctr">
            <a:noAutofit/>
          </a:bodyPr>
          <a:lstStyle>
            <a:lvl1pPr marL="0" indent="0" algn="ctr">
              <a:buNone/>
              <a:defRPr>
                <a:solidFill>
                  <a:schemeClr val="tx1"/>
                </a:solidFill>
              </a:defRPr>
            </a:lvl1pPr>
          </a:lstStyle>
          <a:p>
            <a:pPr lvl="0"/>
            <a:r>
              <a:rPr lang="en-ID" noProof="0"/>
              <a:t>[add image]</a:t>
            </a:r>
          </a:p>
        </p:txBody>
      </p:sp>
      <p:sp>
        <p:nvSpPr>
          <p:cNvPr id="3" name="Title Text">
            <a:extLst>
              <a:ext uri="{FF2B5EF4-FFF2-40B4-BE49-F238E27FC236}">
                <a16:creationId xmlns:a16="http://schemas.microsoft.com/office/drawing/2014/main" id="{4B5980F9-A7B7-7DE7-65FD-745FC498DFDB}"/>
              </a:ext>
            </a:extLst>
          </p:cNvPr>
          <p:cNvSpPr txBox="1">
            <a:spLocks noGrp="1"/>
          </p:cNvSpPr>
          <p:nvPr>
            <p:ph type="title" hasCustomPrompt="1"/>
          </p:nvPr>
        </p:nvSpPr>
        <p:spPr>
          <a:xfrm>
            <a:off x="290212" y="295139"/>
            <a:ext cx="3964290" cy="386603"/>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73152" rIns="0" bIns="0"/>
          <a:lstStyle/>
          <a:p>
            <a:r>
              <a:rPr lang="en-US"/>
              <a:t>Callout + circle image</a:t>
            </a:r>
            <a:endParaRPr/>
          </a:p>
        </p:txBody>
      </p:sp>
      <p:sp>
        <p:nvSpPr>
          <p:cNvPr id="2" name="Text Placeholder 4">
            <a:extLst>
              <a:ext uri="{FF2B5EF4-FFF2-40B4-BE49-F238E27FC236}">
                <a16:creationId xmlns:a16="http://schemas.microsoft.com/office/drawing/2014/main" id="{376D964F-C8A1-C871-5753-80704C0AE4DC}"/>
              </a:ext>
            </a:extLst>
          </p:cNvPr>
          <p:cNvSpPr>
            <a:spLocks noGrp="1"/>
          </p:cNvSpPr>
          <p:nvPr>
            <p:ph type="body" sz="quarter" idx="13"/>
          </p:nvPr>
        </p:nvSpPr>
        <p:spPr>
          <a:xfrm>
            <a:off x="6238875" y="1221441"/>
            <a:ext cx="5667376" cy="4938059"/>
          </a:xfrm>
          <a:prstGeom prst="rect">
            <a:avLst/>
          </a:prstGeom>
        </p:spPr>
        <p:txBody>
          <a:bodyPr/>
          <a:lstStyle>
            <a:lvl1pPr>
              <a:spcBef>
                <a:spcPts val="0"/>
              </a:spcBef>
              <a:defRPr sz="1500" b="0" i="0">
                <a:solidFill>
                  <a:schemeClr val="bg2"/>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2"/>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2"/>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2"/>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9">
            <a:extLst>
              <a:ext uri="{FF2B5EF4-FFF2-40B4-BE49-F238E27FC236}">
                <a16:creationId xmlns:a16="http://schemas.microsoft.com/office/drawing/2014/main" id="{6A4BB714-3DAF-D4C6-C94C-23D6E3F68717}"/>
              </a:ext>
            </a:extLst>
          </p:cNvPr>
          <p:cNvSpPr>
            <a:spLocks noGrp="1"/>
          </p:cNvSpPr>
          <p:nvPr>
            <p:ph type="body" sz="quarter" idx="14" hasCustomPrompt="1"/>
          </p:nvPr>
        </p:nvSpPr>
        <p:spPr>
          <a:xfrm>
            <a:off x="1697265" y="4387850"/>
            <a:ext cx="4255861" cy="1771650"/>
          </a:xfrm>
          <a:prstGeom prst="rect">
            <a:avLst/>
          </a:prstGeom>
        </p:spPr>
        <p:txBody>
          <a:bodyPr anchor="b"/>
          <a:lstStyle>
            <a:lvl1pPr>
              <a:lnSpc>
                <a:spcPct val="90000"/>
              </a:lnSpc>
              <a:spcBef>
                <a:spcPts val="0"/>
              </a:spcBef>
              <a:defRPr sz="12897" b="0" i="0">
                <a:solidFill>
                  <a:schemeClr val="accent1"/>
                </a:solidFill>
                <a:latin typeface="Aptos" panose="020B0004020202020204" pitchFamily="34" charset="0"/>
              </a:defRPr>
            </a:lvl1pPr>
          </a:lstStyle>
          <a:p>
            <a:r>
              <a:rPr lang="en-US"/>
              <a:t>↗︎00M</a:t>
            </a:r>
          </a:p>
        </p:txBody>
      </p:sp>
    </p:spTree>
    <p:extLst>
      <p:ext uri="{BB962C8B-B14F-4D97-AF65-F5344CB8AC3E}">
        <p14:creationId xmlns:p14="http://schemas.microsoft.com/office/powerpoint/2010/main" val="807616982"/>
      </p:ext>
    </p:extLst>
  </p:cSld>
  <p:clrMapOvr>
    <a:masterClrMapping/>
  </p:clrMapOvr>
  <p:transition spd="med"/>
  <p:extLst>
    <p:ext uri="{DCECCB84-F9BA-43D5-87BE-67443E8EF086}">
      <p15:sldGuideLst xmlns:p15="http://schemas.microsoft.com/office/powerpoint/2012/main">
        <p15:guide id="2" orient="horz" pos="4656">
          <p15:clr>
            <a:srgbClr val="F26B43"/>
          </p15:clr>
        </p15:guide>
        <p15:guide id="3" orient="horz" pos="912">
          <p15:clr>
            <a:srgbClr val="F26B43"/>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allout + half circle image">
    <p:bg>
      <p:bgPr>
        <a:solidFill>
          <a:schemeClr val="tx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95470" y="1221441"/>
            <a:ext cx="5658439" cy="4938059"/>
          </a:xfrm>
          <a:prstGeom prst="rect">
            <a:avLst/>
          </a:prstGeom>
        </p:spPr>
        <p:txBody>
          <a:bodyPr/>
          <a:lstStyle>
            <a:lvl1pPr>
              <a:spcBef>
                <a:spcPts val="0"/>
              </a:spcBef>
              <a:defRPr sz="1500" b="0" i="0">
                <a:solidFill>
                  <a:schemeClr val="bg2"/>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2"/>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2"/>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2"/>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itle Text">
            <a:extLst>
              <a:ext uri="{FF2B5EF4-FFF2-40B4-BE49-F238E27FC236}">
                <a16:creationId xmlns:a16="http://schemas.microsoft.com/office/drawing/2014/main" id="{4B5980F9-A7B7-7DE7-65FD-745FC498DFDB}"/>
              </a:ext>
            </a:extLst>
          </p:cNvPr>
          <p:cNvSpPr txBox="1">
            <a:spLocks noGrp="1"/>
          </p:cNvSpPr>
          <p:nvPr>
            <p:ph type="title" hasCustomPrompt="1"/>
          </p:nvPr>
        </p:nvSpPr>
        <p:spPr>
          <a:xfrm>
            <a:off x="290212" y="295139"/>
            <a:ext cx="5662913" cy="386603"/>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73152" rIns="0" bIns="0"/>
          <a:lstStyle/>
          <a:p>
            <a:r>
              <a:rPr lang="en-US"/>
              <a:t>Callout + half circle image</a:t>
            </a:r>
            <a:endParaRPr/>
          </a:p>
        </p:txBody>
      </p:sp>
      <p:sp>
        <p:nvSpPr>
          <p:cNvPr id="7" name="Rectangle 6">
            <a:extLst>
              <a:ext uri="{FF2B5EF4-FFF2-40B4-BE49-F238E27FC236}">
                <a16:creationId xmlns:a16="http://schemas.microsoft.com/office/drawing/2014/main" id="{92499C85-30F2-6EA7-FA46-49F8397A724D}"/>
              </a:ext>
            </a:extLst>
          </p:cNvPr>
          <p:cNvSpPr/>
          <p:nvPr userDrawn="1"/>
        </p:nvSpPr>
        <p:spPr bwMode="auto">
          <a:xfrm>
            <a:off x="8223251" y="0"/>
            <a:ext cx="3968750" cy="6858000"/>
          </a:xfrm>
          <a:prstGeom prst="rect">
            <a:avLst/>
          </a:prstGeom>
          <a:solidFill>
            <a:schemeClr val="tx2"/>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76200" tIns="76200" rIns="76200" bIns="76200" numCol="1" rtlCol="0" anchor="t" anchorCtr="0" compatLnSpc="1">
            <a:prstTxWarp prst="textNoShape">
              <a:avLst/>
            </a:prstTxWarp>
          </a:bodyPr>
          <a:lstStyle/>
          <a:p>
            <a:pPr marL="0" marR="0" indent="0" algn="l" defTabSz="761970" rtl="0" eaLnBrk="1" fontAlgn="base" latinLnBrk="0" hangingPunct="1">
              <a:lnSpc>
                <a:spcPct val="100000"/>
              </a:lnSpc>
              <a:spcBef>
                <a:spcPct val="0"/>
              </a:spcBef>
              <a:spcAft>
                <a:spcPct val="0"/>
              </a:spcAft>
              <a:buClrTx/>
              <a:buSzTx/>
              <a:buFont typeface="IBM Plex Sans Light"/>
              <a:buNone/>
              <a:tabLst/>
            </a:pPr>
            <a:endParaRPr kumimoji="0" lang="en-US" sz="1167" b="0" i="0" u="none" strike="noStrike" cap="none" normalizeH="0" baseline="0">
              <a:ln>
                <a:noFill/>
              </a:ln>
              <a:solidFill>
                <a:schemeClr val="bg1"/>
              </a:solidFill>
              <a:effectLst/>
              <a:latin typeface="+mn-lt"/>
            </a:endParaRPr>
          </a:p>
        </p:txBody>
      </p:sp>
      <p:sp>
        <p:nvSpPr>
          <p:cNvPr id="8" name="Text Placeholder 3">
            <a:extLst>
              <a:ext uri="{FF2B5EF4-FFF2-40B4-BE49-F238E27FC236}">
                <a16:creationId xmlns:a16="http://schemas.microsoft.com/office/drawing/2014/main" id="{33C5F6AC-C223-7C2D-70E0-C185CE6DC6CE}"/>
              </a:ext>
            </a:extLst>
          </p:cNvPr>
          <p:cNvSpPr txBox="1">
            <a:spLocks/>
          </p:cNvSpPr>
          <p:nvPr userDrawn="1"/>
        </p:nvSpPr>
        <p:spPr>
          <a:xfrm>
            <a:off x="11438259" y="6458629"/>
            <a:ext cx="462473" cy="150303"/>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Outfit Light" pitchFamily="2" charset="0"/>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r" defTabSz="1218948" rtl="0" eaLnBrk="1" fontAlgn="auto" latinLnBrk="0" hangingPunct="1">
              <a:lnSpc>
                <a:spcPct val="110000"/>
              </a:lnSpc>
              <a:spcBef>
                <a:spcPts val="0"/>
              </a:spcBef>
              <a:spcAft>
                <a:spcPts val="0"/>
              </a:spcAft>
              <a:buClrTx/>
              <a:buSzTx/>
              <a:buFontTx/>
              <a:buNone/>
              <a:tabLst/>
              <a:defRPr/>
            </a:pPr>
            <a:fld id="{64F0821C-65D3-DD4D-8DB2-745946DB9115}" type="slidenum">
              <a:rPr kumimoji="0" lang="en-US" sz="917" b="0" i="0" u="none" strike="noStrike" kern="0" cap="none" spc="0" normalizeH="0" baseline="0" noProof="0" smtClean="0">
                <a:ln>
                  <a:noFill/>
                </a:ln>
                <a:solidFill>
                  <a:srgbClr val="000000"/>
                </a:solidFill>
                <a:effectLst/>
                <a:uLnTx/>
                <a:uFillTx/>
                <a:latin typeface="Aptos" panose="020B0004020202020204" pitchFamily="34" charset="0"/>
                <a:ea typeface="+mj-ea"/>
                <a:cs typeface="+mj-cs"/>
                <a:sym typeface="IBM Plex Sans Light"/>
              </a:rPr>
              <a:pPr marL="0" marR="0" lvl="0" indent="0" algn="r" defTabSz="1218948" rtl="0" eaLnBrk="1" fontAlgn="auto" latinLnBrk="0" hangingPunct="1">
                <a:lnSpc>
                  <a:spcPct val="110000"/>
                </a:lnSpc>
                <a:spcBef>
                  <a:spcPts val="0"/>
                </a:spcBef>
                <a:spcAft>
                  <a:spcPts val="0"/>
                </a:spcAft>
                <a:buClrTx/>
                <a:buSzTx/>
                <a:buFontTx/>
                <a:buNone/>
                <a:tabLst/>
                <a:defRPr/>
              </a:pPr>
              <a:t>‹#›</a:t>
            </a:fld>
            <a:endParaRPr kumimoji="0" lang="en-US" sz="917" b="0" i="0" u="none" strike="noStrike" kern="0" cap="none" spc="0" normalizeH="0" baseline="0" noProof="0">
              <a:ln>
                <a:noFill/>
              </a:ln>
              <a:solidFill>
                <a:srgbClr val="000000"/>
              </a:solidFill>
              <a:effectLst/>
              <a:uLnTx/>
              <a:uFillTx/>
              <a:latin typeface="Aptos" panose="020B0004020202020204" pitchFamily="34" charset="0"/>
              <a:ea typeface="+mj-ea"/>
              <a:cs typeface="+mj-cs"/>
              <a:sym typeface="IBM Plex Sans Light"/>
            </a:endParaRPr>
          </a:p>
        </p:txBody>
      </p:sp>
      <p:pic>
        <p:nvPicPr>
          <p:cNvPr id="9" name="Graphic 8">
            <a:extLst>
              <a:ext uri="{FF2B5EF4-FFF2-40B4-BE49-F238E27FC236}">
                <a16:creationId xmlns:a16="http://schemas.microsoft.com/office/drawing/2014/main" id="{2C2E667E-748C-1FD6-BBC9-A8FCDA06743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543540" y="6495499"/>
            <a:ext cx="167269" cy="81501"/>
          </a:xfrm>
          <a:prstGeom prst="rect">
            <a:avLst/>
          </a:prstGeom>
        </p:spPr>
      </p:pic>
      <p:sp>
        <p:nvSpPr>
          <p:cNvPr id="4" name="Freeform: Shape 5">
            <a:extLst>
              <a:ext uri="{FF2B5EF4-FFF2-40B4-BE49-F238E27FC236}">
                <a16:creationId xmlns:a16="http://schemas.microsoft.com/office/drawing/2014/main" id="{2AFCE5D4-B1E9-0FAA-186A-FB447C3D0B5A}"/>
              </a:ext>
            </a:extLst>
          </p:cNvPr>
          <p:cNvSpPr>
            <a:spLocks noGrp="1"/>
          </p:cNvSpPr>
          <p:nvPr>
            <p:ph type="pic" sz="quarter" idx="10" hasCustomPrompt="1"/>
          </p:nvPr>
        </p:nvSpPr>
        <p:spPr>
          <a:xfrm>
            <a:off x="6239277" y="1221440"/>
            <a:ext cx="5669910" cy="3014383"/>
          </a:xfrm>
          <a:custGeom>
            <a:avLst/>
            <a:gdLst>
              <a:gd name="connsiteX0" fmla="*/ 2761230 w 5522459"/>
              <a:gd name="connsiteY0" fmla="*/ 0 h 2935991"/>
              <a:gd name="connsiteX1" fmla="*/ 5522459 w 5522459"/>
              <a:gd name="connsiteY1" fmla="*/ 2761230 h 2935991"/>
              <a:gd name="connsiteX2" fmla="*/ 5513634 w 5522459"/>
              <a:gd name="connsiteY2" fmla="*/ 2935991 h 2935991"/>
              <a:gd name="connsiteX3" fmla="*/ 8824 w 5522459"/>
              <a:gd name="connsiteY3" fmla="*/ 2935991 h 2935991"/>
              <a:gd name="connsiteX4" fmla="*/ 0 w 5522459"/>
              <a:gd name="connsiteY4" fmla="*/ 2761230 h 2935991"/>
              <a:gd name="connsiteX5" fmla="*/ 2761230 w 5522459"/>
              <a:gd name="connsiteY5" fmla="*/ 0 h 2935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22459" h="2935991">
                <a:moveTo>
                  <a:pt x="2761230" y="0"/>
                </a:moveTo>
                <a:cubicBezTo>
                  <a:pt x="4286214" y="0"/>
                  <a:pt x="5522459" y="1236245"/>
                  <a:pt x="5522459" y="2761230"/>
                </a:cubicBezTo>
                <a:lnTo>
                  <a:pt x="5513634" y="2935991"/>
                </a:lnTo>
                <a:lnTo>
                  <a:pt x="8824" y="2935991"/>
                </a:lnTo>
                <a:lnTo>
                  <a:pt x="0" y="2761230"/>
                </a:lnTo>
                <a:cubicBezTo>
                  <a:pt x="0" y="1236245"/>
                  <a:pt x="1236245" y="0"/>
                  <a:pt x="2761230" y="0"/>
                </a:cubicBezTo>
                <a:close/>
              </a:path>
            </a:pathLst>
          </a:custGeom>
          <a:solidFill>
            <a:schemeClr val="accent2">
              <a:lumMod val="60000"/>
              <a:lumOff val="40000"/>
            </a:schemeClr>
          </a:solidFill>
        </p:spPr>
        <p:txBody>
          <a:bodyPr wrap="square" anchor="ctr">
            <a:noAutofit/>
          </a:bodyPr>
          <a:lstStyle>
            <a:lvl1pPr algn="ctr">
              <a:defRPr>
                <a:solidFill>
                  <a:schemeClr val="tx1"/>
                </a:solidFill>
              </a:defRPr>
            </a:lvl1pPr>
          </a:lstStyle>
          <a:p>
            <a:pPr lvl="0"/>
            <a:r>
              <a:rPr lang="en-ID" noProof="0"/>
              <a:t>[add image]</a:t>
            </a:r>
          </a:p>
        </p:txBody>
      </p:sp>
      <p:sp>
        <p:nvSpPr>
          <p:cNvPr id="6" name="Text Placeholder 9">
            <a:extLst>
              <a:ext uri="{FF2B5EF4-FFF2-40B4-BE49-F238E27FC236}">
                <a16:creationId xmlns:a16="http://schemas.microsoft.com/office/drawing/2014/main" id="{7AC1A966-319A-DBDE-4A3F-3DF48D3C4568}"/>
              </a:ext>
            </a:extLst>
          </p:cNvPr>
          <p:cNvSpPr>
            <a:spLocks noGrp="1"/>
          </p:cNvSpPr>
          <p:nvPr>
            <p:ph type="body" sz="quarter" idx="14" hasCustomPrompt="1"/>
          </p:nvPr>
        </p:nvSpPr>
        <p:spPr>
          <a:xfrm>
            <a:off x="6943952" y="3864910"/>
            <a:ext cx="4255861" cy="1771650"/>
          </a:xfrm>
          <a:prstGeom prst="rect">
            <a:avLst/>
          </a:prstGeom>
        </p:spPr>
        <p:txBody>
          <a:bodyPr anchor="b"/>
          <a:lstStyle>
            <a:lvl1pPr>
              <a:lnSpc>
                <a:spcPct val="90000"/>
              </a:lnSpc>
              <a:spcBef>
                <a:spcPts val="0"/>
              </a:spcBef>
              <a:defRPr sz="12897" b="0" i="0">
                <a:solidFill>
                  <a:schemeClr val="accent1"/>
                </a:solidFill>
                <a:latin typeface="Aptos" panose="020B0004020202020204" pitchFamily="34" charset="0"/>
              </a:defRPr>
            </a:lvl1pPr>
          </a:lstStyle>
          <a:p>
            <a:r>
              <a:rPr lang="en-US"/>
              <a:t>↗︎00M</a:t>
            </a:r>
          </a:p>
        </p:txBody>
      </p:sp>
    </p:spTree>
    <p:extLst>
      <p:ext uri="{BB962C8B-B14F-4D97-AF65-F5344CB8AC3E}">
        <p14:creationId xmlns:p14="http://schemas.microsoft.com/office/powerpoint/2010/main" val="2235897355"/>
      </p:ext>
    </p:extLst>
  </p:cSld>
  <p:clrMapOvr>
    <a:masterClrMapping/>
  </p:clrMapOvr>
  <p:transition spd="med"/>
  <p:extLst>
    <p:ext uri="{DCECCB84-F9BA-43D5-87BE-67443E8EF086}">
      <p15:sldGuideLst xmlns:p15="http://schemas.microsoft.com/office/powerpoint/2012/main">
        <p15:guide id="2" orient="horz" pos="4656">
          <p15:clr>
            <a:srgbClr val="F26B43"/>
          </p15:clr>
        </p15:guide>
        <p15:guide id="3" orient="horz" pos="912">
          <p15:clr>
            <a:srgbClr val="F26B43"/>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Vertical 3 Col Data Callouts">
    <p:bg>
      <p:bgPr>
        <a:solidFill>
          <a:schemeClr val="tx1"/>
        </a:solidFill>
        <a:effectLst/>
      </p:bgPr>
    </p:bg>
    <p:spTree>
      <p:nvGrpSpPr>
        <p:cNvPr id="1" name=""/>
        <p:cNvGrpSpPr/>
        <p:nvPr/>
      </p:nvGrpSpPr>
      <p:grpSpPr>
        <a:xfrm>
          <a:off x="0" y="0"/>
          <a:ext cx="0" cy="0"/>
          <a:chOff x="0" y="0"/>
          <a:chExt cx="0" cy="0"/>
        </a:xfrm>
      </p:grpSpPr>
      <p:sp>
        <p:nvSpPr>
          <p:cNvPr id="3" name="Title Text">
            <a:extLst>
              <a:ext uri="{FF2B5EF4-FFF2-40B4-BE49-F238E27FC236}">
                <a16:creationId xmlns:a16="http://schemas.microsoft.com/office/drawing/2014/main" id="{4B5980F9-A7B7-7DE7-65FD-745FC498DFDB}"/>
              </a:ext>
            </a:extLst>
          </p:cNvPr>
          <p:cNvSpPr txBox="1">
            <a:spLocks noGrp="1"/>
          </p:cNvSpPr>
          <p:nvPr>
            <p:ph type="title" hasCustomPrompt="1"/>
          </p:nvPr>
        </p:nvSpPr>
        <p:spPr>
          <a:xfrm>
            <a:off x="290211" y="295140"/>
            <a:ext cx="2686352" cy="93195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73152" rIns="0" bIns="0"/>
          <a:lstStyle/>
          <a:p>
            <a:r>
              <a:rPr lang="en-US"/>
              <a:t>Vertical </a:t>
            </a:r>
            <a:br>
              <a:rPr lang="en-US"/>
            </a:br>
            <a:r>
              <a:rPr lang="en-US"/>
              <a:t>3 column data callouts</a:t>
            </a:r>
            <a:endParaRPr/>
          </a:p>
        </p:txBody>
      </p:sp>
      <p:sp>
        <p:nvSpPr>
          <p:cNvPr id="2" name="Text Placeholder 4">
            <a:extLst>
              <a:ext uri="{FF2B5EF4-FFF2-40B4-BE49-F238E27FC236}">
                <a16:creationId xmlns:a16="http://schemas.microsoft.com/office/drawing/2014/main" id="{4E5124E6-ADC3-5365-0866-3D4CAB4CAE95}"/>
              </a:ext>
            </a:extLst>
          </p:cNvPr>
          <p:cNvSpPr>
            <a:spLocks noGrp="1"/>
          </p:cNvSpPr>
          <p:nvPr>
            <p:ph type="body" sz="quarter" idx="12"/>
          </p:nvPr>
        </p:nvSpPr>
        <p:spPr>
          <a:xfrm>
            <a:off x="3277290" y="1221441"/>
            <a:ext cx="2681093" cy="4938059"/>
          </a:xfrm>
          <a:prstGeom prst="rect">
            <a:avLst/>
          </a:prstGeom>
        </p:spPr>
        <p:txBody>
          <a:bodyPr/>
          <a:lstStyle>
            <a:lvl1pPr>
              <a:spcBef>
                <a:spcPts val="0"/>
              </a:spcBef>
              <a:defRPr sz="1500" b="0" i="0">
                <a:solidFill>
                  <a:schemeClr val="bg2"/>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2"/>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2"/>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2"/>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6394E0EF-43E2-28B1-FCC7-2EC2EB4727A5}"/>
              </a:ext>
            </a:extLst>
          </p:cNvPr>
          <p:cNvSpPr>
            <a:spLocks noGrp="1"/>
          </p:cNvSpPr>
          <p:nvPr>
            <p:ph type="body" sz="quarter" idx="13"/>
          </p:nvPr>
        </p:nvSpPr>
        <p:spPr>
          <a:xfrm>
            <a:off x="6258055" y="1221441"/>
            <a:ext cx="2681093" cy="4938059"/>
          </a:xfrm>
          <a:prstGeom prst="rect">
            <a:avLst/>
          </a:prstGeom>
        </p:spPr>
        <p:txBody>
          <a:bodyPr/>
          <a:lstStyle>
            <a:lvl1pPr>
              <a:spcBef>
                <a:spcPts val="0"/>
              </a:spcBef>
              <a:defRPr sz="1500" b="0" i="0">
                <a:solidFill>
                  <a:schemeClr val="bg2"/>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2"/>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2"/>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2"/>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4">
            <a:extLst>
              <a:ext uri="{FF2B5EF4-FFF2-40B4-BE49-F238E27FC236}">
                <a16:creationId xmlns:a16="http://schemas.microsoft.com/office/drawing/2014/main" id="{60F5193B-8452-7552-6381-8E0C8601D667}"/>
              </a:ext>
            </a:extLst>
          </p:cNvPr>
          <p:cNvSpPr>
            <a:spLocks noGrp="1"/>
          </p:cNvSpPr>
          <p:nvPr>
            <p:ph type="body" sz="quarter" idx="14"/>
          </p:nvPr>
        </p:nvSpPr>
        <p:spPr>
          <a:xfrm>
            <a:off x="9227614" y="1221441"/>
            <a:ext cx="2681093" cy="4938059"/>
          </a:xfrm>
          <a:prstGeom prst="rect">
            <a:avLst/>
          </a:prstGeom>
        </p:spPr>
        <p:txBody>
          <a:bodyPr/>
          <a:lstStyle>
            <a:lvl1pPr>
              <a:spcBef>
                <a:spcPts val="0"/>
              </a:spcBef>
              <a:defRPr sz="1500" b="0" i="0">
                <a:solidFill>
                  <a:schemeClr val="bg2"/>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2"/>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2"/>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2"/>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7">
            <a:extLst>
              <a:ext uri="{FF2B5EF4-FFF2-40B4-BE49-F238E27FC236}">
                <a16:creationId xmlns:a16="http://schemas.microsoft.com/office/drawing/2014/main" id="{2CA48826-54B2-A53F-9724-5A0B5829288C}"/>
              </a:ext>
            </a:extLst>
          </p:cNvPr>
          <p:cNvSpPr>
            <a:spLocks noGrp="1"/>
          </p:cNvSpPr>
          <p:nvPr>
            <p:ph type="body" sz="quarter" idx="16" hasCustomPrompt="1"/>
          </p:nvPr>
        </p:nvSpPr>
        <p:spPr>
          <a:xfrm>
            <a:off x="6244977" y="293704"/>
            <a:ext cx="2686352" cy="910459"/>
          </a:xfrm>
          <a:prstGeom prst="rect">
            <a:avLst/>
          </a:prstGeom>
        </p:spPr>
        <p:txBody>
          <a:bodyPr/>
          <a:lstStyle>
            <a:lvl1pPr>
              <a:lnSpc>
                <a:spcPct val="90000"/>
              </a:lnSpc>
              <a:defRPr sz="6499">
                <a:solidFill>
                  <a:schemeClr val="accent1"/>
                </a:solidFill>
              </a:defRPr>
            </a:lvl1pPr>
          </a:lstStyle>
          <a:p>
            <a:pPr lvl="0"/>
            <a:r>
              <a:rPr lang="en-US"/>
              <a:t>00%</a:t>
            </a:r>
          </a:p>
        </p:txBody>
      </p:sp>
      <p:sp>
        <p:nvSpPr>
          <p:cNvPr id="14" name="Text Placeholder 19">
            <a:extLst>
              <a:ext uri="{FF2B5EF4-FFF2-40B4-BE49-F238E27FC236}">
                <a16:creationId xmlns:a16="http://schemas.microsoft.com/office/drawing/2014/main" id="{B6ECCCC4-EFD9-6EE1-1F2A-AADFAE3FF5ED}"/>
              </a:ext>
            </a:extLst>
          </p:cNvPr>
          <p:cNvSpPr>
            <a:spLocks noGrp="1"/>
          </p:cNvSpPr>
          <p:nvPr>
            <p:ph type="body" sz="quarter" idx="17" hasCustomPrompt="1"/>
          </p:nvPr>
        </p:nvSpPr>
        <p:spPr>
          <a:xfrm>
            <a:off x="9222356" y="295139"/>
            <a:ext cx="2686352" cy="908943"/>
          </a:xfrm>
          <a:prstGeom prst="rect">
            <a:avLst/>
          </a:prstGeom>
        </p:spPr>
        <p:txBody>
          <a:bodyPr/>
          <a:lstStyle>
            <a:lvl1pPr>
              <a:lnSpc>
                <a:spcPct val="90000"/>
              </a:lnSpc>
              <a:defRPr sz="6499">
                <a:solidFill>
                  <a:schemeClr val="accent1"/>
                </a:solidFill>
              </a:defRPr>
            </a:lvl1pPr>
          </a:lstStyle>
          <a:p>
            <a:pPr lvl="0"/>
            <a:r>
              <a:rPr lang="en-US"/>
              <a:t>00%</a:t>
            </a:r>
          </a:p>
        </p:txBody>
      </p:sp>
      <p:sp>
        <p:nvSpPr>
          <p:cNvPr id="15" name="Text Placeholder 15">
            <a:extLst>
              <a:ext uri="{FF2B5EF4-FFF2-40B4-BE49-F238E27FC236}">
                <a16:creationId xmlns:a16="http://schemas.microsoft.com/office/drawing/2014/main" id="{652DB5B9-CDC4-82D2-0B62-B66204713691}"/>
              </a:ext>
            </a:extLst>
          </p:cNvPr>
          <p:cNvSpPr>
            <a:spLocks noGrp="1"/>
          </p:cNvSpPr>
          <p:nvPr>
            <p:ph type="body" sz="quarter" idx="15" hasCustomPrompt="1"/>
          </p:nvPr>
        </p:nvSpPr>
        <p:spPr>
          <a:xfrm>
            <a:off x="3262227" y="295409"/>
            <a:ext cx="2686352" cy="911091"/>
          </a:xfrm>
          <a:prstGeom prst="rect">
            <a:avLst/>
          </a:prstGeom>
        </p:spPr>
        <p:txBody>
          <a:bodyPr/>
          <a:lstStyle>
            <a:lvl1pPr>
              <a:lnSpc>
                <a:spcPct val="90000"/>
              </a:lnSpc>
              <a:defRPr sz="6499">
                <a:solidFill>
                  <a:schemeClr val="accent1"/>
                </a:solidFill>
              </a:defRPr>
            </a:lvl1pPr>
            <a:lvl2pPr marL="0" indent="0">
              <a:buNone/>
              <a:defRPr/>
            </a:lvl2pPr>
          </a:lstStyle>
          <a:p>
            <a:pPr lvl="0"/>
            <a:r>
              <a:rPr lang="en-US"/>
              <a:t>00%</a:t>
            </a:r>
          </a:p>
        </p:txBody>
      </p:sp>
    </p:spTree>
    <p:extLst>
      <p:ext uri="{BB962C8B-B14F-4D97-AF65-F5344CB8AC3E}">
        <p14:creationId xmlns:p14="http://schemas.microsoft.com/office/powerpoint/2010/main" val="1284218663"/>
      </p:ext>
    </p:extLst>
  </p:cSld>
  <p:clrMapOvr>
    <a:masterClrMapping/>
  </p:clrMapOvr>
  <p:transition spd="med"/>
  <p:extLst>
    <p:ext uri="{DCECCB84-F9BA-43D5-87BE-67443E8EF086}">
      <p15:sldGuideLst xmlns:p15="http://schemas.microsoft.com/office/powerpoint/2012/main">
        <p15:guide id="2" orient="horz" pos="4656">
          <p15:clr>
            <a:srgbClr val="F26B43"/>
          </p15:clr>
        </p15:guide>
        <p15:guide id="3" orient="horz" pos="912">
          <p15:clr>
            <a:srgbClr val="F26B43"/>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Horizontal 3 Col Data Callouts">
    <p:bg>
      <p:bgPr>
        <a:solidFill>
          <a:schemeClr val="tx1"/>
        </a:solidFill>
        <a:effectLst/>
      </p:bgPr>
    </p:bg>
    <p:spTree>
      <p:nvGrpSpPr>
        <p:cNvPr id="1" name=""/>
        <p:cNvGrpSpPr/>
        <p:nvPr/>
      </p:nvGrpSpPr>
      <p:grpSpPr>
        <a:xfrm>
          <a:off x="0" y="0"/>
          <a:ext cx="0" cy="0"/>
          <a:chOff x="0" y="0"/>
          <a:chExt cx="0" cy="0"/>
        </a:xfrm>
      </p:grpSpPr>
      <p:sp>
        <p:nvSpPr>
          <p:cNvPr id="3" name="Title Text">
            <a:extLst>
              <a:ext uri="{FF2B5EF4-FFF2-40B4-BE49-F238E27FC236}">
                <a16:creationId xmlns:a16="http://schemas.microsoft.com/office/drawing/2014/main" id="{4B5980F9-A7B7-7DE7-65FD-745FC498DFDB}"/>
              </a:ext>
            </a:extLst>
          </p:cNvPr>
          <p:cNvSpPr txBox="1">
            <a:spLocks noGrp="1"/>
          </p:cNvSpPr>
          <p:nvPr>
            <p:ph type="title" hasCustomPrompt="1"/>
          </p:nvPr>
        </p:nvSpPr>
        <p:spPr>
          <a:xfrm>
            <a:off x="290211" y="295140"/>
            <a:ext cx="2686352" cy="93195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73152" rIns="0" bIns="0"/>
          <a:lstStyle/>
          <a:p>
            <a:r>
              <a:rPr lang="en-US"/>
              <a:t>Horizontal </a:t>
            </a:r>
            <a:br>
              <a:rPr lang="en-US"/>
            </a:br>
            <a:r>
              <a:rPr lang="en-US"/>
              <a:t>3 column data callouts</a:t>
            </a:r>
            <a:endParaRPr/>
          </a:p>
        </p:txBody>
      </p:sp>
      <p:sp>
        <p:nvSpPr>
          <p:cNvPr id="2" name="Text Placeholder 4">
            <a:extLst>
              <a:ext uri="{FF2B5EF4-FFF2-40B4-BE49-F238E27FC236}">
                <a16:creationId xmlns:a16="http://schemas.microsoft.com/office/drawing/2014/main" id="{4E5124E6-ADC3-5365-0866-3D4CAB4CAE95}"/>
              </a:ext>
            </a:extLst>
          </p:cNvPr>
          <p:cNvSpPr>
            <a:spLocks noGrp="1"/>
          </p:cNvSpPr>
          <p:nvPr>
            <p:ph type="body" sz="quarter" idx="12"/>
          </p:nvPr>
        </p:nvSpPr>
        <p:spPr>
          <a:xfrm>
            <a:off x="6243422" y="296049"/>
            <a:ext cx="5662828" cy="1788246"/>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15">
            <a:extLst>
              <a:ext uri="{FF2B5EF4-FFF2-40B4-BE49-F238E27FC236}">
                <a16:creationId xmlns:a16="http://schemas.microsoft.com/office/drawing/2014/main" id="{652DB5B9-CDC4-82D2-0B62-B66204713691}"/>
              </a:ext>
            </a:extLst>
          </p:cNvPr>
          <p:cNvSpPr>
            <a:spLocks noGrp="1"/>
          </p:cNvSpPr>
          <p:nvPr>
            <p:ph type="body" sz="quarter" idx="15" hasCustomPrompt="1"/>
          </p:nvPr>
        </p:nvSpPr>
        <p:spPr>
          <a:xfrm>
            <a:off x="3262312" y="285751"/>
            <a:ext cx="2686267" cy="1798543"/>
          </a:xfrm>
          <a:prstGeom prst="rect">
            <a:avLst/>
          </a:prstGeom>
        </p:spPr>
        <p:txBody>
          <a:bodyPr/>
          <a:lstStyle>
            <a:lvl1pPr algn="r">
              <a:lnSpc>
                <a:spcPct val="90000"/>
              </a:lnSpc>
              <a:defRPr sz="6499">
                <a:solidFill>
                  <a:schemeClr val="accent1"/>
                </a:solidFill>
              </a:defRPr>
            </a:lvl1pPr>
            <a:lvl2pPr marL="0" indent="0">
              <a:buNone/>
              <a:defRPr/>
            </a:lvl2pPr>
          </a:lstStyle>
          <a:p>
            <a:pPr lvl="0"/>
            <a:r>
              <a:rPr lang="en-US"/>
              <a:t>00%</a:t>
            </a:r>
          </a:p>
        </p:txBody>
      </p:sp>
      <p:sp>
        <p:nvSpPr>
          <p:cNvPr id="16" name="Text Placeholder 4">
            <a:extLst>
              <a:ext uri="{FF2B5EF4-FFF2-40B4-BE49-F238E27FC236}">
                <a16:creationId xmlns:a16="http://schemas.microsoft.com/office/drawing/2014/main" id="{489A396A-EC4B-6C7D-9BC2-25F2413D4A51}"/>
              </a:ext>
            </a:extLst>
          </p:cNvPr>
          <p:cNvSpPr>
            <a:spLocks noGrp="1"/>
          </p:cNvSpPr>
          <p:nvPr>
            <p:ph type="body" sz="quarter" idx="16"/>
          </p:nvPr>
        </p:nvSpPr>
        <p:spPr>
          <a:xfrm>
            <a:off x="6243422" y="2342031"/>
            <a:ext cx="5662828" cy="1794807"/>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15">
            <a:extLst>
              <a:ext uri="{FF2B5EF4-FFF2-40B4-BE49-F238E27FC236}">
                <a16:creationId xmlns:a16="http://schemas.microsoft.com/office/drawing/2014/main" id="{F1283630-C45B-3FFD-0FF4-71EF8BAB1AF9}"/>
              </a:ext>
            </a:extLst>
          </p:cNvPr>
          <p:cNvSpPr>
            <a:spLocks noGrp="1"/>
          </p:cNvSpPr>
          <p:nvPr>
            <p:ph type="body" sz="quarter" idx="17" hasCustomPrompt="1"/>
          </p:nvPr>
        </p:nvSpPr>
        <p:spPr>
          <a:xfrm>
            <a:off x="3262312" y="2341830"/>
            <a:ext cx="2686267" cy="1795008"/>
          </a:xfrm>
          <a:prstGeom prst="rect">
            <a:avLst/>
          </a:prstGeom>
        </p:spPr>
        <p:txBody>
          <a:bodyPr/>
          <a:lstStyle>
            <a:lvl1pPr algn="r">
              <a:lnSpc>
                <a:spcPct val="90000"/>
              </a:lnSpc>
              <a:defRPr sz="6499">
                <a:solidFill>
                  <a:schemeClr val="accent1"/>
                </a:solidFill>
              </a:defRPr>
            </a:lvl1pPr>
            <a:lvl2pPr marL="0" indent="0">
              <a:buNone/>
              <a:defRPr/>
            </a:lvl2pPr>
          </a:lstStyle>
          <a:p>
            <a:pPr lvl="0"/>
            <a:r>
              <a:rPr lang="en-US"/>
              <a:t>00%</a:t>
            </a:r>
          </a:p>
        </p:txBody>
      </p:sp>
      <p:sp>
        <p:nvSpPr>
          <p:cNvPr id="18" name="Text Placeholder 4">
            <a:extLst>
              <a:ext uri="{FF2B5EF4-FFF2-40B4-BE49-F238E27FC236}">
                <a16:creationId xmlns:a16="http://schemas.microsoft.com/office/drawing/2014/main" id="{7D7903A5-9767-AD20-0F18-95FC5C16B39B}"/>
              </a:ext>
            </a:extLst>
          </p:cNvPr>
          <p:cNvSpPr>
            <a:spLocks noGrp="1"/>
          </p:cNvSpPr>
          <p:nvPr>
            <p:ph type="body" sz="quarter" idx="18"/>
          </p:nvPr>
        </p:nvSpPr>
        <p:spPr>
          <a:xfrm>
            <a:off x="6243422" y="4364692"/>
            <a:ext cx="5662828" cy="1794807"/>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15">
            <a:extLst>
              <a:ext uri="{FF2B5EF4-FFF2-40B4-BE49-F238E27FC236}">
                <a16:creationId xmlns:a16="http://schemas.microsoft.com/office/drawing/2014/main" id="{696349FA-3CB3-B6D9-CBCE-B3BA68AAB02A}"/>
              </a:ext>
            </a:extLst>
          </p:cNvPr>
          <p:cNvSpPr>
            <a:spLocks noGrp="1"/>
          </p:cNvSpPr>
          <p:nvPr>
            <p:ph type="body" sz="quarter" idx="19" hasCustomPrompt="1"/>
          </p:nvPr>
        </p:nvSpPr>
        <p:spPr>
          <a:xfrm>
            <a:off x="3262312" y="4364492"/>
            <a:ext cx="2686267" cy="1795008"/>
          </a:xfrm>
          <a:prstGeom prst="rect">
            <a:avLst/>
          </a:prstGeom>
        </p:spPr>
        <p:txBody>
          <a:bodyPr/>
          <a:lstStyle>
            <a:lvl1pPr algn="r">
              <a:lnSpc>
                <a:spcPct val="90000"/>
              </a:lnSpc>
              <a:defRPr sz="6499">
                <a:solidFill>
                  <a:schemeClr val="accent1"/>
                </a:solidFill>
              </a:defRPr>
            </a:lvl1pPr>
            <a:lvl2pPr marL="0" indent="0">
              <a:buNone/>
              <a:defRPr/>
            </a:lvl2pPr>
          </a:lstStyle>
          <a:p>
            <a:pPr lvl="0"/>
            <a:r>
              <a:rPr lang="en-US"/>
              <a:t>00%</a:t>
            </a:r>
          </a:p>
        </p:txBody>
      </p:sp>
    </p:spTree>
    <p:extLst>
      <p:ext uri="{BB962C8B-B14F-4D97-AF65-F5344CB8AC3E}">
        <p14:creationId xmlns:p14="http://schemas.microsoft.com/office/powerpoint/2010/main" val="1964716561"/>
      </p:ext>
    </p:extLst>
  </p:cSld>
  <p:clrMapOvr>
    <a:masterClrMapping/>
  </p:clrMapOvr>
  <p:transition spd="med"/>
  <p:extLst>
    <p:ext uri="{DCECCB84-F9BA-43D5-87BE-67443E8EF086}">
      <p15:sldGuideLst xmlns:p15="http://schemas.microsoft.com/office/powerpoint/2012/main">
        <p15:guide id="2" orient="horz" pos="4656">
          <p15:clr>
            <a:srgbClr val="F26B43"/>
          </p15:clr>
        </p15:guide>
        <p15:guide id="3" orient="horz" pos="912">
          <p15:clr>
            <a:srgbClr val="F26B43"/>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Large 2 col data callouts">
    <p:bg>
      <p:bgPr>
        <a:solidFill>
          <a:schemeClr val="tx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87998" y="4389374"/>
            <a:ext cx="5665121" cy="1771650"/>
          </a:xfrm>
          <a:prstGeom prst="rect">
            <a:avLst/>
          </a:prstGeom>
        </p:spPr>
        <p:txBody>
          <a:bodyPr anchor="b"/>
          <a:lstStyle>
            <a:lvl1pPr>
              <a:lnSpc>
                <a:spcPct val="90000"/>
              </a:lnSpc>
              <a:spcBef>
                <a:spcPts val="0"/>
              </a:spcBef>
              <a:defRPr sz="12897" b="0" i="0">
                <a:solidFill>
                  <a:schemeClr val="accent1"/>
                </a:solidFill>
                <a:latin typeface="Aptos" panose="020B0004020202020204" pitchFamily="34" charset="0"/>
              </a:defRPr>
            </a:lvl1pPr>
          </a:lstStyle>
          <a:p>
            <a:r>
              <a:rPr lang="en-US"/>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6238876" y="4387850"/>
            <a:ext cx="5665825" cy="1771650"/>
          </a:xfrm>
          <a:prstGeom prst="rect">
            <a:avLst/>
          </a:prstGeom>
        </p:spPr>
        <p:txBody>
          <a:bodyPr anchor="b"/>
          <a:lstStyle>
            <a:lvl1pPr>
              <a:lnSpc>
                <a:spcPct val="90000"/>
              </a:lnSpc>
              <a:spcBef>
                <a:spcPts val="0"/>
              </a:spcBef>
              <a:defRPr sz="12897" b="0" i="0">
                <a:solidFill>
                  <a:schemeClr val="accent1"/>
                </a:solidFill>
                <a:latin typeface="Aptos" panose="020B0004020202020204" pitchFamily="34" charset="0"/>
              </a:defRPr>
            </a:lvl1pPr>
          </a:lstStyle>
          <a:p>
            <a:r>
              <a:rPr lang="en-US"/>
              <a:t>+00%</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6096000" y="284957"/>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ext Placeholder 4">
            <a:extLst>
              <a:ext uri="{FF2B5EF4-FFF2-40B4-BE49-F238E27FC236}">
                <a16:creationId xmlns:a16="http://schemas.microsoft.com/office/drawing/2014/main" id="{0BF01BD5-9D58-62B6-D197-096BEF11002A}"/>
              </a:ext>
            </a:extLst>
          </p:cNvPr>
          <p:cNvSpPr>
            <a:spLocks noGrp="1"/>
          </p:cNvSpPr>
          <p:nvPr>
            <p:ph type="body" sz="quarter" idx="11"/>
          </p:nvPr>
        </p:nvSpPr>
        <p:spPr>
          <a:xfrm>
            <a:off x="295469" y="296956"/>
            <a:ext cx="5657648" cy="3950073"/>
          </a:xfrm>
          <a:prstGeom prst="rect">
            <a:avLst/>
          </a:prstGeom>
        </p:spPr>
        <p:txBody>
          <a:bodyPr/>
          <a:lstStyle>
            <a:lvl1pPr>
              <a:spcBef>
                <a:spcPts val="0"/>
              </a:spcBef>
              <a:defRPr sz="1500" b="0" i="0">
                <a:solidFill>
                  <a:schemeClr val="bg2"/>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2"/>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2"/>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2"/>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ext Placeholder 4">
            <a:extLst>
              <a:ext uri="{FF2B5EF4-FFF2-40B4-BE49-F238E27FC236}">
                <a16:creationId xmlns:a16="http://schemas.microsoft.com/office/drawing/2014/main" id="{8B578D6B-A381-8EB1-A3B8-5B2CD96A4253}"/>
              </a:ext>
            </a:extLst>
          </p:cNvPr>
          <p:cNvSpPr>
            <a:spLocks noGrp="1"/>
          </p:cNvSpPr>
          <p:nvPr>
            <p:ph type="body" sz="quarter" idx="15"/>
          </p:nvPr>
        </p:nvSpPr>
        <p:spPr>
          <a:xfrm>
            <a:off x="6245793" y="296956"/>
            <a:ext cx="5657648" cy="3950073"/>
          </a:xfrm>
          <a:prstGeom prst="rect">
            <a:avLst/>
          </a:prstGeom>
        </p:spPr>
        <p:txBody>
          <a:bodyPr/>
          <a:lstStyle>
            <a:lvl1pPr>
              <a:spcBef>
                <a:spcPts val="0"/>
              </a:spcBef>
              <a:defRPr sz="1500" b="0" i="0">
                <a:solidFill>
                  <a:schemeClr val="bg2"/>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2"/>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2"/>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2"/>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74110195"/>
      </p:ext>
    </p:extLst>
  </p:cSld>
  <p:clrMapOvr>
    <a:masterClrMapping/>
  </p:clrMapOvr>
  <p:transition spd="med"/>
  <p:extLst>
    <p:ext uri="{DCECCB84-F9BA-43D5-87BE-67443E8EF086}">
      <p15:sldGuideLst xmlns:p15="http://schemas.microsoft.com/office/powerpoint/2012/main">
        <p15:guide id="1" orient="horz" pos="4656">
          <p15:clr>
            <a:srgbClr val="F26B43"/>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Right color block">
    <p:bg>
      <p:bgPr>
        <a:solidFill>
          <a:schemeClr val="tx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95470" y="1221441"/>
            <a:ext cx="3673281" cy="4938059"/>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itle Text">
            <a:extLst>
              <a:ext uri="{FF2B5EF4-FFF2-40B4-BE49-F238E27FC236}">
                <a16:creationId xmlns:a16="http://schemas.microsoft.com/office/drawing/2014/main" id="{4B5980F9-A7B7-7DE7-65FD-745FC498DFDB}"/>
              </a:ext>
            </a:extLst>
          </p:cNvPr>
          <p:cNvSpPr txBox="1">
            <a:spLocks noGrp="1"/>
          </p:cNvSpPr>
          <p:nvPr>
            <p:ph type="title" hasCustomPrompt="1"/>
          </p:nvPr>
        </p:nvSpPr>
        <p:spPr>
          <a:xfrm>
            <a:off x="290211" y="295139"/>
            <a:ext cx="7647289" cy="38660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73152" rIns="0" bIns="0"/>
          <a:lstStyle/>
          <a:p>
            <a:r>
              <a:rPr lang="en-US"/>
              <a:t>Right color block</a:t>
            </a:r>
            <a:endParaRPr/>
          </a:p>
        </p:txBody>
      </p:sp>
      <p:sp>
        <p:nvSpPr>
          <p:cNvPr id="7" name="Round Single Corner Rectangle 6">
            <a:extLst>
              <a:ext uri="{FF2B5EF4-FFF2-40B4-BE49-F238E27FC236}">
                <a16:creationId xmlns:a16="http://schemas.microsoft.com/office/drawing/2014/main" id="{92499C85-30F2-6EA7-FA46-49F8397A724D}"/>
              </a:ext>
            </a:extLst>
          </p:cNvPr>
          <p:cNvSpPr/>
          <p:nvPr userDrawn="1"/>
        </p:nvSpPr>
        <p:spPr bwMode="auto">
          <a:xfrm flipH="1">
            <a:off x="8232971" y="0"/>
            <a:ext cx="3959029" cy="6858000"/>
          </a:xfrm>
          <a:prstGeom prst="round1Rect">
            <a:avLst>
              <a:gd name="adj" fmla="val 15209"/>
            </a:avLst>
          </a:prstGeom>
          <a:solidFill>
            <a:schemeClr val="tx2"/>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76200" tIns="76200" rIns="76200" bIns="76200" numCol="1" rtlCol="0" anchor="t" anchorCtr="0" compatLnSpc="1">
            <a:prstTxWarp prst="textNoShape">
              <a:avLst/>
            </a:prstTxWarp>
          </a:bodyPr>
          <a:lstStyle/>
          <a:p>
            <a:pPr marL="0" marR="0" indent="0" algn="l" defTabSz="761970" rtl="0" eaLnBrk="1" fontAlgn="base" latinLnBrk="0" hangingPunct="1">
              <a:lnSpc>
                <a:spcPct val="100000"/>
              </a:lnSpc>
              <a:spcBef>
                <a:spcPct val="0"/>
              </a:spcBef>
              <a:spcAft>
                <a:spcPct val="0"/>
              </a:spcAft>
              <a:buClrTx/>
              <a:buSzTx/>
              <a:buFont typeface="IBM Plex Sans Light"/>
              <a:buNone/>
              <a:tabLst/>
            </a:pPr>
            <a:endParaRPr kumimoji="0" lang="en-US" sz="1167" b="0" i="0" u="none" strike="noStrike" cap="none" normalizeH="0" baseline="0">
              <a:ln>
                <a:noFill/>
              </a:ln>
              <a:solidFill>
                <a:schemeClr val="bg1"/>
              </a:solidFill>
              <a:effectLst/>
              <a:latin typeface="+mn-lt"/>
            </a:endParaRPr>
          </a:p>
        </p:txBody>
      </p:sp>
      <p:sp>
        <p:nvSpPr>
          <p:cNvPr id="8" name="Text Placeholder 3">
            <a:extLst>
              <a:ext uri="{FF2B5EF4-FFF2-40B4-BE49-F238E27FC236}">
                <a16:creationId xmlns:a16="http://schemas.microsoft.com/office/drawing/2014/main" id="{33C5F6AC-C223-7C2D-70E0-C185CE6DC6CE}"/>
              </a:ext>
            </a:extLst>
          </p:cNvPr>
          <p:cNvSpPr txBox="1">
            <a:spLocks/>
          </p:cNvSpPr>
          <p:nvPr userDrawn="1"/>
        </p:nvSpPr>
        <p:spPr>
          <a:xfrm>
            <a:off x="11438259" y="6458629"/>
            <a:ext cx="462473" cy="150303"/>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Outfit Light" pitchFamily="2" charset="0"/>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r" defTabSz="1218948" rtl="0" eaLnBrk="1" fontAlgn="auto" latinLnBrk="0" hangingPunct="1">
              <a:lnSpc>
                <a:spcPct val="110000"/>
              </a:lnSpc>
              <a:spcBef>
                <a:spcPts val="0"/>
              </a:spcBef>
              <a:spcAft>
                <a:spcPts val="0"/>
              </a:spcAft>
              <a:buClrTx/>
              <a:buSzTx/>
              <a:buFontTx/>
              <a:buNone/>
              <a:tabLst/>
              <a:defRPr/>
            </a:pPr>
            <a:fld id="{64F0821C-65D3-DD4D-8DB2-745946DB9115}" type="slidenum">
              <a:rPr kumimoji="0" lang="en-US" sz="917" b="0" i="0" u="none" strike="noStrike" kern="0" cap="none" spc="0" normalizeH="0" baseline="0" noProof="0" smtClean="0">
                <a:ln>
                  <a:noFill/>
                </a:ln>
                <a:solidFill>
                  <a:srgbClr val="000000"/>
                </a:solidFill>
                <a:effectLst/>
                <a:uLnTx/>
                <a:uFillTx/>
                <a:latin typeface="Aptos" panose="020B0004020202020204" pitchFamily="34" charset="0"/>
                <a:ea typeface="+mj-ea"/>
                <a:cs typeface="+mj-cs"/>
                <a:sym typeface="IBM Plex Sans Light"/>
              </a:rPr>
              <a:pPr marL="0" marR="0" lvl="0" indent="0" algn="r" defTabSz="1218948" rtl="0" eaLnBrk="1" fontAlgn="auto" latinLnBrk="0" hangingPunct="1">
                <a:lnSpc>
                  <a:spcPct val="110000"/>
                </a:lnSpc>
                <a:spcBef>
                  <a:spcPts val="0"/>
                </a:spcBef>
                <a:spcAft>
                  <a:spcPts val="0"/>
                </a:spcAft>
                <a:buClrTx/>
                <a:buSzTx/>
                <a:buFontTx/>
                <a:buNone/>
                <a:tabLst/>
                <a:defRPr/>
              </a:pPr>
              <a:t>‹#›</a:t>
            </a:fld>
            <a:endParaRPr kumimoji="0" lang="en-US" sz="917" b="0" i="0" u="none" strike="noStrike" kern="0" cap="none" spc="0" normalizeH="0" baseline="0" noProof="0">
              <a:ln>
                <a:noFill/>
              </a:ln>
              <a:solidFill>
                <a:srgbClr val="000000"/>
              </a:solidFill>
              <a:effectLst/>
              <a:uLnTx/>
              <a:uFillTx/>
              <a:latin typeface="Aptos" panose="020B0004020202020204" pitchFamily="34" charset="0"/>
              <a:ea typeface="+mj-ea"/>
              <a:cs typeface="+mj-cs"/>
              <a:sym typeface="IBM Plex Sans Light"/>
            </a:endParaRPr>
          </a:p>
        </p:txBody>
      </p:sp>
      <p:pic>
        <p:nvPicPr>
          <p:cNvPr id="9" name="Graphic 8">
            <a:extLst>
              <a:ext uri="{FF2B5EF4-FFF2-40B4-BE49-F238E27FC236}">
                <a16:creationId xmlns:a16="http://schemas.microsoft.com/office/drawing/2014/main" id="{2C2E667E-748C-1FD6-BBC9-A8FCDA06743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543540" y="6495499"/>
            <a:ext cx="167269" cy="81501"/>
          </a:xfrm>
          <a:prstGeom prst="rect">
            <a:avLst/>
          </a:prstGeom>
        </p:spPr>
      </p:pic>
      <p:sp>
        <p:nvSpPr>
          <p:cNvPr id="10" name="Text Placeholder 4">
            <a:extLst>
              <a:ext uri="{FF2B5EF4-FFF2-40B4-BE49-F238E27FC236}">
                <a16:creationId xmlns:a16="http://schemas.microsoft.com/office/drawing/2014/main" id="{D3170F25-7039-028E-4417-CFD9A7247BEF}"/>
              </a:ext>
            </a:extLst>
          </p:cNvPr>
          <p:cNvSpPr>
            <a:spLocks noGrp="1"/>
          </p:cNvSpPr>
          <p:nvPr>
            <p:ph type="body" sz="quarter" idx="12"/>
          </p:nvPr>
        </p:nvSpPr>
        <p:spPr>
          <a:xfrm>
            <a:off x="4264221" y="1221441"/>
            <a:ext cx="3673279" cy="4938059"/>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69543701"/>
      </p:ext>
    </p:extLst>
  </p:cSld>
  <p:clrMapOvr>
    <a:masterClrMapping/>
  </p:clrMapOvr>
  <p:transition spd="med"/>
  <p:extLst>
    <p:ext uri="{DCECCB84-F9BA-43D5-87BE-67443E8EF086}">
      <p15:sldGuideLst xmlns:p15="http://schemas.microsoft.com/office/powerpoint/2012/main">
        <p15:guide id="2" orient="horz" pos="4656">
          <p15:clr>
            <a:srgbClr val="F26B43"/>
          </p15:clr>
        </p15:guide>
        <p15:guide id="3" orient="horz" pos="912">
          <p15:clr>
            <a:srgbClr val="F26B43"/>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tx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F45FA02-9260-0C95-436B-0FD0CB867653}"/>
              </a:ext>
            </a:extLst>
          </p:cNvPr>
          <p:cNvSpPr>
            <a:spLocks noGrp="1" noRot="1" noMove="1" noResize="1" noEditPoints="1" noAdjustHandles="1" noChangeArrowheads="1" noChangeShapeType="1"/>
          </p:cNvSpPr>
          <p:nvPr userDrawn="1"/>
        </p:nvSpPr>
        <p:spPr bwMode="auto">
          <a:xfrm>
            <a:off x="1" y="1"/>
            <a:ext cx="12191999" cy="6858000"/>
          </a:xfrm>
          <a:prstGeom prst="rect">
            <a:avLst/>
          </a:prstGeom>
          <a:solidFill>
            <a:schemeClr val="tx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indent="0" algn="l" defTabSz="457106" rtl="0" eaLnBrk="1" fontAlgn="base" latinLnBrk="0" hangingPunct="1">
              <a:lnSpc>
                <a:spcPct val="100000"/>
              </a:lnSpc>
              <a:spcBef>
                <a:spcPct val="0"/>
              </a:spcBef>
              <a:spcAft>
                <a:spcPct val="0"/>
              </a:spcAft>
              <a:buClrTx/>
              <a:buSzTx/>
              <a:buFont typeface="IBM Plex Sans Light"/>
              <a:buNone/>
              <a:tabLst/>
            </a:pPr>
            <a:endParaRPr kumimoji="0" lang="en-US" sz="700" b="0" i="0" u="none" strike="noStrike" cap="none" normalizeH="0" baseline="0">
              <a:ln>
                <a:noFill/>
              </a:ln>
              <a:solidFill>
                <a:schemeClr val="bg1"/>
              </a:solidFill>
              <a:effectLst/>
              <a:latin typeface="+mn-lt"/>
            </a:endParaRPr>
          </a:p>
        </p:txBody>
      </p:sp>
    </p:spTree>
    <p:extLst>
      <p:ext uri="{BB962C8B-B14F-4D97-AF65-F5344CB8AC3E}">
        <p14:creationId xmlns:p14="http://schemas.microsoft.com/office/powerpoint/2010/main" val="2452956472"/>
      </p:ext>
    </p:extLst>
  </p:cSld>
  <p:clrMapOvr>
    <a:masterClrMapping/>
  </p:clrMapOvr>
  <p:transition spd="med"/>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EEAD27-D8F5-C534-E4B0-B61AC0C92D3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3830E13-C489-EB34-5134-4F18142F1A6A}"/>
              </a:ext>
            </a:extLst>
          </p:cNvPr>
          <p:cNvSpPr>
            <a:spLocks noGrp="1"/>
          </p:cNvSpPr>
          <p:nvPr>
            <p:ph type="dt" sz="half" idx="10"/>
          </p:nvPr>
        </p:nvSpPr>
        <p:spPr/>
        <p:txBody>
          <a:bodyPr/>
          <a:lstStyle/>
          <a:p>
            <a:fld id="{DA17E671-E2D0-4D73-9987-3D67FF8A0F3E}" type="datetimeFigureOut">
              <a:rPr lang="en-US" smtClean="0"/>
              <a:t>4/11/2025</a:t>
            </a:fld>
            <a:endParaRPr lang="en-US"/>
          </a:p>
        </p:txBody>
      </p:sp>
      <p:sp>
        <p:nvSpPr>
          <p:cNvPr id="4" name="Footer Placeholder 3">
            <a:extLst>
              <a:ext uri="{FF2B5EF4-FFF2-40B4-BE49-F238E27FC236}">
                <a16:creationId xmlns:a16="http://schemas.microsoft.com/office/drawing/2014/main" id="{190DA6CA-42C8-7329-6C04-CD70F7A6439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7EDCE88-E86E-8FE4-8D62-0E24C23EDF1E}"/>
              </a:ext>
            </a:extLst>
          </p:cNvPr>
          <p:cNvSpPr>
            <a:spLocks noGrp="1"/>
          </p:cNvSpPr>
          <p:nvPr>
            <p:ph type="sldNum" sz="quarter" idx="12"/>
          </p:nvPr>
        </p:nvSpPr>
        <p:spPr/>
        <p:txBody>
          <a:bodyPr/>
          <a:lstStyle/>
          <a:p>
            <a:fld id="{3FC82791-1542-47F2-AD3C-7ED868584D28}" type="slidenum">
              <a:rPr lang="en-US" smtClean="0"/>
              <a:t>‹#›</a:t>
            </a:fld>
            <a:endParaRPr lang="en-US"/>
          </a:p>
        </p:txBody>
      </p:sp>
    </p:spTree>
    <p:extLst>
      <p:ext uri="{BB962C8B-B14F-4D97-AF65-F5344CB8AC3E}">
        <p14:creationId xmlns:p14="http://schemas.microsoft.com/office/powerpoint/2010/main" val="63210038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2F6C7E-3267-30C1-E98F-D3F4DFAEE50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C5A6947-BDB2-5DC8-5642-380B15FE632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34806BA-A773-1AF9-8E5F-39F0573CC9CD}"/>
              </a:ext>
            </a:extLst>
          </p:cNvPr>
          <p:cNvSpPr>
            <a:spLocks noGrp="1"/>
          </p:cNvSpPr>
          <p:nvPr>
            <p:ph type="dt" sz="half" idx="10"/>
          </p:nvPr>
        </p:nvSpPr>
        <p:spPr/>
        <p:txBody>
          <a:bodyPr/>
          <a:lstStyle/>
          <a:p>
            <a:fld id="{DA17E671-E2D0-4D73-9987-3D67FF8A0F3E}" type="datetimeFigureOut">
              <a:rPr lang="en-US" smtClean="0"/>
              <a:t>4/11/2025</a:t>
            </a:fld>
            <a:endParaRPr lang="en-US"/>
          </a:p>
        </p:txBody>
      </p:sp>
      <p:sp>
        <p:nvSpPr>
          <p:cNvPr id="5" name="Footer Placeholder 4">
            <a:extLst>
              <a:ext uri="{FF2B5EF4-FFF2-40B4-BE49-F238E27FC236}">
                <a16:creationId xmlns:a16="http://schemas.microsoft.com/office/drawing/2014/main" id="{E417B0B9-327D-FA6B-8CEE-E300E474F58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025E18B-3D15-CF1B-9D0A-BD98FFCD92D8}"/>
              </a:ext>
            </a:extLst>
          </p:cNvPr>
          <p:cNvSpPr>
            <a:spLocks noGrp="1"/>
          </p:cNvSpPr>
          <p:nvPr>
            <p:ph type="sldNum" sz="quarter" idx="12"/>
          </p:nvPr>
        </p:nvSpPr>
        <p:spPr/>
        <p:txBody>
          <a:bodyPr/>
          <a:lstStyle/>
          <a:p>
            <a:fld id="{3FC82791-1542-47F2-AD3C-7ED868584D28}" type="slidenum">
              <a:rPr lang="en-US" smtClean="0"/>
              <a:t>‹#›</a:t>
            </a:fld>
            <a:endParaRPr lang="en-US"/>
          </a:p>
        </p:txBody>
      </p:sp>
    </p:spTree>
    <p:extLst>
      <p:ext uri="{BB962C8B-B14F-4D97-AF65-F5344CB8AC3E}">
        <p14:creationId xmlns:p14="http://schemas.microsoft.com/office/powerpoint/2010/main" val="26614125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4/1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0843018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4/1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409225631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4/1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4618018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4/11/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93619813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4/11/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55397117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4/11/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87682724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4/11/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39157559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eft color block">
    <p:bg>
      <p:bgPr>
        <a:solidFill>
          <a:schemeClr val="tx1"/>
        </a:solidFill>
        <a:effectLst/>
      </p:bgPr>
    </p:bg>
    <p:spTree>
      <p:nvGrpSpPr>
        <p:cNvPr id="1" name=""/>
        <p:cNvGrpSpPr/>
        <p:nvPr/>
      </p:nvGrpSpPr>
      <p:grpSpPr>
        <a:xfrm>
          <a:off x="0" y="0"/>
          <a:ext cx="0" cy="0"/>
          <a:chOff x="0" y="0"/>
          <a:chExt cx="0" cy="0"/>
        </a:xfrm>
      </p:grpSpPr>
      <p:sp>
        <p:nvSpPr>
          <p:cNvPr id="7" name="Round Single Corner Rectangle 6">
            <a:extLst>
              <a:ext uri="{FF2B5EF4-FFF2-40B4-BE49-F238E27FC236}">
                <a16:creationId xmlns:a16="http://schemas.microsoft.com/office/drawing/2014/main" id="{92499C85-30F2-6EA7-FA46-49F8397A724D}"/>
              </a:ext>
            </a:extLst>
          </p:cNvPr>
          <p:cNvSpPr/>
          <p:nvPr userDrawn="1"/>
        </p:nvSpPr>
        <p:spPr bwMode="auto">
          <a:xfrm>
            <a:off x="-1488" y="0"/>
            <a:ext cx="3970238" cy="6858000"/>
          </a:xfrm>
          <a:prstGeom prst="round1Rect">
            <a:avLst>
              <a:gd name="adj" fmla="val 14631"/>
            </a:avLst>
          </a:prstGeom>
          <a:solidFill>
            <a:schemeClr val="tx2"/>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76200" tIns="76200" rIns="76200" bIns="76200" numCol="1" rtlCol="0" anchor="t" anchorCtr="0" compatLnSpc="1">
            <a:prstTxWarp prst="textNoShape">
              <a:avLst/>
            </a:prstTxWarp>
          </a:bodyPr>
          <a:lstStyle/>
          <a:p>
            <a:pPr marL="0" marR="0" indent="0" algn="l" defTabSz="761970" rtl="0" eaLnBrk="1" fontAlgn="base" latinLnBrk="0" hangingPunct="1">
              <a:lnSpc>
                <a:spcPct val="100000"/>
              </a:lnSpc>
              <a:spcBef>
                <a:spcPct val="0"/>
              </a:spcBef>
              <a:spcAft>
                <a:spcPct val="0"/>
              </a:spcAft>
              <a:buClrTx/>
              <a:buSzTx/>
              <a:buFont typeface="IBM Plex Sans Light"/>
              <a:buNone/>
              <a:tabLst/>
            </a:pPr>
            <a:endParaRPr kumimoji="0" lang="en-US" sz="1167" b="0" i="0" u="none" strike="noStrike" cap="none" normalizeH="0" baseline="0">
              <a:ln>
                <a:noFill/>
              </a:ln>
              <a:solidFill>
                <a:schemeClr val="bg1"/>
              </a:solidFill>
              <a:effectLst/>
              <a:latin typeface="+mn-lt"/>
            </a:endParaRPr>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95469" y="1221441"/>
            <a:ext cx="3413678" cy="4938059"/>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itle Text">
            <a:extLst>
              <a:ext uri="{FF2B5EF4-FFF2-40B4-BE49-F238E27FC236}">
                <a16:creationId xmlns:a16="http://schemas.microsoft.com/office/drawing/2014/main" id="{4B5980F9-A7B7-7DE7-65FD-745FC498DFDB}"/>
              </a:ext>
            </a:extLst>
          </p:cNvPr>
          <p:cNvSpPr txBox="1">
            <a:spLocks noGrp="1"/>
          </p:cNvSpPr>
          <p:nvPr>
            <p:ph type="title" hasCustomPrompt="1"/>
          </p:nvPr>
        </p:nvSpPr>
        <p:spPr>
          <a:xfrm>
            <a:off x="290211" y="295139"/>
            <a:ext cx="3420371" cy="38660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73152" rIns="0" bIns="0"/>
          <a:lstStyle/>
          <a:p>
            <a:r>
              <a:rPr lang="en-US"/>
              <a:t>Left color block</a:t>
            </a:r>
            <a:endParaRPr/>
          </a:p>
        </p:txBody>
      </p:sp>
      <p:sp>
        <p:nvSpPr>
          <p:cNvPr id="4" name="Text Placeholder 4">
            <a:extLst>
              <a:ext uri="{FF2B5EF4-FFF2-40B4-BE49-F238E27FC236}">
                <a16:creationId xmlns:a16="http://schemas.microsoft.com/office/drawing/2014/main" id="{6B78AFFA-760B-C379-5035-CB7ECAE05516}"/>
              </a:ext>
            </a:extLst>
          </p:cNvPr>
          <p:cNvSpPr>
            <a:spLocks noGrp="1"/>
          </p:cNvSpPr>
          <p:nvPr>
            <p:ph type="body" sz="quarter" idx="12"/>
          </p:nvPr>
        </p:nvSpPr>
        <p:spPr>
          <a:xfrm>
            <a:off x="4254501" y="1221441"/>
            <a:ext cx="7651749" cy="4938059"/>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A8FAF656-3110-CFBB-DE50-C13ECC3BA27C}"/>
              </a:ext>
            </a:extLst>
          </p:cNvPr>
          <p:cNvSpPr txBox="1">
            <a:spLocks/>
          </p:cNvSpPr>
          <p:nvPr userDrawn="1"/>
        </p:nvSpPr>
        <p:spPr>
          <a:xfrm>
            <a:off x="288889" y="6458629"/>
            <a:ext cx="4088233" cy="150303"/>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Outfit Light" pitchFamily="2" charset="0"/>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1218948" rtl="0" eaLnBrk="1" fontAlgn="auto" latinLnBrk="0" hangingPunct="1">
              <a:lnSpc>
                <a:spcPct val="110000"/>
              </a:lnSpc>
              <a:spcBef>
                <a:spcPts val="0"/>
              </a:spcBef>
              <a:spcAft>
                <a:spcPts val="0"/>
              </a:spcAft>
              <a:buClrTx/>
              <a:buSzTx/>
              <a:buFontTx/>
              <a:buNone/>
              <a:tabLst/>
              <a:defRPr/>
            </a:pPr>
            <a:r>
              <a:rPr kumimoji="0" lang="en-US" sz="917" b="0" i="0" u="none" strike="noStrike" kern="0" cap="none" spc="0" normalizeH="0" baseline="0" noProof="0">
                <a:ln>
                  <a:noFill/>
                </a:ln>
                <a:solidFill>
                  <a:srgbClr val="000000"/>
                </a:solidFill>
                <a:effectLst/>
                <a:uLnTx/>
                <a:uFillTx/>
                <a:latin typeface="Aptos Light" panose="020B0004020202020204" pitchFamily="34" charset="0"/>
                <a:ea typeface="+mj-ea"/>
                <a:cs typeface="+mj-cs"/>
                <a:sym typeface="IBM Plex Sans Light"/>
              </a:rPr>
              <a:t>Confidential</a:t>
            </a:r>
            <a:r>
              <a:rPr kumimoji="0" lang="en-US" sz="917" b="0" i="0" u="none" strike="noStrike" kern="0" cap="none" spc="0" normalizeH="0" baseline="0" noProof="0">
                <a:ln>
                  <a:noFill/>
                </a:ln>
                <a:solidFill>
                  <a:srgbClr val="000000"/>
                </a:solidFill>
                <a:effectLst/>
                <a:uLnTx/>
                <a:uFillTx/>
                <a:latin typeface="Aptos" panose="020B0004020202020204" pitchFamily="34" charset="0"/>
                <a:ea typeface="+mj-ea"/>
                <a:cs typeface="+mj-cs"/>
                <a:sym typeface="IBM Plex Sans Light"/>
              </a:rPr>
              <a:t>  /  </a:t>
            </a:r>
            <a:r>
              <a:rPr kumimoji="0" lang="en-US" sz="917" b="0" i="0" u="none" strike="noStrike" kern="0" cap="none" spc="0" normalizeH="0" baseline="0" noProof="0">
                <a:ln>
                  <a:noFill/>
                </a:ln>
                <a:solidFill>
                  <a:srgbClr val="000000"/>
                </a:solidFill>
                <a:effectLst/>
                <a:uLnTx/>
                <a:uFillTx/>
                <a:latin typeface="Aptos Light" panose="020B0004020202020204" pitchFamily="34" charset="0"/>
                <a:ea typeface="+mj-ea"/>
                <a:cs typeface="+mj-cs"/>
                <a:sym typeface="IBM Plex Sans Light"/>
              </a:rPr>
              <a:t>Brillio</a:t>
            </a:r>
          </a:p>
        </p:txBody>
      </p:sp>
    </p:spTree>
    <p:extLst>
      <p:ext uri="{BB962C8B-B14F-4D97-AF65-F5344CB8AC3E}">
        <p14:creationId xmlns:p14="http://schemas.microsoft.com/office/powerpoint/2010/main" val="203270129"/>
      </p:ext>
    </p:extLst>
  </p:cSld>
  <p:clrMapOvr>
    <a:masterClrMapping/>
  </p:clrMapOvr>
  <p:transition spd="med"/>
  <p:extLst>
    <p:ext uri="{DCECCB84-F9BA-43D5-87BE-67443E8EF086}">
      <p15:sldGuideLst xmlns:p15="http://schemas.microsoft.com/office/powerpoint/2012/main">
        <p15:guide id="2" orient="horz" pos="4656">
          <p15:clr>
            <a:srgbClr val="F26B43"/>
          </p15:clr>
        </p15:guide>
        <p15:guide id="3" orient="horz" pos="912">
          <p15:clr>
            <a:srgbClr val="F26B43"/>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4/11/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02082886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4/11/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49064367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4/1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412800840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4/1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71574468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Brillio_Title slide-Dark">
    <p:spTree>
      <p:nvGrpSpPr>
        <p:cNvPr id="1" name=""/>
        <p:cNvGrpSpPr/>
        <p:nvPr/>
      </p:nvGrpSpPr>
      <p:grpSpPr>
        <a:xfrm>
          <a:off x="0" y="0"/>
          <a:ext cx="0" cy="0"/>
          <a:chOff x="0" y="0"/>
          <a:chExt cx="0" cy="0"/>
        </a:xfrm>
      </p:grpSpPr>
      <p:sp>
        <p:nvSpPr>
          <p:cNvPr id="8" name="TextBox 7"/>
          <p:cNvSpPr txBox="1"/>
          <p:nvPr userDrawn="1"/>
        </p:nvSpPr>
        <p:spPr>
          <a:xfrm>
            <a:off x="381000" y="6323112"/>
            <a:ext cx="3048000" cy="153888"/>
          </a:xfrm>
          <a:prstGeom prst="rect">
            <a:avLst/>
          </a:prstGeom>
          <a:noFill/>
        </p:spPr>
        <p:txBody>
          <a:bodyPr wrap="square" lIns="0" tIns="0" rIns="0" bIns="0" rtlCol="0" anchor="b" anchorCtr="0">
            <a:spAutoFit/>
          </a:bodyPr>
          <a:lstStyle/>
          <a:p>
            <a:pPr algn="l"/>
            <a:r>
              <a:rPr lang="en-US" sz="1000" b="0" i="0">
                <a:solidFill>
                  <a:schemeClr val="bg1"/>
                </a:solidFill>
                <a:latin typeface="Outfit"/>
                <a:cs typeface="Arial" panose="020B0604020202020204" pitchFamily="34" charset="0"/>
              </a:rPr>
              <a:t>©2025</a:t>
            </a:r>
            <a:r>
              <a:rPr lang="en-US" sz="1000" b="0" i="0" baseline="0">
                <a:solidFill>
                  <a:schemeClr val="bg1"/>
                </a:solidFill>
                <a:latin typeface="Outfit"/>
                <a:cs typeface="Arial" panose="020B0604020202020204" pitchFamily="34" charset="0"/>
              </a:rPr>
              <a:t> Brillio  |  Proprietary &amp; Confidential</a:t>
            </a:r>
            <a:endParaRPr lang="en-US" sz="1000" b="0" i="0">
              <a:solidFill>
                <a:schemeClr val="bg1"/>
              </a:solidFill>
              <a:latin typeface="Outfit"/>
              <a:cs typeface="Arial" panose="020B0604020202020204" pitchFamily="34" charset="0"/>
            </a:endParaRPr>
          </a:p>
        </p:txBody>
      </p:sp>
      <p:pic>
        <p:nvPicPr>
          <p:cNvPr id="11" name="Picture 10" descr="A picture containing icon&#10;&#10;Description automatically generated">
            <a:extLst>
              <a:ext uri="{FF2B5EF4-FFF2-40B4-BE49-F238E27FC236}">
                <a16:creationId xmlns:a16="http://schemas.microsoft.com/office/drawing/2014/main" id="{DD17517B-F3A6-E24F-8D87-5BB06E05E44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81000" y="375097"/>
            <a:ext cx="1691640" cy="716956"/>
          </a:xfrm>
          <a:prstGeom prst="rect">
            <a:avLst/>
          </a:prstGeom>
        </p:spPr>
      </p:pic>
      <p:sp>
        <p:nvSpPr>
          <p:cNvPr id="7" name="Title 1">
            <a:extLst>
              <a:ext uri="{FF2B5EF4-FFF2-40B4-BE49-F238E27FC236}">
                <a16:creationId xmlns:a16="http://schemas.microsoft.com/office/drawing/2014/main" id="{EAAAB278-9F91-8B40-A29F-A34306522F07}"/>
              </a:ext>
            </a:extLst>
          </p:cNvPr>
          <p:cNvSpPr>
            <a:spLocks noGrp="1"/>
          </p:cNvSpPr>
          <p:nvPr>
            <p:ph type="ctrTitle" hasCustomPrompt="1"/>
          </p:nvPr>
        </p:nvSpPr>
        <p:spPr>
          <a:xfrm>
            <a:off x="365759" y="2276856"/>
            <a:ext cx="6630463" cy="1599405"/>
          </a:xfrm>
        </p:spPr>
        <p:txBody>
          <a:bodyPr anchor="t" anchorCtr="0"/>
          <a:lstStyle>
            <a:lvl1pPr marL="0" indent="0" algn="l">
              <a:lnSpc>
                <a:spcPts val="5200"/>
              </a:lnSpc>
              <a:buFont typeface="Arial" panose="020B0604020202020204" pitchFamily="34" charset="0"/>
              <a:buNone/>
              <a:defRPr sz="4400" b="0" i="0">
                <a:solidFill>
                  <a:schemeClr val="bg1"/>
                </a:solidFill>
                <a:latin typeface="Outfit"/>
                <a:cs typeface="Arial" panose="020B0604020202020204" pitchFamily="34" charset="0"/>
              </a:defRPr>
            </a:lvl1pPr>
          </a:lstStyle>
          <a:p>
            <a:r>
              <a:rPr lang="en-US"/>
              <a:t>Click to edit Master title style two lines</a:t>
            </a:r>
          </a:p>
        </p:txBody>
      </p:sp>
      <p:sp>
        <p:nvSpPr>
          <p:cNvPr id="9" name="Subtitle 2">
            <a:extLst>
              <a:ext uri="{FF2B5EF4-FFF2-40B4-BE49-F238E27FC236}">
                <a16:creationId xmlns:a16="http://schemas.microsoft.com/office/drawing/2014/main" id="{571D17FF-57BA-574D-8CC1-2326FCFFC357}"/>
              </a:ext>
            </a:extLst>
          </p:cNvPr>
          <p:cNvSpPr>
            <a:spLocks noGrp="1"/>
          </p:cNvSpPr>
          <p:nvPr>
            <p:ph type="subTitle" idx="1"/>
          </p:nvPr>
        </p:nvSpPr>
        <p:spPr>
          <a:xfrm>
            <a:off x="365760" y="4228304"/>
            <a:ext cx="3663315" cy="451104"/>
          </a:xfrm>
        </p:spPr>
        <p:txBody>
          <a:bodyPr>
            <a:noAutofit/>
          </a:bodyPr>
          <a:lstStyle>
            <a:lvl1pPr marL="0" indent="0" algn="l">
              <a:spcAft>
                <a:spcPts val="0"/>
              </a:spcAft>
              <a:buFont typeface="Arial" panose="020B0604020202020204" pitchFamily="34" charset="0"/>
              <a:buNone/>
              <a:defRPr sz="1600" b="0" i="0" baseline="0">
                <a:solidFill>
                  <a:schemeClr val="bg1"/>
                </a:solidFill>
                <a:latin typeface="Outfit"/>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0" name="Date Placeholder 3">
            <a:extLst>
              <a:ext uri="{FF2B5EF4-FFF2-40B4-BE49-F238E27FC236}">
                <a16:creationId xmlns:a16="http://schemas.microsoft.com/office/drawing/2014/main" id="{872C4F7A-3AC8-324F-8577-14F18AAC19B1}"/>
              </a:ext>
            </a:extLst>
          </p:cNvPr>
          <p:cNvSpPr>
            <a:spLocks noGrp="1"/>
          </p:cNvSpPr>
          <p:nvPr>
            <p:ph type="dt" sz="half" idx="10"/>
          </p:nvPr>
        </p:nvSpPr>
        <p:spPr>
          <a:xfrm>
            <a:off x="365759" y="4645613"/>
            <a:ext cx="3663315" cy="325142"/>
          </a:xfrm>
          <a:prstGeom prst="rect">
            <a:avLst/>
          </a:prstGeom>
        </p:spPr>
        <p:txBody>
          <a:bodyPr lIns="0"/>
          <a:lstStyle>
            <a:lvl1pPr algn="l">
              <a:defRPr sz="1600" b="0" i="0" baseline="0">
                <a:solidFill>
                  <a:schemeClr val="bg1"/>
                </a:solidFill>
                <a:latin typeface="Outfit"/>
                <a:cs typeface="Arial" panose="020B0604020202020204" pitchFamily="34" charset="0"/>
              </a:defRPr>
            </a:lvl1pPr>
          </a:lstStyle>
          <a:p>
            <a:endParaRPr lang="en-US"/>
          </a:p>
        </p:txBody>
      </p:sp>
    </p:spTree>
    <p:extLst>
      <p:ext uri="{BB962C8B-B14F-4D97-AF65-F5344CB8AC3E}">
        <p14:creationId xmlns:p14="http://schemas.microsoft.com/office/powerpoint/2010/main" val="249250872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rillio_Title slide-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Box 7"/>
          <p:cNvSpPr txBox="1"/>
          <p:nvPr userDrawn="1"/>
        </p:nvSpPr>
        <p:spPr>
          <a:xfrm>
            <a:off x="381000" y="6323112"/>
            <a:ext cx="3048000" cy="153888"/>
          </a:xfrm>
          <a:prstGeom prst="rect">
            <a:avLst/>
          </a:prstGeom>
          <a:noFill/>
        </p:spPr>
        <p:txBody>
          <a:bodyPr wrap="square" lIns="0" tIns="0" rIns="0" bIns="0" rtlCol="0" anchor="b" anchorCtr="0">
            <a:spAutoFit/>
          </a:bodyPr>
          <a:lstStyle/>
          <a:p>
            <a:pPr algn="l"/>
            <a:r>
              <a:rPr lang="en-US" sz="1000" b="0" i="0">
                <a:solidFill>
                  <a:schemeClr val="bg1"/>
                </a:solidFill>
                <a:latin typeface="Arial" panose="020B0604020202020204" pitchFamily="34" charset="0"/>
                <a:cs typeface="Arial" panose="020B0604020202020204" pitchFamily="34" charset="0"/>
              </a:rPr>
              <a:t>©2025</a:t>
            </a:r>
            <a:r>
              <a:rPr lang="en-US" sz="1000" b="0" i="0" baseline="0">
                <a:solidFill>
                  <a:schemeClr val="bg1"/>
                </a:solidFill>
                <a:latin typeface="Arial" panose="020B0604020202020204" pitchFamily="34" charset="0"/>
                <a:cs typeface="Arial" panose="020B0604020202020204" pitchFamily="34" charset="0"/>
              </a:rPr>
              <a:t> Brillio  |  Proprietary &amp; Confidential</a:t>
            </a:r>
            <a:endParaRPr lang="en-US" sz="1000" b="0" i="0">
              <a:solidFill>
                <a:schemeClr val="bg1"/>
              </a:solidFill>
              <a:latin typeface="Arial" panose="020B0604020202020204" pitchFamily="34" charset="0"/>
              <a:cs typeface="Arial" panose="020B0604020202020204" pitchFamily="34" charset="0"/>
            </a:endParaRPr>
          </a:p>
        </p:txBody>
      </p:sp>
      <p:pic>
        <p:nvPicPr>
          <p:cNvPr id="11" name="Picture 10" descr="A picture containing icon&#10;&#10;Description automatically generated">
            <a:extLst>
              <a:ext uri="{FF2B5EF4-FFF2-40B4-BE49-F238E27FC236}">
                <a16:creationId xmlns:a16="http://schemas.microsoft.com/office/drawing/2014/main" id="{DD17517B-F3A6-E24F-8D87-5BB06E05E44B}"/>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381000" y="375097"/>
            <a:ext cx="1691640" cy="716956"/>
          </a:xfrm>
          <a:prstGeom prst="rect">
            <a:avLst/>
          </a:prstGeom>
        </p:spPr>
      </p:pic>
      <p:sp>
        <p:nvSpPr>
          <p:cNvPr id="7" name="Title 1">
            <a:extLst>
              <a:ext uri="{FF2B5EF4-FFF2-40B4-BE49-F238E27FC236}">
                <a16:creationId xmlns:a16="http://schemas.microsoft.com/office/drawing/2014/main" id="{3E432CD9-60B9-3941-911B-9FA5BE7699A8}"/>
              </a:ext>
            </a:extLst>
          </p:cNvPr>
          <p:cNvSpPr>
            <a:spLocks noGrp="1"/>
          </p:cNvSpPr>
          <p:nvPr>
            <p:ph type="ctrTitle" hasCustomPrompt="1"/>
          </p:nvPr>
        </p:nvSpPr>
        <p:spPr>
          <a:xfrm>
            <a:off x="365759" y="2276856"/>
            <a:ext cx="6630463" cy="1599405"/>
          </a:xfrm>
        </p:spPr>
        <p:txBody>
          <a:bodyPr anchor="t" anchorCtr="0"/>
          <a:lstStyle>
            <a:lvl1pPr marL="0" indent="0" algn="l">
              <a:lnSpc>
                <a:spcPts val="5200"/>
              </a:lnSpc>
              <a:buFont typeface="Arial" panose="020B0604020202020204" pitchFamily="34" charset="0"/>
              <a:buNone/>
              <a:defRPr sz="4400" b="0" i="0">
                <a:solidFill>
                  <a:schemeClr val="bg1"/>
                </a:solidFill>
                <a:latin typeface="Arial" panose="020B0604020202020204" pitchFamily="34" charset="0"/>
                <a:cs typeface="Arial" panose="020B0604020202020204" pitchFamily="34" charset="0"/>
              </a:defRPr>
            </a:lvl1pPr>
          </a:lstStyle>
          <a:p>
            <a:r>
              <a:rPr lang="en-US"/>
              <a:t>Click to edit Master title style two lines</a:t>
            </a:r>
          </a:p>
        </p:txBody>
      </p:sp>
      <p:sp>
        <p:nvSpPr>
          <p:cNvPr id="9" name="Subtitle 2">
            <a:extLst>
              <a:ext uri="{FF2B5EF4-FFF2-40B4-BE49-F238E27FC236}">
                <a16:creationId xmlns:a16="http://schemas.microsoft.com/office/drawing/2014/main" id="{F765B9A9-31B8-0946-A4CC-EA25A13335AA}"/>
              </a:ext>
            </a:extLst>
          </p:cNvPr>
          <p:cNvSpPr>
            <a:spLocks noGrp="1"/>
          </p:cNvSpPr>
          <p:nvPr>
            <p:ph type="subTitle" idx="1"/>
          </p:nvPr>
        </p:nvSpPr>
        <p:spPr>
          <a:xfrm>
            <a:off x="365760" y="4228304"/>
            <a:ext cx="3663315" cy="451104"/>
          </a:xfrm>
        </p:spPr>
        <p:txBody>
          <a:bodyPr>
            <a:noAutofit/>
          </a:bodyPr>
          <a:lstStyle>
            <a:lvl1pPr marL="0" indent="0" algn="l">
              <a:spcAft>
                <a:spcPts val="0"/>
              </a:spcAft>
              <a:buFont typeface="Arial" panose="020B0604020202020204" pitchFamily="34" charset="0"/>
              <a:buNone/>
              <a:defRPr sz="1600" b="0" i="0" baseline="0">
                <a:solidFill>
                  <a:schemeClr val="bg1"/>
                </a:solidFill>
                <a:latin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0" name="Date Placeholder 3">
            <a:extLst>
              <a:ext uri="{FF2B5EF4-FFF2-40B4-BE49-F238E27FC236}">
                <a16:creationId xmlns:a16="http://schemas.microsoft.com/office/drawing/2014/main" id="{AC1162D4-E146-184F-8135-FEA0B95A01A1}"/>
              </a:ext>
            </a:extLst>
          </p:cNvPr>
          <p:cNvSpPr>
            <a:spLocks noGrp="1"/>
          </p:cNvSpPr>
          <p:nvPr>
            <p:ph type="dt" sz="half" idx="10"/>
          </p:nvPr>
        </p:nvSpPr>
        <p:spPr>
          <a:xfrm>
            <a:off x="365759" y="4645613"/>
            <a:ext cx="3663315" cy="325142"/>
          </a:xfrm>
          <a:prstGeom prst="rect">
            <a:avLst/>
          </a:prstGeom>
        </p:spPr>
        <p:txBody>
          <a:bodyPr lIns="0"/>
          <a:lstStyle>
            <a:lvl1pPr algn="l">
              <a:defRPr sz="1600" b="0" i="0" baseline="0">
                <a:solidFill>
                  <a:schemeClr val="bg1"/>
                </a:solidFill>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87491493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Brillio_Title slide-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Box 7"/>
          <p:cNvSpPr txBox="1"/>
          <p:nvPr userDrawn="1"/>
        </p:nvSpPr>
        <p:spPr>
          <a:xfrm>
            <a:off x="381000" y="6323112"/>
            <a:ext cx="3048000" cy="153888"/>
          </a:xfrm>
          <a:prstGeom prst="rect">
            <a:avLst/>
          </a:prstGeom>
          <a:noFill/>
        </p:spPr>
        <p:txBody>
          <a:bodyPr wrap="square" lIns="0" tIns="0" rIns="0" bIns="0" rtlCol="0" anchor="b" anchorCtr="0">
            <a:spAutoFit/>
          </a:bodyPr>
          <a:lstStyle/>
          <a:p>
            <a:pPr algn="l"/>
            <a:r>
              <a:rPr lang="en-US" sz="1000" b="0" i="0">
                <a:solidFill>
                  <a:schemeClr val="bg1"/>
                </a:solidFill>
                <a:latin typeface="Arial" panose="020B0604020202020204" pitchFamily="34" charset="0"/>
                <a:cs typeface="Arial" panose="020B0604020202020204" pitchFamily="34" charset="0"/>
              </a:rPr>
              <a:t>©2025</a:t>
            </a:r>
            <a:r>
              <a:rPr lang="en-US" sz="1000" b="0" i="0" baseline="0">
                <a:solidFill>
                  <a:schemeClr val="bg1"/>
                </a:solidFill>
                <a:latin typeface="Arial" panose="020B0604020202020204" pitchFamily="34" charset="0"/>
                <a:cs typeface="Arial" panose="020B0604020202020204" pitchFamily="34" charset="0"/>
              </a:rPr>
              <a:t> Brillio  |  Proprietary &amp; Confidential</a:t>
            </a:r>
            <a:endParaRPr lang="en-US" sz="1000" b="0" i="0">
              <a:solidFill>
                <a:schemeClr val="bg1"/>
              </a:solidFill>
              <a:latin typeface="Arial" panose="020B0604020202020204" pitchFamily="34" charset="0"/>
              <a:cs typeface="Arial" panose="020B0604020202020204" pitchFamily="34" charset="0"/>
            </a:endParaRPr>
          </a:p>
        </p:txBody>
      </p:sp>
      <p:pic>
        <p:nvPicPr>
          <p:cNvPr id="11" name="Picture 10" descr="A picture containing icon&#10;&#10;Description automatically generated">
            <a:extLst>
              <a:ext uri="{FF2B5EF4-FFF2-40B4-BE49-F238E27FC236}">
                <a16:creationId xmlns:a16="http://schemas.microsoft.com/office/drawing/2014/main" id="{DD17517B-F3A6-E24F-8D87-5BB06E05E44B}"/>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381000" y="375097"/>
            <a:ext cx="1691640" cy="716956"/>
          </a:xfrm>
          <a:prstGeom prst="rect">
            <a:avLst/>
          </a:prstGeom>
        </p:spPr>
      </p:pic>
      <p:sp>
        <p:nvSpPr>
          <p:cNvPr id="7" name="Title 1">
            <a:extLst>
              <a:ext uri="{FF2B5EF4-FFF2-40B4-BE49-F238E27FC236}">
                <a16:creationId xmlns:a16="http://schemas.microsoft.com/office/drawing/2014/main" id="{EAAAB278-9F91-8B40-A29F-A34306522F07}"/>
              </a:ext>
            </a:extLst>
          </p:cNvPr>
          <p:cNvSpPr>
            <a:spLocks noGrp="1"/>
          </p:cNvSpPr>
          <p:nvPr>
            <p:ph type="ctrTitle" hasCustomPrompt="1"/>
          </p:nvPr>
        </p:nvSpPr>
        <p:spPr>
          <a:xfrm>
            <a:off x="365759" y="2276856"/>
            <a:ext cx="6630463" cy="1599405"/>
          </a:xfrm>
        </p:spPr>
        <p:txBody>
          <a:bodyPr anchor="t" anchorCtr="0"/>
          <a:lstStyle>
            <a:lvl1pPr marL="0" indent="0" algn="l">
              <a:lnSpc>
                <a:spcPts val="5200"/>
              </a:lnSpc>
              <a:buFont typeface="Arial" panose="020B0604020202020204" pitchFamily="34" charset="0"/>
              <a:buNone/>
              <a:defRPr sz="4400" b="0" i="0">
                <a:solidFill>
                  <a:schemeClr val="bg1"/>
                </a:solidFill>
                <a:latin typeface="Arial" panose="020B0604020202020204" pitchFamily="34" charset="0"/>
                <a:cs typeface="Arial" panose="020B0604020202020204" pitchFamily="34" charset="0"/>
              </a:defRPr>
            </a:lvl1pPr>
          </a:lstStyle>
          <a:p>
            <a:r>
              <a:rPr lang="en-US"/>
              <a:t>Click to edit Master title style two lines</a:t>
            </a:r>
          </a:p>
        </p:txBody>
      </p:sp>
      <p:sp>
        <p:nvSpPr>
          <p:cNvPr id="9" name="Subtitle 2">
            <a:extLst>
              <a:ext uri="{FF2B5EF4-FFF2-40B4-BE49-F238E27FC236}">
                <a16:creationId xmlns:a16="http://schemas.microsoft.com/office/drawing/2014/main" id="{571D17FF-57BA-574D-8CC1-2326FCFFC357}"/>
              </a:ext>
            </a:extLst>
          </p:cNvPr>
          <p:cNvSpPr>
            <a:spLocks noGrp="1"/>
          </p:cNvSpPr>
          <p:nvPr>
            <p:ph type="subTitle" idx="1"/>
          </p:nvPr>
        </p:nvSpPr>
        <p:spPr>
          <a:xfrm>
            <a:off x="365760" y="4228304"/>
            <a:ext cx="3663315" cy="451104"/>
          </a:xfrm>
        </p:spPr>
        <p:txBody>
          <a:bodyPr>
            <a:noAutofit/>
          </a:bodyPr>
          <a:lstStyle>
            <a:lvl1pPr marL="0" indent="0" algn="l">
              <a:spcAft>
                <a:spcPts val="0"/>
              </a:spcAft>
              <a:buFont typeface="Arial" panose="020B0604020202020204" pitchFamily="34" charset="0"/>
              <a:buNone/>
              <a:defRPr sz="1600" b="0" i="0" baseline="0">
                <a:solidFill>
                  <a:schemeClr val="bg1"/>
                </a:solidFill>
                <a:latin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0" name="Date Placeholder 3">
            <a:extLst>
              <a:ext uri="{FF2B5EF4-FFF2-40B4-BE49-F238E27FC236}">
                <a16:creationId xmlns:a16="http://schemas.microsoft.com/office/drawing/2014/main" id="{872C4F7A-3AC8-324F-8577-14F18AAC19B1}"/>
              </a:ext>
            </a:extLst>
          </p:cNvPr>
          <p:cNvSpPr>
            <a:spLocks noGrp="1"/>
          </p:cNvSpPr>
          <p:nvPr>
            <p:ph type="dt" sz="half" idx="10"/>
          </p:nvPr>
        </p:nvSpPr>
        <p:spPr>
          <a:xfrm>
            <a:off x="365759" y="4645613"/>
            <a:ext cx="3663315" cy="325142"/>
          </a:xfrm>
          <a:prstGeom prst="rect">
            <a:avLst/>
          </a:prstGeom>
        </p:spPr>
        <p:txBody>
          <a:bodyPr lIns="0"/>
          <a:lstStyle>
            <a:lvl1pPr algn="l">
              <a:defRPr sz="1600" b="0" i="0" baseline="0">
                <a:solidFill>
                  <a:schemeClr val="bg1"/>
                </a:solidFill>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368516629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rillio_Agenda slide-Dark">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460480" cy="899478"/>
          </a:xfrm>
        </p:spPr>
        <p:txBody>
          <a:bodyPr/>
          <a:lstStyle>
            <a:lvl1pPr>
              <a:defRPr/>
            </a:lvl1pPr>
          </a:lstStyle>
          <a:p>
            <a:r>
              <a:rPr lang="en-US"/>
              <a:t>Click to edit Master title style</a:t>
            </a:r>
          </a:p>
        </p:txBody>
      </p:sp>
      <p:sp>
        <p:nvSpPr>
          <p:cNvPr id="3" name="Content Placeholder 2"/>
          <p:cNvSpPr>
            <a:spLocks noGrp="1"/>
          </p:cNvSpPr>
          <p:nvPr>
            <p:ph idx="1"/>
          </p:nvPr>
        </p:nvSpPr>
        <p:spPr>
          <a:xfrm>
            <a:off x="365760" y="1527048"/>
            <a:ext cx="11460480" cy="4203827"/>
          </a:xfrm>
        </p:spPr>
        <p:txBody>
          <a:bodyPr>
            <a:noAutofit/>
          </a:bodyPr>
          <a:lstStyle>
            <a:lvl1pPr marL="345948" indent="-342900" defTabSz="914377">
              <a:lnSpc>
                <a:spcPts val="2100"/>
              </a:lnSpc>
              <a:spcAft>
                <a:spcPts val="600"/>
              </a:spcAft>
              <a:buFont typeface="+mj-lt"/>
              <a:buAutoNum type="arabicPeriod"/>
              <a:defRPr lang="en-US" sz="1800" b="0" i="0" kern="1200" baseline="0" dirty="0">
                <a:solidFill>
                  <a:schemeClr val="bg1"/>
                </a:solidFill>
                <a:latin typeface="Arial" panose="020B0604020202020204" pitchFamily="34" charset="0"/>
                <a:ea typeface="+mn-ea"/>
                <a:cs typeface="+mn-cs"/>
              </a:defRPr>
            </a:lvl1pPr>
            <a:lvl2pPr marL="577590" indent="-342900">
              <a:lnSpc>
                <a:spcPts val="2100"/>
              </a:lnSpc>
              <a:spcBef>
                <a:spcPts val="400"/>
              </a:spcBef>
              <a:spcAft>
                <a:spcPts val="600"/>
              </a:spcAft>
              <a:buFont typeface="+mj-lt"/>
              <a:buAutoNum type="arabicPeriod"/>
              <a:defRPr lang="en-US" sz="1800" b="0" i="0" kern="1200" baseline="0" dirty="0">
                <a:solidFill>
                  <a:schemeClr val="bg1"/>
                </a:solidFill>
                <a:latin typeface="Arial" panose="020B0604020202020204" pitchFamily="34" charset="0"/>
                <a:ea typeface="+mn-ea"/>
                <a:cs typeface="+mn-cs"/>
              </a:defRPr>
            </a:lvl2pPr>
            <a:lvl3pPr marL="234690" indent="0">
              <a:lnSpc>
                <a:spcPts val="2100"/>
              </a:lnSpc>
              <a:spcBef>
                <a:spcPts val="400"/>
              </a:spcBef>
              <a:spcAft>
                <a:spcPts val="600"/>
              </a:spcAft>
              <a:buFont typeface="+mj-lt"/>
              <a:buNone/>
              <a:defRPr sz="1800" b="0" i="0" baseline="0">
                <a:solidFill>
                  <a:schemeClr val="bg1"/>
                </a:solidFill>
                <a:latin typeface="Arial" panose="020B0604020202020204" pitchFamily="34" charset="0"/>
              </a:defRPr>
            </a:lvl3pPr>
            <a:lvl4pPr marL="234690" indent="0">
              <a:lnSpc>
                <a:spcPts val="2100"/>
              </a:lnSpc>
              <a:spcBef>
                <a:spcPts val="400"/>
              </a:spcBef>
              <a:spcAft>
                <a:spcPts val="600"/>
              </a:spcAft>
              <a:buFont typeface="+mj-lt"/>
              <a:buNone/>
              <a:defRPr sz="1800" b="0" i="0" baseline="0">
                <a:solidFill>
                  <a:schemeClr val="bg1"/>
                </a:solidFill>
                <a:latin typeface="Arial" panose="020B0604020202020204" pitchFamily="34" charset="0"/>
              </a:defRPr>
            </a:lvl4pPr>
            <a:lvl5pPr marL="234690" indent="0" algn="l">
              <a:lnSpc>
                <a:spcPts val="2100"/>
              </a:lnSpc>
              <a:spcAft>
                <a:spcPts val="600"/>
              </a:spcAft>
              <a:buFont typeface="+mj-lt"/>
              <a:buNone/>
              <a:defRPr sz="1800" b="0" i="0" baseline="0">
                <a:solidFill>
                  <a:schemeClr val="bg1"/>
                </a:solidFill>
                <a:latin typeface="Arial" panose="020B0604020202020204" pitchFamily="34" charset="0"/>
              </a:defRPr>
            </a:lvl5pPr>
            <a:lvl6pPr marL="463284">
              <a:defRPr sz="1867"/>
            </a:lvl6pPr>
            <a:lvl7pPr marL="463284" indent="-228594">
              <a:defRPr sz="1867"/>
            </a:lvl7pPr>
            <a:lvl8pPr marL="463284">
              <a:defRPr sz="1867"/>
            </a:lvl8pPr>
            <a:lvl9pPr marL="463284" indent="-228594">
              <a:spcBef>
                <a:spcPts val="40"/>
              </a:spcBef>
              <a:defRPr sz="1867"/>
            </a:lvl9pPr>
          </a:lstStyle>
          <a:p>
            <a:pPr lvl="0"/>
            <a:r>
              <a:rPr lang="en-US"/>
              <a:t>Click to edit Master text styles</a:t>
            </a:r>
          </a:p>
          <a:p>
            <a:pPr lvl="1"/>
            <a:r>
              <a:rPr lang="en-US"/>
              <a:t>Second level</a:t>
            </a:r>
          </a:p>
          <a:p>
            <a:pPr lvl="1"/>
            <a:r>
              <a:rPr lang="en-US"/>
              <a:t>Second level</a:t>
            </a:r>
          </a:p>
          <a:p>
            <a:pPr lvl="1"/>
            <a:r>
              <a:rPr lang="en-US"/>
              <a:t>Second level</a:t>
            </a:r>
          </a:p>
          <a:p>
            <a:pPr lvl="1"/>
            <a:r>
              <a:rPr lang="en-US"/>
              <a:t>Second level</a:t>
            </a:r>
          </a:p>
        </p:txBody>
      </p:sp>
      <p:pic>
        <p:nvPicPr>
          <p:cNvPr id="8" name="Picture 7" descr="A picture containing icon&#10;&#10;Description automatically generated">
            <a:extLst>
              <a:ext uri="{FF2B5EF4-FFF2-40B4-BE49-F238E27FC236}">
                <a16:creationId xmlns:a16="http://schemas.microsoft.com/office/drawing/2014/main" id="{A09B600B-361E-8641-95A1-C0996630F85B}"/>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1000" y="6083780"/>
            <a:ext cx="1121928" cy="475499"/>
          </a:xfrm>
          <a:prstGeom prst="rect">
            <a:avLst/>
          </a:prstGeom>
        </p:spPr>
      </p:pic>
      <p:sp>
        <p:nvSpPr>
          <p:cNvPr id="9" name="Slide Number Placeholder 8">
            <a:extLst>
              <a:ext uri="{FF2B5EF4-FFF2-40B4-BE49-F238E27FC236}">
                <a16:creationId xmlns:a16="http://schemas.microsoft.com/office/drawing/2014/main" id="{A685FACF-296F-BA4D-A344-50044DB6C33B}"/>
              </a:ext>
            </a:extLst>
          </p:cNvPr>
          <p:cNvSpPr>
            <a:spLocks noGrp="1"/>
          </p:cNvSpPr>
          <p:nvPr>
            <p:ph type="sldNum" sz="quarter" idx="11"/>
          </p:nvPr>
        </p:nvSpPr>
        <p:spPr/>
        <p:txBody>
          <a:bodyPr/>
          <a:lstStyle/>
          <a:p>
            <a:r>
              <a:rPr lang="en-US"/>
              <a:t>©2025 Brillio  |  </a:t>
            </a:r>
            <a:fld id="{F1FE5E21-FD07-B44E-90A3-0254BFCDB49A}" type="slidenum">
              <a:rPr smtClean="0"/>
              <a:pPr/>
              <a:t>‹#›</a:t>
            </a:fld>
            <a:endParaRPr/>
          </a:p>
        </p:txBody>
      </p:sp>
    </p:spTree>
    <p:extLst>
      <p:ext uri="{BB962C8B-B14F-4D97-AF65-F5344CB8AC3E}">
        <p14:creationId xmlns:p14="http://schemas.microsoft.com/office/powerpoint/2010/main" val="197098897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rillio_Divider slide-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5760" y="381000"/>
            <a:ext cx="6630463" cy="5349875"/>
          </a:xfrm>
        </p:spPr>
        <p:txBody>
          <a:bodyPr rIns="228600" anchor="ctr"/>
          <a:lstStyle>
            <a:lvl1pPr>
              <a:defRPr sz="5400" b="0">
                <a:solidFill>
                  <a:schemeClr val="bg1"/>
                </a:solidFill>
              </a:defRPr>
            </a:lvl1pPr>
          </a:lstStyle>
          <a:p>
            <a:r>
              <a:rPr lang="en-US"/>
              <a:t>Click to edit Master title style</a:t>
            </a:r>
          </a:p>
        </p:txBody>
      </p:sp>
      <p:pic>
        <p:nvPicPr>
          <p:cNvPr id="7" name="Picture 6" descr="A picture containing icon&#10;&#10;Description automatically generated">
            <a:extLst>
              <a:ext uri="{FF2B5EF4-FFF2-40B4-BE49-F238E27FC236}">
                <a16:creationId xmlns:a16="http://schemas.microsoft.com/office/drawing/2014/main" id="{9C192AEC-5E7A-9E42-B332-313C2549F318}"/>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381000" y="6083780"/>
            <a:ext cx="1121928" cy="475499"/>
          </a:xfrm>
          <a:prstGeom prst="rect">
            <a:avLst/>
          </a:prstGeom>
        </p:spPr>
      </p:pic>
    </p:spTree>
    <p:extLst>
      <p:ext uri="{BB962C8B-B14F-4D97-AF65-F5344CB8AC3E}">
        <p14:creationId xmlns:p14="http://schemas.microsoft.com/office/powerpoint/2010/main" val="18823896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Brillio_Divider slide-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5760" y="381000"/>
            <a:ext cx="6630463" cy="5349875"/>
          </a:xfrm>
        </p:spPr>
        <p:txBody>
          <a:bodyPr rIns="228600" anchor="ctr"/>
          <a:lstStyle>
            <a:lvl1pPr>
              <a:defRPr sz="5400" b="0">
                <a:solidFill>
                  <a:schemeClr val="bg1"/>
                </a:solidFill>
              </a:defRPr>
            </a:lvl1pPr>
          </a:lstStyle>
          <a:p>
            <a:r>
              <a:rPr lang="en-US"/>
              <a:t>Click to edit Master title style</a:t>
            </a:r>
          </a:p>
        </p:txBody>
      </p:sp>
      <p:pic>
        <p:nvPicPr>
          <p:cNvPr id="7" name="Picture 6" descr="A picture containing icon&#10;&#10;Description automatically generated">
            <a:extLst>
              <a:ext uri="{FF2B5EF4-FFF2-40B4-BE49-F238E27FC236}">
                <a16:creationId xmlns:a16="http://schemas.microsoft.com/office/drawing/2014/main" id="{9C192AEC-5E7A-9E42-B332-313C2549F318}"/>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381000" y="6083780"/>
            <a:ext cx="1121928" cy="475499"/>
          </a:xfrm>
          <a:prstGeom prst="rect">
            <a:avLst/>
          </a:prstGeom>
        </p:spPr>
      </p:pic>
    </p:spTree>
    <p:extLst>
      <p:ext uri="{BB962C8B-B14F-4D97-AF65-F5344CB8AC3E}">
        <p14:creationId xmlns:p14="http://schemas.microsoft.com/office/powerpoint/2010/main" val="42764040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alf color block">
    <p:bg>
      <p:bgPr>
        <a:solidFill>
          <a:schemeClr val="tx1"/>
        </a:solidFill>
        <a:effectLst/>
      </p:bgPr>
    </p:bg>
    <p:spTree>
      <p:nvGrpSpPr>
        <p:cNvPr id="1" name=""/>
        <p:cNvGrpSpPr/>
        <p:nvPr/>
      </p:nvGrpSpPr>
      <p:grpSpPr>
        <a:xfrm>
          <a:off x="0" y="0"/>
          <a:ext cx="0" cy="0"/>
          <a:chOff x="0" y="0"/>
          <a:chExt cx="0" cy="0"/>
        </a:xfrm>
      </p:grpSpPr>
      <p:sp>
        <p:nvSpPr>
          <p:cNvPr id="7" name="Round Single Corner Rectangle 6">
            <a:extLst>
              <a:ext uri="{FF2B5EF4-FFF2-40B4-BE49-F238E27FC236}">
                <a16:creationId xmlns:a16="http://schemas.microsoft.com/office/drawing/2014/main" id="{92499C85-30F2-6EA7-FA46-49F8397A724D}"/>
              </a:ext>
            </a:extLst>
          </p:cNvPr>
          <p:cNvSpPr/>
          <p:nvPr userDrawn="1"/>
        </p:nvSpPr>
        <p:spPr bwMode="auto">
          <a:xfrm flipH="1">
            <a:off x="6096000" y="0"/>
            <a:ext cx="6096000" cy="6858000"/>
          </a:xfrm>
          <a:prstGeom prst="round1Rect">
            <a:avLst>
              <a:gd name="adj" fmla="val 9091"/>
            </a:avLst>
          </a:prstGeom>
          <a:solidFill>
            <a:schemeClr val="tx2"/>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76200" tIns="76200" rIns="76200" bIns="76200" numCol="1" rtlCol="0" anchor="t" anchorCtr="0" compatLnSpc="1">
            <a:prstTxWarp prst="textNoShape">
              <a:avLst/>
            </a:prstTxWarp>
          </a:bodyPr>
          <a:lstStyle/>
          <a:p>
            <a:pPr marL="0" marR="0" indent="0" algn="l" defTabSz="761970" rtl="0" eaLnBrk="1" fontAlgn="base" latinLnBrk="0" hangingPunct="1">
              <a:lnSpc>
                <a:spcPct val="100000"/>
              </a:lnSpc>
              <a:spcBef>
                <a:spcPct val="0"/>
              </a:spcBef>
              <a:spcAft>
                <a:spcPct val="0"/>
              </a:spcAft>
              <a:buClrTx/>
              <a:buSzTx/>
              <a:buFont typeface="IBM Plex Sans Light"/>
              <a:buNone/>
              <a:tabLst/>
            </a:pPr>
            <a:endParaRPr kumimoji="0" lang="en-US" sz="1167" b="0" i="0" u="none" strike="noStrike" cap="none" normalizeH="0" baseline="0">
              <a:ln>
                <a:noFill/>
              </a:ln>
              <a:solidFill>
                <a:schemeClr val="bg1"/>
              </a:solidFill>
              <a:effectLst/>
              <a:latin typeface="+mn-lt"/>
            </a:endParaRPr>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95470" y="1221441"/>
            <a:ext cx="5520039" cy="4938059"/>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itle Text">
            <a:extLst>
              <a:ext uri="{FF2B5EF4-FFF2-40B4-BE49-F238E27FC236}">
                <a16:creationId xmlns:a16="http://schemas.microsoft.com/office/drawing/2014/main" id="{4B5980F9-A7B7-7DE7-65FD-745FC498DFDB}"/>
              </a:ext>
            </a:extLst>
          </p:cNvPr>
          <p:cNvSpPr txBox="1">
            <a:spLocks noGrp="1"/>
          </p:cNvSpPr>
          <p:nvPr>
            <p:ph type="title" hasCustomPrompt="1"/>
          </p:nvPr>
        </p:nvSpPr>
        <p:spPr>
          <a:xfrm>
            <a:off x="290211" y="295139"/>
            <a:ext cx="5520039" cy="38660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73152" rIns="0" bIns="0"/>
          <a:lstStyle/>
          <a:p>
            <a:r>
              <a:rPr lang="en-US"/>
              <a:t>Half color block</a:t>
            </a:r>
            <a:endParaRPr/>
          </a:p>
        </p:txBody>
      </p:sp>
      <p:sp>
        <p:nvSpPr>
          <p:cNvPr id="2" name="Text Placeholder 4">
            <a:extLst>
              <a:ext uri="{FF2B5EF4-FFF2-40B4-BE49-F238E27FC236}">
                <a16:creationId xmlns:a16="http://schemas.microsoft.com/office/drawing/2014/main" id="{376D964F-C8A1-C871-5753-80704C0AE4DC}"/>
              </a:ext>
            </a:extLst>
          </p:cNvPr>
          <p:cNvSpPr>
            <a:spLocks noGrp="1"/>
          </p:cNvSpPr>
          <p:nvPr>
            <p:ph type="body" sz="quarter" idx="13"/>
          </p:nvPr>
        </p:nvSpPr>
        <p:spPr>
          <a:xfrm>
            <a:off x="6381751" y="1221441"/>
            <a:ext cx="5524500" cy="4938059"/>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3">
            <a:extLst>
              <a:ext uri="{FF2B5EF4-FFF2-40B4-BE49-F238E27FC236}">
                <a16:creationId xmlns:a16="http://schemas.microsoft.com/office/drawing/2014/main" id="{97CF5AB9-188C-F7FE-47D0-616D908F404A}"/>
              </a:ext>
            </a:extLst>
          </p:cNvPr>
          <p:cNvSpPr txBox="1">
            <a:spLocks/>
          </p:cNvSpPr>
          <p:nvPr userDrawn="1"/>
        </p:nvSpPr>
        <p:spPr>
          <a:xfrm>
            <a:off x="11438259" y="6458629"/>
            <a:ext cx="462473" cy="150303"/>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Outfit Light" pitchFamily="2" charset="0"/>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r" defTabSz="1218948" rtl="0" eaLnBrk="1" fontAlgn="auto" latinLnBrk="0" hangingPunct="1">
              <a:lnSpc>
                <a:spcPct val="110000"/>
              </a:lnSpc>
              <a:spcBef>
                <a:spcPts val="0"/>
              </a:spcBef>
              <a:spcAft>
                <a:spcPts val="0"/>
              </a:spcAft>
              <a:buClrTx/>
              <a:buSzTx/>
              <a:buFontTx/>
              <a:buNone/>
              <a:tabLst/>
              <a:defRPr/>
            </a:pPr>
            <a:fld id="{64F0821C-65D3-DD4D-8DB2-745946DB9115}" type="slidenum">
              <a:rPr kumimoji="0" lang="en-US" sz="917" b="0" i="0" u="none" strike="noStrike" kern="0" cap="none" spc="0" normalizeH="0" baseline="0" noProof="0" smtClean="0">
                <a:ln>
                  <a:noFill/>
                </a:ln>
                <a:solidFill>
                  <a:srgbClr val="000000"/>
                </a:solidFill>
                <a:effectLst/>
                <a:uLnTx/>
                <a:uFillTx/>
                <a:latin typeface="Aptos" panose="020B0004020202020204" pitchFamily="34" charset="0"/>
                <a:ea typeface="+mj-ea"/>
                <a:cs typeface="+mj-cs"/>
                <a:sym typeface="IBM Plex Sans Light"/>
              </a:rPr>
              <a:pPr marL="0" marR="0" lvl="0" indent="0" algn="r" defTabSz="1218948" rtl="0" eaLnBrk="1" fontAlgn="auto" latinLnBrk="0" hangingPunct="1">
                <a:lnSpc>
                  <a:spcPct val="110000"/>
                </a:lnSpc>
                <a:spcBef>
                  <a:spcPts val="0"/>
                </a:spcBef>
                <a:spcAft>
                  <a:spcPts val="0"/>
                </a:spcAft>
                <a:buClrTx/>
                <a:buSzTx/>
                <a:buFontTx/>
                <a:buNone/>
                <a:tabLst/>
                <a:defRPr/>
              </a:pPr>
              <a:t>‹#›</a:t>
            </a:fld>
            <a:endParaRPr kumimoji="0" lang="en-US" sz="917" b="0" i="0" u="none" strike="noStrike" kern="0" cap="none" spc="0" normalizeH="0" baseline="0" noProof="0">
              <a:ln>
                <a:noFill/>
              </a:ln>
              <a:solidFill>
                <a:srgbClr val="000000"/>
              </a:solidFill>
              <a:effectLst/>
              <a:uLnTx/>
              <a:uFillTx/>
              <a:latin typeface="Aptos" panose="020B0004020202020204" pitchFamily="34" charset="0"/>
              <a:ea typeface="+mj-ea"/>
              <a:cs typeface="+mj-cs"/>
              <a:sym typeface="IBM Plex Sans Light"/>
            </a:endParaRPr>
          </a:p>
        </p:txBody>
      </p:sp>
      <p:pic>
        <p:nvPicPr>
          <p:cNvPr id="8" name="Graphic 7">
            <a:extLst>
              <a:ext uri="{FF2B5EF4-FFF2-40B4-BE49-F238E27FC236}">
                <a16:creationId xmlns:a16="http://schemas.microsoft.com/office/drawing/2014/main" id="{347BA4B1-3F51-247D-13A4-970446FB362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543540" y="6495499"/>
            <a:ext cx="167269" cy="81501"/>
          </a:xfrm>
          <a:prstGeom prst="rect">
            <a:avLst/>
          </a:prstGeom>
        </p:spPr>
      </p:pic>
    </p:spTree>
    <p:extLst>
      <p:ext uri="{BB962C8B-B14F-4D97-AF65-F5344CB8AC3E}">
        <p14:creationId xmlns:p14="http://schemas.microsoft.com/office/powerpoint/2010/main" val="12406471"/>
      </p:ext>
    </p:extLst>
  </p:cSld>
  <p:clrMapOvr>
    <a:masterClrMapping/>
  </p:clrMapOvr>
  <p:transition spd="med"/>
  <p:extLst>
    <p:ext uri="{DCECCB84-F9BA-43D5-87BE-67443E8EF086}">
      <p15:sldGuideLst xmlns:p15="http://schemas.microsoft.com/office/powerpoint/2012/main">
        <p15:guide id="2" orient="horz" pos="4656">
          <p15:clr>
            <a:srgbClr val="F26B43"/>
          </p15:clr>
        </p15:guide>
        <p15:guide id="3" orient="horz" pos="912">
          <p15:clr>
            <a:srgbClr val="F26B43"/>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Brillio_Quote slide">
    <p:bg>
      <p:bgPr>
        <a:solidFill>
          <a:srgbClr val="21174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25940" y="2022741"/>
            <a:ext cx="9887803" cy="3609432"/>
          </a:xfrm>
        </p:spPr>
        <p:txBody>
          <a:bodyPr rIns="228600" anchor="t"/>
          <a:lstStyle>
            <a:lvl1pPr>
              <a:defRPr sz="5400" b="0">
                <a:solidFill>
                  <a:schemeClr val="bg1"/>
                </a:solidFill>
              </a:defRPr>
            </a:lvl1pPr>
          </a:lstStyle>
          <a:p>
            <a:r>
              <a:rPr lang="en-US"/>
              <a:t>“Click to edit Master title style”</a:t>
            </a:r>
          </a:p>
        </p:txBody>
      </p:sp>
      <p:sp>
        <p:nvSpPr>
          <p:cNvPr id="4" name="Slide Number Placeholder 10">
            <a:extLst>
              <a:ext uri="{FF2B5EF4-FFF2-40B4-BE49-F238E27FC236}">
                <a16:creationId xmlns:a16="http://schemas.microsoft.com/office/drawing/2014/main" id="{3E1A1356-EC89-514D-9B0D-36B289BC02EE}"/>
              </a:ext>
            </a:extLst>
          </p:cNvPr>
          <p:cNvSpPr>
            <a:spLocks noGrp="1"/>
          </p:cNvSpPr>
          <p:nvPr>
            <p:ph type="sldNum" sz="quarter" idx="4"/>
          </p:nvPr>
        </p:nvSpPr>
        <p:spPr>
          <a:xfrm>
            <a:off x="9856790" y="6212312"/>
            <a:ext cx="1969450" cy="263308"/>
          </a:xfrm>
          <a:prstGeom prst="rect">
            <a:avLst/>
          </a:prstGeom>
        </p:spPr>
        <p:txBody>
          <a:bodyPr vert="horz" lIns="0" tIns="0" rIns="0" bIns="0" rtlCol="0" anchor="b"/>
          <a:lstStyle>
            <a:lvl1pPr algn="r">
              <a:defRPr lang="en-US" sz="1000" b="0" i="0" kern="1200" smtClean="0">
                <a:solidFill>
                  <a:schemeClr val="bg1"/>
                </a:solidFill>
                <a:latin typeface="Arial" panose="020B0604020202020204" pitchFamily="34" charset="0"/>
                <a:ea typeface="+mn-ea"/>
                <a:cs typeface="Arial" panose="020B0604020202020204" pitchFamily="34" charset="0"/>
              </a:defRPr>
            </a:lvl1pPr>
          </a:lstStyle>
          <a:p>
            <a:r>
              <a:rPr lang="en-US"/>
              <a:t>©2025 Brillio  |  </a:t>
            </a:r>
            <a:fld id="{F1FE5E21-FD07-B44E-90A3-0254BFCDB49A}" type="slidenum">
              <a:rPr smtClean="0"/>
              <a:pPr/>
              <a:t>‹#›</a:t>
            </a:fld>
            <a:endParaRPr/>
          </a:p>
        </p:txBody>
      </p:sp>
      <p:cxnSp>
        <p:nvCxnSpPr>
          <p:cNvPr id="7" name="Straight Connector 6">
            <a:extLst>
              <a:ext uri="{FF2B5EF4-FFF2-40B4-BE49-F238E27FC236}">
                <a16:creationId xmlns:a16="http://schemas.microsoft.com/office/drawing/2014/main" id="{5C74CBC2-4515-AF47-B548-7718CE3772D3}"/>
              </a:ext>
            </a:extLst>
          </p:cNvPr>
          <p:cNvCxnSpPr>
            <a:cxnSpLocks/>
          </p:cNvCxnSpPr>
          <p:nvPr userDrawn="1"/>
        </p:nvCxnSpPr>
        <p:spPr>
          <a:xfrm>
            <a:off x="1125940" y="1748485"/>
            <a:ext cx="4271555" cy="0"/>
          </a:xfrm>
          <a:prstGeom prst="line">
            <a:avLst/>
          </a:prstGeom>
          <a:ln w="12700">
            <a:solidFill>
              <a:srgbClr val="2CC84D"/>
            </a:solidFill>
          </a:ln>
        </p:spPr>
        <p:style>
          <a:lnRef idx="1">
            <a:schemeClr val="accent1"/>
          </a:lnRef>
          <a:fillRef idx="0">
            <a:schemeClr val="accent1"/>
          </a:fillRef>
          <a:effectRef idx="0">
            <a:schemeClr val="accent1"/>
          </a:effectRef>
          <a:fontRef idx="minor">
            <a:schemeClr val="tx1"/>
          </a:fontRef>
        </p:style>
      </p:cxnSp>
      <p:pic>
        <p:nvPicPr>
          <p:cNvPr id="8" name="Picture 7" descr="A picture containing icon&#10;&#10;Description automatically generated">
            <a:extLst>
              <a:ext uri="{FF2B5EF4-FFF2-40B4-BE49-F238E27FC236}">
                <a16:creationId xmlns:a16="http://schemas.microsoft.com/office/drawing/2014/main" id="{D47EEA8D-74AC-FC4E-8BD2-2F8722BF2138}"/>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1000" y="6083780"/>
            <a:ext cx="1121928" cy="475499"/>
          </a:xfrm>
          <a:prstGeom prst="rect">
            <a:avLst/>
          </a:prstGeom>
        </p:spPr>
      </p:pic>
    </p:spTree>
    <p:extLst>
      <p:ext uri="{BB962C8B-B14F-4D97-AF65-F5344CB8AC3E}">
        <p14:creationId xmlns:p14="http://schemas.microsoft.com/office/powerpoint/2010/main" val="361948981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rillio_Text slide_1-Column-Dar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65760" y="1524000"/>
            <a:ext cx="11460480" cy="4206875"/>
          </a:xfrm>
        </p:spPr>
        <p:txBody>
          <a:bodyPr/>
          <a:lstStyle>
            <a:lvl1pPr>
              <a:spcAft>
                <a:spcPts val="600"/>
              </a:spcAft>
              <a:defRPr sz="1600" baseline="0"/>
            </a:lvl1pPr>
            <a:lvl2pPr>
              <a:spcAft>
                <a:spcPts val="600"/>
              </a:spcAft>
              <a:defRPr sz="1600" baseline="0"/>
            </a:lvl2pPr>
            <a:lvl3pPr>
              <a:spcAft>
                <a:spcPts val="600"/>
              </a:spcAft>
              <a:defRPr sz="1600" baseline="0"/>
            </a:lvl3pPr>
            <a:lvl4pPr>
              <a:spcAft>
                <a:spcPts val="600"/>
              </a:spcAft>
              <a:defRPr sz="1600" baseline="0"/>
            </a:lvl4pPr>
            <a:lvl5pPr>
              <a:spcAft>
                <a:spcPts val="600"/>
              </a:spcAft>
              <a:defRPr sz="16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descr="A picture containing icon&#10;&#10;Description automatically generated">
            <a:extLst>
              <a:ext uri="{FF2B5EF4-FFF2-40B4-BE49-F238E27FC236}">
                <a16:creationId xmlns:a16="http://schemas.microsoft.com/office/drawing/2014/main" id="{38217C44-A752-5A44-99D8-5359A575DC21}"/>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1000" y="6083780"/>
            <a:ext cx="1121928" cy="475499"/>
          </a:xfrm>
          <a:prstGeom prst="rect">
            <a:avLst/>
          </a:prstGeom>
        </p:spPr>
      </p:pic>
      <p:sp>
        <p:nvSpPr>
          <p:cNvPr id="9" name="Slide Number Placeholder 8">
            <a:extLst>
              <a:ext uri="{FF2B5EF4-FFF2-40B4-BE49-F238E27FC236}">
                <a16:creationId xmlns:a16="http://schemas.microsoft.com/office/drawing/2014/main" id="{0C7C0C99-4337-4144-A5B8-0AD6B7ED47D6}"/>
              </a:ext>
            </a:extLst>
          </p:cNvPr>
          <p:cNvSpPr>
            <a:spLocks noGrp="1"/>
          </p:cNvSpPr>
          <p:nvPr>
            <p:ph type="sldNum" sz="quarter" idx="11"/>
          </p:nvPr>
        </p:nvSpPr>
        <p:spPr/>
        <p:txBody>
          <a:bodyPr/>
          <a:lstStyle/>
          <a:p>
            <a:r>
              <a:rPr lang="en-US"/>
              <a:t>©2025 Brillio  |  </a:t>
            </a:r>
            <a:fld id="{F1FE5E21-FD07-B44E-90A3-0254BFCDB49A}" type="slidenum">
              <a:rPr smtClean="0"/>
              <a:pPr/>
              <a:t>‹#›</a:t>
            </a:fld>
            <a:endParaRPr/>
          </a:p>
        </p:txBody>
      </p:sp>
    </p:spTree>
    <p:extLst>
      <p:ext uri="{BB962C8B-B14F-4D97-AF65-F5344CB8AC3E}">
        <p14:creationId xmlns:p14="http://schemas.microsoft.com/office/powerpoint/2010/main" val="237357470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Obj" preserve="1">
  <p:cSld name="Brillio_Text slide_2-Column-Dar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65760" y="1524000"/>
            <a:ext cx="5608320" cy="4206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17920" y="1524000"/>
            <a:ext cx="5608320" cy="4206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descr="A picture containing icon&#10;&#10;Description automatically generated">
            <a:extLst>
              <a:ext uri="{FF2B5EF4-FFF2-40B4-BE49-F238E27FC236}">
                <a16:creationId xmlns:a16="http://schemas.microsoft.com/office/drawing/2014/main" id="{52353CEA-8F9C-654F-82AE-A315372A19CE}"/>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1000" y="6083780"/>
            <a:ext cx="1121928" cy="475499"/>
          </a:xfrm>
          <a:prstGeom prst="rect">
            <a:avLst/>
          </a:prstGeom>
        </p:spPr>
      </p:pic>
      <p:sp>
        <p:nvSpPr>
          <p:cNvPr id="10" name="Slide Number Placeholder 9">
            <a:extLst>
              <a:ext uri="{FF2B5EF4-FFF2-40B4-BE49-F238E27FC236}">
                <a16:creationId xmlns:a16="http://schemas.microsoft.com/office/drawing/2014/main" id="{D3754A73-EA1E-8B40-B53A-1A23BDC226D1}"/>
              </a:ext>
            </a:extLst>
          </p:cNvPr>
          <p:cNvSpPr>
            <a:spLocks noGrp="1"/>
          </p:cNvSpPr>
          <p:nvPr>
            <p:ph type="sldNum" sz="quarter" idx="11"/>
          </p:nvPr>
        </p:nvSpPr>
        <p:spPr/>
        <p:txBody>
          <a:bodyPr/>
          <a:lstStyle/>
          <a:p>
            <a:r>
              <a:rPr lang="en-US"/>
              <a:t>©2025 Brillio  |  </a:t>
            </a:r>
            <a:fld id="{F1FE5E21-FD07-B44E-90A3-0254BFCDB49A}" type="slidenum">
              <a:rPr smtClean="0"/>
              <a:pPr/>
              <a:t>‹#›</a:t>
            </a:fld>
            <a:endParaRPr/>
          </a:p>
        </p:txBody>
      </p:sp>
      <p:cxnSp>
        <p:nvCxnSpPr>
          <p:cNvPr id="11" name="Straight Connector 10">
            <a:extLst>
              <a:ext uri="{FF2B5EF4-FFF2-40B4-BE49-F238E27FC236}">
                <a16:creationId xmlns:a16="http://schemas.microsoft.com/office/drawing/2014/main" id="{8AA7E595-7689-F043-95F5-42747B017E10}"/>
              </a:ext>
            </a:extLst>
          </p:cNvPr>
          <p:cNvCxnSpPr/>
          <p:nvPr userDrawn="1"/>
        </p:nvCxnSpPr>
        <p:spPr>
          <a:xfrm>
            <a:off x="6096000" y="1573213"/>
            <a:ext cx="0" cy="4157662"/>
          </a:xfrm>
          <a:prstGeom prst="line">
            <a:avLst/>
          </a:prstGeom>
          <a:ln w="1270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3935885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Brillio_Text slide_2-Column: 1/3, 2/3-Dar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65760" y="1524000"/>
            <a:ext cx="3663315" cy="4206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273550" y="1524000"/>
            <a:ext cx="7552690" cy="4206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descr="A picture containing icon&#10;&#10;Description automatically generated">
            <a:extLst>
              <a:ext uri="{FF2B5EF4-FFF2-40B4-BE49-F238E27FC236}">
                <a16:creationId xmlns:a16="http://schemas.microsoft.com/office/drawing/2014/main" id="{D9051CCF-1619-0041-AF3F-DF121710EFAB}"/>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1000" y="6083780"/>
            <a:ext cx="1121928" cy="475499"/>
          </a:xfrm>
          <a:prstGeom prst="rect">
            <a:avLst/>
          </a:prstGeom>
        </p:spPr>
      </p:pic>
      <p:sp>
        <p:nvSpPr>
          <p:cNvPr id="10" name="Slide Number Placeholder 9">
            <a:extLst>
              <a:ext uri="{FF2B5EF4-FFF2-40B4-BE49-F238E27FC236}">
                <a16:creationId xmlns:a16="http://schemas.microsoft.com/office/drawing/2014/main" id="{7FAB132D-7F0A-4149-8E65-81E2DF016AF4}"/>
              </a:ext>
            </a:extLst>
          </p:cNvPr>
          <p:cNvSpPr>
            <a:spLocks noGrp="1"/>
          </p:cNvSpPr>
          <p:nvPr>
            <p:ph type="sldNum" sz="quarter" idx="11"/>
          </p:nvPr>
        </p:nvSpPr>
        <p:spPr/>
        <p:txBody>
          <a:bodyPr/>
          <a:lstStyle/>
          <a:p>
            <a:r>
              <a:rPr lang="en-US"/>
              <a:t>©2025 Brillio  |  </a:t>
            </a:r>
            <a:fld id="{F1FE5E21-FD07-B44E-90A3-0254BFCDB49A}" type="slidenum">
              <a:rPr smtClean="0"/>
              <a:pPr/>
              <a:t>‹#›</a:t>
            </a:fld>
            <a:endParaRPr/>
          </a:p>
        </p:txBody>
      </p:sp>
      <p:cxnSp>
        <p:nvCxnSpPr>
          <p:cNvPr id="11" name="Straight Connector 10">
            <a:extLst>
              <a:ext uri="{FF2B5EF4-FFF2-40B4-BE49-F238E27FC236}">
                <a16:creationId xmlns:a16="http://schemas.microsoft.com/office/drawing/2014/main" id="{362D90C5-37FF-2B41-B0D7-EECCBE161734}"/>
              </a:ext>
            </a:extLst>
          </p:cNvPr>
          <p:cNvCxnSpPr/>
          <p:nvPr userDrawn="1"/>
        </p:nvCxnSpPr>
        <p:spPr>
          <a:xfrm>
            <a:off x="4157331" y="1573213"/>
            <a:ext cx="0" cy="4157662"/>
          </a:xfrm>
          <a:prstGeom prst="line">
            <a:avLst/>
          </a:prstGeom>
          <a:ln w="1270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772231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Obj" preserve="1">
  <p:cSld name="Brillio_Text slide_2-Column: 2/3, 1/3-Dar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65760" y="1524000"/>
            <a:ext cx="7533640" cy="4206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8143874" y="1524000"/>
            <a:ext cx="3682365" cy="4206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descr="A picture containing icon&#10;&#10;Description automatically generated">
            <a:extLst>
              <a:ext uri="{FF2B5EF4-FFF2-40B4-BE49-F238E27FC236}">
                <a16:creationId xmlns:a16="http://schemas.microsoft.com/office/drawing/2014/main" id="{4B6A37E6-588E-B447-9061-8808FA6E8C53}"/>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1000" y="6083780"/>
            <a:ext cx="1121928" cy="475499"/>
          </a:xfrm>
          <a:prstGeom prst="rect">
            <a:avLst/>
          </a:prstGeom>
        </p:spPr>
      </p:pic>
      <p:sp>
        <p:nvSpPr>
          <p:cNvPr id="10" name="Slide Number Placeholder 9">
            <a:extLst>
              <a:ext uri="{FF2B5EF4-FFF2-40B4-BE49-F238E27FC236}">
                <a16:creationId xmlns:a16="http://schemas.microsoft.com/office/drawing/2014/main" id="{C67874D7-3AE4-914F-B27E-FA8C4A74CA36}"/>
              </a:ext>
            </a:extLst>
          </p:cNvPr>
          <p:cNvSpPr>
            <a:spLocks noGrp="1"/>
          </p:cNvSpPr>
          <p:nvPr>
            <p:ph type="sldNum" sz="quarter" idx="11"/>
          </p:nvPr>
        </p:nvSpPr>
        <p:spPr/>
        <p:txBody>
          <a:bodyPr/>
          <a:lstStyle/>
          <a:p>
            <a:r>
              <a:rPr lang="en-US"/>
              <a:t>©2025 Brillio  |  </a:t>
            </a:r>
            <a:fld id="{F1FE5E21-FD07-B44E-90A3-0254BFCDB49A}" type="slidenum">
              <a:rPr smtClean="0"/>
              <a:pPr/>
              <a:t>‹#›</a:t>
            </a:fld>
            <a:endParaRPr/>
          </a:p>
        </p:txBody>
      </p:sp>
      <p:cxnSp>
        <p:nvCxnSpPr>
          <p:cNvPr id="11" name="Straight Connector 10">
            <a:extLst>
              <a:ext uri="{FF2B5EF4-FFF2-40B4-BE49-F238E27FC236}">
                <a16:creationId xmlns:a16="http://schemas.microsoft.com/office/drawing/2014/main" id="{4BB4331A-BF38-A449-8B38-E23F9A30F2FE}"/>
              </a:ext>
            </a:extLst>
          </p:cNvPr>
          <p:cNvCxnSpPr/>
          <p:nvPr userDrawn="1"/>
        </p:nvCxnSpPr>
        <p:spPr>
          <a:xfrm>
            <a:off x="8027582" y="1573213"/>
            <a:ext cx="0" cy="4157662"/>
          </a:xfrm>
          <a:prstGeom prst="line">
            <a:avLst/>
          </a:prstGeom>
          <a:ln w="1270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927496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Obj" preserve="1">
  <p:cSld name="Brillio_Text slide_3-Column-Dar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65759" y="1524000"/>
            <a:ext cx="3663315" cy="4206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273550" y="1524000"/>
            <a:ext cx="3625850" cy="4206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p:cNvSpPr>
            <a:spLocks noGrp="1"/>
          </p:cNvSpPr>
          <p:nvPr>
            <p:ph sz="half" idx="13"/>
          </p:nvPr>
        </p:nvSpPr>
        <p:spPr>
          <a:xfrm>
            <a:off x="8168640" y="1524000"/>
            <a:ext cx="3625850" cy="4206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A picture containing icon&#10;&#10;Description automatically generated">
            <a:extLst>
              <a:ext uri="{FF2B5EF4-FFF2-40B4-BE49-F238E27FC236}">
                <a16:creationId xmlns:a16="http://schemas.microsoft.com/office/drawing/2014/main" id="{DCE488DB-A8BA-5843-AE4E-13464982DC5D}"/>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1000" y="6083780"/>
            <a:ext cx="1121928" cy="475499"/>
          </a:xfrm>
          <a:prstGeom prst="rect">
            <a:avLst/>
          </a:prstGeom>
        </p:spPr>
      </p:pic>
      <p:sp>
        <p:nvSpPr>
          <p:cNvPr id="11" name="Slide Number Placeholder 10">
            <a:extLst>
              <a:ext uri="{FF2B5EF4-FFF2-40B4-BE49-F238E27FC236}">
                <a16:creationId xmlns:a16="http://schemas.microsoft.com/office/drawing/2014/main" id="{06BF12A5-BE15-3546-9A5E-73924E040DE7}"/>
              </a:ext>
            </a:extLst>
          </p:cNvPr>
          <p:cNvSpPr>
            <a:spLocks noGrp="1"/>
          </p:cNvSpPr>
          <p:nvPr>
            <p:ph type="sldNum" sz="quarter" idx="15"/>
          </p:nvPr>
        </p:nvSpPr>
        <p:spPr/>
        <p:txBody>
          <a:bodyPr/>
          <a:lstStyle/>
          <a:p>
            <a:r>
              <a:rPr lang="en-US"/>
              <a:t>©2025 Brillio  |  </a:t>
            </a:r>
            <a:fld id="{F1FE5E21-FD07-B44E-90A3-0254BFCDB49A}" type="slidenum">
              <a:rPr smtClean="0"/>
              <a:pPr/>
              <a:t>‹#›</a:t>
            </a:fld>
            <a:endParaRPr/>
          </a:p>
        </p:txBody>
      </p:sp>
      <p:cxnSp>
        <p:nvCxnSpPr>
          <p:cNvPr id="12" name="Straight Connector 11">
            <a:extLst>
              <a:ext uri="{FF2B5EF4-FFF2-40B4-BE49-F238E27FC236}">
                <a16:creationId xmlns:a16="http://schemas.microsoft.com/office/drawing/2014/main" id="{4056736C-7BC3-1442-8D30-BB14B1EB9EFF}"/>
              </a:ext>
            </a:extLst>
          </p:cNvPr>
          <p:cNvCxnSpPr/>
          <p:nvPr userDrawn="1"/>
        </p:nvCxnSpPr>
        <p:spPr>
          <a:xfrm>
            <a:off x="4157331" y="1573213"/>
            <a:ext cx="0" cy="4157662"/>
          </a:xfrm>
          <a:prstGeom prst="line">
            <a:avLst/>
          </a:prstGeom>
          <a:ln w="1270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54AF2F6-D427-8743-8B4A-1409646F4AB6}"/>
              </a:ext>
            </a:extLst>
          </p:cNvPr>
          <p:cNvCxnSpPr/>
          <p:nvPr userDrawn="1"/>
        </p:nvCxnSpPr>
        <p:spPr>
          <a:xfrm>
            <a:off x="8027582" y="1573213"/>
            <a:ext cx="0" cy="4157662"/>
          </a:xfrm>
          <a:prstGeom prst="line">
            <a:avLst/>
          </a:prstGeom>
          <a:ln w="1270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860010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woObj" preserve="1">
  <p:cSld name="Brillio_Text slide_4-Column-Dar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65760" y="1524000"/>
            <a:ext cx="2682240" cy="4206875"/>
          </a:xfrm>
        </p:spPr>
        <p:txBody>
          <a:bodyPr/>
          <a:lstStyle>
            <a:lvl1pPr marL="0" indent="0">
              <a:buNone/>
              <a:defRPr sz="1400" b="1" baseline="0"/>
            </a:lvl1pPr>
            <a:lvl2pPr>
              <a:defRPr sz="1400" baseline="0"/>
            </a:lvl2pPr>
            <a:lvl3pPr>
              <a:defRPr sz="1400" baseline="0"/>
            </a:lvl3pPr>
            <a:lvl4pPr>
              <a:defRPr sz="1400" baseline="0"/>
            </a:lvl4pPr>
            <a:lvl5pPr>
              <a:defRPr sz="14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291840" y="1524000"/>
            <a:ext cx="2682240" cy="4206875"/>
          </a:xfrm>
        </p:spPr>
        <p:txBody>
          <a:bodyPr/>
          <a:lstStyle>
            <a:lvl1pPr marL="0" indent="0">
              <a:buNone/>
              <a:defRPr sz="1400" b="1" baseline="0"/>
            </a:lvl1pPr>
            <a:lvl2pPr>
              <a:defRPr sz="1400" baseline="0"/>
            </a:lvl2pPr>
            <a:lvl3pPr>
              <a:defRPr sz="1400" baseline="0"/>
            </a:lvl3pPr>
            <a:lvl4pPr>
              <a:defRPr sz="1400" baseline="0"/>
            </a:lvl4pPr>
            <a:lvl5pPr>
              <a:defRPr sz="14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p:cNvSpPr>
            <a:spLocks noGrp="1"/>
          </p:cNvSpPr>
          <p:nvPr>
            <p:ph sz="half" idx="13"/>
          </p:nvPr>
        </p:nvSpPr>
        <p:spPr>
          <a:xfrm>
            <a:off x="6217920" y="1524000"/>
            <a:ext cx="2682240" cy="4206875"/>
          </a:xfrm>
        </p:spPr>
        <p:txBody>
          <a:bodyPr/>
          <a:lstStyle>
            <a:lvl1pPr marL="0" indent="0">
              <a:buNone/>
              <a:defRPr sz="1400" b="1" baseline="0"/>
            </a:lvl1pPr>
            <a:lvl2pPr>
              <a:defRPr sz="1400" baseline="0"/>
            </a:lvl2pPr>
            <a:lvl3pPr>
              <a:defRPr sz="1400" baseline="0"/>
            </a:lvl3pPr>
            <a:lvl4pPr>
              <a:defRPr sz="1400" baseline="0"/>
            </a:lvl4pPr>
            <a:lvl5pPr>
              <a:defRPr sz="14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half" idx="14"/>
          </p:nvPr>
        </p:nvSpPr>
        <p:spPr>
          <a:xfrm>
            <a:off x="9144000" y="1524000"/>
            <a:ext cx="2682240" cy="4206875"/>
          </a:xfrm>
        </p:spPr>
        <p:txBody>
          <a:bodyPr/>
          <a:lstStyle>
            <a:lvl1pPr marL="0" indent="0">
              <a:buNone/>
              <a:defRPr sz="1400" b="1" baseline="0"/>
            </a:lvl1pPr>
            <a:lvl2pPr>
              <a:defRPr sz="1400" baseline="0"/>
            </a:lvl2pPr>
            <a:lvl3pPr>
              <a:defRPr sz="1400" baseline="0"/>
            </a:lvl3pPr>
            <a:lvl4pPr>
              <a:defRPr sz="1400" baseline="0"/>
            </a:lvl4pPr>
            <a:lvl5pPr>
              <a:defRPr sz="14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descr="A picture containing icon&#10;&#10;Description automatically generated">
            <a:extLst>
              <a:ext uri="{FF2B5EF4-FFF2-40B4-BE49-F238E27FC236}">
                <a16:creationId xmlns:a16="http://schemas.microsoft.com/office/drawing/2014/main" id="{EA9704D5-DC68-094C-AF2B-4D625D5E177B}"/>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1000" y="6083780"/>
            <a:ext cx="1121928" cy="475499"/>
          </a:xfrm>
          <a:prstGeom prst="rect">
            <a:avLst/>
          </a:prstGeom>
        </p:spPr>
      </p:pic>
      <p:sp>
        <p:nvSpPr>
          <p:cNvPr id="12" name="Slide Number Placeholder 11">
            <a:extLst>
              <a:ext uri="{FF2B5EF4-FFF2-40B4-BE49-F238E27FC236}">
                <a16:creationId xmlns:a16="http://schemas.microsoft.com/office/drawing/2014/main" id="{AEA31C9C-E5EE-9F42-9056-58F5BFCEC86A}"/>
              </a:ext>
            </a:extLst>
          </p:cNvPr>
          <p:cNvSpPr>
            <a:spLocks noGrp="1"/>
          </p:cNvSpPr>
          <p:nvPr>
            <p:ph type="sldNum" sz="quarter" idx="16"/>
          </p:nvPr>
        </p:nvSpPr>
        <p:spPr/>
        <p:txBody>
          <a:bodyPr/>
          <a:lstStyle/>
          <a:p>
            <a:r>
              <a:rPr lang="en-US"/>
              <a:t>©2025 Brillio  |  </a:t>
            </a:r>
            <a:fld id="{F1FE5E21-FD07-B44E-90A3-0254BFCDB49A}" type="slidenum">
              <a:rPr smtClean="0"/>
              <a:pPr/>
              <a:t>‹#›</a:t>
            </a:fld>
            <a:endParaRPr/>
          </a:p>
        </p:txBody>
      </p:sp>
      <p:cxnSp>
        <p:nvCxnSpPr>
          <p:cNvPr id="13" name="Straight Connector 12">
            <a:extLst>
              <a:ext uri="{FF2B5EF4-FFF2-40B4-BE49-F238E27FC236}">
                <a16:creationId xmlns:a16="http://schemas.microsoft.com/office/drawing/2014/main" id="{F4181B86-EBB4-7E47-911E-5A465EA86252}"/>
              </a:ext>
            </a:extLst>
          </p:cNvPr>
          <p:cNvCxnSpPr/>
          <p:nvPr userDrawn="1"/>
        </p:nvCxnSpPr>
        <p:spPr>
          <a:xfrm>
            <a:off x="3179136" y="1573213"/>
            <a:ext cx="0" cy="4157662"/>
          </a:xfrm>
          <a:prstGeom prst="line">
            <a:avLst/>
          </a:prstGeom>
          <a:ln w="1270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ECC6698B-58BD-634C-8B18-B68880B76510}"/>
              </a:ext>
            </a:extLst>
          </p:cNvPr>
          <p:cNvCxnSpPr/>
          <p:nvPr userDrawn="1"/>
        </p:nvCxnSpPr>
        <p:spPr>
          <a:xfrm>
            <a:off x="6096000" y="1573213"/>
            <a:ext cx="0" cy="4157662"/>
          </a:xfrm>
          <a:prstGeom prst="line">
            <a:avLst/>
          </a:prstGeom>
          <a:ln w="1270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9F117546-A46A-454D-BFDF-DCBBB966CF7B}"/>
              </a:ext>
            </a:extLst>
          </p:cNvPr>
          <p:cNvCxnSpPr/>
          <p:nvPr userDrawn="1"/>
        </p:nvCxnSpPr>
        <p:spPr>
          <a:xfrm>
            <a:off x="9030586" y="1573213"/>
            <a:ext cx="0" cy="4157662"/>
          </a:xfrm>
          <a:prstGeom prst="line">
            <a:avLst/>
          </a:prstGeom>
          <a:ln w="1270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014204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reserve="1">
  <p:cSld name="Brillio_Title only slide-Dar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6" name="Picture 5" descr="A picture containing icon&#10;&#10;Description automatically generated">
            <a:extLst>
              <a:ext uri="{FF2B5EF4-FFF2-40B4-BE49-F238E27FC236}">
                <a16:creationId xmlns:a16="http://schemas.microsoft.com/office/drawing/2014/main" id="{2C49ED69-80A3-074D-A2B6-7C36DB4C70CD}"/>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1000" y="6083780"/>
            <a:ext cx="1121928" cy="475499"/>
          </a:xfrm>
          <a:prstGeom prst="rect">
            <a:avLst/>
          </a:prstGeom>
        </p:spPr>
      </p:pic>
      <p:sp>
        <p:nvSpPr>
          <p:cNvPr id="8" name="Slide Number Placeholder 7">
            <a:extLst>
              <a:ext uri="{FF2B5EF4-FFF2-40B4-BE49-F238E27FC236}">
                <a16:creationId xmlns:a16="http://schemas.microsoft.com/office/drawing/2014/main" id="{BF32F4B4-0D7E-DE49-8E50-0E119455637B}"/>
              </a:ext>
            </a:extLst>
          </p:cNvPr>
          <p:cNvSpPr>
            <a:spLocks noGrp="1"/>
          </p:cNvSpPr>
          <p:nvPr>
            <p:ph type="sldNum" sz="quarter" idx="11"/>
          </p:nvPr>
        </p:nvSpPr>
        <p:spPr/>
        <p:txBody>
          <a:bodyPr/>
          <a:lstStyle/>
          <a:p>
            <a:r>
              <a:rPr lang="en-US"/>
              <a:t>©2025 Brillio  |  </a:t>
            </a:r>
            <a:fld id="{F1FE5E21-FD07-B44E-90A3-0254BFCDB49A}" type="slidenum">
              <a:rPr smtClean="0"/>
              <a:pPr/>
              <a:t>‹#›</a:t>
            </a:fld>
            <a:endParaRPr/>
          </a:p>
        </p:txBody>
      </p:sp>
    </p:spTree>
    <p:extLst>
      <p:ext uri="{BB962C8B-B14F-4D97-AF65-F5344CB8AC3E}">
        <p14:creationId xmlns:p14="http://schemas.microsoft.com/office/powerpoint/2010/main" val="391905765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Brillio_Blank slide-Dark">
    <p:spTree>
      <p:nvGrpSpPr>
        <p:cNvPr id="1" name=""/>
        <p:cNvGrpSpPr/>
        <p:nvPr/>
      </p:nvGrpSpPr>
      <p:grpSpPr>
        <a:xfrm>
          <a:off x="0" y="0"/>
          <a:ext cx="0" cy="0"/>
          <a:chOff x="0" y="0"/>
          <a:chExt cx="0" cy="0"/>
        </a:xfrm>
      </p:grpSpPr>
      <p:pic>
        <p:nvPicPr>
          <p:cNvPr id="5" name="Picture 4" descr="A picture containing icon&#10;&#10;Description automatically generated">
            <a:extLst>
              <a:ext uri="{FF2B5EF4-FFF2-40B4-BE49-F238E27FC236}">
                <a16:creationId xmlns:a16="http://schemas.microsoft.com/office/drawing/2014/main" id="{28D6DB58-1443-E047-A356-ED276F2EA3EB}"/>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1000" y="6083780"/>
            <a:ext cx="1121928" cy="475499"/>
          </a:xfrm>
          <a:prstGeom prst="rect">
            <a:avLst/>
          </a:prstGeom>
        </p:spPr>
      </p:pic>
      <p:sp>
        <p:nvSpPr>
          <p:cNvPr id="7" name="Slide Number Placeholder 6">
            <a:extLst>
              <a:ext uri="{FF2B5EF4-FFF2-40B4-BE49-F238E27FC236}">
                <a16:creationId xmlns:a16="http://schemas.microsoft.com/office/drawing/2014/main" id="{17A0C4C1-B694-F043-89B7-FD92B764ED30}"/>
              </a:ext>
            </a:extLst>
          </p:cNvPr>
          <p:cNvSpPr>
            <a:spLocks noGrp="1"/>
          </p:cNvSpPr>
          <p:nvPr>
            <p:ph type="sldNum" sz="quarter" idx="11"/>
          </p:nvPr>
        </p:nvSpPr>
        <p:spPr/>
        <p:txBody>
          <a:bodyPr/>
          <a:lstStyle/>
          <a:p>
            <a:r>
              <a:rPr lang="en-US"/>
              <a:t>©2025 Brillio  |  </a:t>
            </a:r>
            <a:fld id="{F1FE5E21-FD07-B44E-90A3-0254BFCDB49A}" type="slidenum">
              <a:rPr smtClean="0"/>
              <a:pPr/>
              <a:t>‹#›</a:t>
            </a:fld>
            <a:endParaRPr/>
          </a:p>
        </p:txBody>
      </p:sp>
    </p:spTree>
    <p:extLst>
      <p:ext uri="{BB962C8B-B14F-4D97-AF65-F5344CB8AC3E}">
        <p14:creationId xmlns:p14="http://schemas.microsoft.com/office/powerpoint/2010/main" val="330813467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Brillio_Text slide_1-Column-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65760" y="1524000"/>
            <a:ext cx="11460480" cy="4206875"/>
          </a:xfrm>
        </p:spPr>
        <p:txBody>
          <a:bodyPr/>
          <a:lstStyle>
            <a:lvl1pPr>
              <a:spcAft>
                <a:spcPts val="600"/>
              </a:spcAft>
              <a:defRPr sz="1600" baseline="0">
                <a:solidFill>
                  <a:schemeClr val="tx2"/>
                </a:solidFill>
              </a:defRPr>
            </a:lvl1pPr>
            <a:lvl2pPr>
              <a:spcAft>
                <a:spcPts val="600"/>
              </a:spcAft>
              <a:defRPr sz="1600" baseline="0">
                <a:solidFill>
                  <a:schemeClr val="tx2"/>
                </a:solidFill>
              </a:defRPr>
            </a:lvl2pPr>
            <a:lvl3pPr>
              <a:spcAft>
                <a:spcPts val="600"/>
              </a:spcAft>
              <a:defRPr sz="1600" baseline="0">
                <a:solidFill>
                  <a:schemeClr val="tx2"/>
                </a:solidFill>
              </a:defRPr>
            </a:lvl3pPr>
            <a:lvl4pPr>
              <a:spcAft>
                <a:spcPts val="600"/>
              </a:spcAft>
              <a:defRPr sz="1600" baseline="0">
                <a:solidFill>
                  <a:schemeClr val="tx2"/>
                </a:solidFill>
              </a:defRPr>
            </a:lvl4pPr>
            <a:lvl5pPr>
              <a:spcAft>
                <a:spcPts val="600"/>
              </a:spcAft>
              <a:defRPr sz="1600" baseline="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A picture containing icon&#10;&#10;Description automatically generated">
            <a:extLst>
              <a:ext uri="{FF2B5EF4-FFF2-40B4-BE49-F238E27FC236}">
                <a16:creationId xmlns:a16="http://schemas.microsoft.com/office/drawing/2014/main" id="{E80CFC23-70AD-5741-BEE8-2F1B1C52C7A0}"/>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2772" y="6086103"/>
            <a:ext cx="1121928" cy="473945"/>
          </a:xfrm>
          <a:prstGeom prst="rect">
            <a:avLst/>
          </a:prstGeom>
        </p:spPr>
      </p:pic>
      <p:sp>
        <p:nvSpPr>
          <p:cNvPr id="11" name="Slide Number Placeholder 10">
            <a:extLst>
              <a:ext uri="{FF2B5EF4-FFF2-40B4-BE49-F238E27FC236}">
                <a16:creationId xmlns:a16="http://schemas.microsoft.com/office/drawing/2014/main" id="{22879882-8226-7848-B61B-8D8F30BA15DE}"/>
              </a:ext>
            </a:extLst>
          </p:cNvPr>
          <p:cNvSpPr>
            <a:spLocks noGrp="1"/>
          </p:cNvSpPr>
          <p:nvPr>
            <p:ph type="sldNum" sz="quarter" idx="4"/>
          </p:nvPr>
        </p:nvSpPr>
        <p:spPr>
          <a:xfrm>
            <a:off x="9856790" y="6212312"/>
            <a:ext cx="1969450" cy="259715"/>
          </a:xfrm>
          <a:prstGeom prst="rect">
            <a:avLst/>
          </a:prstGeom>
        </p:spPr>
        <p:txBody>
          <a:bodyPr vert="horz" lIns="0" tIns="0" rIns="0" bIns="0" rtlCol="0" anchor="b"/>
          <a:lstStyle>
            <a:lvl1pPr algn="r">
              <a:defRPr lang="en-US" sz="1000" b="0" i="0" kern="1200" smtClean="0">
                <a:solidFill>
                  <a:schemeClr val="tx1"/>
                </a:solidFill>
                <a:latin typeface="Arial" panose="020B0604020202020204" pitchFamily="34" charset="0"/>
                <a:ea typeface="+mn-ea"/>
                <a:cs typeface="Arial" panose="020B0604020202020204" pitchFamily="34" charset="0"/>
              </a:defRPr>
            </a:lvl1pPr>
          </a:lstStyle>
          <a:p>
            <a:r>
              <a:rPr lang="en-US"/>
              <a:t>©2025 Brillio  |  </a:t>
            </a:r>
            <a:fld id="{F1FE5E21-FD07-B44E-90A3-0254BFCDB49A}" type="slidenum">
              <a:rPr smtClean="0"/>
              <a:pPr/>
              <a:t>‹#›</a:t>
            </a:fld>
            <a:endParaRPr lang="en-US"/>
          </a:p>
        </p:txBody>
      </p:sp>
    </p:spTree>
    <p:extLst>
      <p:ext uri="{BB962C8B-B14F-4D97-AF65-F5344CB8AC3E}">
        <p14:creationId xmlns:p14="http://schemas.microsoft.com/office/powerpoint/2010/main" val="70074059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op color block">
    <p:bg>
      <p:bgPr>
        <a:solidFill>
          <a:schemeClr val="tx1"/>
        </a:solidFill>
        <a:effectLst/>
      </p:bgPr>
    </p:bg>
    <p:spTree>
      <p:nvGrpSpPr>
        <p:cNvPr id="1" name=""/>
        <p:cNvGrpSpPr/>
        <p:nvPr/>
      </p:nvGrpSpPr>
      <p:grpSpPr>
        <a:xfrm>
          <a:off x="0" y="0"/>
          <a:ext cx="0" cy="0"/>
          <a:chOff x="0" y="0"/>
          <a:chExt cx="0" cy="0"/>
        </a:xfrm>
      </p:grpSpPr>
      <p:sp>
        <p:nvSpPr>
          <p:cNvPr id="7" name="Round Same Side Corner Rectangle 6">
            <a:extLst>
              <a:ext uri="{FF2B5EF4-FFF2-40B4-BE49-F238E27FC236}">
                <a16:creationId xmlns:a16="http://schemas.microsoft.com/office/drawing/2014/main" id="{78FAD1F5-A942-6244-5E87-9764C0D1F058}"/>
              </a:ext>
            </a:extLst>
          </p:cNvPr>
          <p:cNvSpPr/>
          <p:nvPr userDrawn="1"/>
        </p:nvSpPr>
        <p:spPr bwMode="auto">
          <a:xfrm flipV="1">
            <a:off x="0" y="1"/>
            <a:ext cx="12192000" cy="2846294"/>
          </a:xfrm>
          <a:prstGeom prst="round2SameRect">
            <a:avLst/>
          </a:prstGeom>
          <a:solidFill>
            <a:schemeClr val="tx2"/>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76200" tIns="76200" rIns="76200" bIns="76200" numCol="1" rtlCol="0" anchor="t" anchorCtr="0" compatLnSpc="1">
            <a:prstTxWarp prst="textNoShape">
              <a:avLst/>
            </a:prstTxWarp>
          </a:bodyPr>
          <a:lstStyle/>
          <a:p>
            <a:pPr marL="0" marR="0" indent="0" algn="l" defTabSz="761970" rtl="0" eaLnBrk="1" fontAlgn="base" latinLnBrk="0" hangingPunct="1">
              <a:lnSpc>
                <a:spcPct val="100000"/>
              </a:lnSpc>
              <a:spcBef>
                <a:spcPct val="0"/>
              </a:spcBef>
              <a:spcAft>
                <a:spcPct val="0"/>
              </a:spcAft>
              <a:buClrTx/>
              <a:buSzTx/>
              <a:buFont typeface="IBM Plex Sans Light"/>
              <a:buNone/>
              <a:tabLst/>
            </a:pPr>
            <a:endParaRPr kumimoji="0" lang="en-US" sz="1167" b="0" i="0" u="none" strike="noStrike" cap="none" normalizeH="0" baseline="0">
              <a:ln>
                <a:noFill/>
              </a:ln>
              <a:solidFill>
                <a:schemeClr val="bg1"/>
              </a:solidFill>
              <a:effectLst/>
              <a:latin typeface="+mn-lt"/>
            </a:endParaRPr>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95470" y="3238500"/>
            <a:ext cx="2681094" cy="2921000"/>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itle Text">
            <a:extLst>
              <a:ext uri="{FF2B5EF4-FFF2-40B4-BE49-F238E27FC236}">
                <a16:creationId xmlns:a16="http://schemas.microsoft.com/office/drawing/2014/main" id="{4B5980F9-A7B7-7DE7-65FD-745FC498DFDB}"/>
              </a:ext>
            </a:extLst>
          </p:cNvPr>
          <p:cNvSpPr txBox="1">
            <a:spLocks noGrp="1"/>
          </p:cNvSpPr>
          <p:nvPr>
            <p:ph type="title" hasCustomPrompt="1"/>
          </p:nvPr>
        </p:nvSpPr>
        <p:spPr>
          <a:xfrm>
            <a:off x="290212" y="295139"/>
            <a:ext cx="11607800" cy="38660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73152" rIns="0" bIns="0"/>
          <a:lstStyle/>
          <a:p>
            <a:r>
              <a:rPr lang="en-US"/>
              <a:t>Top color block</a:t>
            </a:r>
            <a:endParaRPr/>
          </a:p>
        </p:txBody>
      </p:sp>
      <p:sp>
        <p:nvSpPr>
          <p:cNvPr id="4" name="Text Placeholder 4">
            <a:extLst>
              <a:ext uri="{FF2B5EF4-FFF2-40B4-BE49-F238E27FC236}">
                <a16:creationId xmlns:a16="http://schemas.microsoft.com/office/drawing/2014/main" id="{6B78AFFA-760B-C379-5035-CB7ECAE05516}"/>
              </a:ext>
            </a:extLst>
          </p:cNvPr>
          <p:cNvSpPr>
            <a:spLocks noGrp="1"/>
          </p:cNvSpPr>
          <p:nvPr>
            <p:ph type="body" sz="quarter" idx="12"/>
          </p:nvPr>
        </p:nvSpPr>
        <p:spPr>
          <a:xfrm>
            <a:off x="3272031" y="3238500"/>
            <a:ext cx="2681094" cy="2921000"/>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ext Placeholder 4">
            <a:extLst>
              <a:ext uri="{FF2B5EF4-FFF2-40B4-BE49-F238E27FC236}">
                <a16:creationId xmlns:a16="http://schemas.microsoft.com/office/drawing/2014/main" id="{376D964F-C8A1-C871-5753-80704C0AE4DC}"/>
              </a:ext>
            </a:extLst>
          </p:cNvPr>
          <p:cNvSpPr>
            <a:spLocks noGrp="1"/>
          </p:cNvSpPr>
          <p:nvPr>
            <p:ph type="body" sz="quarter" idx="13"/>
          </p:nvPr>
        </p:nvSpPr>
        <p:spPr>
          <a:xfrm>
            <a:off x="6250082" y="3238500"/>
            <a:ext cx="2679606" cy="2921000"/>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BC3CC31F-CAF3-5950-1F6D-B721F038F566}"/>
              </a:ext>
            </a:extLst>
          </p:cNvPr>
          <p:cNvSpPr>
            <a:spLocks noGrp="1"/>
          </p:cNvSpPr>
          <p:nvPr>
            <p:ph type="body" sz="quarter" idx="14"/>
          </p:nvPr>
        </p:nvSpPr>
        <p:spPr>
          <a:xfrm>
            <a:off x="9219640" y="3238500"/>
            <a:ext cx="2686611" cy="2921000"/>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0045790"/>
      </p:ext>
    </p:extLst>
  </p:cSld>
  <p:clrMapOvr>
    <a:masterClrMapping/>
  </p:clrMapOvr>
  <p:transition spd="med"/>
  <p:extLst>
    <p:ext uri="{DCECCB84-F9BA-43D5-87BE-67443E8EF086}">
      <p15:sldGuideLst xmlns:p15="http://schemas.microsoft.com/office/powerpoint/2012/main">
        <p15:guide id="2" orient="horz" pos="4656">
          <p15:clr>
            <a:srgbClr val="F26B43"/>
          </p15:clr>
        </p15:guide>
        <p15:guide id="3" orient="horz" pos="2448">
          <p15:clr>
            <a:srgbClr val="F26B43"/>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_Blue Cover Slide, Graphic">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3991466-C566-194A-8F18-D0804A8A29A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Footer Placeholder 10">
            <a:extLst>
              <a:ext uri="{FF2B5EF4-FFF2-40B4-BE49-F238E27FC236}">
                <a16:creationId xmlns:a16="http://schemas.microsoft.com/office/drawing/2014/main" id="{D0D00E6B-F16F-EA41-A456-3F87CEB92213}"/>
              </a:ext>
            </a:extLst>
          </p:cNvPr>
          <p:cNvSpPr>
            <a:spLocks noGrp="1"/>
          </p:cNvSpPr>
          <p:nvPr>
            <p:ph type="ftr" sz="quarter" idx="11"/>
          </p:nvPr>
        </p:nvSpPr>
        <p:spPr bwMode="white">
          <a:xfrm>
            <a:off x="692542" y="6337823"/>
            <a:ext cx="1083706" cy="164212"/>
          </a:xfrm>
          <a:prstGeom prst="rect">
            <a:avLst/>
          </a:prstGeom>
        </p:spPr>
        <p:txBody>
          <a:bodyPr wrap="square">
            <a:spAutoFit/>
          </a:bodyPr>
          <a:lstStyle>
            <a:lvl1pPr algn="l">
              <a:defRPr sz="1067">
                <a:solidFill>
                  <a:schemeClr val="bg1"/>
                </a:solidFill>
                <a:latin typeface="Arial" panose="020B0604020202020204" pitchFamily="34" charset="0"/>
                <a:cs typeface="Arial" panose="020B0604020202020204" pitchFamily="34" charset="0"/>
              </a:defRPr>
            </a:lvl1pPr>
            <a:lvl2pPr marL="0" indent="0">
              <a:defRPr sz="1000">
                <a:solidFill>
                  <a:schemeClr val="bg1"/>
                </a:solidFill>
              </a:defRPr>
            </a:lvl2pPr>
            <a:lvl3pPr marL="0" indent="0">
              <a:defRPr sz="1000">
                <a:solidFill>
                  <a:schemeClr val="bg1"/>
                </a:solidFill>
              </a:defRPr>
            </a:lvl3pPr>
            <a:lvl4pPr marL="0" indent="0">
              <a:defRPr sz="1000">
                <a:solidFill>
                  <a:schemeClr val="bg1"/>
                </a:solidFill>
              </a:defRPr>
            </a:lvl4pPr>
            <a:lvl5pPr marL="0" indent="0">
              <a:defRPr sz="1000">
                <a:solidFill>
                  <a:schemeClr val="bg1"/>
                </a:solidFill>
              </a:defRPr>
            </a:lvl5pPr>
            <a:lvl6pPr marL="0" indent="0">
              <a:defRPr sz="1000">
                <a:solidFill>
                  <a:schemeClr val="bg1"/>
                </a:solidFill>
              </a:defRPr>
            </a:lvl6pPr>
            <a:lvl7pPr marL="0" indent="0">
              <a:defRPr sz="1000">
                <a:solidFill>
                  <a:schemeClr val="bg1"/>
                </a:solidFill>
              </a:defRPr>
            </a:lvl7pPr>
            <a:lvl8pPr marL="0" indent="0">
              <a:defRPr sz="1000">
                <a:solidFill>
                  <a:schemeClr val="bg1"/>
                </a:solidFill>
              </a:defRPr>
            </a:lvl8pPr>
            <a:lvl9pPr marL="0" indent="0">
              <a:defRPr sz="1000">
                <a:solidFill>
                  <a:schemeClr val="bg1"/>
                </a:solidFill>
              </a:defRPr>
            </a:lvl9pPr>
          </a:lstStyle>
          <a:p>
            <a:r>
              <a:rPr lang="en-US"/>
              <a:t>© 2025 Brillio |</a:t>
            </a:r>
          </a:p>
        </p:txBody>
      </p:sp>
      <p:pic>
        <p:nvPicPr>
          <p:cNvPr id="4" name="Picture 3">
            <a:extLst>
              <a:ext uri="{FF2B5EF4-FFF2-40B4-BE49-F238E27FC236}">
                <a16:creationId xmlns:a16="http://schemas.microsoft.com/office/drawing/2014/main" id="{FBB5372C-C165-754A-84DA-7C85A0A3E50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51757" y="295464"/>
            <a:ext cx="2881376" cy="1576025"/>
          </a:xfrm>
          <a:prstGeom prst="rect">
            <a:avLst/>
          </a:prstGeom>
        </p:spPr>
      </p:pic>
    </p:spTree>
    <p:extLst>
      <p:ext uri="{BB962C8B-B14F-4D97-AF65-F5344CB8AC3E}">
        <p14:creationId xmlns:p14="http://schemas.microsoft.com/office/powerpoint/2010/main" val="269655317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4_Blue Cover Slide, Graphic">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E1DFBA9-8341-5F48-A576-CAF34028D51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4" name="Picture 3">
            <a:extLst>
              <a:ext uri="{FF2B5EF4-FFF2-40B4-BE49-F238E27FC236}">
                <a16:creationId xmlns:a16="http://schemas.microsoft.com/office/drawing/2014/main" id="{FBB5372C-C165-754A-84DA-7C85A0A3E50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51757" y="295464"/>
            <a:ext cx="2881376" cy="1576025"/>
          </a:xfrm>
          <a:prstGeom prst="rect">
            <a:avLst/>
          </a:prstGeom>
        </p:spPr>
      </p:pic>
      <p:sp>
        <p:nvSpPr>
          <p:cNvPr id="12" name="Title 1">
            <a:extLst>
              <a:ext uri="{FF2B5EF4-FFF2-40B4-BE49-F238E27FC236}">
                <a16:creationId xmlns:a16="http://schemas.microsoft.com/office/drawing/2014/main" id="{22ABC97A-F833-CF4B-A277-3F7693724860}"/>
              </a:ext>
            </a:extLst>
          </p:cNvPr>
          <p:cNvSpPr>
            <a:spLocks noGrp="1"/>
          </p:cNvSpPr>
          <p:nvPr>
            <p:ph type="ctrTitle" hasCustomPrompt="1"/>
          </p:nvPr>
        </p:nvSpPr>
        <p:spPr bwMode="white">
          <a:xfrm>
            <a:off x="633733" y="2483755"/>
            <a:ext cx="5775380" cy="1218795"/>
          </a:xfrm>
        </p:spPr>
        <p:txBody>
          <a:bodyPr wrap="square" anchor="b">
            <a:spAutoFit/>
          </a:bodyPr>
          <a:lstStyle>
            <a:lvl1pPr algn="l">
              <a:defRPr sz="4400" b="0" i="0" baseline="0">
                <a:solidFill>
                  <a:schemeClr val="bg1"/>
                </a:solidFill>
                <a:latin typeface="Arial" panose="020B0604020202020204" pitchFamily="34" charset="0"/>
                <a:cs typeface="Arial" panose="020B0604020202020204" pitchFamily="34" charset="0"/>
              </a:defRPr>
            </a:lvl1pPr>
          </a:lstStyle>
          <a:p>
            <a:pPr lvl="0"/>
            <a:r>
              <a:rPr lang="en-US"/>
              <a:t>Presentation Title Goes Here</a:t>
            </a:r>
          </a:p>
        </p:txBody>
      </p:sp>
      <p:sp>
        <p:nvSpPr>
          <p:cNvPr id="13" name="Subtitle 2">
            <a:extLst>
              <a:ext uri="{FF2B5EF4-FFF2-40B4-BE49-F238E27FC236}">
                <a16:creationId xmlns:a16="http://schemas.microsoft.com/office/drawing/2014/main" id="{54BA2F23-DC47-1643-915C-E5BB0E2DBBDE}"/>
              </a:ext>
            </a:extLst>
          </p:cNvPr>
          <p:cNvSpPr>
            <a:spLocks noGrp="1"/>
          </p:cNvSpPr>
          <p:nvPr>
            <p:ph type="subTitle" idx="1" hasCustomPrompt="1"/>
          </p:nvPr>
        </p:nvSpPr>
        <p:spPr bwMode="white">
          <a:xfrm>
            <a:off x="658235" y="3877603"/>
            <a:ext cx="5757626" cy="748923"/>
          </a:xfrm>
        </p:spPr>
        <p:txBody>
          <a:bodyPr wrap="square">
            <a:spAutoFit/>
          </a:bodyPr>
          <a:lstStyle>
            <a:lvl1pPr marL="0" marR="0" indent="0" algn="l" defTabSz="1219140" rtl="0" eaLnBrk="1" fontAlgn="auto" latinLnBrk="0" hangingPunct="1">
              <a:lnSpc>
                <a:spcPct val="100000"/>
              </a:lnSpc>
              <a:spcBef>
                <a:spcPts val="800"/>
              </a:spcBef>
              <a:spcAft>
                <a:spcPts val="0"/>
              </a:spcAft>
              <a:buClrTx/>
              <a:buSzTx/>
              <a:buFont typeface="Arial" panose="020B0604020202020204" pitchFamily="34" charset="0"/>
              <a:buNone/>
              <a:tabLst/>
              <a:defRPr sz="2400" baseline="0">
                <a:solidFill>
                  <a:schemeClr val="bg1"/>
                </a:solidFill>
                <a:latin typeface="Arial" panose="020B0604020202020204" pitchFamily="34" charset="0"/>
                <a:cs typeface="Arial" panose="020B0604020202020204" pitchFamily="34" charset="0"/>
              </a:defRPr>
            </a:lvl1pPr>
            <a:lvl2pPr marL="0" indent="0" algn="l">
              <a:buClrTx/>
              <a:buFont typeface="Arial" panose="020B0604020202020204" pitchFamily="34" charset="0"/>
              <a:buNone/>
              <a:tabLst/>
              <a:defRPr sz="1800" baseline="0">
                <a:solidFill>
                  <a:schemeClr val="bg1"/>
                </a:solidFill>
                <a:latin typeface="Arial" panose="020B0604020202020204" pitchFamily="34" charset="0"/>
                <a:cs typeface="Arial" panose="020B0604020202020204" pitchFamily="34" charset="0"/>
              </a:defRPr>
            </a:lvl2pPr>
            <a:lvl3pPr marL="304784" indent="-304784" algn="l">
              <a:spcBef>
                <a:spcPts val="800"/>
              </a:spcBef>
              <a:buClrTx/>
              <a:buSzPct val="125000"/>
              <a:buFont typeface="Arial" panose="020B0604020202020204" pitchFamily="34" charset="0"/>
              <a:buChar char="•"/>
              <a:defRPr sz="1600">
                <a:solidFill>
                  <a:schemeClr val="bg1"/>
                </a:solidFill>
              </a:defRPr>
            </a:lvl3pPr>
            <a:lvl4pPr marL="304784" indent="-304784" algn="l">
              <a:spcBef>
                <a:spcPts val="800"/>
              </a:spcBef>
              <a:buClrTx/>
              <a:buSzPct val="125000"/>
              <a:buFont typeface="Arial" panose="020B0604020202020204" pitchFamily="34" charset="0"/>
              <a:buChar char="•"/>
              <a:defRPr sz="1600">
                <a:solidFill>
                  <a:schemeClr val="bg1"/>
                </a:solidFill>
              </a:defRPr>
            </a:lvl4pPr>
            <a:lvl5pPr marL="304784" indent="-304784" algn="l">
              <a:spcBef>
                <a:spcPts val="800"/>
              </a:spcBef>
              <a:buClrTx/>
              <a:buSzPct val="125000"/>
              <a:buFont typeface="Arial" panose="020B0604020202020204" pitchFamily="34" charset="0"/>
              <a:buChar char="•"/>
              <a:defRPr sz="1600">
                <a:solidFill>
                  <a:schemeClr val="bg1"/>
                </a:solidFill>
              </a:defRPr>
            </a:lvl5pPr>
            <a:lvl6pPr marL="304784" indent="-304784" algn="l">
              <a:spcBef>
                <a:spcPts val="800"/>
              </a:spcBef>
              <a:buClrTx/>
              <a:buSzPct val="125000"/>
              <a:buFont typeface="Arial" panose="020B0604020202020204" pitchFamily="34" charset="0"/>
              <a:buChar char="•"/>
              <a:defRPr sz="1600">
                <a:solidFill>
                  <a:schemeClr val="bg1"/>
                </a:solidFill>
              </a:defRPr>
            </a:lvl6pPr>
            <a:lvl7pPr marL="304784" indent="-304784" algn="l">
              <a:spcBef>
                <a:spcPts val="800"/>
              </a:spcBef>
              <a:buClrTx/>
              <a:buSzPct val="125000"/>
              <a:buFont typeface="Arial" panose="020B0604020202020204" pitchFamily="34" charset="0"/>
              <a:buChar char="•"/>
              <a:defRPr sz="1600">
                <a:solidFill>
                  <a:schemeClr val="bg1"/>
                </a:solidFill>
              </a:defRPr>
            </a:lvl7pPr>
            <a:lvl8pPr marL="304784" indent="-304784" algn="l">
              <a:spcBef>
                <a:spcPts val="800"/>
              </a:spcBef>
              <a:buClrTx/>
              <a:buSzPct val="125000"/>
              <a:buFont typeface="Arial" panose="020B0604020202020204" pitchFamily="34" charset="0"/>
              <a:buChar char="•"/>
              <a:defRPr sz="1600">
                <a:solidFill>
                  <a:schemeClr val="bg1"/>
                </a:solidFill>
              </a:defRPr>
            </a:lvl8pPr>
            <a:lvl9pPr marL="304784" indent="-304784" algn="l">
              <a:spcBef>
                <a:spcPts val="800"/>
              </a:spcBef>
              <a:buClrTx/>
              <a:buSzPct val="125000"/>
              <a:buFont typeface="Arial" panose="020B0604020202020204" pitchFamily="34" charset="0"/>
              <a:buChar char="•"/>
              <a:defRPr sz="1600">
                <a:solidFill>
                  <a:schemeClr val="bg1"/>
                </a:solidFill>
              </a:defRPr>
            </a:lvl9pPr>
          </a:lstStyle>
          <a:p>
            <a:pPr lvl="0"/>
            <a:r>
              <a:rPr lang="en-US"/>
              <a:t>Speaker’s Full Name</a:t>
            </a:r>
          </a:p>
          <a:p>
            <a:pPr lvl="1"/>
            <a:r>
              <a:rPr lang="en-US"/>
              <a:t>Date</a:t>
            </a:r>
          </a:p>
        </p:txBody>
      </p:sp>
      <p:sp>
        <p:nvSpPr>
          <p:cNvPr id="7" name="Footer Placeholder 10">
            <a:extLst>
              <a:ext uri="{FF2B5EF4-FFF2-40B4-BE49-F238E27FC236}">
                <a16:creationId xmlns:a16="http://schemas.microsoft.com/office/drawing/2014/main" id="{BCE1D0B4-7543-BA46-8A6C-84713C9C7533}"/>
              </a:ext>
            </a:extLst>
          </p:cNvPr>
          <p:cNvSpPr>
            <a:spLocks noGrp="1"/>
          </p:cNvSpPr>
          <p:nvPr>
            <p:ph type="ftr" sz="quarter" idx="11"/>
          </p:nvPr>
        </p:nvSpPr>
        <p:spPr bwMode="white">
          <a:xfrm>
            <a:off x="692542" y="6337823"/>
            <a:ext cx="1083706" cy="164212"/>
          </a:xfrm>
          <a:prstGeom prst="rect">
            <a:avLst/>
          </a:prstGeom>
        </p:spPr>
        <p:txBody>
          <a:bodyPr wrap="square">
            <a:spAutoFit/>
          </a:bodyPr>
          <a:lstStyle>
            <a:lvl1pPr algn="l">
              <a:defRPr sz="1067">
                <a:solidFill>
                  <a:schemeClr val="bg1"/>
                </a:solidFill>
                <a:latin typeface="Arial" panose="020B0604020202020204" pitchFamily="34" charset="0"/>
                <a:cs typeface="Arial" panose="020B0604020202020204" pitchFamily="34" charset="0"/>
              </a:defRPr>
            </a:lvl1pPr>
            <a:lvl2pPr marL="0" indent="0">
              <a:defRPr sz="1000">
                <a:solidFill>
                  <a:schemeClr val="bg1"/>
                </a:solidFill>
              </a:defRPr>
            </a:lvl2pPr>
            <a:lvl3pPr marL="0" indent="0">
              <a:defRPr sz="1000">
                <a:solidFill>
                  <a:schemeClr val="bg1"/>
                </a:solidFill>
              </a:defRPr>
            </a:lvl3pPr>
            <a:lvl4pPr marL="0" indent="0">
              <a:defRPr sz="1000">
                <a:solidFill>
                  <a:schemeClr val="bg1"/>
                </a:solidFill>
              </a:defRPr>
            </a:lvl4pPr>
            <a:lvl5pPr marL="0" indent="0">
              <a:defRPr sz="1000">
                <a:solidFill>
                  <a:schemeClr val="bg1"/>
                </a:solidFill>
              </a:defRPr>
            </a:lvl5pPr>
            <a:lvl6pPr marL="0" indent="0">
              <a:defRPr sz="1000">
                <a:solidFill>
                  <a:schemeClr val="bg1"/>
                </a:solidFill>
              </a:defRPr>
            </a:lvl6pPr>
            <a:lvl7pPr marL="0" indent="0">
              <a:defRPr sz="1000">
                <a:solidFill>
                  <a:schemeClr val="bg1"/>
                </a:solidFill>
              </a:defRPr>
            </a:lvl7pPr>
            <a:lvl8pPr marL="0" indent="0">
              <a:defRPr sz="1000">
                <a:solidFill>
                  <a:schemeClr val="bg1"/>
                </a:solidFill>
              </a:defRPr>
            </a:lvl8pPr>
            <a:lvl9pPr marL="0" indent="0">
              <a:defRPr sz="1000">
                <a:solidFill>
                  <a:schemeClr val="bg1"/>
                </a:solidFill>
              </a:defRPr>
            </a:lvl9pPr>
          </a:lstStyle>
          <a:p>
            <a:r>
              <a:rPr lang="en-US"/>
              <a:t>© 2025 Brillio |</a:t>
            </a:r>
          </a:p>
        </p:txBody>
      </p:sp>
    </p:spTree>
    <p:extLst>
      <p:ext uri="{BB962C8B-B14F-4D97-AF65-F5344CB8AC3E}">
        <p14:creationId xmlns:p14="http://schemas.microsoft.com/office/powerpoint/2010/main" val="87431298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_Header &amp; 1-Column">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8628BF1-4CA1-C241-AD16-BB13F36F2F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ext Placeholder 5">
            <a:extLst>
              <a:ext uri="{FF2B5EF4-FFF2-40B4-BE49-F238E27FC236}">
                <a16:creationId xmlns:a16="http://schemas.microsoft.com/office/drawing/2014/main" id="{591C7BEA-056A-A24F-A338-4EE9A1076EB2}"/>
              </a:ext>
            </a:extLst>
          </p:cNvPr>
          <p:cNvSpPr>
            <a:spLocks noGrp="1"/>
          </p:cNvSpPr>
          <p:nvPr>
            <p:ph type="body" sz="quarter" idx="13" hasCustomPrompt="1"/>
          </p:nvPr>
        </p:nvSpPr>
        <p:spPr>
          <a:xfrm>
            <a:off x="6305482" y="1956817"/>
            <a:ext cx="5386646" cy="2292096"/>
          </a:xfrm>
        </p:spPr>
        <p:txBody>
          <a:bodyPr anchor="t" anchorCtr="0">
            <a:noAutofit/>
          </a:bodyPr>
          <a:lstStyle>
            <a:lvl1pPr>
              <a:defRPr sz="4400">
                <a:solidFill>
                  <a:schemeClr val="bg1"/>
                </a:solidFill>
                <a:latin typeface="Arial" panose="020B0604020202020204" pitchFamily="34" charset="0"/>
                <a:cs typeface="Arial" panose="020B0604020202020204" pitchFamily="34" charset="0"/>
              </a:defRPr>
            </a:lvl1pPr>
            <a:lvl2pPr marL="309019" indent="-309019">
              <a:buNone/>
              <a:defRPr sz="5867">
                <a:solidFill>
                  <a:schemeClr val="bg1"/>
                </a:solidFill>
              </a:defRPr>
            </a:lvl2pPr>
            <a:lvl3pPr marL="0" indent="0">
              <a:buClrTx/>
              <a:buFont typeface="Arial" panose="020B0604020202020204" pitchFamily="34" charset="0"/>
              <a:buNone/>
              <a:defRPr baseline="0">
                <a:solidFill>
                  <a:schemeClr val="bg1"/>
                </a:solidFill>
              </a:defRPr>
            </a:lvl3pPr>
            <a:lvl4pPr marL="0" indent="0">
              <a:buClrTx/>
              <a:buFont typeface="Arial" panose="020B0604020202020204" pitchFamily="34" charset="0"/>
              <a:buNone/>
              <a:defRPr sz="1600" i="1">
                <a:solidFill>
                  <a:schemeClr val="tx1"/>
                </a:solidFill>
              </a:defRPr>
            </a:lvl4pPr>
            <a:lvl5pPr marL="0" indent="0">
              <a:buClrTx/>
              <a:buFont typeface="Arial" panose="020B0604020202020204" pitchFamily="34" charset="0"/>
              <a:buNone/>
              <a:defRPr sz="1600" i="1">
                <a:solidFill>
                  <a:schemeClr val="tx1"/>
                </a:solidFill>
              </a:defRPr>
            </a:lvl5pPr>
            <a:lvl6pPr marL="0" indent="0">
              <a:buClrTx/>
              <a:buFont typeface="Arial" panose="020B0604020202020204" pitchFamily="34" charset="0"/>
              <a:buNone/>
              <a:defRPr sz="1600" i="1">
                <a:solidFill>
                  <a:schemeClr val="tx1"/>
                </a:solidFill>
              </a:defRPr>
            </a:lvl6pPr>
            <a:lvl7pPr marL="0" indent="0">
              <a:buClrTx/>
              <a:buNone/>
              <a:defRPr sz="1600" i="1">
                <a:solidFill>
                  <a:schemeClr val="tx1"/>
                </a:solidFill>
              </a:defRPr>
            </a:lvl7pPr>
            <a:lvl8pPr marL="0" indent="0">
              <a:buClrTx/>
              <a:buNone/>
              <a:defRPr sz="1600" i="1">
                <a:solidFill>
                  <a:schemeClr val="tx1"/>
                </a:solidFill>
              </a:defRPr>
            </a:lvl8pPr>
            <a:lvl9pPr marL="0" indent="0">
              <a:buClrTx/>
              <a:buFont typeface="Arial" panose="020B0604020202020204" pitchFamily="34" charset="0"/>
              <a:buNone/>
              <a:defRPr sz="1600" i="1">
                <a:solidFill>
                  <a:schemeClr val="tx1"/>
                </a:solidFill>
              </a:defRPr>
            </a:lvl9pPr>
          </a:lstStyle>
          <a:p>
            <a:pPr lvl="0"/>
            <a:r>
              <a:rPr lang="en-US"/>
              <a:t>Edit Master text styles Edit Master</a:t>
            </a:r>
          </a:p>
        </p:txBody>
      </p:sp>
      <p:sp>
        <p:nvSpPr>
          <p:cNvPr id="7" name="Footer Placeholder 8">
            <a:extLst>
              <a:ext uri="{FF2B5EF4-FFF2-40B4-BE49-F238E27FC236}">
                <a16:creationId xmlns:a16="http://schemas.microsoft.com/office/drawing/2014/main" id="{4A6C14A4-5192-F446-B549-E8C090A7538D}"/>
              </a:ext>
            </a:extLst>
          </p:cNvPr>
          <p:cNvSpPr>
            <a:spLocks noGrp="1"/>
          </p:cNvSpPr>
          <p:nvPr>
            <p:ph type="ftr" sz="quarter" idx="3"/>
          </p:nvPr>
        </p:nvSpPr>
        <p:spPr>
          <a:xfrm>
            <a:off x="9641948" y="6327648"/>
            <a:ext cx="1706880" cy="207264"/>
          </a:xfrm>
          <a:prstGeom prst="rect">
            <a:avLst/>
          </a:prstGeom>
        </p:spPr>
        <p:txBody>
          <a:bodyPr vert="horz" lIns="0" tIns="0" rIns="0" bIns="0" rtlCol="0" anchor="ctr"/>
          <a:lstStyle>
            <a:lvl1pPr algn="r">
              <a:defRPr sz="1067" baseline="0">
                <a:solidFill>
                  <a:schemeClr val="bg1"/>
                </a:solidFill>
                <a:latin typeface="Arial" panose="020B0604020202020204" pitchFamily="34" charset="0"/>
                <a:cs typeface="Arial" panose="020B0604020202020204" pitchFamily="34" charset="0"/>
              </a:defRPr>
            </a:lvl1pPr>
            <a:lvl2pPr marL="0" indent="0">
              <a:defRPr sz="1000"/>
            </a:lvl2pPr>
            <a:lvl3pPr marL="0" indent="0">
              <a:defRPr sz="1000"/>
            </a:lvl3pPr>
            <a:lvl4pPr marL="0" indent="0">
              <a:defRPr sz="1000"/>
            </a:lvl4pPr>
            <a:lvl5pPr marL="0" indent="0">
              <a:defRPr sz="1000"/>
            </a:lvl5pPr>
            <a:lvl6pPr marL="0" indent="0">
              <a:defRPr sz="1000"/>
            </a:lvl6pPr>
            <a:lvl7pPr marL="0" indent="0">
              <a:defRPr sz="1000"/>
            </a:lvl7pPr>
            <a:lvl8pPr marL="0" indent="0">
              <a:defRPr sz="1000"/>
            </a:lvl8pPr>
            <a:lvl9pPr marL="0" indent="0">
              <a:defRPr sz="1000"/>
            </a:lvl9pPr>
          </a:lstStyle>
          <a:p>
            <a:r>
              <a:rPr lang="en-US"/>
              <a:t>© 2025 Brillio |</a:t>
            </a:r>
          </a:p>
        </p:txBody>
      </p:sp>
      <p:sp>
        <p:nvSpPr>
          <p:cNvPr id="8" name="Slide Number Placeholder 9">
            <a:extLst>
              <a:ext uri="{FF2B5EF4-FFF2-40B4-BE49-F238E27FC236}">
                <a16:creationId xmlns:a16="http://schemas.microsoft.com/office/drawing/2014/main" id="{39A232AD-2CB5-B144-89E6-63E9B2E42E8D}"/>
              </a:ext>
            </a:extLst>
          </p:cNvPr>
          <p:cNvSpPr>
            <a:spLocks noGrp="1"/>
          </p:cNvSpPr>
          <p:nvPr>
            <p:ph type="sldNum" sz="quarter" idx="4"/>
          </p:nvPr>
        </p:nvSpPr>
        <p:spPr>
          <a:xfrm>
            <a:off x="11387328" y="6326049"/>
            <a:ext cx="304800" cy="207264"/>
          </a:xfrm>
          <a:prstGeom prst="rect">
            <a:avLst/>
          </a:prstGeom>
        </p:spPr>
        <p:txBody>
          <a:bodyPr vert="horz" lIns="0" tIns="0" rIns="0" bIns="0" rtlCol="0" anchor="ctr"/>
          <a:lstStyle>
            <a:lvl1pPr algn="r">
              <a:defRPr sz="1067" b="1" baseline="0">
                <a:solidFill>
                  <a:schemeClr val="bg1"/>
                </a:solidFill>
                <a:latin typeface="Arial" panose="020B0604020202020204" pitchFamily="34" charset="0"/>
                <a:cs typeface="Arial" panose="020B0604020202020204" pitchFamily="34" charset="0"/>
              </a:defRPr>
            </a:lvl1pPr>
          </a:lstStyle>
          <a:p>
            <a:fld id="{2EFEF571-C9B4-4D92-A7F7-315B894862A8}" type="slidenum">
              <a:rPr lang="en-US" smtClean="0"/>
              <a:pPr/>
              <a:t>‹#›</a:t>
            </a:fld>
            <a:endParaRPr lang="en-US"/>
          </a:p>
        </p:txBody>
      </p:sp>
    </p:spTree>
    <p:extLst>
      <p:ext uri="{BB962C8B-B14F-4D97-AF65-F5344CB8AC3E}">
        <p14:creationId xmlns:p14="http://schemas.microsoft.com/office/powerpoint/2010/main" val="60899760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5_Header &amp; 1-Column">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8628BF1-4CA1-C241-AD16-BB13F36F2F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ext Placeholder 5">
            <a:extLst>
              <a:ext uri="{FF2B5EF4-FFF2-40B4-BE49-F238E27FC236}">
                <a16:creationId xmlns:a16="http://schemas.microsoft.com/office/drawing/2014/main" id="{591C7BEA-056A-A24F-A338-4EE9A1076EB2}"/>
              </a:ext>
            </a:extLst>
          </p:cNvPr>
          <p:cNvSpPr>
            <a:spLocks noGrp="1"/>
          </p:cNvSpPr>
          <p:nvPr>
            <p:ph type="body" sz="quarter" idx="13" hasCustomPrompt="1"/>
          </p:nvPr>
        </p:nvSpPr>
        <p:spPr>
          <a:xfrm>
            <a:off x="6305482" y="2373377"/>
            <a:ext cx="5386646" cy="357758"/>
          </a:xfrm>
        </p:spPr>
        <p:txBody>
          <a:bodyPr anchor="t" anchorCtr="0">
            <a:noAutofit/>
          </a:bodyPr>
          <a:lstStyle>
            <a:lvl1pPr>
              <a:defRPr sz="2000">
                <a:solidFill>
                  <a:schemeClr val="bg1"/>
                </a:solidFill>
                <a:latin typeface="Arial" panose="020B0604020202020204" pitchFamily="34" charset="0"/>
                <a:cs typeface="Arial" panose="020B0604020202020204" pitchFamily="34" charset="0"/>
              </a:defRPr>
            </a:lvl1pPr>
            <a:lvl2pPr marL="309019" indent="-309019">
              <a:buNone/>
              <a:defRPr sz="5867">
                <a:solidFill>
                  <a:schemeClr val="bg1"/>
                </a:solidFill>
              </a:defRPr>
            </a:lvl2pPr>
            <a:lvl3pPr marL="0" indent="0">
              <a:buClrTx/>
              <a:buFont typeface="Arial" panose="020B0604020202020204" pitchFamily="34" charset="0"/>
              <a:buNone/>
              <a:defRPr baseline="0">
                <a:solidFill>
                  <a:schemeClr val="bg1"/>
                </a:solidFill>
              </a:defRPr>
            </a:lvl3pPr>
            <a:lvl4pPr marL="0" indent="0">
              <a:buClrTx/>
              <a:buFont typeface="Arial" panose="020B0604020202020204" pitchFamily="34" charset="0"/>
              <a:buNone/>
              <a:defRPr sz="1600" i="1">
                <a:solidFill>
                  <a:schemeClr val="tx1"/>
                </a:solidFill>
              </a:defRPr>
            </a:lvl4pPr>
            <a:lvl5pPr marL="0" indent="0">
              <a:buClrTx/>
              <a:buFont typeface="Arial" panose="020B0604020202020204" pitchFamily="34" charset="0"/>
              <a:buNone/>
              <a:defRPr sz="1600" i="1">
                <a:solidFill>
                  <a:schemeClr val="tx1"/>
                </a:solidFill>
              </a:defRPr>
            </a:lvl5pPr>
            <a:lvl6pPr marL="0" indent="0">
              <a:buClrTx/>
              <a:buFont typeface="Arial" panose="020B0604020202020204" pitchFamily="34" charset="0"/>
              <a:buNone/>
              <a:defRPr sz="1600" i="1">
                <a:solidFill>
                  <a:schemeClr val="tx1"/>
                </a:solidFill>
              </a:defRPr>
            </a:lvl6pPr>
            <a:lvl7pPr marL="0" indent="0">
              <a:buClrTx/>
              <a:buNone/>
              <a:defRPr sz="1600" i="1">
                <a:solidFill>
                  <a:schemeClr val="tx1"/>
                </a:solidFill>
              </a:defRPr>
            </a:lvl7pPr>
            <a:lvl8pPr marL="0" indent="0">
              <a:buClrTx/>
              <a:buNone/>
              <a:defRPr sz="1600" i="1">
                <a:solidFill>
                  <a:schemeClr val="tx1"/>
                </a:solidFill>
              </a:defRPr>
            </a:lvl8pPr>
            <a:lvl9pPr marL="0" indent="0">
              <a:buClrTx/>
              <a:buFont typeface="Arial" panose="020B0604020202020204" pitchFamily="34" charset="0"/>
              <a:buNone/>
              <a:defRPr sz="1600" i="1">
                <a:solidFill>
                  <a:schemeClr val="tx1"/>
                </a:solidFill>
              </a:defRPr>
            </a:lvl9pPr>
          </a:lstStyle>
          <a:p>
            <a:pPr lvl="0"/>
            <a:r>
              <a:rPr lang="en-US"/>
              <a:t>Enter Section Number: Section #&lt;num&gt;</a:t>
            </a:r>
          </a:p>
        </p:txBody>
      </p:sp>
      <p:sp>
        <p:nvSpPr>
          <p:cNvPr id="7" name="Footer Placeholder 8">
            <a:extLst>
              <a:ext uri="{FF2B5EF4-FFF2-40B4-BE49-F238E27FC236}">
                <a16:creationId xmlns:a16="http://schemas.microsoft.com/office/drawing/2014/main" id="{4A6C14A4-5192-F446-B549-E8C090A7538D}"/>
              </a:ext>
            </a:extLst>
          </p:cNvPr>
          <p:cNvSpPr>
            <a:spLocks noGrp="1"/>
          </p:cNvSpPr>
          <p:nvPr>
            <p:ph type="ftr" sz="quarter" idx="3"/>
          </p:nvPr>
        </p:nvSpPr>
        <p:spPr>
          <a:xfrm>
            <a:off x="9641948" y="6327648"/>
            <a:ext cx="1706880" cy="207264"/>
          </a:xfrm>
          <a:prstGeom prst="rect">
            <a:avLst/>
          </a:prstGeom>
        </p:spPr>
        <p:txBody>
          <a:bodyPr vert="horz" lIns="0" tIns="0" rIns="0" bIns="0" rtlCol="0" anchor="ctr"/>
          <a:lstStyle>
            <a:lvl1pPr algn="r">
              <a:defRPr sz="1067" baseline="0">
                <a:solidFill>
                  <a:schemeClr val="bg1"/>
                </a:solidFill>
                <a:latin typeface="Arial" panose="020B0604020202020204" pitchFamily="34" charset="0"/>
                <a:cs typeface="Arial" panose="020B0604020202020204" pitchFamily="34" charset="0"/>
              </a:defRPr>
            </a:lvl1pPr>
            <a:lvl2pPr marL="0" indent="0">
              <a:defRPr sz="1000"/>
            </a:lvl2pPr>
            <a:lvl3pPr marL="0" indent="0">
              <a:defRPr sz="1000"/>
            </a:lvl3pPr>
            <a:lvl4pPr marL="0" indent="0">
              <a:defRPr sz="1000"/>
            </a:lvl4pPr>
            <a:lvl5pPr marL="0" indent="0">
              <a:defRPr sz="1000"/>
            </a:lvl5pPr>
            <a:lvl6pPr marL="0" indent="0">
              <a:defRPr sz="1000"/>
            </a:lvl6pPr>
            <a:lvl7pPr marL="0" indent="0">
              <a:defRPr sz="1000"/>
            </a:lvl7pPr>
            <a:lvl8pPr marL="0" indent="0">
              <a:defRPr sz="1000"/>
            </a:lvl8pPr>
            <a:lvl9pPr marL="0" indent="0">
              <a:defRPr sz="1000"/>
            </a:lvl9pPr>
          </a:lstStyle>
          <a:p>
            <a:r>
              <a:rPr lang="en-US"/>
              <a:t>© 2025 Brillio |</a:t>
            </a:r>
          </a:p>
        </p:txBody>
      </p:sp>
      <p:sp>
        <p:nvSpPr>
          <p:cNvPr id="8" name="Slide Number Placeholder 9">
            <a:extLst>
              <a:ext uri="{FF2B5EF4-FFF2-40B4-BE49-F238E27FC236}">
                <a16:creationId xmlns:a16="http://schemas.microsoft.com/office/drawing/2014/main" id="{39A232AD-2CB5-B144-89E6-63E9B2E42E8D}"/>
              </a:ext>
            </a:extLst>
          </p:cNvPr>
          <p:cNvSpPr>
            <a:spLocks noGrp="1"/>
          </p:cNvSpPr>
          <p:nvPr>
            <p:ph type="sldNum" sz="quarter" idx="4"/>
          </p:nvPr>
        </p:nvSpPr>
        <p:spPr>
          <a:xfrm>
            <a:off x="11387328" y="6326049"/>
            <a:ext cx="304800" cy="207264"/>
          </a:xfrm>
          <a:prstGeom prst="rect">
            <a:avLst/>
          </a:prstGeom>
        </p:spPr>
        <p:txBody>
          <a:bodyPr vert="horz" lIns="0" tIns="0" rIns="0" bIns="0" rtlCol="0" anchor="ctr"/>
          <a:lstStyle>
            <a:lvl1pPr algn="r">
              <a:defRPr sz="1067" b="1" baseline="0">
                <a:solidFill>
                  <a:schemeClr val="bg1"/>
                </a:solidFill>
                <a:latin typeface="Arial" panose="020B0604020202020204" pitchFamily="34" charset="0"/>
                <a:cs typeface="Arial" panose="020B0604020202020204" pitchFamily="34" charset="0"/>
              </a:defRPr>
            </a:lvl1pPr>
          </a:lstStyle>
          <a:p>
            <a:fld id="{2EFEF571-C9B4-4D92-A7F7-315B894862A8}" type="slidenum">
              <a:rPr lang="en-US" smtClean="0"/>
              <a:pPr/>
              <a:t>‹#›</a:t>
            </a:fld>
            <a:endParaRPr lang="en-US"/>
          </a:p>
        </p:txBody>
      </p:sp>
      <p:sp>
        <p:nvSpPr>
          <p:cNvPr id="3" name="Text Placeholder 2">
            <a:extLst>
              <a:ext uri="{FF2B5EF4-FFF2-40B4-BE49-F238E27FC236}">
                <a16:creationId xmlns:a16="http://schemas.microsoft.com/office/drawing/2014/main" id="{47E45BC9-3FAC-4063-A618-4859991DC43A}"/>
              </a:ext>
            </a:extLst>
          </p:cNvPr>
          <p:cNvSpPr>
            <a:spLocks noGrp="1"/>
          </p:cNvSpPr>
          <p:nvPr>
            <p:ph type="body" sz="quarter" idx="14" hasCustomPrompt="1"/>
          </p:nvPr>
        </p:nvSpPr>
        <p:spPr>
          <a:xfrm>
            <a:off x="6334125" y="2816860"/>
            <a:ext cx="5400675" cy="1466850"/>
          </a:xfrm>
        </p:spPr>
        <p:txBody>
          <a:bodyPr vert="horz" lIns="0" tIns="0" rIns="0" bIns="0" rtlCol="0" anchor="t" anchorCtr="0">
            <a:noAutofit/>
          </a:bodyPr>
          <a:lstStyle>
            <a:lvl1pPr>
              <a:defRPr lang="en-US" sz="4400" b="1" spc="-150" dirty="0" smtClean="0">
                <a:solidFill>
                  <a:schemeClr val="bg1"/>
                </a:solidFill>
              </a:defRPr>
            </a:lvl1pPr>
            <a:lvl2pPr>
              <a:defRPr lang="en-US" sz="5867" dirty="0" smtClean="0">
                <a:solidFill>
                  <a:schemeClr val="bg1"/>
                </a:solidFill>
              </a:defRPr>
            </a:lvl2pPr>
            <a:lvl3pPr>
              <a:defRPr lang="en-US" dirty="0" smtClean="0">
                <a:solidFill>
                  <a:schemeClr val="bg1"/>
                </a:solidFill>
              </a:defRPr>
            </a:lvl3pPr>
            <a:lvl4pPr>
              <a:defRPr lang="en-US" i="1" dirty="0" smtClean="0">
                <a:solidFill>
                  <a:schemeClr val="tx1"/>
                </a:solidFill>
              </a:defRPr>
            </a:lvl4pPr>
            <a:lvl5pPr>
              <a:defRPr lang="en-US" sz="1600" i="1" dirty="0">
                <a:solidFill>
                  <a:schemeClr val="tx1"/>
                </a:solidFill>
              </a:defRPr>
            </a:lvl5pPr>
          </a:lstStyle>
          <a:p>
            <a:pPr lvl="0"/>
            <a:r>
              <a:rPr lang="en-US"/>
              <a:t>Click to Enter Section Title</a:t>
            </a:r>
          </a:p>
        </p:txBody>
      </p:sp>
    </p:spTree>
    <p:extLst>
      <p:ext uri="{BB962C8B-B14F-4D97-AF65-F5344CB8AC3E}">
        <p14:creationId xmlns:p14="http://schemas.microsoft.com/office/powerpoint/2010/main" val="227799389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_Header &amp; 1-Colum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0C17C7-12E5-F64D-AD1B-C71BD5F1D1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 name="Footer Placeholder 8">
            <a:extLst>
              <a:ext uri="{FF2B5EF4-FFF2-40B4-BE49-F238E27FC236}">
                <a16:creationId xmlns:a16="http://schemas.microsoft.com/office/drawing/2014/main" id="{5EF1130B-A279-DB4C-9EE9-6069AC23A672}"/>
              </a:ext>
            </a:extLst>
          </p:cNvPr>
          <p:cNvSpPr>
            <a:spLocks noGrp="1"/>
          </p:cNvSpPr>
          <p:nvPr>
            <p:ph type="ftr" sz="quarter" idx="3"/>
          </p:nvPr>
        </p:nvSpPr>
        <p:spPr>
          <a:xfrm>
            <a:off x="9637452" y="6327648"/>
            <a:ext cx="1706880" cy="207264"/>
          </a:xfrm>
          <a:prstGeom prst="rect">
            <a:avLst/>
          </a:prstGeom>
        </p:spPr>
        <p:txBody>
          <a:bodyPr vert="horz" lIns="0" tIns="0" rIns="0" bIns="0" rtlCol="0" anchor="ctr"/>
          <a:lstStyle>
            <a:lvl1pPr algn="r">
              <a:defRPr sz="1067" baseline="0">
                <a:solidFill>
                  <a:schemeClr val="tx2"/>
                </a:solidFill>
                <a:latin typeface="Arial" panose="020B0604020202020204" pitchFamily="34" charset="0"/>
                <a:cs typeface="Arial" panose="020B0604020202020204" pitchFamily="34" charset="0"/>
              </a:defRPr>
            </a:lvl1pPr>
            <a:lvl2pPr marL="0" indent="0">
              <a:defRPr sz="1000"/>
            </a:lvl2pPr>
            <a:lvl3pPr marL="0" indent="0">
              <a:defRPr sz="1000"/>
            </a:lvl3pPr>
            <a:lvl4pPr marL="0" indent="0">
              <a:defRPr sz="1000"/>
            </a:lvl4pPr>
            <a:lvl5pPr marL="0" indent="0">
              <a:defRPr sz="1000"/>
            </a:lvl5pPr>
            <a:lvl6pPr marL="0" indent="0">
              <a:defRPr sz="1000"/>
            </a:lvl6pPr>
            <a:lvl7pPr marL="0" indent="0">
              <a:defRPr sz="1000"/>
            </a:lvl7pPr>
            <a:lvl8pPr marL="0" indent="0">
              <a:defRPr sz="1000"/>
            </a:lvl8pPr>
            <a:lvl9pPr marL="0" indent="0">
              <a:defRPr sz="1000"/>
            </a:lvl9pPr>
          </a:lstStyle>
          <a:p>
            <a:r>
              <a:rPr lang="en-US"/>
              <a:t>© 2025 Brillio |</a:t>
            </a:r>
          </a:p>
        </p:txBody>
      </p:sp>
      <p:sp>
        <p:nvSpPr>
          <p:cNvPr id="9" name="Slide Number Placeholder 9">
            <a:extLst>
              <a:ext uri="{FF2B5EF4-FFF2-40B4-BE49-F238E27FC236}">
                <a16:creationId xmlns:a16="http://schemas.microsoft.com/office/drawing/2014/main" id="{E26DD857-DA51-D04F-A8E4-E8541AAB62D2}"/>
              </a:ext>
            </a:extLst>
          </p:cNvPr>
          <p:cNvSpPr>
            <a:spLocks noGrp="1"/>
          </p:cNvSpPr>
          <p:nvPr>
            <p:ph type="sldNum" sz="quarter" idx="4"/>
          </p:nvPr>
        </p:nvSpPr>
        <p:spPr>
          <a:xfrm>
            <a:off x="11387328" y="6326049"/>
            <a:ext cx="304800" cy="207264"/>
          </a:xfrm>
          <a:prstGeom prst="rect">
            <a:avLst/>
          </a:prstGeom>
        </p:spPr>
        <p:txBody>
          <a:bodyPr vert="horz" lIns="0" tIns="0" rIns="0" bIns="0" rtlCol="0" anchor="ctr"/>
          <a:lstStyle>
            <a:lvl1pPr algn="r">
              <a:defRPr sz="1067" b="1" baseline="0">
                <a:solidFill>
                  <a:schemeClr val="tx2"/>
                </a:solidFill>
                <a:latin typeface="Arial" panose="020B0604020202020204" pitchFamily="34" charset="0"/>
                <a:cs typeface="Arial" panose="020B0604020202020204" pitchFamily="34" charset="0"/>
              </a:defRPr>
            </a:lvl1pPr>
          </a:lstStyle>
          <a:p>
            <a:fld id="{2EFEF571-C9B4-4D92-A7F7-315B894862A8}" type="slidenum">
              <a:rPr lang="en-US" smtClean="0"/>
              <a:pPr/>
              <a:t>‹#›</a:t>
            </a:fld>
            <a:endParaRPr lang="en-US"/>
          </a:p>
        </p:txBody>
      </p:sp>
      <p:sp>
        <p:nvSpPr>
          <p:cNvPr id="7" name="Text Placeholder 5">
            <a:extLst>
              <a:ext uri="{FF2B5EF4-FFF2-40B4-BE49-F238E27FC236}">
                <a16:creationId xmlns:a16="http://schemas.microsoft.com/office/drawing/2014/main" id="{757B889B-78AE-BC47-AE62-31DE2DF979D4}"/>
              </a:ext>
            </a:extLst>
          </p:cNvPr>
          <p:cNvSpPr>
            <a:spLocks noGrp="1"/>
          </p:cNvSpPr>
          <p:nvPr>
            <p:ph type="body" sz="quarter" idx="13" hasCustomPrompt="1"/>
          </p:nvPr>
        </p:nvSpPr>
        <p:spPr>
          <a:xfrm>
            <a:off x="6305482" y="1956817"/>
            <a:ext cx="5386646" cy="2292096"/>
          </a:xfrm>
        </p:spPr>
        <p:txBody>
          <a:bodyPr anchor="t" anchorCtr="0">
            <a:noAutofit/>
          </a:bodyPr>
          <a:lstStyle>
            <a:lvl1pPr>
              <a:defRPr sz="4400">
                <a:solidFill>
                  <a:schemeClr val="tx2"/>
                </a:solidFill>
                <a:latin typeface="Arial" panose="020B0604020202020204" pitchFamily="34" charset="0"/>
                <a:cs typeface="Arial" panose="020B0604020202020204" pitchFamily="34" charset="0"/>
              </a:defRPr>
            </a:lvl1pPr>
            <a:lvl2pPr marL="309019" indent="-309019">
              <a:buNone/>
              <a:defRPr sz="5867">
                <a:solidFill>
                  <a:schemeClr val="bg1"/>
                </a:solidFill>
              </a:defRPr>
            </a:lvl2pPr>
            <a:lvl3pPr marL="0" indent="0">
              <a:buClrTx/>
              <a:buFont typeface="Arial" panose="020B0604020202020204" pitchFamily="34" charset="0"/>
              <a:buNone/>
              <a:defRPr baseline="0">
                <a:solidFill>
                  <a:schemeClr val="bg1"/>
                </a:solidFill>
              </a:defRPr>
            </a:lvl3pPr>
            <a:lvl4pPr marL="0" indent="0">
              <a:buClrTx/>
              <a:buFont typeface="Arial" panose="020B0604020202020204" pitchFamily="34" charset="0"/>
              <a:buNone/>
              <a:defRPr sz="1600" i="1">
                <a:solidFill>
                  <a:schemeClr val="tx1"/>
                </a:solidFill>
              </a:defRPr>
            </a:lvl4pPr>
            <a:lvl5pPr marL="0" indent="0">
              <a:buClrTx/>
              <a:buFont typeface="Arial" panose="020B0604020202020204" pitchFamily="34" charset="0"/>
              <a:buNone/>
              <a:defRPr sz="1600" i="1">
                <a:solidFill>
                  <a:schemeClr val="tx1"/>
                </a:solidFill>
              </a:defRPr>
            </a:lvl5pPr>
            <a:lvl6pPr marL="0" indent="0">
              <a:buClrTx/>
              <a:buFont typeface="Arial" panose="020B0604020202020204" pitchFamily="34" charset="0"/>
              <a:buNone/>
              <a:defRPr sz="1600" i="1">
                <a:solidFill>
                  <a:schemeClr val="tx1"/>
                </a:solidFill>
              </a:defRPr>
            </a:lvl6pPr>
            <a:lvl7pPr marL="0" indent="0">
              <a:buClrTx/>
              <a:buNone/>
              <a:defRPr sz="1600" i="1">
                <a:solidFill>
                  <a:schemeClr val="tx1"/>
                </a:solidFill>
              </a:defRPr>
            </a:lvl7pPr>
            <a:lvl8pPr marL="0" indent="0">
              <a:buClrTx/>
              <a:buNone/>
              <a:defRPr sz="1600" i="1">
                <a:solidFill>
                  <a:schemeClr val="tx1"/>
                </a:solidFill>
              </a:defRPr>
            </a:lvl8pPr>
            <a:lvl9pPr marL="0" indent="0">
              <a:buClrTx/>
              <a:buFont typeface="Arial" panose="020B0604020202020204" pitchFamily="34" charset="0"/>
              <a:buNone/>
              <a:defRPr sz="1600" i="1">
                <a:solidFill>
                  <a:schemeClr val="tx1"/>
                </a:solidFill>
              </a:defRPr>
            </a:lvl9pPr>
          </a:lstStyle>
          <a:p>
            <a:pPr lvl="0"/>
            <a:r>
              <a:rPr lang="en-US"/>
              <a:t>Edit Master text styles Edit Master</a:t>
            </a:r>
          </a:p>
        </p:txBody>
      </p:sp>
    </p:spTree>
    <p:extLst>
      <p:ext uri="{BB962C8B-B14F-4D97-AF65-F5344CB8AC3E}">
        <p14:creationId xmlns:p14="http://schemas.microsoft.com/office/powerpoint/2010/main" val="341656584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6_Header &amp; 1-Colum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0C17C7-12E5-F64D-AD1B-C71BD5F1D1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 name="Footer Placeholder 8">
            <a:extLst>
              <a:ext uri="{FF2B5EF4-FFF2-40B4-BE49-F238E27FC236}">
                <a16:creationId xmlns:a16="http://schemas.microsoft.com/office/drawing/2014/main" id="{5EF1130B-A279-DB4C-9EE9-6069AC23A672}"/>
              </a:ext>
            </a:extLst>
          </p:cNvPr>
          <p:cNvSpPr>
            <a:spLocks noGrp="1"/>
          </p:cNvSpPr>
          <p:nvPr>
            <p:ph type="ftr" sz="quarter" idx="3"/>
          </p:nvPr>
        </p:nvSpPr>
        <p:spPr>
          <a:xfrm>
            <a:off x="9637452" y="6327648"/>
            <a:ext cx="1706880" cy="207264"/>
          </a:xfrm>
          <a:prstGeom prst="rect">
            <a:avLst/>
          </a:prstGeom>
        </p:spPr>
        <p:txBody>
          <a:bodyPr vert="horz" lIns="0" tIns="0" rIns="0" bIns="0" rtlCol="0" anchor="ctr"/>
          <a:lstStyle>
            <a:lvl1pPr algn="r">
              <a:defRPr sz="1067" baseline="0">
                <a:solidFill>
                  <a:schemeClr val="tx2"/>
                </a:solidFill>
                <a:latin typeface="Arial" panose="020B0604020202020204" pitchFamily="34" charset="0"/>
                <a:cs typeface="Arial" panose="020B0604020202020204" pitchFamily="34" charset="0"/>
              </a:defRPr>
            </a:lvl1pPr>
            <a:lvl2pPr marL="0" indent="0">
              <a:defRPr sz="1000"/>
            </a:lvl2pPr>
            <a:lvl3pPr marL="0" indent="0">
              <a:defRPr sz="1000"/>
            </a:lvl3pPr>
            <a:lvl4pPr marL="0" indent="0">
              <a:defRPr sz="1000"/>
            </a:lvl4pPr>
            <a:lvl5pPr marL="0" indent="0">
              <a:defRPr sz="1000"/>
            </a:lvl5pPr>
            <a:lvl6pPr marL="0" indent="0">
              <a:defRPr sz="1000"/>
            </a:lvl6pPr>
            <a:lvl7pPr marL="0" indent="0">
              <a:defRPr sz="1000"/>
            </a:lvl7pPr>
            <a:lvl8pPr marL="0" indent="0">
              <a:defRPr sz="1000"/>
            </a:lvl8pPr>
            <a:lvl9pPr marL="0" indent="0">
              <a:defRPr sz="1000"/>
            </a:lvl9pPr>
          </a:lstStyle>
          <a:p>
            <a:r>
              <a:rPr lang="en-US"/>
              <a:t>© 2025 Brillio |</a:t>
            </a:r>
          </a:p>
        </p:txBody>
      </p:sp>
      <p:sp>
        <p:nvSpPr>
          <p:cNvPr id="9" name="Slide Number Placeholder 9">
            <a:extLst>
              <a:ext uri="{FF2B5EF4-FFF2-40B4-BE49-F238E27FC236}">
                <a16:creationId xmlns:a16="http://schemas.microsoft.com/office/drawing/2014/main" id="{E26DD857-DA51-D04F-A8E4-E8541AAB62D2}"/>
              </a:ext>
            </a:extLst>
          </p:cNvPr>
          <p:cNvSpPr>
            <a:spLocks noGrp="1"/>
          </p:cNvSpPr>
          <p:nvPr>
            <p:ph type="sldNum" sz="quarter" idx="4"/>
          </p:nvPr>
        </p:nvSpPr>
        <p:spPr>
          <a:xfrm>
            <a:off x="11387328" y="6326049"/>
            <a:ext cx="304800" cy="207264"/>
          </a:xfrm>
          <a:prstGeom prst="rect">
            <a:avLst/>
          </a:prstGeom>
        </p:spPr>
        <p:txBody>
          <a:bodyPr vert="horz" lIns="0" tIns="0" rIns="0" bIns="0" rtlCol="0" anchor="ctr"/>
          <a:lstStyle>
            <a:lvl1pPr algn="r">
              <a:defRPr sz="1067" b="1" baseline="0">
                <a:solidFill>
                  <a:schemeClr val="tx2"/>
                </a:solidFill>
                <a:latin typeface="Arial" panose="020B0604020202020204" pitchFamily="34" charset="0"/>
                <a:cs typeface="Arial" panose="020B0604020202020204" pitchFamily="34" charset="0"/>
              </a:defRPr>
            </a:lvl1pPr>
          </a:lstStyle>
          <a:p>
            <a:fld id="{2EFEF571-C9B4-4D92-A7F7-315B894862A8}" type="slidenum">
              <a:rPr lang="en-US" smtClean="0"/>
              <a:pPr/>
              <a:t>‹#›</a:t>
            </a:fld>
            <a:endParaRPr lang="en-US"/>
          </a:p>
        </p:txBody>
      </p:sp>
      <p:sp>
        <p:nvSpPr>
          <p:cNvPr id="8" name="Text Placeholder 5">
            <a:extLst>
              <a:ext uri="{FF2B5EF4-FFF2-40B4-BE49-F238E27FC236}">
                <a16:creationId xmlns:a16="http://schemas.microsoft.com/office/drawing/2014/main" id="{977E223E-CE50-41B8-A7D8-2F936420F122}"/>
              </a:ext>
            </a:extLst>
          </p:cNvPr>
          <p:cNvSpPr>
            <a:spLocks noGrp="1"/>
          </p:cNvSpPr>
          <p:nvPr>
            <p:ph type="body" sz="quarter" idx="13" hasCustomPrompt="1"/>
          </p:nvPr>
        </p:nvSpPr>
        <p:spPr>
          <a:xfrm>
            <a:off x="6305482" y="1956817"/>
            <a:ext cx="5386646" cy="357758"/>
          </a:xfrm>
        </p:spPr>
        <p:txBody>
          <a:bodyPr anchor="t" anchorCtr="0">
            <a:noAutofit/>
          </a:bodyPr>
          <a:lstStyle>
            <a:lvl1pPr>
              <a:defRPr sz="2000">
                <a:solidFill>
                  <a:schemeClr val="tx1"/>
                </a:solidFill>
                <a:latin typeface="Arial" panose="020B0604020202020204" pitchFamily="34" charset="0"/>
                <a:cs typeface="Arial" panose="020B0604020202020204" pitchFamily="34" charset="0"/>
              </a:defRPr>
            </a:lvl1pPr>
            <a:lvl2pPr marL="309019" indent="-309019">
              <a:buNone/>
              <a:defRPr sz="5867">
                <a:solidFill>
                  <a:schemeClr val="bg1"/>
                </a:solidFill>
              </a:defRPr>
            </a:lvl2pPr>
            <a:lvl3pPr marL="0" indent="0">
              <a:buClrTx/>
              <a:buFont typeface="Arial" panose="020B0604020202020204" pitchFamily="34" charset="0"/>
              <a:buNone/>
              <a:defRPr baseline="0">
                <a:solidFill>
                  <a:schemeClr val="bg1"/>
                </a:solidFill>
              </a:defRPr>
            </a:lvl3pPr>
            <a:lvl4pPr marL="0" indent="0">
              <a:buClrTx/>
              <a:buFont typeface="Arial" panose="020B0604020202020204" pitchFamily="34" charset="0"/>
              <a:buNone/>
              <a:defRPr sz="1600" i="1">
                <a:solidFill>
                  <a:schemeClr val="tx1"/>
                </a:solidFill>
              </a:defRPr>
            </a:lvl4pPr>
            <a:lvl5pPr marL="0" indent="0">
              <a:buClrTx/>
              <a:buFont typeface="Arial" panose="020B0604020202020204" pitchFamily="34" charset="0"/>
              <a:buNone/>
              <a:defRPr sz="1600" i="1">
                <a:solidFill>
                  <a:schemeClr val="tx1"/>
                </a:solidFill>
              </a:defRPr>
            </a:lvl5pPr>
            <a:lvl6pPr marL="0" indent="0">
              <a:buClrTx/>
              <a:buFont typeface="Arial" panose="020B0604020202020204" pitchFamily="34" charset="0"/>
              <a:buNone/>
              <a:defRPr sz="1600" i="1">
                <a:solidFill>
                  <a:schemeClr val="tx1"/>
                </a:solidFill>
              </a:defRPr>
            </a:lvl6pPr>
            <a:lvl7pPr marL="0" indent="0">
              <a:buClrTx/>
              <a:buNone/>
              <a:defRPr sz="1600" i="1">
                <a:solidFill>
                  <a:schemeClr val="tx1"/>
                </a:solidFill>
              </a:defRPr>
            </a:lvl7pPr>
            <a:lvl8pPr marL="0" indent="0">
              <a:buClrTx/>
              <a:buNone/>
              <a:defRPr sz="1600" i="1">
                <a:solidFill>
                  <a:schemeClr val="tx1"/>
                </a:solidFill>
              </a:defRPr>
            </a:lvl8pPr>
            <a:lvl9pPr marL="0" indent="0">
              <a:buClrTx/>
              <a:buFont typeface="Arial" panose="020B0604020202020204" pitchFamily="34" charset="0"/>
              <a:buNone/>
              <a:defRPr sz="1600" i="1">
                <a:solidFill>
                  <a:schemeClr val="tx1"/>
                </a:solidFill>
              </a:defRPr>
            </a:lvl9pPr>
          </a:lstStyle>
          <a:p>
            <a:pPr lvl="0"/>
            <a:r>
              <a:rPr lang="en-US"/>
              <a:t>Enter Section Number: Section #&lt;num&gt;</a:t>
            </a:r>
          </a:p>
        </p:txBody>
      </p:sp>
      <p:sp>
        <p:nvSpPr>
          <p:cNvPr id="10" name="Text Placeholder 2">
            <a:extLst>
              <a:ext uri="{FF2B5EF4-FFF2-40B4-BE49-F238E27FC236}">
                <a16:creationId xmlns:a16="http://schemas.microsoft.com/office/drawing/2014/main" id="{4B8D118F-6000-446B-85BD-AE03E03FC662}"/>
              </a:ext>
            </a:extLst>
          </p:cNvPr>
          <p:cNvSpPr>
            <a:spLocks noGrp="1"/>
          </p:cNvSpPr>
          <p:nvPr>
            <p:ph type="body" sz="quarter" idx="14" hasCustomPrompt="1"/>
          </p:nvPr>
        </p:nvSpPr>
        <p:spPr>
          <a:xfrm>
            <a:off x="6334125" y="2400300"/>
            <a:ext cx="5400675" cy="1466850"/>
          </a:xfrm>
        </p:spPr>
        <p:txBody>
          <a:bodyPr vert="horz" lIns="0" tIns="0" rIns="0" bIns="0" rtlCol="0" anchor="t" anchorCtr="0">
            <a:noAutofit/>
          </a:bodyPr>
          <a:lstStyle>
            <a:lvl1pPr>
              <a:defRPr lang="en-US" sz="4400" b="1" dirty="0" smtClean="0">
                <a:solidFill>
                  <a:schemeClr val="tx1"/>
                </a:solidFill>
              </a:defRPr>
            </a:lvl1pPr>
            <a:lvl2pPr>
              <a:defRPr lang="en-US" sz="5867" dirty="0" smtClean="0">
                <a:solidFill>
                  <a:schemeClr val="bg1"/>
                </a:solidFill>
              </a:defRPr>
            </a:lvl2pPr>
            <a:lvl3pPr>
              <a:defRPr lang="en-US" dirty="0" smtClean="0">
                <a:solidFill>
                  <a:schemeClr val="bg1"/>
                </a:solidFill>
              </a:defRPr>
            </a:lvl3pPr>
            <a:lvl4pPr>
              <a:defRPr lang="en-US" i="1" dirty="0" smtClean="0">
                <a:solidFill>
                  <a:schemeClr val="tx1"/>
                </a:solidFill>
              </a:defRPr>
            </a:lvl4pPr>
            <a:lvl5pPr>
              <a:defRPr lang="en-US" sz="1600" i="1" dirty="0">
                <a:solidFill>
                  <a:schemeClr val="tx1"/>
                </a:solidFill>
              </a:defRPr>
            </a:lvl5pPr>
          </a:lstStyle>
          <a:p>
            <a:pPr lvl="0"/>
            <a:r>
              <a:rPr lang="en-US"/>
              <a:t>Click to Enter Section Title</a:t>
            </a:r>
          </a:p>
        </p:txBody>
      </p:sp>
    </p:spTree>
    <p:extLst>
      <p:ext uri="{BB962C8B-B14F-4D97-AF65-F5344CB8AC3E}">
        <p14:creationId xmlns:p14="http://schemas.microsoft.com/office/powerpoint/2010/main" val="110387618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Main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59AFEE-79A3-4996-B06D-D9A66A9C5048}"/>
              </a:ext>
            </a:extLst>
          </p:cNvPr>
          <p:cNvSpPr>
            <a:spLocks noGrp="1"/>
          </p:cNvSpPr>
          <p:nvPr>
            <p:ph type="title"/>
          </p:nvPr>
        </p:nvSpPr>
        <p:spPr>
          <a:xfrm>
            <a:off x="512064" y="365762"/>
            <a:ext cx="11180064" cy="332399"/>
          </a:xfrm>
        </p:spPr>
        <p:txBody>
          <a:bodyPr>
            <a:spAutoFit/>
          </a:bodyPr>
          <a:lstStyle>
            <a:lvl1pPr>
              <a:defRPr sz="2400" b="1" baseline="0">
                <a:solidFill>
                  <a:schemeClr val="tx2"/>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326E17DD-19FC-4C3A-8168-1354DEB9B32C}"/>
              </a:ext>
            </a:extLst>
          </p:cNvPr>
          <p:cNvSpPr>
            <a:spLocks noGrp="1"/>
          </p:cNvSpPr>
          <p:nvPr>
            <p:ph idx="1"/>
          </p:nvPr>
        </p:nvSpPr>
        <p:spPr>
          <a:xfrm>
            <a:off x="512064" y="1110343"/>
            <a:ext cx="11180064" cy="4823926"/>
          </a:xfrm>
        </p:spPr>
        <p:txBody>
          <a:bodyPr/>
          <a:lstStyle>
            <a:lvl1pPr>
              <a:defRPr baseline="0">
                <a:solidFill>
                  <a:schemeClr val="tx2"/>
                </a:solidFill>
                <a:latin typeface="Arial" panose="020B0604020202020204" pitchFamily="34" charset="0"/>
                <a:cs typeface="Arial" panose="020B0604020202020204" pitchFamily="34" charset="0"/>
              </a:defRPr>
            </a:lvl1pPr>
            <a:lvl2pPr>
              <a:defRPr baseline="0">
                <a:solidFill>
                  <a:schemeClr val="tx2"/>
                </a:solidFill>
                <a:latin typeface="Arial" panose="020B0604020202020204" pitchFamily="34" charset="0"/>
                <a:cs typeface="Arial" panose="020B0604020202020204" pitchFamily="34" charset="0"/>
              </a:defRPr>
            </a:lvl2pPr>
            <a:lvl3pPr>
              <a:defRPr baseline="0">
                <a:solidFill>
                  <a:schemeClr val="tx2"/>
                </a:solidFill>
                <a:latin typeface="Arial" panose="020B0604020202020204" pitchFamily="34" charset="0"/>
                <a:cs typeface="Arial" panose="020B0604020202020204" pitchFamily="34" charset="0"/>
              </a:defRPr>
            </a:lvl3pPr>
            <a:lvl4pPr>
              <a:defRPr baseline="0">
                <a:solidFill>
                  <a:schemeClr val="tx2"/>
                </a:solidFill>
                <a:latin typeface="Arial" panose="020B0604020202020204" pitchFamily="34" charset="0"/>
                <a:cs typeface="Arial" panose="020B0604020202020204" pitchFamily="34" charset="0"/>
              </a:defRPr>
            </a:lvl4pPr>
            <a:lvl5pPr>
              <a:defRPr baseline="0">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8">
            <a:extLst>
              <a:ext uri="{FF2B5EF4-FFF2-40B4-BE49-F238E27FC236}">
                <a16:creationId xmlns:a16="http://schemas.microsoft.com/office/drawing/2014/main" id="{17A71629-F15B-8D41-8164-2180E384FBB5}"/>
              </a:ext>
            </a:extLst>
          </p:cNvPr>
          <p:cNvSpPr>
            <a:spLocks noGrp="1"/>
          </p:cNvSpPr>
          <p:nvPr>
            <p:ph type="ftr" sz="quarter" idx="3"/>
          </p:nvPr>
        </p:nvSpPr>
        <p:spPr>
          <a:xfrm>
            <a:off x="9637452" y="6327648"/>
            <a:ext cx="1706880" cy="207264"/>
          </a:xfrm>
          <a:prstGeom prst="rect">
            <a:avLst/>
          </a:prstGeom>
        </p:spPr>
        <p:txBody>
          <a:bodyPr vert="horz" lIns="0" tIns="0" rIns="0" bIns="0" rtlCol="0" anchor="ctr"/>
          <a:lstStyle>
            <a:lvl1pPr algn="r">
              <a:defRPr sz="1067" baseline="0">
                <a:solidFill>
                  <a:schemeClr val="tx2"/>
                </a:solidFill>
                <a:latin typeface="Arial" panose="020B0604020202020204" pitchFamily="34" charset="0"/>
                <a:cs typeface="Arial" panose="020B0604020202020204" pitchFamily="34" charset="0"/>
              </a:defRPr>
            </a:lvl1pPr>
            <a:lvl2pPr marL="0" indent="0">
              <a:defRPr sz="1000"/>
            </a:lvl2pPr>
            <a:lvl3pPr marL="0" indent="0">
              <a:defRPr sz="1000"/>
            </a:lvl3pPr>
            <a:lvl4pPr marL="0" indent="0">
              <a:defRPr sz="1000"/>
            </a:lvl4pPr>
            <a:lvl5pPr marL="0" indent="0">
              <a:defRPr sz="1000"/>
            </a:lvl5pPr>
            <a:lvl6pPr marL="0" indent="0">
              <a:defRPr sz="1000"/>
            </a:lvl6pPr>
            <a:lvl7pPr marL="0" indent="0">
              <a:defRPr sz="1000"/>
            </a:lvl7pPr>
            <a:lvl8pPr marL="0" indent="0">
              <a:defRPr sz="1000"/>
            </a:lvl8pPr>
            <a:lvl9pPr marL="0" indent="0">
              <a:defRPr sz="1000"/>
            </a:lvl9pPr>
          </a:lstStyle>
          <a:p>
            <a:r>
              <a:rPr lang="en-US"/>
              <a:t>© 2025 Brillio |</a:t>
            </a:r>
          </a:p>
        </p:txBody>
      </p:sp>
      <p:sp>
        <p:nvSpPr>
          <p:cNvPr id="12" name="Slide Number Placeholder 9">
            <a:extLst>
              <a:ext uri="{FF2B5EF4-FFF2-40B4-BE49-F238E27FC236}">
                <a16:creationId xmlns:a16="http://schemas.microsoft.com/office/drawing/2014/main" id="{00E14087-30FA-BF40-B4B2-888C000DFD32}"/>
              </a:ext>
            </a:extLst>
          </p:cNvPr>
          <p:cNvSpPr>
            <a:spLocks noGrp="1"/>
          </p:cNvSpPr>
          <p:nvPr>
            <p:ph type="sldNum" sz="quarter" idx="4"/>
          </p:nvPr>
        </p:nvSpPr>
        <p:spPr>
          <a:xfrm>
            <a:off x="11387328" y="6326049"/>
            <a:ext cx="304800" cy="207264"/>
          </a:xfrm>
          <a:prstGeom prst="rect">
            <a:avLst/>
          </a:prstGeom>
        </p:spPr>
        <p:txBody>
          <a:bodyPr vert="horz" lIns="0" tIns="0" rIns="0" bIns="0" rtlCol="0" anchor="ctr"/>
          <a:lstStyle>
            <a:lvl1pPr algn="r">
              <a:defRPr sz="1067" b="0" baseline="0">
                <a:solidFill>
                  <a:schemeClr val="tx2"/>
                </a:solidFill>
                <a:latin typeface="Arial" panose="020B0604020202020204" pitchFamily="34" charset="0"/>
                <a:cs typeface="Arial" panose="020B0604020202020204" pitchFamily="34" charset="0"/>
              </a:defRPr>
            </a:lvl1pPr>
          </a:lstStyle>
          <a:p>
            <a:fld id="{2EFEF571-C9B4-4D92-A7F7-315B894862A8}" type="slidenum">
              <a:rPr lang="en-US" smtClean="0"/>
              <a:pPr/>
              <a:t>‹#›</a:t>
            </a:fld>
            <a:endParaRPr lang="en-US"/>
          </a:p>
        </p:txBody>
      </p:sp>
    </p:spTree>
    <p:extLst>
      <p:ext uri="{BB962C8B-B14F-4D97-AF65-F5344CB8AC3E}">
        <p14:creationId xmlns:p14="http://schemas.microsoft.com/office/powerpoint/2010/main" val="124672338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Main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423FD12-D675-874A-B6F2-0917A63371DF}"/>
              </a:ext>
            </a:extLst>
          </p:cNvPr>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759AFEE-79A3-4996-B06D-D9A66A9C5048}"/>
              </a:ext>
            </a:extLst>
          </p:cNvPr>
          <p:cNvSpPr>
            <a:spLocks noGrp="1"/>
          </p:cNvSpPr>
          <p:nvPr>
            <p:ph type="title" hasCustomPrompt="1"/>
          </p:nvPr>
        </p:nvSpPr>
        <p:spPr>
          <a:xfrm>
            <a:off x="512064" y="365762"/>
            <a:ext cx="11180064" cy="332399"/>
          </a:xfrm>
        </p:spPr>
        <p:txBody>
          <a:bodyPr>
            <a:spAutoFit/>
          </a:bodyPr>
          <a:lstStyle>
            <a:lvl1pPr>
              <a:defRPr sz="2400" b="1" cap="none" spc="-150" baseline="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326E17DD-19FC-4C3A-8168-1354DEB9B32C}"/>
              </a:ext>
            </a:extLst>
          </p:cNvPr>
          <p:cNvSpPr>
            <a:spLocks noGrp="1"/>
          </p:cNvSpPr>
          <p:nvPr>
            <p:ph idx="1"/>
          </p:nvPr>
        </p:nvSpPr>
        <p:spPr>
          <a:xfrm>
            <a:off x="512064" y="1110343"/>
            <a:ext cx="11180064" cy="4823926"/>
          </a:xfrm>
        </p:spPr>
        <p:txBody>
          <a:bodyPr/>
          <a:lstStyle>
            <a:lvl1pPr>
              <a:defRPr baseline="0">
                <a:solidFill>
                  <a:schemeClr val="bg1"/>
                </a:solidFill>
                <a:latin typeface="Arial" panose="020B0604020202020204" pitchFamily="34" charset="0"/>
                <a:cs typeface="Arial" panose="020B0604020202020204" pitchFamily="34" charset="0"/>
              </a:defRPr>
            </a:lvl1pPr>
            <a:lvl2pPr>
              <a:defRPr baseline="0">
                <a:solidFill>
                  <a:schemeClr val="bg1"/>
                </a:solidFill>
                <a:latin typeface="Arial" panose="020B0604020202020204" pitchFamily="34" charset="0"/>
                <a:cs typeface="Arial" panose="020B0604020202020204" pitchFamily="34" charset="0"/>
              </a:defRPr>
            </a:lvl2pPr>
            <a:lvl3pPr>
              <a:defRPr baseline="0">
                <a:solidFill>
                  <a:schemeClr val="bg1"/>
                </a:solidFill>
                <a:latin typeface="Arial" panose="020B0604020202020204" pitchFamily="34" charset="0"/>
                <a:cs typeface="Arial" panose="020B0604020202020204" pitchFamily="34" charset="0"/>
              </a:defRPr>
            </a:lvl3pPr>
            <a:lvl4pPr>
              <a:defRPr baseline="0">
                <a:solidFill>
                  <a:schemeClr val="bg1"/>
                </a:solidFill>
                <a:latin typeface="Arial" panose="020B0604020202020204" pitchFamily="34" charset="0"/>
                <a:cs typeface="Arial" panose="020B0604020202020204" pitchFamily="34" charset="0"/>
              </a:defRPr>
            </a:lvl4pPr>
            <a:lvl5pPr>
              <a:defRPr baseline="0">
                <a:solidFill>
                  <a:schemeClr val="bg1"/>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8">
            <a:extLst>
              <a:ext uri="{FF2B5EF4-FFF2-40B4-BE49-F238E27FC236}">
                <a16:creationId xmlns:a16="http://schemas.microsoft.com/office/drawing/2014/main" id="{17A71629-F15B-8D41-8164-2180E384FBB5}"/>
              </a:ext>
            </a:extLst>
          </p:cNvPr>
          <p:cNvSpPr>
            <a:spLocks noGrp="1"/>
          </p:cNvSpPr>
          <p:nvPr>
            <p:ph type="ftr" sz="quarter" idx="3"/>
          </p:nvPr>
        </p:nvSpPr>
        <p:spPr>
          <a:xfrm>
            <a:off x="9637452" y="6327648"/>
            <a:ext cx="1706880" cy="207264"/>
          </a:xfrm>
          <a:prstGeom prst="rect">
            <a:avLst/>
          </a:prstGeom>
        </p:spPr>
        <p:txBody>
          <a:bodyPr vert="horz" lIns="0" tIns="0" rIns="0" bIns="0" rtlCol="0" anchor="ctr"/>
          <a:lstStyle>
            <a:lvl1pPr algn="r">
              <a:defRPr sz="1067" baseline="0">
                <a:solidFill>
                  <a:schemeClr val="tx2"/>
                </a:solidFill>
                <a:latin typeface="Arial" panose="020B0604020202020204" pitchFamily="34" charset="0"/>
                <a:cs typeface="Arial" panose="020B0604020202020204" pitchFamily="34" charset="0"/>
              </a:defRPr>
            </a:lvl1pPr>
            <a:lvl2pPr marL="0" indent="0">
              <a:defRPr sz="1000"/>
            </a:lvl2pPr>
            <a:lvl3pPr marL="0" indent="0">
              <a:defRPr sz="1000"/>
            </a:lvl3pPr>
            <a:lvl4pPr marL="0" indent="0">
              <a:defRPr sz="1000"/>
            </a:lvl4pPr>
            <a:lvl5pPr marL="0" indent="0">
              <a:defRPr sz="1000"/>
            </a:lvl5pPr>
            <a:lvl6pPr marL="0" indent="0">
              <a:defRPr sz="1000"/>
            </a:lvl6pPr>
            <a:lvl7pPr marL="0" indent="0">
              <a:defRPr sz="1000"/>
            </a:lvl7pPr>
            <a:lvl8pPr marL="0" indent="0">
              <a:defRPr sz="1000"/>
            </a:lvl8pPr>
            <a:lvl9pPr marL="0" indent="0">
              <a:defRPr sz="1000"/>
            </a:lvl9pPr>
          </a:lstStyle>
          <a:p>
            <a:r>
              <a:rPr lang="en-US">
                <a:solidFill>
                  <a:schemeClr val="bg1"/>
                </a:solidFill>
              </a:rPr>
              <a:t>© 2025 Brillio |</a:t>
            </a:r>
          </a:p>
        </p:txBody>
      </p:sp>
      <p:sp>
        <p:nvSpPr>
          <p:cNvPr id="12" name="Slide Number Placeholder 9">
            <a:extLst>
              <a:ext uri="{FF2B5EF4-FFF2-40B4-BE49-F238E27FC236}">
                <a16:creationId xmlns:a16="http://schemas.microsoft.com/office/drawing/2014/main" id="{00E14087-30FA-BF40-B4B2-888C000DFD32}"/>
              </a:ext>
            </a:extLst>
          </p:cNvPr>
          <p:cNvSpPr>
            <a:spLocks noGrp="1"/>
          </p:cNvSpPr>
          <p:nvPr>
            <p:ph type="sldNum" sz="quarter" idx="4"/>
          </p:nvPr>
        </p:nvSpPr>
        <p:spPr>
          <a:xfrm>
            <a:off x="11387328" y="6326049"/>
            <a:ext cx="304800" cy="207264"/>
          </a:xfrm>
          <a:prstGeom prst="rect">
            <a:avLst/>
          </a:prstGeom>
        </p:spPr>
        <p:txBody>
          <a:bodyPr vert="horz" lIns="0" tIns="0" rIns="0" bIns="0" rtlCol="0" anchor="ctr"/>
          <a:lstStyle>
            <a:lvl1pPr algn="r">
              <a:defRPr sz="1067" b="0" baseline="0">
                <a:solidFill>
                  <a:schemeClr val="bg1"/>
                </a:solidFill>
                <a:latin typeface="Arial" panose="020B0604020202020204" pitchFamily="34" charset="0"/>
                <a:cs typeface="Arial" panose="020B0604020202020204" pitchFamily="34" charset="0"/>
              </a:defRPr>
            </a:lvl1pPr>
          </a:lstStyle>
          <a:p>
            <a:fld id="{2EFEF571-C9B4-4D92-A7F7-315B894862A8}" type="slidenum">
              <a:rPr lang="en-US" smtClean="0"/>
              <a:pPr/>
              <a:t>‹#›</a:t>
            </a:fld>
            <a:endParaRPr lang="en-US"/>
          </a:p>
        </p:txBody>
      </p:sp>
      <p:pic>
        <p:nvPicPr>
          <p:cNvPr id="8" name="Picture 7">
            <a:extLst>
              <a:ext uri="{FF2B5EF4-FFF2-40B4-BE49-F238E27FC236}">
                <a16:creationId xmlns:a16="http://schemas.microsoft.com/office/drawing/2014/main" id="{C70B2725-3303-4F43-96FE-B48CFD6AD67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6549" y="6017337"/>
            <a:ext cx="1481977" cy="810596"/>
          </a:xfrm>
          <a:prstGeom prst="rect">
            <a:avLst/>
          </a:prstGeom>
        </p:spPr>
      </p:pic>
    </p:spTree>
    <p:extLst>
      <p:ext uri="{BB962C8B-B14F-4D97-AF65-F5344CB8AC3E}">
        <p14:creationId xmlns:p14="http://schemas.microsoft.com/office/powerpoint/2010/main" val="302631909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Main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423FD12-D675-874A-B6F2-0917A63371DF}"/>
              </a:ext>
            </a:extLst>
          </p:cNvPr>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326E17DD-19FC-4C3A-8168-1354DEB9B32C}"/>
              </a:ext>
            </a:extLst>
          </p:cNvPr>
          <p:cNvSpPr>
            <a:spLocks noGrp="1"/>
          </p:cNvSpPr>
          <p:nvPr>
            <p:ph idx="1"/>
          </p:nvPr>
        </p:nvSpPr>
        <p:spPr>
          <a:xfrm>
            <a:off x="512064" y="1110343"/>
            <a:ext cx="11180064" cy="4823926"/>
          </a:xfrm>
        </p:spPr>
        <p:txBody>
          <a:bodyPr/>
          <a:lstStyle>
            <a:lvl1pPr>
              <a:defRPr baseline="0">
                <a:solidFill>
                  <a:schemeClr val="bg1"/>
                </a:solidFill>
                <a:latin typeface="Arial" panose="020B0604020202020204" pitchFamily="34" charset="0"/>
                <a:cs typeface="Arial" panose="020B0604020202020204" pitchFamily="34" charset="0"/>
              </a:defRPr>
            </a:lvl1pPr>
            <a:lvl2pPr>
              <a:defRPr baseline="0">
                <a:solidFill>
                  <a:schemeClr val="bg1"/>
                </a:solidFill>
                <a:latin typeface="Arial" panose="020B0604020202020204" pitchFamily="34" charset="0"/>
                <a:cs typeface="Arial" panose="020B0604020202020204" pitchFamily="34" charset="0"/>
              </a:defRPr>
            </a:lvl2pPr>
            <a:lvl3pPr>
              <a:defRPr baseline="0">
                <a:solidFill>
                  <a:schemeClr val="bg1"/>
                </a:solidFill>
                <a:latin typeface="Arial" panose="020B0604020202020204" pitchFamily="34" charset="0"/>
                <a:cs typeface="Arial" panose="020B0604020202020204" pitchFamily="34" charset="0"/>
              </a:defRPr>
            </a:lvl3pPr>
            <a:lvl4pPr>
              <a:defRPr baseline="0">
                <a:solidFill>
                  <a:schemeClr val="bg1"/>
                </a:solidFill>
                <a:latin typeface="Arial" panose="020B0604020202020204" pitchFamily="34" charset="0"/>
                <a:cs typeface="Arial" panose="020B0604020202020204" pitchFamily="34" charset="0"/>
              </a:defRPr>
            </a:lvl4pPr>
            <a:lvl5pPr>
              <a:defRPr baseline="0">
                <a:solidFill>
                  <a:schemeClr val="bg1"/>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8">
            <a:extLst>
              <a:ext uri="{FF2B5EF4-FFF2-40B4-BE49-F238E27FC236}">
                <a16:creationId xmlns:a16="http://schemas.microsoft.com/office/drawing/2014/main" id="{17A71629-F15B-8D41-8164-2180E384FBB5}"/>
              </a:ext>
            </a:extLst>
          </p:cNvPr>
          <p:cNvSpPr>
            <a:spLocks noGrp="1"/>
          </p:cNvSpPr>
          <p:nvPr>
            <p:ph type="ftr" sz="quarter" idx="3"/>
          </p:nvPr>
        </p:nvSpPr>
        <p:spPr>
          <a:xfrm>
            <a:off x="9637452" y="6327648"/>
            <a:ext cx="1706880" cy="207264"/>
          </a:xfrm>
          <a:prstGeom prst="rect">
            <a:avLst/>
          </a:prstGeom>
        </p:spPr>
        <p:txBody>
          <a:bodyPr vert="horz" lIns="0" tIns="0" rIns="0" bIns="0" rtlCol="0" anchor="ctr"/>
          <a:lstStyle>
            <a:lvl1pPr algn="r">
              <a:defRPr sz="1067" baseline="0">
                <a:solidFill>
                  <a:schemeClr val="tx2"/>
                </a:solidFill>
                <a:latin typeface="Arial" panose="020B0604020202020204" pitchFamily="34" charset="0"/>
                <a:cs typeface="Arial" panose="020B0604020202020204" pitchFamily="34" charset="0"/>
              </a:defRPr>
            </a:lvl1pPr>
            <a:lvl2pPr marL="0" indent="0">
              <a:defRPr sz="1000"/>
            </a:lvl2pPr>
            <a:lvl3pPr marL="0" indent="0">
              <a:defRPr sz="1000"/>
            </a:lvl3pPr>
            <a:lvl4pPr marL="0" indent="0">
              <a:defRPr sz="1000"/>
            </a:lvl4pPr>
            <a:lvl5pPr marL="0" indent="0">
              <a:defRPr sz="1000"/>
            </a:lvl5pPr>
            <a:lvl6pPr marL="0" indent="0">
              <a:defRPr sz="1000"/>
            </a:lvl6pPr>
            <a:lvl7pPr marL="0" indent="0">
              <a:defRPr sz="1000"/>
            </a:lvl7pPr>
            <a:lvl8pPr marL="0" indent="0">
              <a:defRPr sz="1000"/>
            </a:lvl8pPr>
            <a:lvl9pPr marL="0" indent="0">
              <a:defRPr sz="1000"/>
            </a:lvl9pPr>
          </a:lstStyle>
          <a:p>
            <a:r>
              <a:rPr lang="en-US">
                <a:solidFill>
                  <a:schemeClr val="bg1"/>
                </a:solidFill>
              </a:rPr>
              <a:t>© 2025 Brillio |</a:t>
            </a:r>
          </a:p>
        </p:txBody>
      </p:sp>
      <p:sp>
        <p:nvSpPr>
          <p:cNvPr id="12" name="Slide Number Placeholder 9">
            <a:extLst>
              <a:ext uri="{FF2B5EF4-FFF2-40B4-BE49-F238E27FC236}">
                <a16:creationId xmlns:a16="http://schemas.microsoft.com/office/drawing/2014/main" id="{00E14087-30FA-BF40-B4B2-888C000DFD32}"/>
              </a:ext>
            </a:extLst>
          </p:cNvPr>
          <p:cNvSpPr>
            <a:spLocks noGrp="1"/>
          </p:cNvSpPr>
          <p:nvPr>
            <p:ph type="sldNum" sz="quarter" idx="4"/>
          </p:nvPr>
        </p:nvSpPr>
        <p:spPr>
          <a:xfrm>
            <a:off x="11387328" y="6326049"/>
            <a:ext cx="304800" cy="207264"/>
          </a:xfrm>
          <a:prstGeom prst="rect">
            <a:avLst/>
          </a:prstGeom>
        </p:spPr>
        <p:txBody>
          <a:bodyPr vert="horz" lIns="0" tIns="0" rIns="0" bIns="0" rtlCol="0" anchor="ctr"/>
          <a:lstStyle>
            <a:lvl1pPr algn="r">
              <a:defRPr sz="1067" b="0" baseline="0">
                <a:solidFill>
                  <a:schemeClr val="bg1"/>
                </a:solidFill>
                <a:latin typeface="Arial" panose="020B0604020202020204" pitchFamily="34" charset="0"/>
                <a:cs typeface="Arial" panose="020B0604020202020204" pitchFamily="34" charset="0"/>
              </a:defRPr>
            </a:lvl1pPr>
          </a:lstStyle>
          <a:p>
            <a:fld id="{2EFEF571-C9B4-4D92-A7F7-315B894862A8}" type="slidenum">
              <a:rPr lang="en-US" smtClean="0"/>
              <a:pPr/>
              <a:t>‹#›</a:t>
            </a:fld>
            <a:endParaRPr lang="en-US"/>
          </a:p>
        </p:txBody>
      </p:sp>
      <p:pic>
        <p:nvPicPr>
          <p:cNvPr id="8" name="Picture 7">
            <a:extLst>
              <a:ext uri="{FF2B5EF4-FFF2-40B4-BE49-F238E27FC236}">
                <a16:creationId xmlns:a16="http://schemas.microsoft.com/office/drawing/2014/main" id="{C70B2725-3303-4F43-96FE-B48CFD6AD67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6549" y="6017337"/>
            <a:ext cx="1481977" cy="810596"/>
          </a:xfrm>
          <a:prstGeom prst="rect">
            <a:avLst/>
          </a:prstGeom>
        </p:spPr>
      </p:pic>
      <p:sp>
        <p:nvSpPr>
          <p:cNvPr id="9" name="Title 1">
            <a:extLst>
              <a:ext uri="{FF2B5EF4-FFF2-40B4-BE49-F238E27FC236}">
                <a16:creationId xmlns:a16="http://schemas.microsoft.com/office/drawing/2014/main" id="{280D78C3-80B6-49DF-A0FA-DDCB75759120}"/>
              </a:ext>
            </a:extLst>
          </p:cNvPr>
          <p:cNvSpPr>
            <a:spLocks noGrp="1"/>
          </p:cNvSpPr>
          <p:nvPr>
            <p:ph type="title" hasCustomPrompt="1"/>
          </p:nvPr>
        </p:nvSpPr>
        <p:spPr>
          <a:xfrm>
            <a:off x="512064" y="365760"/>
            <a:ext cx="11180064" cy="570992"/>
          </a:xfrm>
        </p:spPr>
        <p:txBody>
          <a:bodyPr>
            <a:normAutofit/>
          </a:bodyPr>
          <a:lstStyle>
            <a:lvl1pPr>
              <a:defRPr sz="2400" cap="none" spc="-150">
                <a:solidFill>
                  <a:schemeClr val="bg1"/>
                </a:solidFill>
              </a:defRPr>
            </a:lvl1pPr>
          </a:lstStyle>
          <a:p>
            <a:r>
              <a:rPr lang="en-US"/>
              <a:t>Click to edit master title style</a:t>
            </a:r>
            <a:endParaRPr lang="en-IN"/>
          </a:p>
        </p:txBody>
      </p:sp>
      <p:sp>
        <p:nvSpPr>
          <p:cNvPr id="10" name="Text Placeholder 6">
            <a:extLst>
              <a:ext uri="{FF2B5EF4-FFF2-40B4-BE49-F238E27FC236}">
                <a16:creationId xmlns:a16="http://schemas.microsoft.com/office/drawing/2014/main" id="{B0D35454-165D-4B65-852F-65D6F214D304}"/>
              </a:ext>
            </a:extLst>
          </p:cNvPr>
          <p:cNvSpPr>
            <a:spLocks noGrp="1"/>
          </p:cNvSpPr>
          <p:nvPr>
            <p:ph type="body" sz="quarter" idx="12" hasCustomPrompt="1"/>
          </p:nvPr>
        </p:nvSpPr>
        <p:spPr>
          <a:xfrm>
            <a:off x="512763" y="825500"/>
            <a:ext cx="11222037" cy="396875"/>
          </a:xfrm>
        </p:spPr>
        <p:txBody>
          <a:bodyPr vert="horz" lIns="0" tIns="0" rIns="0" bIns="0" rtlCol="0" anchor="t" anchorCtr="0">
            <a:normAutofit/>
          </a:bodyPr>
          <a:lstStyle>
            <a:lvl1pPr>
              <a:defRPr lang="en-US" sz="1600" b="1" cap="none" spc="-150" dirty="0" smtClean="0">
                <a:solidFill>
                  <a:srgbClr val="28C855"/>
                </a:solidFill>
                <a:ea typeface="+mj-ea"/>
              </a:defRPr>
            </a:lvl1pPr>
            <a:lvl2pPr>
              <a:defRPr lang="en-US" dirty="0" smtClean="0"/>
            </a:lvl2pPr>
            <a:lvl3pPr>
              <a:defRPr lang="en-US" dirty="0" smtClean="0"/>
            </a:lvl3pPr>
            <a:lvl4pPr>
              <a:defRPr lang="en-US" dirty="0" smtClean="0"/>
            </a:lvl4pPr>
            <a:lvl5pPr>
              <a:defRPr lang="en-US" dirty="0"/>
            </a:lvl5pPr>
          </a:lstStyle>
          <a:p>
            <a:pPr lvl="0">
              <a:lnSpc>
                <a:spcPct val="90000"/>
              </a:lnSpc>
              <a:spcBef>
                <a:spcPct val="0"/>
              </a:spcBef>
            </a:pPr>
            <a:r>
              <a:rPr lang="en-US"/>
              <a:t>Click to edit sub text styles</a:t>
            </a:r>
          </a:p>
        </p:txBody>
      </p:sp>
    </p:spTree>
    <p:extLst>
      <p:ext uri="{BB962C8B-B14F-4D97-AF65-F5344CB8AC3E}">
        <p14:creationId xmlns:p14="http://schemas.microsoft.com/office/powerpoint/2010/main" val="3447383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ED4332-4997-4D36-A90C-2EDB78522A23}"/>
              </a:ext>
            </a:extLst>
          </p:cNvPr>
          <p:cNvSpPr>
            <a:spLocks noGrp="1"/>
          </p:cNvSpPr>
          <p:nvPr>
            <p:ph type="title" hasCustomPrompt="1"/>
          </p:nvPr>
        </p:nvSpPr>
        <p:spPr/>
        <p:txBody>
          <a:bodyPr>
            <a:normAutofit/>
          </a:bodyPr>
          <a:lstStyle>
            <a:lvl1pPr>
              <a:defRPr sz="2400" cap="none" spc="-150">
                <a:solidFill>
                  <a:schemeClr val="tx1"/>
                </a:solidFill>
              </a:defRPr>
            </a:lvl1pPr>
          </a:lstStyle>
          <a:p>
            <a:r>
              <a:rPr lang="en-US"/>
              <a:t>Click to edit master title style</a:t>
            </a:r>
            <a:endParaRPr lang="en-IN"/>
          </a:p>
        </p:txBody>
      </p:sp>
      <p:sp>
        <p:nvSpPr>
          <p:cNvPr id="3" name="Footer Placeholder 2">
            <a:extLst>
              <a:ext uri="{FF2B5EF4-FFF2-40B4-BE49-F238E27FC236}">
                <a16:creationId xmlns:a16="http://schemas.microsoft.com/office/drawing/2014/main" id="{AC40E83E-066C-417D-AF13-F8C411697F95}"/>
              </a:ext>
            </a:extLst>
          </p:cNvPr>
          <p:cNvSpPr>
            <a:spLocks noGrp="1"/>
          </p:cNvSpPr>
          <p:nvPr>
            <p:ph type="ftr" sz="quarter" idx="10"/>
          </p:nvPr>
        </p:nvSpPr>
        <p:spPr/>
        <p:txBody>
          <a:bodyPr/>
          <a:lstStyle/>
          <a:p>
            <a:r>
              <a:rPr lang="en-US"/>
              <a:t>© 2025 Brillio |</a:t>
            </a:r>
          </a:p>
        </p:txBody>
      </p:sp>
      <p:sp>
        <p:nvSpPr>
          <p:cNvPr id="4" name="Slide Number Placeholder 3">
            <a:extLst>
              <a:ext uri="{FF2B5EF4-FFF2-40B4-BE49-F238E27FC236}">
                <a16:creationId xmlns:a16="http://schemas.microsoft.com/office/drawing/2014/main" id="{159C0274-0441-4CFA-9B06-DDB03048D0E6}"/>
              </a:ext>
            </a:extLst>
          </p:cNvPr>
          <p:cNvSpPr>
            <a:spLocks noGrp="1"/>
          </p:cNvSpPr>
          <p:nvPr>
            <p:ph type="sldNum" sz="quarter" idx="11"/>
          </p:nvPr>
        </p:nvSpPr>
        <p:spPr/>
        <p:txBody>
          <a:bodyPr/>
          <a:lstStyle/>
          <a:p>
            <a:fld id="{2EFEF571-C9B4-4D92-A7F7-315B894862A8}" type="slidenum">
              <a:rPr lang="en-US" smtClean="0"/>
              <a:pPr/>
              <a:t>‹#›</a:t>
            </a:fld>
            <a:endParaRPr lang="en-US"/>
          </a:p>
        </p:txBody>
      </p:sp>
    </p:spTree>
    <p:extLst>
      <p:ext uri="{BB962C8B-B14F-4D97-AF65-F5344CB8AC3E}">
        <p14:creationId xmlns:p14="http://schemas.microsoft.com/office/powerpoint/2010/main" val="19641609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ottom color block">
    <p:bg>
      <p:bgPr>
        <a:solidFill>
          <a:schemeClr val="tx1"/>
        </a:solidFill>
        <a:effectLst/>
      </p:bgPr>
    </p:bg>
    <p:spTree>
      <p:nvGrpSpPr>
        <p:cNvPr id="1" name=""/>
        <p:cNvGrpSpPr/>
        <p:nvPr/>
      </p:nvGrpSpPr>
      <p:grpSpPr>
        <a:xfrm>
          <a:off x="0" y="0"/>
          <a:ext cx="0" cy="0"/>
          <a:chOff x="0" y="0"/>
          <a:chExt cx="0" cy="0"/>
        </a:xfrm>
      </p:grpSpPr>
      <p:sp>
        <p:nvSpPr>
          <p:cNvPr id="7" name="Round Same Side Corner Rectangle 6">
            <a:extLst>
              <a:ext uri="{FF2B5EF4-FFF2-40B4-BE49-F238E27FC236}">
                <a16:creationId xmlns:a16="http://schemas.microsoft.com/office/drawing/2014/main" id="{78FAD1F5-A942-6244-5E87-9764C0D1F058}"/>
              </a:ext>
            </a:extLst>
          </p:cNvPr>
          <p:cNvSpPr/>
          <p:nvPr userDrawn="1"/>
        </p:nvSpPr>
        <p:spPr bwMode="auto">
          <a:xfrm>
            <a:off x="0" y="4549589"/>
            <a:ext cx="12192000" cy="2308412"/>
          </a:xfrm>
          <a:prstGeom prst="round2SameRect">
            <a:avLst>
              <a:gd name="adj1" fmla="val 21168"/>
              <a:gd name="adj2" fmla="val 0"/>
            </a:avLst>
          </a:prstGeom>
          <a:solidFill>
            <a:schemeClr val="tx2"/>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76200" tIns="76200" rIns="76200" bIns="76200" numCol="1" rtlCol="0" anchor="t" anchorCtr="0" compatLnSpc="1">
            <a:prstTxWarp prst="textNoShape">
              <a:avLst/>
            </a:prstTxWarp>
          </a:bodyPr>
          <a:lstStyle/>
          <a:p>
            <a:pPr marL="0" marR="0" indent="0" algn="l" defTabSz="761970" rtl="0" eaLnBrk="1" fontAlgn="base" latinLnBrk="0" hangingPunct="1">
              <a:lnSpc>
                <a:spcPct val="100000"/>
              </a:lnSpc>
              <a:spcBef>
                <a:spcPct val="0"/>
              </a:spcBef>
              <a:spcAft>
                <a:spcPct val="0"/>
              </a:spcAft>
              <a:buClrTx/>
              <a:buSzTx/>
              <a:buFont typeface="IBM Plex Sans Light"/>
              <a:buNone/>
              <a:tabLst/>
            </a:pPr>
            <a:endParaRPr kumimoji="0" lang="en-US" sz="1167" b="0" i="0" u="none" strike="noStrike" cap="none" normalizeH="0" baseline="0">
              <a:ln>
                <a:noFill/>
              </a:ln>
              <a:solidFill>
                <a:schemeClr val="bg1"/>
              </a:solidFill>
              <a:effectLst/>
              <a:latin typeface="+mn-lt"/>
            </a:endParaRPr>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95470" y="1217706"/>
            <a:ext cx="2681094" cy="2782794"/>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itle Text">
            <a:extLst>
              <a:ext uri="{FF2B5EF4-FFF2-40B4-BE49-F238E27FC236}">
                <a16:creationId xmlns:a16="http://schemas.microsoft.com/office/drawing/2014/main" id="{4B5980F9-A7B7-7DE7-65FD-745FC498DFDB}"/>
              </a:ext>
            </a:extLst>
          </p:cNvPr>
          <p:cNvSpPr txBox="1">
            <a:spLocks noGrp="1"/>
          </p:cNvSpPr>
          <p:nvPr>
            <p:ph type="title" hasCustomPrompt="1"/>
          </p:nvPr>
        </p:nvSpPr>
        <p:spPr>
          <a:xfrm>
            <a:off x="290212" y="295139"/>
            <a:ext cx="11607800" cy="38660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73152" rIns="0" bIns="0"/>
          <a:lstStyle/>
          <a:p>
            <a:r>
              <a:rPr lang="en-US"/>
              <a:t>Bottom color block</a:t>
            </a:r>
            <a:endParaRPr/>
          </a:p>
        </p:txBody>
      </p:sp>
      <p:sp>
        <p:nvSpPr>
          <p:cNvPr id="4" name="Text Placeholder 4">
            <a:extLst>
              <a:ext uri="{FF2B5EF4-FFF2-40B4-BE49-F238E27FC236}">
                <a16:creationId xmlns:a16="http://schemas.microsoft.com/office/drawing/2014/main" id="{6B78AFFA-760B-C379-5035-CB7ECAE05516}"/>
              </a:ext>
            </a:extLst>
          </p:cNvPr>
          <p:cNvSpPr>
            <a:spLocks noGrp="1"/>
          </p:cNvSpPr>
          <p:nvPr>
            <p:ph type="body" sz="quarter" idx="12"/>
          </p:nvPr>
        </p:nvSpPr>
        <p:spPr>
          <a:xfrm>
            <a:off x="3272031" y="1217706"/>
            <a:ext cx="2681094" cy="2782794"/>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ext Placeholder 4">
            <a:extLst>
              <a:ext uri="{FF2B5EF4-FFF2-40B4-BE49-F238E27FC236}">
                <a16:creationId xmlns:a16="http://schemas.microsoft.com/office/drawing/2014/main" id="{376D964F-C8A1-C871-5753-80704C0AE4DC}"/>
              </a:ext>
            </a:extLst>
          </p:cNvPr>
          <p:cNvSpPr>
            <a:spLocks noGrp="1"/>
          </p:cNvSpPr>
          <p:nvPr>
            <p:ph type="body" sz="quarter" idx="13"/>
          </p:nvPr>
        </p:nvSpPr>
        <p:spPr>
          <a:xfrm>
            <a:off x="6250082" y="1217706"/>
            <a:ext cx="2679606" cy="2782794"/>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BC3CC31F-CAF3-5950-1F6D-B721F038F566}"/>
              </a:ext>
            </a:extLst>
          </p:cNvPr>
          <p:cNvSpPr>
            <a:spLocks noGrp="1"/>
          </p:cNvSpPr>
          <p:nvPr>
            <p:ph type="body" sz="quarter" idx="14"/>
          </p:nvPr>
        </p:nvSpPr>
        <p:spPr>
          <a:xfrm>
            <a:off x="9219640" y="1217706"/>
            <a:ext cx="2686611" cy="2782794"/>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148775716"/>
      </p:ext>
    </p:extLst>
  </p:cSld>
  <p:clrMapOvr>
    <a:masterClrMapping/>
  </p:clrMapOvr>
  <p:transition spd="med"/>
  <p:extLst>
    <p:ext uri="{DCECCB84-F9BA-43D5-87BE-67443E8EF086}">
      <p15:sldGuideLst xmlns:p15="http://schemas.microsoft.com/office/powerpoint/2012/main">
        <p15:guide id="2" orient="horz" pos="3024">
          <p15:clr>
            <a:srgbClr val="F26B43"/>
          </p15:clr>
        </p15:guide>
        <p15:guide id="3" orient="horz" pos="912">
          <p15:clr>
            <a:srgbClr val="F26B43"/>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ED4332-4997-4D36-A90C-2EDB78522A23}"/>
              </a:ext>
            </a:extLst>
          </p:cNvPr>
          <p:cNvSpPr>
            <a:spLocks noGrp="1"/>
          </p:cNvSpPr>
          <p:nvPr>
            <p:ph type="title" hasCustomPrompt="1"/>
          </p:nvPr>
        </p:nvSpPr>
        <p:spPr/>
        <p:txBody>
          <a:bodyPr>
            <a:normAutofit/>
          </a:bodyPr>
          <a:lstStyle>
            <a:lvl1pPr>
              <a:defRPr sz="2400" cap="none" spc="-150">
                <a:solidFill>
                  <a:schemeClr val="tx1"/>
                </a:solidFill>
              </a:defRPr>
            </a:lvl1pPr>
          </a:lstStyle>
          <a:p>
            <a:r>
              <a:rPr lang="en-US"/>
              <a:t>Click to edit master title style</a:t>
            </a:r>
            <a:endParaRPr lang="en-IN"/>
          </a:p>
        </p:txBody>
      </p:sp>
      <p:sp>
        <p:nvSpPr>
          <p:cNvPr id="3" name="Footer Placeholder 2">
            <a:extLst>
              <a:ext uri="{FF2B5EF4-FFF2-40B4-BE49-F238E27FC236}">
                <a16:creationId xmlns:a16="http://schemas.microsoft.com/office/drawing/2014/main" id="{AC40E83E-066C-417D-AF13-F8C411697F95}"/>
              </a:ext>
            </a:extLst>
          </p:cNvPr>
          <p:cNvSpPr>
            <a:spLocks noGrp="1"/>
          </p:cNvSpPr>
          <p:nvPr>
            <p:ph type="ftr" sz="quarter" idx="10"/>
          </p:nvPr>
        </p:nvSpPr>
        <p:spPr/>
        <p:txBody>
          <a:bodyPr/>
          <a:lstStyle/>
          <a:p>
            <a:r>
              <a:rPr lang="en-US"/>
              <a:t>© 2025 Brillio |</a:t>
            </a:r>
          </a:p>
        </p:txBody>
      </p:sp>
      <p:sp>
        <p:nvSpPr>
          <p:cNvPr id="4" name="Slide Number Placeholder 3">
            <a:extLst>
              <a:ext uri="{FF2B5EF4-FFF2-40B4-BE49-F238E27FC236}">
                <a16:creationId xmlns:a16="http://schemas.microsoft.com/office/drawing/2014/main" id="{159C0274-0441-4CFA-9B06-DDB03048D0E6}"/>
              </a:ext>
            </a:extLst>
          </p:cNvPr>
          <p:cNvSpPr>
            <a:spLocks noGrp="1"/>
          </p:cNvSpPr>
          <p:nvPr>
            <p:ph type="sldNum" sz="quarter" idx="11"/>
          </p:nvPr>
        </p:nvSpPr>
        <p:spPr/>
        <p:txBody>
          <a:bodyPr/>
          <a:lstStyle/>
          <a:p>
            <a:fld id="{2EFEF571-C9B4-4D92-A7F7-315B894862A8}" type="slidenum">
              <a:rPr lang="en-US" smtClean="0"/>
              <a:pPr/>
              <a:t>‹#›</a:t>
            </a:fld>
            <a:endParaRPr lang="en-US"/>
          </a:p>
        </p:txBody>
      </p:sp>
      <p:sp>
        <p:nvSpPr>
          <p:cNvPr id="7" name="Text Placeholder 6">
            <a:extLst>
              <a:ext uri="{FF2B5EF4-FFF2-40B4-BE49-F238E27FC236}">
                <a16:creationId xmlns:a16="http://schemas.microsoft.com/office/drawing/2014/main" id="{AB09D225-0CEA-4248-825C-7FE836C043C5}"/>
              </a:ext>
            </a:extLst>
          </p:cNvPr>
          <p:cNvSpPr>
            <a:spLocks noGrp="1"/>
          </p:cNvSpPr>
          <p:nvPr>
            <p:ph type="body" sz="quarter" idx="12" hasCustomPrompt="1"/>
          </p:nvPr>
        </p:nvSpPr>
        <p:spPr>
          <a:xfrm>
            <a:off x="512763" y="825500"/>
            <a:ext cx="11222037" cy="396875"/>
          </a:xfrm>
        </p:spPr>
        <p:txBody>
          <a:bodyPr vert="horz" lIns="0" tIns="0" rIns="0" bIns="0" rtlCol="0" anchor="t" anchorCtr="0">
            <a:normAutofit/>
          </a:bodyPr>
          <a:lstStyle>
            <a:lvl1pPr>
              <a:defRPr lang="en-US" sz="1600" b="1" cap="none" spc="-150" dirty="0" smtClean="0">
                <a:solidFill>
                  <a:srgbClr val="28C855"/>
                </a:solidFill>
                <a:ea typeface="+mj-ea"/>
              </a:defRPr>
            </a:lvl1pPr>
            <a:lvl2pPr>
              <a:defRPr lang="en-US" dirty="0" smtClean="0"/>
            </a:lvl2pPr>
            <a:lvl3pPr>
              <a:defRPr lang="en-US" dirty="0" smtClean="0"/>
            </a:lvl3pPr>
            <a:lvl4pPr>
              <a:defRPr lang="en-US" dirty="0" smtClean="0"/>
            </a:lvl4pPr>
            <a:lvl5pPr>
              <a:defRPr lang="en-US" dirty="0"/>
            </a:lvl5pPr>
          </a:lstStyle>
          <a:p>
            <a:pPr lvl="0">
              <a:lnSpc>
                <a:spcPct val="90000"/>
              </a:lnSpc>
              <a:spcBef>
                <a:spcPct val="0"/>
              </a:spcBef>
            </a:pPr>
            <a:r>
              <a:rPr lang="en-US"/>
              <a:t>Click to edit sub text styles</a:t>
            </a:r>
          </a:p>
        </p:txBody>
      </p:sp>
    </p:spTree>
    <p:extLst>
      <p:ext uri="{BB962C8B-B14F-4D97-AF65-F5344CB8AC3E}">
        <p14:creationId xmlns:p14="http://schemas.microsoft.com/office/powerpoint/2010/main" val="265165444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_Main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423FD12-D675-874A-B6F2-0917A63371DF}"/>
              </a:ext>
            </a:extLst>
          </p:cNvPr>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759AFEE-79A3-4996-B06D-D9A66A9C5048}"/>
              </a:ext>
            </a:extLst>
          </p:cNvPr>
          <p:cNvSpPr>
            <a:spLocks noGrp="1"/>
          </p:cNvSpPr>
          <p:nvPr>
            <p:ph type="title"/>
          </p:nvPr>
        </p:nvSpPr>
        <p:spPr>
          <a:xfrm>
            <a:off x="512064" y="365762"/>
            <a:ext cx="11180064" cy="332399"/>
          </a:xfrm>
        </p:spPr>
        <p:txBody>
          <a:bodyPr>
            <a:spAutoFit/>
          </a:bodyPr>
          <a:lstStyle>
            <a:lvl1pPr>
              <a:defRPr sz="2400" b="1" baseline="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326E17DD-19FC-4C3A-8168-1354DEB9B32C}"/>
              </a:ext>
            </a:extLst>
          </p:cNvPr>
          <p:cNvSpPr>
            <a:spLocks noGrp="1"/>
          </p:cNvSpPr>
          <p:nvPr>
            <p:ph idx="1"/>
          </p:nvPr>
        </p:nvSpPr>
        <p:spPr>
          <a:xfrm>
            <a:off x="512064" y="1110343"/>
            <a:ext cx="11180064" cy="4823926"/>
          </a:xfrm>
        </p:spPr>
        <p:txBody>
          <a:bodyPr/>
          <a:lstStyle>
            <a:lvl1pPr>
              <a:defRPr baseline="0">
                <a:solidFill>
                  <a:schemeClr val="bg1"/>
                </a:solidFill>
                <a:latin typeface="Arial" panose="020B0604020202020204" pitchFamily="34" charset="0"/>
                <a:cs typeface="Arial" panose="020B0604020202020204" pitchFamily="34" charset="0"/>
              </a:defRPr>
            </a:lvl1pPr>
            <a:lvl2pPr>
              <a:defRPr baseline="0">
                <a:solidFill>
                  <a:schemeClr val="bg1"/>
                </a:solidFill>
                <a:latin typeface="Arial" panose="020B0604020202020204" pitchFamily="34" charset="0"/>
                <a:cs typeface="Arial" panose="020B0604020202020204" pitchFamily="34" charset="0"/>
              </a:defRPr>
            </a:lvl2pPr>
            <a:lvl3pPr>
              <a:defRPr baseline="0">
                <a:solidFill>
                  <a:schemeClr val="bg1"/>
                </a:solidFill>
                <a:latin typeface="Arial" panose="020B0604020202020204" pitchFamily="34" charset="0"/>
                <a:cs typeface="Arial" panose="020B0604020202020204" pitchFamily="34" charset="0"/>
              </a:defRPr>
            </a:lvl3pPr>
            <a:lvl4pPr>
              <a:defRPr baseline="0">
                <a:solidFill>
                  <a:schemeClr val="bg1"/>
                </a:solidFill>
                <a:latin typeface="Arial" panose="020B0604020202020204" pitchFamily="34" charset="0"/>
                <a:cs typeface="Arial" panose="020B0604020202020204" pitchFamily="34" charset="0"/>
              </a:defRPr>
            </a:lvl4pPr>
            <a:lvl5pPr>
              <a:defRPr baseline="0">
                <a:solidFill>
                  <a:schemeClr val="bg1"/>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8">
            <a:extLst>
              <a:ext uri="{FF2B5EF4-FFF2-40B4-BE49-F238E27FC236}">
                <a16:creationId xmlns:a16="http://schemas.microsoft.com/office/drawing/2014/main" id="{17A71629-F15B-8D41-8164-2180E384FBB5}"/>
              </a:ext>
            </a:extLst>
          </p:cNvPr>
          <p:cNvSpPr>
            <a:spLocks noGrp="1"/>
          </p:cNvSpPr>
          <p:nvPr>
            <p:ph type="ftr" sz="quarter" idx="3"/>
          </p:nvPr>
        </p:nvSpPr>
        <p:spPr>
          <a:xfrm>
            <a:off x="9637452" y="6327648"/>
            <a:ext cx="1706880" cy="207264"/>
          </a:xfrm>
          <a:prstGeom prst="rect">
            <a:avLst/>
          </a:prstGeom>
        </p:spPr>
        <p:txBody>
          <a:bodyPr vert="horz" lIns="0" tIns="0" rIns="0" bIns="0" rtlCol="0" anchor="ctr"/>
          <a:lstStyle>
            <a:lvl1pPr algn="r">
              <a:defRPr sz="1067" baseline="0">
                <a:solidFill>
                  <a:schemeClr val="tx2"/>
                </a:solidFill>
                <a:latin typeface="Arial" panose="020B0604020202020204" pitchFamily="34" charset="0"/>
                <a:cs typeface="Arial" panose="020B0604020202020204" pitchFamily="34" charset="0"/>
              </a:defRPr>
            </a:lvl1pPr>
            <a:lvl2pPr marL="0" indent="0">
              <a:defRPr sz="1000"/>
            </a:lvl2pPr>
            <a:lvl3pPr marL="0" indent="0">
              <a:defRPr sz="1000"/>
            </a:lvl3pPr>
            <a:lvl4pPr marL="0" indent="0">
              <a:defRPr sz="1000"/>
            </a:lvl4pPr>
            <a:lvl5pPr marL="0" indent="0">
              <a:defRPr sz="1000"/>
            </a:lvl5pPr>
            <a:lvl6pPr marL="0" indent="0">
              <a:defRPr sz="1000"/>
            </a:lvl6pPr>
            <a:lvl7pPr marL="0" indent="0">
              <a:defRPr sz="1000"/>
            </a:lvl7pPr>
            <a:lvl8pPr marL="0" indent="0">
              <a:defRPr sz="1000"/>
            </a:lvl8pPr>
            <a:lvl9pPr marL="0" indent="0">
              <a:defRPr sz="1000"/>
            </a:lvl9pPr>
          </a:lstStyle>
          <a:p>
            <a:r>
              <a:rPr lang="en-US">
                <a:solidFill>
                  <a:schemeClr val="bg1"/>
                </a:solidFill>
              </a:rPr>
              <a:t>© 2025 Brillio |</a:t>
            </a:r>
          </a:p>
        </p:txBody>
      </p:sp>
      <p:sp>
        <p:nvSpPr>
          <p:cNvPr id="12" name="Slide Number Placeholder 9">
            <a:extLst>
              <a:ext uri="{FF2B5EF4-FFF2-40B4-BE49-F238E27FC236}">
                <a16:creationId xmlns:a16="http://schemas.microsoft.com/office/drawing/2014/main" id="{00E14087-30FA-BF40-B4B2-888C000DFD32}"/>
              </a:ext>
            </a:extLst>
          </p:cNvPr>
          <p:cNvSpPr>
            <a:spLocks noGrp="1"/>
          </p:cNvSpPr>
          <p:nvPr>
            <p:ph type="sldNum" sz="quarter" idx="4"/>
          </p:nvPr>
        </p:nvSpPr>
        <p:spPr>
          <a:xfrm>
            <a:off x="11387328" y="6326049"/>
            <a:ext cx="304800" cy="207264"/>
          </a:xfrm>
          <a:prstGeom prst="rect">
            <a:avLst/>
          </a:prstGeom>
        </p:spPr>
        <p:txBody>
          <a:bodyPr vert="horz" lIns="0" tIns="0" rIns="0" bIns="0" rtlCol="0" anchor="ctr"/>
          <a:lstStyle>
            <a:lvl1pPr algn="r">
              <a:defRPr sz="1067" b="0" baseline="0">
                <a:solidFill>
                  <a:schemeClr val="bg1"/>
                </a:solidFill>
                <a:latin typeface="Arial" panose="020B0604020202020204" pitchFamily="34" charset="0"/>
                <a:cs typeface="Arial" panose="020B0604020202020204" pitchFamily="34" charset="0"/>
              </a:defRPr>
            </a:lvl1pPr>
          </a:lstStyle>
          <a:p>
            <a:fld id="{2EFEF571-C9B4-4D92-A7F7-315B894862A8}" type="slidenum">
              <a:rPr lang="en-US" smtClean="0"/>
              <a:pPr/>
              <a:t>‹#›</a:t>
            </a:fld>
            <a:endParaRPr lang="en-US"/>
          </a:p>
        </p:txBody>
      </p:sp>
      <p:pic>
        <p:nvPicPr>
          <p:cNvPr id="8" name="Picture 7">
            <a:extLst>
              <a:ext uri="{FF2B5EF4-FFF2-40B4-BE49-F238E27FC236}">
                <a16:creationId xmlns:a16="http://schemas.microsoft.com/office/drawing/2014/main" id="{C70B2725-3303-4F43-96FE-B48CFD6AD67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6549" y="6017337"/>
            <a:ext cx="1481977" cy="810596"/>
          </a:xfrm>
          <a:prstGeom prst="rect">
            <a:avLst/>
          </a:prstGeom>
        </p:spPr>
      </p:pic>
    </p:spTree>
    <p:extLst>
      <p:ext uri="{BB962C8B-B14F-4D97-AF65-F5344CB8AC3E}">
        <p14:creationId xmlns:p14="http://schemas.microsoft.com/office/powerpoint/2010/main" val="156710736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ED4332-4997-4D36-A90C-2EDB78522A23}"/>
              </a:ext>
            </a:extLst>
          </p:cNvPr>
          <p:cNvSpPr>
            <a:spLocks noGrp="1"/>
          </p:cNvSpPr>
          <p:nvPr>
            <p:ph type="title"/>
          </p:nvPr>
        </p:nvSpPr>
        <p:spPr/>
        <p:txBody>
          <a:bodyPr/>
          <a:lstStyle/>
          <a:p>
            <a:r>
              <a:rPr lang="en-US"/>
              <a:t>Click to edit Master title style</a:t>
            </a:r>
            <a:endParaRPr lang="en-IN"/>
          </a:p>
        </p:txBody>
      </p:sp>
      <p:sp>
        <p:nvSpPr>
          <p:cNvPr id="3" name="Footer Placeholder 2">
            <a:extLst>
              <a:ext uri="{FF2B5EF4-FFF2-40B4-BE49-F238E27FC236}">
                <a16:creationId xmlns:a16="http://schemas.microsoft.com/office/drawing/2014/main" id="{AC40E83E-066C-417D-AF13-F8C411697F95}"/>
              </a:ext>
            </a:extLst>
          </p:cNvPr>
          <p:cNvSpPr>
            <a:spLocks noGrp="1"/>
          </p:cNvSpPr>
          <p:nvPr>
            <p:ph type="ftr" sz="quarter" idx="10"/>
          </p:nvPr>
        </p:nvSpPr>
        <p:spPr/>
        <p:txBody>
          <a:bodyPr/>
          <a:lstStyle/>
          <a:p>
            <a:r>
              <a:rPr lang="en-US"/>
              <a:t>© 2025 Brillio |</a:t>
            </a:r>
          </a:p>
        </p:txBody>
      </p:sp>
      <p:sp>
        <p:nvSpPr>
          <p:cNvPr id="4" name="Slide Number Placeholder 3">
            <a:extLst>
              <a:ext uri="{FF2B5EF4-FFF2-40B4-BE49-F238E27FC236}">
                <a16:creationId xmlns:a16="http://schemas.microsoft.com/office/drawing/2014/main" id="{159C0274-0441-4CFA-9B06-DDB03048D0E6}"/>
              </a:ext>
            </a:extLst>
          </p:cNvPr>
          <p:cNvSpPr>
            <a:spLocks noGrp="1"/>
          </p:cNvSpPr>
          <p:nvPr>
            <p:ph type="sldNum" sz="quarter" idx="11"/>
          </p:nvPr>
        </p:nvSpPr>
        <p:spPr/>
        <p:txBody>
          <a:bodyPr/>
          <a:lstStyle/>
          <a:p>
            <a:fld id="{2EFEF571-C9B4-4D92-A7F7-315B894862A8}" type="slidenum">
              <a:rPr lang="en-US" smtClean="0"/>
              <a:pPr/>
              <a:t>‹#›</a:t>
            </a:fld>
            <a:endParaRPr lang="en-US"/>
          </a:p>
        </p:txBody>
      </p:sp>
    </p:spTree>
    <p:extLst>
      <p:ext uri="{BB962C8B-B14F-4D97-AF65-F5344CB8AC3E}">
        <p14:creationId xmlns:p14="http://schemas.microsoft.com/office/powerpoint/2010/main" val="69471455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Brillio_Text over image slide">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E9E4CBBC-6571-7242-A07F-751C14380720}"/>
              </a:ext>
            </a:extLst>
          </p:cNvPr>
          <p:cNvSpPr/>
          <p:nvPr userDrawn="1"/>
        </p:nvSpPr>
        <p:spPr>
          <a:xfrm>
            <a:off x="0" y="0"/>
            <a:ext cx="7899400" cy="6858000"/>
          </a:xfrm>
          <a:prstGeom prst="rect">
            <a:avLst/>
          </a:prstGeom>
          <a:gradFill>
            <a:gsLst>
              <a:gs pos="100000">
                <a:srgbClr val="FFFFFF">
                  <a:alpha val="0"/>
                </a:srgbClr>
              </a:gs>
              <a:gs pos="46000">
                <a:schemeClr val="tx1">
                  <a:alpha val="9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22" name="Title 1">
            <a:extLst>
              <a:ext uri="{FF2B5EF4-FFF2-40B4-BE49-F238E27FC236}">
                <a16:creationId xmlns:a16="http://schemas.microsoft.com/office/drawing/2014/main" id="{01E92A18-E3B1-944C-B14B-9620C4432374}"/>
              </a:ext>
            </a:extLst>
          </p:cNvPr>
          <p:cNvSpPr>
            <a:spLocks noGrp="1"/>
          </p:cNvSpPr>
          <p:nvPr>
            <p:ph type="title" hasCustomPrompt="1"/>
          </p:nvPr>
        </p:nvSpPr>
        <p:spPr>
          <a:xfrm>
            <a:off x="381000" y="1869742"/>
            <a:ext cx="5583237" cy="926620"/>
          </a:xfrm>
          <a:noFill/>
        </p:spPr>
        <p:txBody>
          <a:bodyPr lIns="457200" tIns="457200" rIns="457200" anchor="b"/>
          <a:lstStyle>
            <a:lvl1pPr>
              <a:defRPr sz="2400" b="1">
                <a:solidFill>
                  <a:srgbClr val="2CC84D"/>
                </a:solidFill>
              </a:defRPr>
            </a:lvl1pPr>
          </a:lstStyle>
          <a:p>
            <a:r>
              <a:rPr lang="en-US"/>
              <a:t>Click to edit </a:t>
            </a:r>
            <a:br>
              <a:rPr lang="en-US"/>
            </a:br>
            <a:r>
              <a:rPr lang="en-US"/>
              <a:t>Master title style</a:t>
            </a:r>
          </a:p>
        </p:txBody>
      </p:sp>
      <p:sp>
        <p:nvSpPr>
          <p:cNvPr id="27" name="Text Placeholder 25">
            <a:extLst>
              <a:ext uri="{FF2B5EF4-FFF2-40B4-BE49-F238E27FC236}">
                <a16:creationId xmlns:a16="http://schemas.microsoft.com/office/drawing/2014/main" id="{D511F4E7-B90F-EB43-9806-3BC440542630}"/>
              </a:ext>
            </a:extLst>
          </p:cNvPr>
          <p:cNvSpPr>
            <a:spLocks noGrp="1"/>
          </p:cNvSpPr>
          <p:nvPr>
            <p:ph type="body" sz="quarter" idx="13"/>
          </p:nvPr>
        </p:nvSpPr>
        <p:spPr>
          <a:xfrm>
            <a:off x="381000" y="2796362"/>
            <a:ext cx="5583238" cy="2301874"/>
          </a:xfrm>
        </p:spPr>
        <p:txBody>
          <a:bodyPr lIns="457200" tIns="457200" rIns="457200" bIns="457200"/>
          <a:lstStyle>
            <a:lvl1pPr>
              <a:defRPr sz="1600" baseline="0">
                <a:solidFill>
                  <a:schemeClr val="bg1"/>
                </a:solidFill>
              </a:defRPr>
            </a:lvl1pPr>
            <a:lvl2pPr>
              <a:defRPr sz="1600" baseline="0">
                <a:solidFill>
                  <a:schemeClr val="bg1"/>
                </a:solidFill>
              </a:defRPr>
            </a:lvl2pPr>
            <a:lvl3pPr>
              <a:defRPr sz="1600" baseline="0">
                <a:solidFill>
                  <a:schemeClr val="bg1"/>
                </a:solidFill>
              </a:defRPr>
            </a:lvl3pPr>
            <a:lvl4pPr>
              <a:defRPr sz="1600" baseline="0">
                <a:solidFill>
                  <a:schemeClr val="bg1"/>
                </a:solidFill>
              </a:defRPr>
            </a:lvl4pPr>
            <a:lvl5pPr>
              <a:defRPr sz="1600"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descr="A picture containing icon&#10;&#10;Description automatically generated">
            <a:extLst>
              <a:ext uri="{FF2B5EF4-FFF2-40B4-BE49-F238E27FC236}">
                <a16:creationId xmlns:a16="http://schemas.microsoft.com/office/drawing/2014/main" id="{1017ED92-5BBD-FA47-B4F6-6986B426E03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1000" y="6083780"/>
            <a:ext cx="1121928" cy="475499"/>
          </a:xfrm>
          <a:prstGeom prst="rect">
            <a:avLst/>
          </a:prstGeom>
        </p:spPr>
      </p:pic>
      <p:sp>
        <p:nvSpPr>
          <p:cNvPr id="9" name="Slide Number Placeholder 10">
            <a:extLst>
              <a:ext uri="{FF2B5EF4-FFF2-40B4-BE49-F238E27FC236}">
                <a16:creationId xmlns:a16="http://schemas.microsoft.com/office/drawing/2014/main" id="{C7E2AF1C-82C7-5F47-A5AB-5D04057FD4EE}"/>
              </a:ext>
            </a:extLst>
          </p:cNvPr>
          <p:cNvSpPr>
            <a:spLocks noGrp="1"/>
          </p:cNvSpPr>
          <p:nvPr>
            <p:ph type="sldNum" sz="quarter" idx="4"/>
          </p:nvPr>
        </p:nvSpPr>
        <p:spPr>
          <a:xfrm>
            <a:off x="9856788" y="6212312"/>
            <a:ext cx="1969451" cy="263308"/>
          </a:xfrm>
          <a:prstGeom prst="rect">
            <a:avLst/>
          </a:prstGeom>
        </p:spPr>
        <p:txBody>
          <a:bodyPr vert="horz" lIns="0" tIns="0" rIns="0" bIns="0" rtlCol="0" anchor="b"/>
          <a:lstStyle>
            <a:lvl1pPr algn="r">
              <a:defRPr lang="en-US" sz="1000" b="0" i="0" kern="1200" smtClean="0">
                <a:solidFill>
                  <a:schemeClr val="bg2"/>
                </a:solidFill>
                <a:latin typeface="Arial" panose="020B0604020202020204" pitchFamily="34" charset="0"/>
                <a:ea typeface="+mn-ea"/>
                <a:cs typeface="Arial" panose="020B0604020202020204" pitchFamily="34" charset="0"/>
              </a:defRPr>
            </a:lvl1pPr>
          </a:lstStyle>
          <a:p>
            <a:r>
              <a:rPr lang="en-US"/>
              <a:t>©2025 Brillio  |  </a:t>
            </a:r>
            <a:fld id="{F1FE5E21-FD07-B44E-90A3-0254BFCDB49A}" type="slidenum">
              <a:rPr lang="en-US" smtClean="0"/>
              <a:pPr/>
              <a:t>‹#›</a:t>
            </a:fld>
            <a:endParaRPr lang="en-US"/>
          </a:p>
        </p:txBody>
      </p:sp>
    </p:spTree>
    <p:extLst>
      <p:ext uri="{BB962C8B-B14F-4D97-AF65-F5344CB8AC3E}">
        <p14:creationId xmlns:p14="http://schemas.microsoft.com/office/powerpoint/2010/main" val="10206965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2_Brillio_Quote slide">
    <p:bg>
      <p:bgPr>
        <a:solidFill>
          <a:srgbClr val="21174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25940" y="2022741"/>
            <a:ext cx="9887803" cy="3609432"/>
          </a:xfrm>
        </p:spPr>
        <p:txBody>
          <a:bodyPr rIns="228600" anchor="t"/>
          <a:lstStyle>
            <a:lvl1pPr>
              <a:defRPr sz="5400" b="0">
                <a:solidFill>
                  <a:schemeClr val="bg1"/>
                </a:solidFill>
              </a:defRPr>
            </a:lvl1pPr>
          </a:lstStyle>
          <a:p>
            <a:r>
              <a:rPr lang="en-US"/>
              <a:t>“Click to edit Master title style”</a:t>
            </a:r>
          </a:p>
        </p:txBody>
      </p:sp>
      <p:sp>
        <p:nvSpPr>
          <p:cNvPr id="4" name="Slide Number Placeholder 10">
            <a:extLst>
              <a:ext uri="{FF2B5EF4-FFF2-40B4-BE49-F238E27FC236}">
                <a16:creationId xmlns:a16="http://schemas.microsoft.com/office/drawing/2014/main" id="{3E1A1356-EC89-514D-9B0D-36B289BC02EE}"/>
              </a:ext>
            </a:extLst>
          </p:cNvPr>
          <p:cNvSpPr>
            <a:spLocks noGrp="1"/>
          </p:cNvSpPr>
          <p:nvPr>
            <p:ph type="sldNum" sz="quarter" idx="4"/>
          </p:nvPr>
        </p:nvSpPr>
        <p:spPr>
          <a:xfrm>
            <a:off x="9856790" y="6212312"/>
            <a:ext cx="1969450" cy="263308"/>
          </a:xfrm>
          <a:prstGeom prst="rect">
            <a:avLst/>
          </a:prstGeom>
        </p:spPr>
        <p:txBody>
          <a:bodyPr vert="horz" lIns="0" tIns="0" rIns="0" bIns="0" rtlCol="0" anchor="b"/>
          <a:lstStyle>
            <a:lvl1pPr algn="r">
              <a:defRPr lang="en-US" sz="1000" b="0" i="0" kern="1200" smtClean="0">
                <a:solidFill>
                  <a:schemeClr val="bg1"/>
                </a:solidFill>
                <a:latin typeface="Arial" panose="020B0604020202020204" pitchFamily="34" charset="0"/>
                <a:ea typeface="+mn-ea"/>
                <a:cs typeface="Arial" panose="020B0604020202020204" pitchFamily="34" charset="0"/>
              </a:defRPr>
            </a:lvl1pPr>
          </a:lstStyle>
          <a:p>
            <a:r>
              <a:rPr lang="en-US"/>
              <a:t>©2025 Brillio  |  </a:t>
            </a:r>
            <a:fld id="{F1FE5E21-FD07-B44E-90A3-0254BFCDB49A}" type="slidenum">
              <a:rPr smtClean="0"/>
              <a:pPr/>
              <a:t>‹#›</a:t>
            </a:fld>
            <a:endParaRPr/>
          </a:p>
        </p:txBody>
      </p:sp>
      <p:cxnSp>
        <p:nvCxnSpPr>
          <p:cNvPr id="7" name="Straight Connector 6">
            <a:extLst>
              <a:ext uri="{FF2B5EF4-FFF2-40B4-BE49-F238E27FC236}">
                <a16:creationId xmlns:a16="http://schemas.microsoft.com/office/drawing/2014/main" id="{5C74CBC2-4515-AF47-B548-7718CE3772D3}"/>
              </a:ext>
            </a:extLst>
          </p:cNvPr>
          <p:cNvCxnSpPr>
            <a:cxnSpLocks/>
          </p:cNvCxnSpPr>
          <p:nvPr userDrawn="1"/>
        </p:nvCxnSpPr>
        <p:spPr>
          <a:xfrm>
            <a:off x="1125940" y="1748485"/>
            <a:ext cx="4271555" cy="0"/>
          </a:xfrm>
          <a:prstGeom prst="line">
            <a:avLst/>
          </a:prstGeom>
          <a:ln w="12700">
            <a:solidFill>
              <a:srgbClr val="2CC84D"/>
            </a:solidFill>
          </a:ln>
        </p:spPr>
        <p:style>
          <a:lnRef idx="1">
            <a:schemeClr val="accent1"/>
          </a:lnRef>
          <a:fillRef idx="0">
            <a:schemeClr val="accent1"/>
          </a:fillRef>
          <a:effectRef idx="0">
            <a:schemeClr val="accent1"/>
          </a:effectRef>
          <a:fontRef idx="minor">
            <a:schemeClr val="tx1"/>
          </a:fontRef>
        </p:style>
      </p:cxnSp>
      <p:pic>
        <p:nvPicPr>
          <p:cNvPr id="8" name="Picture 7" descr="A picture containing icon&#10;&#10;Description automatically generated">
            <a:extLst>
              <a:ext uri="{FF2B5EF4-FFF2-40B4-BE49-F238E27FC236}">
                <a16:creationId xmlns:a16="http://schemas.microsoft.com/office/drawing/2014/main" id="{D47EEA8D-74AC-FC4E-8BD2-2F8722BF2138}"/>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81000" y="6083780"/>
            <a:ext cx="1121928" cy="475499"/>
          </a:xfrm>
          <a:prstGeom prst="rect">
            <a:avLst/>
          </a:prstGeom>
        </p:spPr>
      </p:pic>
    </p:spTree>
    <p:extLst>
      <p:ext uri="{BB962C8B-B14F-4D97-AF65-F5344CB8AC3E}">
        <p14:creationId xmlns:p14="http://schemas.microsoft.com/office/powerpoint/2010/main" val="330345908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1_Brillio_Title slide-Dark">
    <p:spTree>
      <p:nvGrpSpPr>
        <p:cNvPr id="1" name=""/>
        <p:cNvGrpSpPr/>
        <p:nvPr/>
      </p:nvGrpSpPr>
      <p:grpSpPr>
        <a:xfrm>
          <a:off x="0" y="0"/>
          <a:ext cx="0" cy="0"/>
          <a:chOff x="0" y="0"/>
          <a:chExt cx="0" cy="0"/>
        </a:xfrm>
      </p:grpSpPr>
      <p:sp>
        <p:nvSpPr>
          <p:cNvPr id="8" name="TextBox 7"/>
          <p:cNvSpPr txBox="1"/>
          <p:nvPr userDrawn="1"/>
        </p:nvSpPr>
        <p:spPr>
          <a:xfrm>
            <a:off x="381000" y="6323112"/>
            <a:ext cx="3048000" cy="153888"/>
          </a:xfrm>
          <a:prstGeom prst="rect">
            <a:avLst/>
          </a:prstGeom>
          <a:noFill/>
        </p:spPr>
        <p:txBody>
          <a:bodyPr wrap="square" lIns="0" tIns="0" rIns="0" bIns="0" rtlCol="0" anchor="b" anchorCtr="0">
            <a:spAutoFit/>
          </a:bodyPr>
          <a:lstStyle/>
          <a:p>
            <a:pPr algn="l"/>
            <a:r>
              <a:rPr lang="en-US" sz="1000" b="0" i="0">
                <a:solidFill>
                  <a:schemeClr val="bg1"/>
                </a:solidFill>
                <a:latin typeface="Outfit"/>
                <a:cs typeface="Arial" panose="020B0604020202020204" pitchFamily="34" charset="0"/>
              </a:rPr>
              <a:t>©2025</a:t>
            </a:r>
            <a:r>
              <a:rPr lang="en-US" sz="1000" b="0" i="0" baseline="0">
                <a:solidFill>
                  <a:schemeClr val="bg1"/>
                </a:solidFill>
                <a:latin typeface="Outfit"/>
                <a:cs typeface="Arial" panose="020B0604020202020204" pitchFamily="34" charset="0"/>
              </a:rPr>
              <a:t> Brillio  |  Proprietary &amp; Confidential</a:t>
            </a:r>
            <a:endParaRPr lang="en-US" sz="1000" b="0" i="0">
              <a:solidFill>
                <a:schemeClr val="bg1"/>
              </a:solidFill>
              <a:latin typeface="Outfit"/>
              <a:cs typeface="Arial" panose="020B0604020202020204" pitchFamily="34" charset="0"/>
            </a:endParaRPr>
          </a:p>
        </p:txBody>
      </p:sp>
      <p:pic>
        <p:nvPicPr>
          <p:cNvPr id="11" name="Picture 10" descr="A picture containing icon&#10;&#10;Description automatically generated">
            <a:extLst>
              <a:ext uri="{FF2B5EF4-FFF2-40B4-BE49-F238E27FC236}">
                <a16:creationId xmlns:a16="http://schemas.microsoft.com/office/drawing/2014/main" id="{DD17517B-F3A6-E24F-8D87-5BB06E05E44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81000" y="375097"/>
            <a:ext cx="1691640" cy="716956"/>
          </a:xfrm>
          <a:prstGeom prst="rect">
            <a:avLst/>
          </a:prstGeom>
        </p:spPr>
      </p:pic>
      <p:sp>
        <p:nvSpPr>
          <p:cNvPr id="7" name="Title 1">
            <a:extLst>
              <a:ext uri="{FF2B5EF4-FFF2-40B4-BE49-F238E27FC236}">
                <a16:creationId xmlns:a16="http://schemas.microsoft.com/office/drawing/2014/main" id="{EAAAB278-9F91-8B40-A29F-A34306522F07}"/>
              </a:ext>
            </a:extLst>
          </p:cNvPr>
          <p:cNvSpPr>
            <a:spLocks noGrp="1"/>
          </p:cNvSpPr>
          <p:nvPr>
            <p:ph type="ctrTitle" hasCustomPrompt="1"/>
          </p:nvPr>
        </p:nvSpPr>
        <p:spPr>
          <a:xfrm>
            <a:off x="365759" y="2276856"/>
            <a:ext cx="6630463" cy="1599405"/>
          </a:xfrm>
        </p:spPr>
        <p:txBody>
          <a:bodyPr anchor="t" anchorCtr="0"/>
          <a:lstStyle>
            <a:lvl1pPr marL="0" indent="0" algn="l">
              <a:lnSpc>
                <a:spcPts val="5200"/>
              </a:lnSpc>
              <a:buFont typeface="Arial" panose="020B0604020202020204" pitchFamily="34" charset="0"/>
              <a:buNone/>
              <a:defRPr sz="4400" b="0" i="0">
                <a:solidFill>
                  <a:schemeClr val="bg1"/>
                </a:solidFill>
                <a:latin typeface="Outfit"/>
                <a:cs typeface="Arial" panose="020B0604020202020204" pitchFamily="34" charset="0"/>
              </a:defRPr>
            </a:lvl1pPr>
          </a:lstStyle>
          <a:p>
            <a:r>
              <a:rPr lang="en-US"/>
              <a:t>Click to edit Master title style two lines</a:t>
            </a:r>
          </a:p>
        </p:txBody>
      </p:sp>
      <p:sp>
        <p:nvSpPr>
          <p:cNvPr id="9" name="Subtitle 2">
            <a:extLst>
              <a:ext uri="{FF2B5EF4-FFF2-40B4-BE49-F238E27FC236}">
                <a16:creationId xmlns:a16="http://schemas.microsoft.com/office/drawing/2014/main" id="{571D17FF-57BA-574D-8CC1-2326FCFFC357}"/>
              </a:ext>
            </a:extLst>
          </p:cNvPr>
          <p:cNvSpPr>
            <a:spLocks noGrp="1"/>
          </p:cNvSpPr>
          <p:nvPr>
            <p:ph type="subTitle" idx="1"/>
          </p:nvPr>
        </p:nvSpPr>
        <p:spPr>
          <a:xfrm>
            <a:off x="365760" y="4228304"/>
            <a:ext cx="3663315" cy="451104"/>
          </a:xfrm>
        </p:spPr>
        <p:txBody>
          <a:bodyPr>
            <a:noAutofit/>
          </a:bodyPr>
          <a:lstStyle>
            <a:lvl1pPr marL="0" indent="0" algn="l">
              <a:spcAft>
                <a:spcPts val="0"/>
              </a:spcAft>
              <a:buFont typeface="Arial" panose="020B0604020202020204" pitchFamily="34" charset="0"/>
              <a:buNone/>
              <a:defRPr sz="1600" b="0" i="0" baseline="0">
                <a:solidFill>
                  <a:schemeClr val="bg1"/>
                </a:solidFill>
                <a:latin typeface="Outfit"/>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0" name="Date Placeholder 3">
            <a:extLst>
              <a:ext uri="{FF2B5EF4-FFF2-40B4-BE49-F238E27FC236}">
                <a16:creationId xmlns:a16="http://schemas.microsoft.com/office/drawing/2014/main" id="{872C4F7A-3AC8-324F-8577-14F18AAC19B1}"/>
              </a:ext>
            </a:extLst>
          </p:cNvPr>
          <p:cNvSpPr>
            <a:spLocks noGrp="1"/>
          </p:cNvSpPr>
          <p:nvPr>
            <p:ph type="dt" sz="half" idx="10"/>
          </p:nvPr>
        </p:nvSpPr>
        <p:spPr>
          <a:xfrm>
            <a:off x="365759" y="4645613"/>
            <a:ext cx="3663315" cy="325142"/>
          </a:xfrm>
          <a:prstGeom prst="rect">
            <a:avLst/>
          </a:prstGeom>
        </p:spPr>
        <p:txBody>
          <a:bodyPr lIns="0"/>
          <a:lstStyle>
            <a:lvl1pPr algn="l">
              <a:defRPr sz="1600" b="0" i="0" baseline="0">
                <a:solidFill>
                  <a:schemeClr val="bg1"/>
                </a:solidFill>
                <a:latin typeface="Outfit"/>
                <a:cs typeface="Arial" panose="020B0604020202020204" pitchFamily="34" charset="0"/>
              </a:defRPr>
            </a:lvl1pPr>
          </a:lstStyle>
          <a:p>
            <a:endParaRPr lang="en-US"/>
          </a:p>
        </p:txBody>
      </p:sp>
    </p:spTree>
    <p:extLst>
      <p:ext uri="{BB962C8B-B14F-4D97-AF65-F5344CB8AC3E}">
        <p14:creationId xmlns:p14="http://schemas.microsoft.com/office/powerpoint/2010/main" val="99110786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 column">
    <p:bg>
      <p:bgPr>
        <a:solidFill>
          <a:schemeClr val="tx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94715" y="1221441"/>
            <a:ext cx="5658409" cy="4938059"/>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itle Text">
            <a:extLst>
              <a:ext uri="{FF2B5EF4-FFF2-40B4-BE49-F238E27FC236}">
                <a16:creationId xmlns:a16="http://schemas.microsoft.com/office/drawing/2014/main" id="{4B5980F9-A7B7-7DE7-65FD-745FC498DFDB}"/>
              </a:ext>
            </a:extLst>
          </p:cNvPr>
          <p:cNvSpPr txBox="1">
            <a:spLocks noGrp="1"/>
          </p:cNvSpPr>
          <p:nvPr>
            <p:ph type="title" hasCustomPrompt="1"/>
          </p:nvPr>
        </p:nvSpPr>
        <p:spPr>
          <a:xfrm>
            <a:off x="288555" y="274544"/>
            <a:ext cx="11606656" cy="38660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lang="en-US"/>
              <a:t>2 column body</a:t>
            </a:r>
            <a:endParaRPr/>
          </a:p>
        </p:txBody>
      </p:sp>
      <p:sp>
        <p:nvSpPr>
          <p:cNvPr id="4" name="Text Placeholder 4">
            <a:extLst>
              <a:ext uri="{FF2B5EF4-FFF2-40B4-BE49-F238E27FC236}">
                <a16:creationId xmlns:a16="http://schemas.microsoft.com/office/drawing/2014/main" id="{6B78AFFA-760B-C379-5035-CB7ECAE05516}"/>
              </a:ext>
            </a:extLst>
          </p:cNvPr>
          <p:cNvSpPr>
            <a:spLocks noGrp="1"/>
          </p:cNvSpPr>
          <p:nvPr>
            <p:ph type="body" sz="quarter" idx="12"/>
          </p:nvPr>
        </p:nvSpPr>
        <p:spPr>
          <a:xfrm>
            <a:off x="6238877" y="1221441"/>
            <a:ext cx="5667373" cy="4938059"/>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921686674"/>
      </p:ext>
    </p:extLst>
  </p:cSld>
  <p:clrMapOvr>
    <a:masterClrMapping/>
  </p:clrMapOvr>
  <p:transition spd="med"/>
  <p:extLst>
    <p:ext uri="{DCECCB84-F9BA-43D5-87BE-67443E8EF086}">
      <p15:sldGuideLst xmlns:p15="http://schemas.microsoft.com/office/powerpoint/2012/main">
        <p15:guide id="2" orient="horz" pos="4656">
          <p15:clr>
            <a:srgbClr val="F26B43"/>
          </p15:clr>
        </p15:guide>
        <p15:guide id="3" orient="horz" pos="912">
          <p15:clr>
            <a:srgbClr val="F26B43"/>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3 column">
    <p:bg>
      <p:bgPr>
        <a:solidFill>
          <a:schemeClr val="tx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95001" y="1221441"/>
            <a:ext cx="3673748" cy="4938059"/>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itle Text">
            <a:extLst>
              <a:ext uri="{FF2B5EF4-FFF2-40B4-BE49-F238E27FC236}">
                <a16:creationId xmlns:a16="http://schemas.microsoft.com/office/drawing/2014/main" id="{4B5980F9-A7B7-7DE7-65FD-745FC498DFDB}"/>
              </a:ext>
            </a:extLst>
          </p:cNvPr>
          <p:cNvSpPr txBox="1">
            <a:spLocks noGrp="1"/>
          </p:cNvSpPr>
          <p:nvPr>
            <p:ph type="title" hasCustomPrompt="1"/>
          </p:nvPr>
        </p:nvSpPr>
        <p:spPr>
          <a:xfrm>
            <a:off x="290212" y="274544"/>
            <a:ext cx="11607800" cy="38660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lang="en-US"/>
              <a:t>3 column body</a:t>
            </a:r>
            <a:endParaRPr/>
          </a:p>
        </p:txBody>
      </p:sp>
      <p:sp>
        <p:nvSpPr>
          <p:cNvPr id="4" name="Text Placeholder 4">
            <a:extLst>
              <a:ext uri="{FF2B5EF4-FFF2-40B4-BE49-F238E27FC236}">
                <a16:creationId xmlns:a16="http://schemas.microsoft.com/office/drawing/2014/main" id="{6B78AFFA-760B-C379-5035-CB7ECAE05516}"/>
              </a:ext>
            </a:extLst>
          </p:cNvPr>
          <p:cNvSpPr>
            <a:spLocks noGrp="1"/>
          </p:cNvSpPr>
          <p:nvPr>
            <p:ph type="body" sz="quarter" idx="12"/>
          </p:nvPr>
        </p:nvSpPr>
        <p:spPr>
          <a:xfrm>
            <a:off x="4261419" y="1221441"/>
            <a:ext cx="3673748" cy="4938059"/>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ext Placeholder 4">
            <a:extLst>
              <a:ext uri="{FF2B5EF4-FFF2-40B4-BE49-F238E27FC236}">
                <a16:creationId xmlns:a16="http://schemas.microsoft.com/office/drawing/2014/main" id="{376D964F-C8A1-C871-5753-80704C0AE4DC}"/>
              </a:ext>
            </a:extLst>
          </p:cNvPr>
          <p:cNvSpPr>
            <a:spLocks noGrp="1"/>
          </p:cNvSpPr>
          <p:nvPr>
            <p:ph type="body" sz="quarter" idx="13"/>
          </p:nvPr>
        </p:nvSpPr>
        <p:spPr>
          <a:xfrm>
            <a:off x="8223250" y="1221441"/>
            <a:ext cx="3683000" cy="4938059"/>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59192796"/>
      </p:ext>
    </p:extLst>
  </p:cSld>
  <p:clrMapOvr>
    <a:masterClrMapping/>
  </p:clrMapOvr>
  <p:transition spd="med"/>
  <p:extLst>
    <p:ext uri="{DCECCB84-F9BA-43D5-87BE-67443E8EF086}">
      <p15:sldGuideLst xmlns:p15="http://schemas.microsoft.com/office/powerpoint/2012/main">
        <p15:guide id="2" orient="horz" pos="4656">
          <p15:clr>
            <a:srgbClr val="F26B43"/>
          </p15:clr>
        </p15:guide>
        <p15:guide id="3" orient="horz" pos="912">
          <p15:clr>
            <a:srgbClr val="F26B43"/>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4 column">
    <p:bg>
      <p:bgPr>
        <a:solidFill>
          <a:schemeClr val="tx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95470" y="1221441"/>
            <a:ext cx="2681094" cy="4938059"/>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itle Text">
            <a:extLst>
              <a:ext uri="{FF2B5EF4-FFF2-40B4-BE49-F238E27FC236}">
                <a16:creationId xmlns:a16="http://schemas.microsoft.com/office/drawing/2014/main" id="{4B5980F9-A7B7-7DE7-65FD-745FC498DFDB}"/>
              </a:ext>
            </a:extLst>
          </p:cNvPr>
          <p:cNvSpPr txBox="1">
            <a:spLocks noGrp="1"/>
          </p:cNvSpPr>
          <p:nvPr>
            <p:ph type="title" hasCustomPrompt="1"/>
          </p:nvPr>
        </p:nvSpPr>
        <p:spPr>
          <a:xfrm>
            <a:off x="290212" y="274544"/>
            <a:ext cx="11607800" cy="38660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lang="en-US"/>
              <a:t>4 column body</a:t>
            </a:r>
            <a:endParaRPr/>
          </a:p>
        </p:txBody>
      </p:sp>
      <p:sp>
        <p:nvSpPr>
          <p:cNvPr id="4" name="Text Placeholder 4">
            <a:extLst>
              <a:ext uri="{FF2B5EF4-FFF2-40B4-BE49-F238E27FC236}">
                <a16:creationId xmlns:a16="http://schemas.microsoft.com/office/drawing/2014/main" id="{6B78AFFA-760B-C379-5035-CB7ECAE05516}"/>
              </a:ext>
            </a:extLst>
          </p:cNvPr>
          <p:cNvSpPr>
            <a:spLocks noGrp="1"/>
          </p:cNvSpPr>
          <p:nvPr>
            <p:ph type="body" sz="quarter" idx="12"/>
          </p:nvPr>
        </p:nvSpPr>
        <p:spPr>
          <a:xfrm>
            <a:off x="3272031" y="1221441"/>
            <a:ext cx="2681094" cy="4938059"/>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ext Placeholder 4">
            <a:extLst>
              <a:ext uri="{FF2B5EF4-FFF2-40B4-BE49-F238E27FC236}">
                <a16:creationId xmlns:a16="http://schemas.microsoft.com/office/drawing/2014/main" id="{376D964F-C8A1-C871-5753-80704C0AE4DC}"/>
              </a:ext>
            </a:extLst>
          </p:cNvPr>
          <p:cNvSpPr>
            <a:spLocks noGrp="1"/>
          </p:cNvSpPr>
          <p:nvPr>
            <p:ph type="body" sz="quarter" idx="13"/>
          </p:nvPr>
        </p:nvSpPr>
        <p:spPr>
          <a:xfrm>
            <a:off x="6250082" y="1221441"/>
            <a:ext cx="2679606" cy="4938059"/>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BC3CC31F-CAF3-5950-1F6D-B721F038F566}"/>
              </a:ext>
            </a:extLst>
          </p:cNvPr>
          <p:cNvSpPr>
            <a:spLocks noGrp="1"/>
          </p:cNvSpPr>
          <p:nvPr>
            <p:ph type="body" sz="quarter" idx="14"/>
          </p:nvPr>
        </p:nvSpPr>
        <p:spPr>
          <a:xfrm>
            <a:off x="9219640" y="1221441"/>
            <a:ext cx="2686611" cy="4938059"/>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257879179"/>
      </p:ext>
    </p:extLst>
  </p:cSld>
  <p:clrMapOvr>
    <a:masterClrMapping/>
  </p:clrMapOvr>
  <p:transition spd="med"/>
  <p:extLst>
    <p:ext uri="{DCECCB84-F9BA-43D5-87BE-67443E8EF086}">
      <p15:sldGuideLst xmlns:p15="http://schemas.microsoft.com/office/powerpoint/2012/main">
        <p15:guide id="2" orient="horz" pos="4656">
          <p15:clr>
            <a:srgbClr val="F26B43"/>
          </p15:clr>
        </p15:guide>
        <p15:guide id="3" orient="horz" pos="912">
          <p15:clr>
            <a:srgbClr val="F26B43"/>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2 intro text">
    <p:bg>
      <p:bgPr>
        <a:solidFill>
          <a:schemeClr val="tx1"/>
        </a:solidFill>
        <a:effectLst/>
      </p:bgPr>
    </p:bg>
    <p:spTree>
      <p:nvGrpSpPr>
        <p:cNvPr id="1" name=""/>
        <p:cNvGrpSpPr/>
        <p:nvPr/>
      </p:nvGrpSpPr>
      <p:grpSpPr>
        <a:xfrm>
          <a:off x="0" y="0"/>
          <a:ext cx="0" cy="0"/>
          <a:chOff x="0" y="0"/>
          <a:chExt cx="0" cy="0"/>
        </a:xfrm>
      </p:grpSpPr>
      <p:sp>
        <p:nvSpPr>
          <p:cNvPr id="3" name="Title Text">
            <a:extLst>
              <a:ext uri="{FF2B5EF4-FFF2-40B4-BE49-F238E27FC236}">
                <a16:creationId xmlns:a16="http://schemas.microsoft.com/office/drawing/2014/main" id="{4B5980F9-A7B7-7DE7-65FD-745FC498DFDB}"/>
              </a:ext>
            </a:extLst>
          </p:cNvPr>
          <p:cNvSpPr txBox="1">
            <a:spLocks noGrp="1"/>
          </p:cNvSpPr>
          <p:nvPr>
            <p:ph type="title" hasCustomPrompt="1"/>
          </p:nvPr>
        </p:nvSpPr>
        <p:spPr>
          <a:xfrm>
            <a:off x="290212" y="252133"/>
            <a:ext cx="4670726" cy="317686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a:lnSpc>
                <a:spcPct val="90000"/>
              </a:lnSpc>
              <a:defRPr/>
            </a:lvl1pPr>
          </a:lstStyle>
          <a:p>
            <a:r>
              <a:rPr lang="en-US"/>
              <a:t>Long title or </a:t>
            </a:r>
            <a:br>
              <a:rPr lang="en-US"/>
            </a:br>
            <a:r>
              <a:rPr lang="en-US"/>
              <a:t>large intro text</a:t>
            </a:r>
            <a:endParaRPr/>
          </a:p>
        </p:txBody>
      </p:sp>
      <p:sp>
        <p:nvSpPr>
          <p:cNvPr id="2" name="Text Placeholder 4">
            <a:extLst>
              <a:ext uri="{FF2B5EF4-FFF2-40B4-BE49-F238E27FC236}">
                <a16:creationId xmlns:a16="http://schemas.microsoft.com/office/drawing/2014/main" id="{376D964F-C8A1-C871-5753-80704C0AE4DC}"/>
              </a:ext>
            </a:extLst>
          </p:cNvPr>
          <p:cNvSpPr>
            <a:spLocks noGrp="1"/>
          </p:cNvSpPr>
          <p:nvPr>
            <p:ph type="body" sz="quarter" idx="13"/>
          </p:nvPr>
        </p:nvSpPr>
        <p:spPr>
          <a:xfrm>
            <a:off x="6250082" y="274545"/>
            <a:ext cx="2679606" cy="5884956"/>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BC3CC31F-CAF3-5950-1F6D-B721F038F566}"/>
              </a:ext>
            </a:extLst>
          </p:cNvPr>
          <p:cNvSpPr>
            <a:spLocks noGrp="1"/>
          </p:cNvSpPr>
          <p:nvPr>
            <p:ph type="body" sz="quarter" idx="14"/>
          </p:nvPr>
        </p:nvSpPr>
        <p:spPr>
          <a:xfrm>
            <a:off x="9219640" y="274545"/>
            <a:ext cx="2686611" cy="5884956"/>
          </a:xfrm>
          <a:prstGeom prst="rect">
            <a:avLst/>
          </a:prstGeom>
        </p:spPr>
        <p:txBody>
          <a:bodyPr/>
          <a:lstStyle>
            <a:lvl1pPr>
              <a:spcBef>
                <a:spcPts val="0"/>
              </a:spcBef>
              <a:defRPr sz="1500" b="0" i="0">
                <a:solidFill>
                  <a:schemeClr val="bg1"/>
                </a:solidFill>
                <a:latin typeface="Aptos Light" panose="020B0004020202020204" pitchFamily="34" charset="0"/>
              </a:defRPr>
            </a:lvl1pPr>
            <a:lvl2pPr marL="91421" indent="-91421">
              <a:spcBef>
                <a:spcPts val="0"/>
              </a:spcBef>
              <a:buClr>
                <a:schemeClr val="accent1"/>
              </a:buClr>
              <a:buFont typeface="Arial" panose="020B0604020202020204" pitchFamily="34" charset="0"/>
              <a:buChar char="•"/>
              <a:defRPr sz="1500" b="0" i="0">
                <a:solidFill>
                  <a:schemeClr val="bg1"/>
                </a:solidFill>
                <a:latin typeface="Aptos Light" panose="020B0004020202020204" pitchFamily="34" charset="0"/>
              </a:defRPr>
            </a:lvl2pPr>
            <a:lvl3pPr marL="182842" indent="-91421">
              <a:spcBef>
                <a:spcPts val="0"/>
              </a:spcBef>
              <a:buClr>
                <a:schemeClr val="accent1"/>
              </a:buClr>
              <a:buSzPct val="100000"/>
              <a:buFont typeface="System Font Regular"/>
              <a:buChar char="-"/>
              <a:defRPr sz="1500" b="0" i="0">
                <a:solidFill>
                  <a:schemeClr val="bg1"/>
                </a:solidFill>
                <a:latin typeface="Aptos Light" panose="020B0004020202020204" pitchFamily="34" charset="0"/>
              </a:defRPr>
            </a:lvl3pPr>
            <a:lvl4pPr marL="274263" indent="-91421">
              <a:spcBef>
                <a:spcPts val="0"/>
              </a:spcBef>
              <a:buClr>
                <a:schemeClr val="bg2"/>
              </a:buClr>
              <a:buFont typeface="Arial" panose="020B0604020202020204" pitchFamily="34" charset="0"/>
              <a:buChar char="•"/>
              <a:defRPr sz="1500" b="0" i="0">
                <a:solidFill>
                  <a:schemeClr val="bg1"/>
                </a:solidFill>
                <a:latin typeface="Aptos Light" panose="020B00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98494569"/>
      </p:ext>
    </p:extLst>
  </p:cSld>
  <p:clrMapOvr>
    <a:masterClrMapping/>
  </p:clrMapOvr>
  <p:transition spd="med"/>
  <p:extLst>
    <p:ext uri="{DCECCB84-F9BA-43D5-87BE-67443E8EF086}">
      <p15:sldGuideLst xmlns:p15="http://schemas.microsoft.com/office/powerpoint/2012/main">
        <p15:guide id="2" orient="horz" pos="4656">
          <p15:clr>
            <a:srgbClr val="F26B43"/>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2.sv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image" Target="../media/image1.png"/><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theme" Target="../theme/theme2.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 Id="rId30" Type="http://schemas.openxmlformats.org/officeDocument/2006/relationships/image" Target="../media/image2.sv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theme" Target="../theme/theme3.xml"/><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image" Target="../media/image3.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2" Type="http://schemas.openxmlformats.org/officeDocument/2006/relationships/slideLayout" Target="../slideLayouts/slideLayout66.xml"/><Relationship Id="rId16" Type="http://schemas.openxmlformats.org/officeDocument/2006/relationships/theme" Target="../theme/theme4.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10" Type="http://schemas.openxmlformats.org/officeDocument/2006/relationships/slideLayout" Target="../slideLayouts/slideLayout74.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18" Type="http://schemas.openxmlformats.org/officeDocument/2006/relationships/tags" Target="../tags/tag1.xml"/><Relationship Id="rId3" Type="http://schemas.openxmlformats.org/officeDocument/2006/relationships/slideLayout" Target="../slideLayouts/slideLayout82.xml"/><Relationship Id="rId21" Type="http://schemas.openxmlformats.org/officeDocument/2006/relationships/image" Target="../media/image13.png"/><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theme" Target="../theme/theme5.xml"/><Relationship Id="rId2" Type="http://schemas.openxmlformats.org/officeDocument/2006/relationships/slideLayout" Target="../slideLayouts/slideLayout81.xml"/><Relationship Id="rId16" Type="http://schemas.openxmlformats.org/officeDocument/2006/relationships/slideLayout" Target="../slideLayouts/slideLayout95.xml"/><Relationship Id="rId20" Type="http://schemas.openxmlformats.org/officeDocument/2006/relationships/image" Target="../media/image12.emf"/><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5" Type="http://schemas.openxmlformats.org/officeDocument/2006/relationships/slideLayout" Target="../slideLayouts/slideLayout84.xml"/><Relationship Id="rId15" Type="http://schemas.openxmlformats.org/officeDocument/2006/relationships/slideLayout" Target="../slideLayouts/slideLayout94.xml"/><Relationship Id="rId10" Type="http://schemas.openxmlformats.org/officeDocument/2006/relationships/slideLayout" Target="../slideLayouts/slideLayout89.xml"/><Relationship Id="rId19" Type="http://schemas.openxmlformats.org/officeDocument/2006/relationships/oleObject" Target="../embeddings/oleObject1.bin"/><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slideLayout" Target="../slideLayouts/slideLayout108.xml"/><Relationship Id="rId18" Type="http://schemas.openxmlformats.org/officeDocument/2006/relationships/slideLayout" Target="../slideLayouts/slideLayout113.xml"/><Relationship Id="rId26" Type="http://schemas.openxmlformats.org/officeDocument/2006/relationships/slideLayout" Target="../slideLayouts/slideLayout121.xml"/><Relationship Id="rId3" Type="http://schemas.openxmlformats.org/officeDocument/2006/relationships/slideLayout" Target="../slideLayouts/slideLayout98.xml"/><Relationship Id="rId21" Type="http://schemas.openxmlformats.org/officeDocument/2006/relationships/slideLayout" Target="../slideLayouts/slideLayout116.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17" Type="http://schemas.openxmlformats.org/officeDocument/2006/relationships/slideLayout" Target="../slideLayouts/slideLayout112.xml"/><Relationship Id="rId25" Type="http://schemas.openxmlformats.org/officeDocument/2006/relationships/slideLayout" Target="../slideLayouts/slideLayout120.xml"/><Relationship Id="rId2" Type="http://schemas.openxmlformats.org/officeDocument/2006/relationships/slideLayout" Target="../slideLayouts/slideLayout97.xml"/><Relationship Id="rId16" Type="http://schemas.openxmlformats.org/officeDocument/2006/relationships/slideLayout" Target="../slideLayouts/slideLayout111.xml"/><Relationship Id="rId20" Type="http://schemas.openxmlformats.org/officeDocument/2006/relationships/slideLayout" Target="../slideLayouts/slideLayout115.xml"/><Relationship Id="rId29" Type="http://schemas.openxmlformats.org/officeDocument/2006/relationships/image" Target="../media/image1.png"/><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24" Type="http://schemas.openxmlformats.org/officeDocument/2006/relationships/slideLayout" Target="../slideLayouts/slideLayout119.xml"/><Relationship Id="rId5" Type="http://schemas.openxmlformats.org/officeDocument/2006/relationships/slideLayout" Target="../slideLayouts/slideLayout100.xml"/><Relationship Id="rId15" Type="http://schemas.openxmlformats.org/officeDocument/2006/relationships/slideLayout" Target="../slideLayouts/slideLayout110.xml"/><Relationship Id="rId23" Type="http://schemas.openxmlformats.org/officeDocument/2006/relationships/slideLayout" Target="../slideLayouts/slideLayout118.xml"/><Relationship Id="rId28" Type="http://schemas.openxmlformats.org/officeDocument/2006/relationships/theme" Target="../theme/theme6.xml"/><Relationship Id="rId10" Type="http://schemas.openxmlformats.org/officeDocument/2006/relationships/slideLayout" Target="../slideLayouts/slideLayout105.xml"/><Relationship Id="rId19" Type="http://schemas.openxmlformats.org/officeDocument/2006/relationships/slideLayout" Target="../slideLayouts/slideLayout114.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 Id="rId22" Type="http://schemas.openxmlformats.org/officeDocument/2006/relationships/slideLayout" Target="../slideLayouts/slideLayout117.xml"/><Relationship Id="rId27" Type="http://schemas.openxmlformats.org/officeDocument/2006/relationships/slideLayout" Target="../slideLayouts/slideLayout122.xml"/><Relationship Id="rId30" Type="http://schemas.openxmlformats.org/officeDocument/2006/relationships/image" Target="../media/image2.sv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0.xml"/><Relationship Id="rId3" Type="http://schemas.openxmlformats.org/officeDocument/2006/relationships/slideLayout" Target="../slideLayouts/slideLayout125.xml"/><Relationship Id="rId7" Type="http://schemas.openxmlformats.org/officeDocument/2006/relationships/slideLayout" Target="../slideLayouts/slideLayout129.xml"/><Relationship Id="rId2" Type="http://schemas.openxmlformats.org/officeDocument/2006/relationships/slideLayout" Target="../slideLayouts/slideLayout124.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5" Type="http://schemas.openxmlformats.org/officeDocument/2006/relationships/slideLayout" Target="../slideLayouts/slideLayout127.xml"/><Relationship Id="rId10" Type="http://schemas.openxmlformats.org/officeDocument/2006/relationships/theme" Target="../theme/theme7.xml"/><Relationship Id="rId4" Type="http://schemas.openxmlformats.org/officeDocument/2006/relationships/slideLayout" Target="../slideLayouts/slideLayout126.xml"/><Relationship Id="rId9" Type="http://schemas.openxmlformats.org/officeDocument/2006/relationships/slideLayout" Target="../slideLayouts/slideLayout13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9.xml"/><Relationship Id="rId3" Type="http://schemas.openxmlformats.org/officeDocument/2006/relationships/slideLayout" Target="../slideLayouts/slideLayout134.xml"/><Relationship Id="rId7" Type="http://schemas.openxmlformats.org/officeDocument/2006/relationships/slideLayout" Target="../slideLayouts/slideLayout138.xml"/><Relationship Id="rId2" Type="http://schemas.openxmlformats.org/officeDocument/2006/relationships/slideLayout" Target="../slideLayouts/slideLayout133.xml"/><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theme" Target="../theme/theme8.xml"/><Relationship Id="rId5" Type="http://schemas.openxmlformats.org/officeDocument/2006/relationships/slideLayout" Target="../slideLayouts/slideLayout136.xml"/><Relationship Id="rId10" Type="http://schemas.openxmlformats.org/officeDocument/2006/relationships/slideLayout" Target="../slideLayouts/slideLayout141.xml"/><Relationship Id="rId4" Type="http://schemas.openxmlformats.org/officeDocument/2006/relationships/slideLayout" Target="../slideLayouts/slideLayout135.xml"/><Relationship Id="rId9" Type="http://schemas.openxmlformats.org/officeDocument/2006/relationships/slideLayout" Target="../slideLayouts/slideLayout14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slideLayout" Target="../slideLayouts/slideLayout154.xml"/><Relationship Id="rId18" Type="http://schemas.openxmlformats.org/officeDocument/2006/relationships/slideLayout" Target="../slideLayouts/slideLayout159.xml"/><Relationship Id="rId3" Type="http://schemas.openxmlformats.org/officeDocument/2006/relationships/slideLayout" Target="../slideLayouts/slideLayout144.xml"/><Relationship Id="rId21" Type="http://schemas.openxmlformats.org/officeDocument/2006/relationships/tags" Target="../tags/tag2.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17" Type="http://schemas.openxmlformats.org/officeDocument/2006/relationships/slideLayout" Target="../slideLayouts/slideLayout158.xml"/><Relationship Id="rId2" Type="http://schemas.openxmlformats.org/officeDocument/2006/relationships/slideLayout" Target="../slideLayouts/slideLayout143.xml"/><Relationship Id="rId16" Type="http://schemas.openxmlformats.org/officeDocument/2006/relationships/slideLayout" Target="../slideLayouts/slideLayout157.xml"/><Relationship Id="rId20" Type="http://schemas.openxmlformats.org/officeDocument/2006/relationships/theme" Target="../theme/theme9.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24" Type="http://schemas.openxmlformats.org/officeDocument/2006/relationships/image" Target="../media/image13.png"/><Relationship Id="rId5" Type="http://schemas.openxmlformats.org/officeDocument/2006/relationships/slideLayout" Target="../slideLayouts/slideLayout146.xml"/><Relationship Id="rId15" Type="http://schemas.openxmlformats.org/officeDocument/2006/relationships/slideLayout" Target="../slideLayouts/slideLayout156.xml"/><Relationship Id="rId23" Type="http://schemas.openxmlformats.org/officeDocument/2006/relationships/image" Target="../media/image12.emf"/><Relationship Id="rId10" Type="http://schemas.openxmlformats.org/officeDocument/2006/relationships/slideLayout" Target="../slideLayouts/slideLayout151.xml"/><Relationship Id="rId19" Type="http://schemas.openxmlformats.org/officeDocument/2006/relationships/slideLayout" Target="../slideLayouts/slideLayout160.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8" name="Title Text"/>
          <p:cNvSpPr txBox="1">
            <a:spLocks noGrp="1"/>
          </p:cNvSpPr>
          <p:nvPr>
            <p:ph type="title"/>
          </p:nvPr>
        </p:nvSpPr>
        <p:spPr>
          <a:xfrm>
            <a:off x="288718" y="299392"/>
            <a:ext cx="11609294" cy="119147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73152" rIns="0" bIns="0"/>
          <a:lstStyle/>
          <a:p>
            <a:r>
              <a:rPr lang="en-US"/>
              <a:t>Title Text</a:t>
            </a:r>
            <a:endParaRPr/>
          </a:p>
        </p:txBody>
      </p:sp>
      <p:sp>
        <p:nvSpPr>
          <p:cNvPr id="49" name="Body Level One…"/>
          <p:cNvSpPr txBox="1">
            <a:spLocks noGrp="1"/>
          </p:cNvSpPr>
          <p:nvPr>
            <p:ph type="body" idx="1"/>
          </p:nvPr>
        </p:nvSpPr>
        <p:spPr>
          <a:xfrm>
            <a:off x="288718" y="1663700"/>
            <a:ext cx="11609294" cy="450438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t>Body Level One</a:t>
            </a:r>
          </a:p>
          <a:p>
            <a:pPr lvl="1"/>
            <a:r>
              <a:t>Body Level Two</a:t>
            </a:r>
          </a:p>
          <a:p>
            <a:pPr lvl="2"/>
            <a:r>
              <a:t>Body Level Three</a:t>
            </a:r>
          </a:p>
          <a:p>
            <a:pPr lvl="3"/>
            <a:r>
              <a:t>Body Level Four</a:t>
            </a:r>
          </a:p>
        </p:txBody>
      </p:sp>
      <p:sp>
        <p:nvSpPr>
          <p:cNvPr id="2" name="Text Placeholder 3">
            <a:extLst>
              <a:ext uri="{FF2B5EF4-FFF2-40B4-BE49-F238E27FC236}">
                <a16:creationId xmlns:a16="http://schemas.microsoft.com/office/drawing/2014/main" id="{B5333677-585F-C25B-43AB-487EF281CF1D}"/>
              </a:ext>
            </a:extLst>
          </p:cNvPr>
          <p:cNvSpPr txBox="1">
            <a:spLocks/>
          </p:cNvSpPr>
          <p:nvPr userDrawn="1"/>
        </p:nvSpPr>
        <p:spPr>
          <a:xfrm>
            <a:off x="11438259" y="6458629"/>
            <a:ext cx="462473" cy="150303"/>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Outfit Light" pitchFamily="2" charset="0"/>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r" defTabSz="1218948" rtl="0" eaLnBrk="1" fontAlgn="auto" latinLnBrk="0" hangingPunct="1">
              <a:lnSpc>
                <a:spcPct val="110000"/>
              </a:lnSpc>
              <a:spcBef>
                <a:spcPts val="0"/>
              </a:spcBef>
              <a:spcAft>
                <a:spcPts val="0"/>
              </a:spcAft>
              <a:buClrTx/>
              <a:buSzTx/>
              <a:buFontTx/>
              <a:buNone/>
              <a:tabLst/>
              <a:defRPr/>
            </a:pPr>
            <a:fld id="{64F0821C-65D3-DD4D-8DB2-745946DB9115}" type="slidenum">
              <a:rPr kumimoji="0" lang="en-US" sz="917" b="0" i="0" u="none" strike="noStrike" kern="0" cap="none" spc="0" normalizeH="0" baseline="0" noProof="0" smtClean="0">
                <a:ln>
                  <a:noFill/>
                </a:ln>
                <a:solidFill>
                  <a:srgbClr val="000000"/>
                </a:solidFill>
                <a:effectLst/>
                <a:uLnTx/>
                <a:uFillTx/>
                <a:latin typeface="Aptos" panose="020B0004020202020204" pitchFamily="34" charset="0"/>
                <a:ea typeface="+mj-ea"/>
                <a:cs typeface="+mj-cs"/>
                <a:sym typeface="IBM Plex Sans Light"/>
              </a:rPr>
              <a:pPr marL="0" marR="0" lvl="0" indent="0" algn="r" defTabSz="1218948" rtl="0" eaLnBrk="1" fontAlgn="auto" latinLnBrk="0" hangingPunct="1">
                <a:lnSpc>
                  <a:spcPct val="110000"/>
                </a:lnSpc>
                <a:spcBef>
                  <a:spcPts val="0"/>
                </a:spcBef>
                <a:spcAft>
                  <a:spcPts val="0"/>
                </a:spcAft>
                <a:buClrTx/>
                <a:buSzTx/>
                <a:buFontTx/>
                <a:buNone/>
                <a:tabLst/>
                <a:defRPr/>
              </a:pPr>
              <a:t>‹#›</a:t>
            </a:fld>
            <a:endParaRPr kumimoji="0" lang="en-US" sz="917" b="0" i="0" u="none" strike="noStrike" kern="0" cap="none" spc="0" normalizeH="0" baseline="0" noProof="0">
              <a:ln>
                <a:noFill/>
              </a:ln>
              <a:solidFill>
                <a:srgbClr val="000000"/>
              </a:solidFill>
              <a:effectLst/>
              <a:uLnTx/>
              <a:uFillTx/>
              <a:latin typeface="Aptos" panose="020B0004020202020204" pitchFamily="34" charset="0"/>
              <a:ea typeface="+mj-ea"/>
              <a:cs typeface="+mj-cs"/>
              <a:sym typeface="IBM Plex Sans Light"/>
            </a:endParaRPr>
          </a:p>
        </p:txBody>
      </p:sp>
      <p:pic>
        <p:nvPicPr>
          <p:cNvPr id="3" name="Graphic 2">
            <a:extLst>
              <a:ext uri="{FF2B5EF4-FFF2-40B4-BE49-F238E27FC236}">
                <a16:creationId xmlns:a16="http://schemas.microsoft.com/office/drawing/2014/main" id="{1FB007B2-D6AF-6791-5D9F-560EA8EF7B93}"/>
              </a:ext>
            </a:extLst>
          </p:cNvPr>
          <p:cNvPicPr>
            <a:picLocks noChangeAspect="1"/>
          </p:cNvPicPr>
          <p:nvPr userDrawn="1"/>
        </p:nvPicPr>
        <p:blipFill>
          <a:blip r:embed="rId27" cstate="screen">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11543540" y="6495499"/>
            <a:ext cx="167269" cy="81501"/>
          </a:xfrm>
          <a:prstGeom prst="rect">
            <a:avLst/>
          </a:prstGeom>
        </p:spPr>
      </p:pic>
    </p:spTree>
    <p:extLst>
      <p:ext uri="{BB962C8B-B14F-4D97-AF65-F5344CB8AC3E}">
        <p14:creationId xmlns:p14="http://schemas.microsoft.com/office/powerpoint/2010/main" val="306858297"/>
      </p:ext>
    </p:extLst>
  </p:cSld>
  <p:clrMap bg1="dk1" tx1="lt1" bg2="dk2" tx2="lt2" accent1="accent1" accent2="accent2" accent3="accent3" accent4="accent4" accent5="accent5" accent6="accent6" hlink="hlink" folHlink="folHlink"/>
  <p:sldLayoutIdLst>
    <p:sldLayoutId id="2147484099" r:id="rId1"/>
    <p:sldLayoutId id="2147484100" r:id="rId2"/>
    <p:sldLayoutId id="2147484101" r:id="rId3"/>
    <p:sldLayoutId id="2147484102" r:id="rId4"/>
    <p:sldLayoutId id="2147484103" r:id="rId5"/>
    <p:sldLayoutId id="2147484104" r:id="rId6"/>
    <p:sldLayoutId id="2147484105" r:id="rId7"/>
    <p:sldLayoutId id="2147484106" r:id="rId8"/>
    <p:sldLayoutId id="2147484107" r:id="rId9"/>
    <p:sldLayoutId id="2147484108" r:id="rId10"/>
    <p:sldLayoutId id="2147484109" r:id="rId11"/>
    <p:sldLayoutId id="2147484110" r:id="rId12"/>
    <p:sldLayoutId id="2147484111" r:id="rId13"/>
    <p:sldLayoutId id="2147484112" r:id="rId14"/>
    <p:sldLayoutId id="2147484113" r:id="rId15"/>
    <p:sldLayoutId id="2147484114" r:id="rId16"/>
    <p:sldLayoutId id="2147484115" r:id="rId17"/>
    <p:sldLayoutId id="2147484116" r:id="rId18"/>
    <p:sldLayoutId id="2147484117" r:id="rId19"/>
    <p:sldLayoutId id="2147484118" r:id="rId20"/>
    <p:sldLayoutId id="2147484119" r:id="rId21"/>
    <p:sldLayoutId id="2147484120" r:id="rId22"/>
    <p:sldLayoutId id="2147484121" r:id="rId23"/>
    <p:sldLayoutId id="2147484122" r:id="rId24"/>
    <p:sldLayoutId id="2147484123" r:id="rId25"/>
  </p:sldLayoutIdLst>
  <p:transition spd="med"/>
  <p:hf hdr="0" dt="0"/>
  <p:txStyles>
    <p:titleStyle>
      <a:lvl1pPr marL="0" marR="0" indent="0" algn="l" defTabSz="1218948" rtl="0" eaLnBrk="1" latinLnBrk="0" hangingPunct="1">
        <a:lnSpc>
          <a:spcPct val="80000"/>
        </a:lnSpc>
        <a:spcBef>
          <a:spcPts val="0"/>
        </a:spcBef>
        <a:spcAft>
          <a:spcPts val="0"/>
        </a:spcAft>
        <a:buClrTx/>
        <a:buSzTx/>
        <a:buFontTx/>
        <a:buNone/>
        <a:tabLst/>
        <a:defRPr sz="3500" b="0" i="0" u="none" strike="noStrike" cap="none" spc="0" baseline="0">
          <a:solidFill>
            <a:schemeClr val="bg1"/>
          </a:solidFill>
          <a:uFillTx/>
          <a:latin typeface="Aptos Light" panose="020B0004020202020204" pitchFamily="34" charset="0"/>
          <a:ea typeface="+mj-ea"/>
          <a:cs typeface="+mj-cs"/>
          <a:sym typeface="IBM Plex Sans Light"/>
        </a:defRPr>
      </a:lvl1pPr>
      <a:lvl2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7"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5"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1"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88"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p:titleStyle>
    <p:bodyStyle>
      <a:lvl1pPr marL="0" marR="0" indent="0" algn="l" defTabSz="1218948" rtl="0" eaLnBrk="1" latinLnBrk="0" hangingPunct="1">
        <a:lnSpc>
          <a:spcPct val="110000"/>
        </a:lnSpc>
        <a:spcBef>
          <a:spcPts val="0"/>
        </a:spcBef>
        <a:spcAft>
          <a:spcPts val="0"/>
        </a:spcAft>
        <a:buClrTx/>
        <a:buSzTx/>
        <a:buFontTx/>
        <a:buNone/>
        <a:tabLst/>
        <a:defRPr sz="1667" b="0" i="0" u="none" strike="noStrike" cap="none" spc="0" baseline="0">
          <a:solidFill>
            <a:schemeClr val="bg1"/>
          </a:solidFill>
          <a:uFillTx/>
          <a:latin typeface="Aptos Light" panose="020B0004020202020204" pitchFamily="34" charset="0"/>
          <a:ea typeface="+mj-ea"/>
          <a:cs typeface="+mj-cs"/>
          <a:sym typeface="IBM Plex Sans Light"/>
        </a:defRPr>
      </a:lvl1pPr>
      <a:lvl2pPr marL="164558" marR="0" indent="-164558" algn="l" defTabSz="1218948" rtl="0" eaLnBrk="1" latinLnBrk="0" hangingPunct="1">
        <a:lnSpc>
          <a:spcPct val="110000"/>
        </a:lnSpc>
        <a:spcBef>
          <a:spcPts val="0"/>
        </a:spcBef>
        <a:spcAft>
          <a:spcPts val="0"/>
        </a:spcAft>
        <a:buClrTx/>
        <a:buSzPct val="100000"/>
        <a:buFontTx/>
        <a:buChar char="–"/>
        <a:tabLst/>
        <a:defRPr sz="1667" b="0" i="0" u="none" strike="noStrike" cap="none" spc="0" baseline="0">
          <a:solidFill>
            <a:schemeClr val="bg1"/>
          </a:solidFill>
          <a:uFillTx/>
          <a:latin typeface="Aptos Light" panose="020B0004020202020204" pitchFamily="34" charset="0"/>
          <a:ea typeface="+mj-ea"/>
          <a:cs typeface="+mj-cs"/>
          <a:sym typeface="IBM Plex Sans Light"/>
        </a:defRPr>
      </a:lvl2pPr>
      <a:lvl3pPr marL="329116" marR="0" indent="-164558" algn="l" defTabSz="1218948" rtl="0" eaLnBrk="1" latinLnBrk="0" hangingPunct="1">
        <a:lnSpc>
          <a:spcPct val="110000"/>
        </a:lnSpc>
        <a:spcBef>
          <a:spcPts val="0"/>
        </a:spcBef>
        <a:spcAft>
          <a:spcPts val="0"/>
        </a:spcAft>
        <a:buClrTx/>
        <a:buSzPct val="100000"/>
        <a:buFontTx/>
        <a:buChar char="•"/>
        <a:tabLst/>
        <a:defRPr sz="1667" b="0" i="0" u="none" strike="noStrike" cap="none" spc="0" baseline="0">
          <a:solidFill>
            <a:schemeClr val="bg1"/>
          </a:solidFill>
          <a:uFillTx/>
          <a:latin typeface="Aptos Light" panose="020B0004020202020204" pitchFamily="34" charset="0"/>
          <a:ea typeface="+mj-ea"/>
          <a:cs typeface="+mj-cs"/>
          <a:sym typeface="IBM Plex Sans Light"/>
        </a:defRPr>
      </a:lvl3pPr>
      <a:lvl4pPr marL="493674" marR="0" indent="-164558" algn="l" defTabSz="1218948" rtl="0" eaLnBrk="1" latinLnBrk="0" hangingPunct="1">
        <a:lnSpc>
          <a:spcPct val="110000"/>
        </a:lnSpc>
        <a:spcBef>
          <a:spcPts val="0"/>
        </a:spcBef>
        <a:spcAft>
          <a:spcPts val="0"/>
        </a:spcAft>
        <a:buClrTx/>
        <a:buSzPct val="100000"/>
        <a:buFontTx/>
        <a:buChar char="–"/>
        <a:tabLst/>
        <a:defRPr sz="1667" b="0" i="0" u="none" strike="noStrike" cap="none" spc="0" baseline="0">
          <a:solidFill>
            <a:schemeClr val="bg1"/>
          </a:solidFill>
          <a:uFillTx/>
          <a:latin typeface="Aptos Light" panose="020B0004020202020204" pitchFamily="34" charset="0"/>
          <a:ea typeface="+mj-ea"/>
          <a:cs typeface="+mj-cs"/>
          <a:sym typeface="IBM Plex Sans Light"/>
        </a:defRPr>
      </a:lvl4pPr>
      <a:lvl5pPr marL="571382" marR="0" indent="-228553" algn="l" defTabSz="1218948"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40" marR="0" indent="-194464" algn="l" defTabSz="1218948"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588" marR="0" indent="-194464" algn="l" defTabSz="1218948"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34" marR="0" indent="-194464" algn="l" defTabSz="1218948"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081" marR="0" indent="-194464" algn="l" defTabSz="1218948"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p:bodyStyle>
    <p:otherStyle>
      <a:lvl1pPr marL="0" marR="0" indent="0" algn="r" defTabSz="914454"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1pPr>
      <a:lvl2pPr marL="0" marR="0" indent="171460" algn="r" defTabSz="914454"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2pPr>
      <a:lvl3pPr marL="0" marR="0" indent="342920" algn="r" defTabSz="914454"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3pPr>
      <a:lvl4pPr marL="0" marR="0" indent="514381" algn="r" defTabSz="914454"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4pPr>
      <a:lvl5pPr marL="0" marR="0" indent="685841" algn="r" defTabSz="914454"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5pPr>
      <a:lvl6pPr marL="0" marR="0" indent="857301" algn="r" defTabSz="914454"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6pPr>
      <a:lvl7pPr marL="0" marR="0" indent="1028761" algn="r" defTabSz="914454"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7pPr>
      <a:lvl8pPr marL="0" marR="0" indent="1200222" algn="r" defTabSz="914454"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8pPr>
      <a:lvl9pPr marL="0" marR="0" indent="1371682" algn="r" defTabSz="914454"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3" pos="216">
          <p15:clr>
            <a:srgbClr val="5ACBF0"/>
          </p15:clr>
        </p15:guide>
        <p15:guide id="4" pos="750">
          <p15:clr>
            <a:srgbClr val="F26B43"/>
          </p15:clr>
        </p15:guide>
        <p15:guide id="5" pos="966">
          <p15:clr>
            <a:srgbClr val="F26B43"/>
          </p15:clr>
        </p15:guide>
        <p15:guide id="6" pos="1500">
          <p15:clr>
            <a:srgbClr val="F26B43"/>
          </p15:clr>
        </p15:guide>
        <p15:guide id="7" pos="1716">
          <p15:clr>
            <a:srgbClr val="F26B43"/>
          </p15:clr>
        </p15:guide>
        <p15:guide id="8" pos="2250">
          <p15:clr>
            <a:srgbClr val="F26B43"/>
          </p15:clr>
        </p15:guide>
        <p15:guide id="9" pos="2466">
          <p15:clr>
            <a:srgbClr val="F26B43"/>
          </p15:clr>
        </p15:guide>
        <p15:guide id="10" pos="3000">
          <p15:clr>
            <a:srgbClr val="F26B43"/>
          </p15:clr>
        </p15:guide>
        <p15:guide id="11" pos="3216">
          <p15:clr>
            <a:srgbClr val="F26B43"/>
          </p15:clr>
        </p15:guide>
        <p15:guide id="12" pos="3750">
          <p15:clr>
            <a:srgbClr val="F26B43"/>
          </p15:clr>
        </p15:guide>
        <p15:guide id="13" pos="3966">
          <p15:clr>
            <a:srgbClr val="F26B43"/>
          </p15:clr>
        </p15:guide>
        <p15:guide id="14" pos="4500">
          <p15:clr>
            <a:srgbClr val="F26B43"/>
          </p15:clr>
        </p15:guide>
        <p15:guide id="15" pos="4716">
          <p15:clr>
            <a:srgbClr val="F26B43"/>
          </p15:clr>
        </p15:guide>
        <p15:guide id="16" pos="5250">
          <p15:clr>
            <a:srgbClr val="F26B43"/>
          </p15:clr>
        </p15:guide>
        <p15:guide id="17" pos="5466">
          <p15:clr>
            <a:srgbClr val="F26B43"/>
          </p15:clr>
        </p15:guide>
        <p15:guide id="18" pos="6000">
          <p15:clr>
            <a:srgbClr val="F26B43"/>
          </p15:clr>
        </p15:guide>
        <p15:guide id="19" pos="6216">
          <p15:clr>
            <a:srgbClr val="F26B43"/>
          </p15:clr>
        </p15:guide>
        <p15:guide id="20" pos="6750">
          <p15:clr>
            <a:srgbClr val="F26B43"/>
          </p15:clr>
        </p15:guide>
        <p15:guide id="21" pos="6966">
          <p15:clr>
            <a:srgbClr val="F26B43"/>
          </p15:clr>
        </p15:guide>
        <p15:guide id="22" pos="7500">
          <p15:clr>
            <a:srgbClr val="F26B43"/>
          </p15:clr>
        </p15:guide>
        <p15:guide id="23" pos="7716">
          <p15:clr>
            <a:srgbClr val="F26B43"/>
          </p15:clr>
        </p15:guide>
        <p15:guide id="24" pos="8250">
          <p15:clr>
            <a:srgbClr val="F26B43"/>
          </p15:clr>
        </p15:guide>
        <p15:guide id="25" pos="8466">
          <p15:clr>
            <a:srgbClr val="F26B43"/>
          </p15:clr>
        </p15:guide>
        <p15:guide id="26" pos="9000">
          <p15:clr>
            <a:srgbClr val="5ACBF0"/>
          </p15:clr>
        </p15:guide>
        <p15:guide id="29" orient="horz" pos="216">
          <p15:clr>
            <a:srgbClr val="5ACBF0"/>
          </p15:clr>
        </p15:guide>
        <p15:guide id="30" orient="horz" pos="4968">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8" name="Title Text"/>
          <p:cNvSpPr txBox="1">
            <a:spLocks noGrp="1"/>
          </p:cNvSpPr>
          <p:nvPr>
            <p:ph type="title"/>
          </p:nvPr>
        </p:nvSpPr>
        <p:spPr>
          <a:xfrm>
            <a:off x="288718" y="299392"/>
            <a:ext cx="11609294" cy="119147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73152" rIns="0" bIns="0"/>
          <a:lstStyle/>
          <a:p>
            <a:r>
              <a:rPr lang="en-US"/>
              <a:t>Title Text</a:t>
            </a:r>
            <a:endParaRPr/>
          </a:p>
        </p:txBody>
      </p:sp>
      <p:sp>
        <p:nvSpPr>
          <p:cNvPr id="49" name="Body Level One…"/>
          <p:cNvSpPr txBox="1">
            <a:spLocks noGrp="1"/>
          </p:cNvSpPr>
          <p:nvPr>
            <p:ph type="body" idx="1"/>
          </p:nvPr>
        </p:nvSpPr>
        <p:spPr>
          <a:xfrm>
            <a:off x="288718" y="1663700"/>
            <a:ext cx="11609294" cy="450438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t>Body Level One</a:t>
            </a:r>
          </a:p>
          <a:p>
            <a:pPr lvl="1"/>
            <a:r>
              <a:t>Body Level Two</a:t>
            </a:r>
          </a:p>
          <a:p>
            <a:pPr lvl="2"/>
            <a:r>
              <a:t>Body Level Three</a:t>
            </a:r>
          </a:p>
          <a:p>
            <a:pPr lvl="3"/>
            <a:r>
              <a:t>Body Level Four</a:t>
            </a:r>
          </a:p>
        </p:txBody>
      </p:sp>
      <p:sp>
        <p:nvSpPr>
          <p:cNvPr id="2" name="Text Placeholder 3">
            <a:extLst>
              <a:ext uri="{FF2B5EF4-FFF2-40B4-BE49-F238E27FC236}">
                <a16:creationId xmlns:a16="http://schemas.microsoft.com/office/drawing/2014/main" id="{B5333677-585F-C25B-43AB-487EF281CF1D}"/>
              </a:ext>
            </a:extLst>
          </p:cNvPr>
          <p:cNvSpPr txBox="1">
            <a:spLocks/>
          </p:cNvSpPr>
          <p:nvPr userDrawn="1"/>
        </p:nvSpPr>
        <p:spPr>
          <a:xfrm>
            <a:off x="11438259" y="6458629"/>
            <a:ext cx="462473" cy="150303"/>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Outfit Light" pitchFamily="2" charset="0"/>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r" defTabSz="1218948" rtl="0" eaLnBrk="1" fontAlgn="auto" latinLnBrk="0" hangingPunct="1">
              <a:lnSpc>
                <a:spcPct val="110000"/>
              </a:lnSpc>
              <a:spcBef>
                <a:spcPts val="0"/>
              </a:spcBef>
              <a:spcAft>
                <a:spcPts val="0"/>
              </a:spcAft>
              <a:buClrTx/>
              <a:buSzTx/>
              <a:buFontTx/>
              <a:buNone/>
              <a:tabLst/>
              <a:defRPr/>
            </a:pPr>
            <a:fld id="{64F0821C-65D3-DD4D-8DB2-745946DB9115}" type="slidenum">
              <a:rPr kumimoji="0" lang="en-US" sz="917" b="0" i="0" u="none" strike="noStrike" kern="0" cap="none" spc="0" normalizeH="0" baseline="0" noProof="0" smtClean="0">
                <a:ln>
                  <a:noFill/>
                </a:ln>
                <a:solidFill>
                  <a:srgbClr val="000000"/>
                </a:solidFill>
                <a:effectLst/>
                <a:uLnTx/>
                <a:uFillTx/>
                <a:latin typeface="Aptos" panose="020B0004020202020204" pitchFamily="34" charset="0"/>
                <a:ea typeface="+mj-ea"/>
                <a:cs typeface="+mj-cs"/>
                <a:sym typeface="IBM Plex Sans Light"/>
              </a:rPr>
              <a:pPr marL="0" marR="0" lvl="0" indent="0" algn="r" defTabSz="1218948" rtl="0" eaLnBrk="1" fontAlgn="auto" latinLnBrk="0" hangingPunct="1">
                <a:lnSpc>
                  <a:spcPct val="110000"/>
                </a:lnSpc>
                <a:spcBef>
                  <a:spcPts val="0"/>
                </a:spcBef>
                <a:spcAft>
                  <a:spcPts val="0"/>
                </a:spcAft>
                <a:buClrTx/>
                <a:buSzTx/>
                <a:buFontTx/>
                <a:buNone/>
                <a:tabLst/>
                <a:defRPr/>
              </a:pPr>
              <a:t>‹#›</a:t>
            </a:fld>
            <a:endParaRPr kumimoji="0" lang="en-US" sz="917" b="0" i="0" u="none" strike="noStrike" kern="0" cap="none" spc="0" normalizeH="0" baseline="0" noProof="0">
              <a:ln>
                <a:noFill/>
              </a:ln>
              <a:solidFill>
                <a:srgbClr val="000000"/>
              </a:solidFill>
              <a:effectLst/>
              <a:uLnTx/>
              <a:uFillTx/>
              <a:latin typeface="Aptos" panose="020B0004020202020204" pitchFamily="34" charset="0"/>
              <a:ea typeface="+mj-ea"/>
              <a:cs typeface="+mj-cs"/>
              <a:sym typeface="IBM Plex Sans Light"/>
            </a:endParaRPr>
          </a:p>
        </p:txBody>
      </p:sp>
      <p:pic>
        <p:nvPicPr>
          <p:cNvPr id="3" name="Graphic 2">
            <a:extLst>
              <a:ext uri="{FF2B5EF4-FFF2-40B4-BE49-F238E27FC236}">
                <a16:creationId xmlns:a16="http://schemas.microsoft.com/office/drawing/2014/main" id="{1FB007B2-D6AF-6791-5D9F-560EA8EF7B93}"/>
              </a:ext>
            </a:extLst>
          </p:cNvPr>
          <p:cNvPicPr>
            <a:picLocks noChangeAspect="1"/>
          </p:cNvPicPr>
          <p:nvPr userDrawn="1"/>
        </p:nvPicPr>
        <p:blipFill>
          <a:blip r:embed="rId29" cstate="screen">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11543540" y="6495499"/>
            <a:ext cx="167269" cy="81501"/>
          </a:xfrm>
          <a:prstGeom prst="rect">
            <a:avLst/>
          </a:prstGeom>
        </p:spPr>
      </p:pic>
      <p:sp>
        <p:nvSpPr>
          <p:cNvPr id="7" name="Text Placeholder 3">
            <a:extLst>
              <a:ext uri="{FF2B5EF4-FFF2-40B4-BE49-F238E27FC236}">
                <a16:creationId xmlns:a16="http://schemas.microsoft.com/office/drawing/2014/main" id="{0377BAEC-FAA5-924E-45B9-6B9858BA8A3B}"/>
              </a:ext>
            </a:extLst>
          </p:cNvPr>
          <p:cNvSpPr txBox="1">
            <a:spLocks/>
          </p:cNvSpPr>
          <p:nvPr userDrawn="1"/>
        </p:nvSpPr>
        <p:spPr>
          <a:xfrm>
            <a:off x="288889" y="6458629"/>
            <a:ext cx="4088233" cy="150303"/>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Outfit Light" pitchFamily="2" charset="0"/>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1218948" rtl="0" eaLnBrk="1" fontAlgn="auto" latinLnBrk="0" hangingPunct="1">
              <a:lnSpc>
                <a:spcPct val="110000"/>
              </a:lnSpc>
              <a:spcBef>
                <a:spcPts val="0"/>
              </a:spcBef>
              <a:spcAft>
                <a:spcPts val="0"/>
              </a:spcAft>
              <a:buClrTx/>
              <a:buSzTx/>
              <a:buFontTx/>
              <a:buNone/>
              <a:tabLst/>
              <a:defRPr/>
            </a:pPr>
            <a:r>
              <a:rPr kumimoji="0" lang="en-US" sz="917" b="0" i="0" u="none" strike="noStrike" kern="0" cap="none" spc="0" normalizeH="0" baseline="0" noProof="0">
                <a:ln>
                  <a:noFill/>
                </a:ln>
                <a:solidFill>
                  <a:srgbClr val="000000"/>
                </a:solidFill>
                <a:effectLst/>
                <a:uLnTx/>
                <a:uFillTx/>
                <a:latin typeface="Aptos Light" panose="020B0004020202020204" pitchFamily="34" charset="0"/>
                <a:ea typeface="+mj-ea"/>
                <a:cs typeface="+mj-cs"/>
                <a:sym typeface="IBM Plex Sans Light"/>
              </a:rPr>
              <a:t>Confidential</a:t>
            </a:r>
            <a:r>
              <a:rPr kumimoji="0" lang="en-US" sz="917" b="0" i="0" u="none" strike="noStrike" kern="0" cap="none" spc="0" normalizeH="0" baseline="0" noProof="0">
                <a:ln>
                  <a:noFill/>
                </a:ln>
                <a:solidFill>
                  <a:srgbClr val="2CC84D"/>
                </a:solidFill>
                <a:effectLst/>
                <a:uLnTx/>
                <a:uFillTx/>
                <a:latin typeface="Aptos" panose="020B0004020202020204" pitchFamily="34" charset="0"/>
                <a:ea typeface="+mj-ea"/>
                <a:cs typeface="+mj-cs"/>
                <a:sym typeface="IBM Plex Sans Light"/>
              </a:rPr>
              <a:t> </a:t>
            </a:r>
            <a:r>
              <a:rPr kumimoji="0" lang="en-US" sz="917" b="0" i="0" u="none" strike="noStrike" kern="0" cap="none" spc="0" normalizeH="0" baseline="0" noProof="0">
                <a:ln>
                  <a:noFill/>
                </a:ln>
                <a:solidFill>
                  <a:schemeClr val="accent1"/>
                </a:solidFill>
                <a:effectLst/>
                <a:uLnTx/>
                <a:uFillTx/>
                <a:latin typeface="Aptos" panose="020B0004020202020204" pitchFamily="34" charset="0"/>
                <a:ea typeface="+mj-ea"/>
                <a:cs typeface="+mj-cs"/>
                <a:sym typeface="IBM Plex Sans Light"/>
              </a:rPr>
              <a:t> /  </a:t>
            </a:r>
            <a:r>
              <a:rPr kumimoji="0" lang="en-US" sz="917" b="0" i="0" u="none" strike="noStrike" kern="0" cap="none" spc="0" normalizeH="0" baseline="0" noProof="0">
                <a:ln>
                  <a:noFill/>
                </a:ln>
                <a:solidFill>
                  <a:srgbClr val="000000"/>
                </a:solidFill>
                <a:effectLst/>
                <a:uLnTx/>
                <a:uFillTx/>
                <a:latin typeface="Aptos Light" panose="020B0004020202020204" pitchFamily="34" charset="0"/>
                <a:ea typeface="+mj-ea"/>
                <a:cs typeface="+mj-cs"/>
                <a:sym typeface="IBM Plex Sans Light"/>
              </a:rPr>
              <a:t>Brillio</a:t>
            </a:r>
          </a:p>
        </p:txBody>
      </p:sp>
    </p:spTree>
    <p:extLst>
      <p:ext uri="{BB962C8B-B14F-4D97-AF65-F5344CB8AC3E}">
        <p14:creationId xmlns:p14="http://schemas.microsoft.com/office/powerpoint/2010/main" val="1488275023"/>
      </p:ext>
    </p:extLst>
  </p:cSld>
  <p:clrMap bg1="dk1" tx1="lt1" bg2="dk2" tx2="lt2" accent1="accent1" accent2="accent2" accent3="accent3" accent4="accent4" accent5="accent5" accent6="accent6" hlink="hlink" folHlink="folHlink"/>
  <p:sldLayoutIdLst>
    <p:sldLayoutId id="2147484125" r:id="rId1"/>
    <p:sldLayoutId id="2147484126" r:id="rId2"/>
    <p:sldLayoutId id="2147484127" r:id="rId3"/>
    <p:sldLayoutId id="2147484128" r:id="rId4"/>
    <p:sldLayoutId id="2147484129" r:id="rId5"/>
    <p:sldLayoutId id="2147484130" r:id="rId6"/>
    <p:sldLayoutId id="2147484131" r:id="rId7"/>
    <p:sldLayoutId id="2147484132" r:id="rId8"/>
    <p:sldLayoutId id="2147484133" r:id="rId9"/>
    <p:sldLayoutId id="2147484134" r:id="rId10"/>
    <p:sldLayoutId id="2147484135" r:id="rId11"/>
    <p:sldLayoutId id="2147484136" r:id="rId12"/>
    <p:sldLayoutId id="2147484137" r:id="rId13"/>
    <p:sldLayoutId id="2147484138" r:id="rId14"/>
    <p:sldLayoutId id="2147484139" r:id="rId15"/>
    <p:sldLayoutId id="2147484140" r:id="rId16"/>
    <p:sldLayoutId id="2147484141" r:id="rId17"/>
    <p:sldLayoutId id="2147484142" r:id="rId18"/>
    <p:sldLayoutId id="2147484143" r:id="rId19"/>
    <p:sldLayoutId id="2147484144" r:id="rId20"/>
    <p:sldLayoutId id="2147484145" r:id="rId21"/>
    <p:sldLayoutId id="2147484146" r:id="rId22"/>
    <p:sldLayoutId id="2147484147" r:id="rId23"/>
    <p:sldLayoutId id="2147484148" r:id="rId24"/>
    <p:sldLayoutId id="2147484149" r:id="rId25"/>
    <p:sldLayoutId id="2147484150" r:id="rId26"/>
    <p:sldLayoutId id="2147484151" r:id="rId27"/>
  </p:sldLayoutIdLst>
  <p:transition spd="med"/>
  <p:hf hdr="0" dt="0"/>
  <p:txStyles>
    <p:titleStyle>
      <a:lvl1pPr marL="0" marR="0" indent="0" algn="l" defTabSz="1218948" rtl="0" eaLnBrk="1" latinLnBrk="0" hangingPunct="1">
        <a:lnSpc>
          <a:spcPct val="80000"/>
        </a:lnSpc>
        <a:spcBef>
          <a:spcPts val="0"/>
        </a:spcBef>
        <a:spcAft>
          <a:spcPts val="0"/>
        </a:spcAft>
        <a:buClrTx/>
        <a:buSzTx/>
        <a:buFontTx/>
        <a:buNone/>
        <a:tabLst/>
        <a:defRPr sz="3500" b="0" i="0" u="none" strike="noStrike" cap="none" spc="0" baseline="0">
          <a:solidFill>
            <a:schemeClr val="bg2"/>
          </a:solidFill>
          <a:uFillTx/>
          <a:latin typeface="Aptos Light" panose="020B0004020202020204" pitchFamily="34" charset="0"/>
          <a:ea typeface="+mj-ea"/>
          <a:cs typeface="+mj-cs"/>
          <a:sym typeface="IBM Plex Sans Light"/>
        </a:defRPr>
      </a:lvl1pPr>
      <a:lvl2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7"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5"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1"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88"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p:titleStyle>
    <p:bodyStyle>
      <a:lvl1pPr marL="0" marR="0" indent="0" algn="l" defTabSz="1218948" rtl="0" eaLnBrk="1" latinLnBrk="0" hangingPunct="1">
        <a:lnSpc>
          <a:spcPct val="110000"/>
        </a:lnSpc>
        <a:spcBef>
          <a:spcPts val="0"/>
        </a:spcBef>
        <a:spcAft>
          <a:spcPts val="0"/>
        </a:spcAft>
        <a:buClrTx/>
        <a:buSzTx/>
        <a:buFontTx/>
        <a:buNone/>
        <a:tabLst/>
        <a:defRPr sz="1667" b="0" i="0" u="none" strike="noStrike" cap="none" spc="0" baseline="0">
          <a:solidFill>
            <a:schemeClr val="bg2"/>
          </a:solidFill>
          <a:uFillTx/>
          <a:latin typeface="Aptos Light" panose="020B0004020202020204" pitchFamily="34" charset="0"/>
          <a:ea typeface="+mj-ea"/>
          <a:cs typeface="+mj-cs"/>
          <a:sym typeface="IBM Plex Sans Light"/>
        </a:defRPr>
      </a:lvl1pPr>
      <a:lvl2pPr marL="164558" marR="0" indent="-164558" algn="l" defTabSz="1218948" rtl="0" eaLnBrk="1" latinLnBrk="0" hangingPunct="1">
        <a:lnSpc>
          <a:spcPct val="110000"/>
        </a:lnSpc>
        <a:spcBef>
          <a:spcPts val="0"/>
        </a:spcBef>
        <a:spcAft>
          <a:spcPts val="0"/>
        </a:spcAft>
        <a:buClrTx/>
        <a:buSzPct val="100000"/>
        <a:buFontTx/>
        <a:buChar char="–"/>
        <a:tabLst/>
        <a:defRPr sz="1667" b="0" i="0" u="none" strike="noStrike" cap="none" spc="0" baseline="0">
          <a:solidFill>
            <a:schemeClr val="bg2"/>
          </a:solidFill>
          <a:uFillTx/>
          <a:latin typeface="Aptos Light" panose="020B0004020202020204" pitchFamily="34" charset="0"/>
          <a:ea typeface="+mj-ea"/>
          <a:cs typeface="+mj-cs"/>
          <a:sym typeface="IBM Plex Sans Light"/>
        </a:defRPr>
      </a:lvl2pPr>
      <a:lvl3pPr marL="329116" marR="0" indent="-164558" algn="l" defTabSz="1218948" rtl="0" eaLnBrk="1" latinLnBrk="0" hangingPunct="1">
        <a:lnSpc>
          <a:spcPct val="110000"/>
        </a:lnSpc>
        <a:spcBef>
          <a:spcPts val="0"/>
        </a:spcBef>
        <a:spcAft>
          <a:spcPts val="0"/>
        </a:spcAft>
        <a:buClrTx/>
        <a:buSzPct val="100000"/>
        <a:buFontTx/>
        <a:buChar char="•"/>
        <a:tabLst/>
        <a:defRPr sz="1667" b="0" i="0" u="none" strike="noStrike" cap="none" spc="0" baseline="0">
          <a:solidFill>
            <a:schemeClr val="bg2"/>
          </a:solidFill>
          <a:uFillTx/>
          <a:latin typeface="Aptos Light" panose="020B0004020202020204" pitchFamily="34" charset="0"/>
          <a:ea typeface="+mj-ea"/>
          <a:cs typeface="+mj-cs"/>
          <a:sym typeface="IBM Plex Sans Light"/>
        </a:defRPr>
      </a:lvl3pPr>
      <a:lvl4pPr marL="493674" marR="0" indent="-164558" algn="l" defTabSz="1218948" rtl="0" eaLnBrk="1" latinLnBrk="0" hangingPunct="1">
        <a:lnSpc>
          <a:spcPct val="110000"/>
        </a:lnSpc>
        <a:spcBef>
          <a:spcPts val="0"/>
        </a:spcBef>
        <a:spcAft>
          <a:spcPts val="0"/>
        </a:spcAft>
        <a:buClrTx/>
        <a:buSzPct val="100000"/>
        <a:buFontTx/>
        <a:buChar char="–"/>
        <a:tabLst/>
        <a:defRPr sz="1667" b="0" i="0" u="none" strike="noStrike" cap="none" spc="0" baseline="0">
          <a:solidFill>
            <a:schemeClr val="bg2"/>
          </a:solidFill>
          <a:uFillTx/>
          <a:latin typeface="Aptos Light" panose="020B0004020202020204" pitchFamily="34" charset="0"/>
          <a:ea typeface="+mj-ea"/>
          <a:cs typeface="+mj-cs"/>
          <a:sym typeface="IBM Plex Sans Light"/>
        </a:defRPr>
      </a:lvl4pPr>
      <a:lvl5pPr marL="571382" marR="0" indent="-228553" algn="l" defTabSz="1218948"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40" marR="0" indent="-194464" algn="l" defTabSz="1218948"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588" marR="0" indent="-194464" algn="l" defTabSz="1218948"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34" marR="0" indent="-194464" algn="l" defTabSz="1218948"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081" marR="0" indent="-194464" algn="l" defTabSz="1218948"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p:bodyStyle>
    <p:otherStyle>
      <a:lvl1pPr marL="0" marR="0" indent="0" algn="r" defTabSz="914454"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1pPr>
      <a:lvl2pPr marL="0" marR="0" indent="171460" algn="r" defTabSz="914454"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2pPr>
      <a:lvl3pPr marL="0" marR="0" indent="342920" algn="r" defTabSz="914454"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3pPr>
      <a:lvl4pPr marL="0" marR="0" indent="514381" algn="r" defTabSz="914454"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4pPr>
      <a:lvl5pPr marL="0" marR="0" indent="685841" algn="r" defTabSz="914454"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5pPr>
      <a:lvl6pPr marL="0" marR="0" indent="857301" algn="r" defTabSz="914454"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6pPr>
      <a:lvl7pPr marL="0" marR="0" indent="1028761" algn="r" defTabSz="914454"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7pPr>
      <a:lvl8pPr marL="0" marR="0" indent="1200222" algn="r" defTabSz="914454"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8pPr>
      <a:lvl9pPr marL="0" marR="0" indent="1371682" algn="r" defTabSz="914454"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3" pos="216">
          <p15:clr>
            <a:srgbClr val="5ACBF0"/>
          </p15:clr>
        </p15:guide>
        <p15:guide id="4" pos="750">
          <p15:clr>
            <a:srgbClr val="F26B43"/>
          </p15:clr>
        </p15:guide>
        <p15:guide id="5" pos="966">
          <p15:clr>
            <a:srgbClr val="F26B43"/>
          </p15:clr>
        </p15:guide>
        <p15:guide id="6" pos="1500">
          <p15:clr>
            <a:srgbClr val="F26B43"/>
          </p15:clr>
        </p15:guide>
        <p15:guide id="7" pos="1716">
          <p15:clr>
            <a:srgbClr val="F26B43"/>
          </p15:clr>
        </p15:guide>
        <p15:guide id="8" pos="2250">
          <p15:clr>
            <a:srgbClr val="F26B43"/>
          </p15:clr>
        </p15:guide>
        <p15:guide id="9" pos="2466">
          <p15:clr>
            <a:srgbClr val="F26B43"/>
          </p15:clr>
        </p15:guide>
        <p15:guide id="10" pos="3000">
          <p15:clr>
            <a:srgbClr val="F26B43"/>
          </p15:clr>
        </p15:guide>
        <p15:guide id="11" pos="3216">
          <p15:clr>
            <a:srgbClr val="F26B43"/>
          </p15:clr>
        </p15:guide>
        <p15:guide id="12" pos="3750">
          <p15:clr>
            <a:srgbClr val="F26B43"/>
          </p15:clr>
        </p15:guide>
        <p15:guide id="13" pos="3966">
          <p15:clr>
            <a:srgbClr val="F26B43"/>
          </p15:clr>
        </p15:guide>
        <p15:guide id="14" pos="4500">
          <p15:clr>
            <a:srgbClr val="F26B43"/>
          </p15:clr>
        </p15:guide>
        <p15:guide id="15" pos="4716">
          <p15:clr>
            <a:srgbClr val="F26B43"/>
          </p15:clr>
        </p15:guide>
        <p15:guide id="16" pos="5250">
          <p15:clr>
            <a:srgbClr val="F26B43"/>
          </p15:clr>
        </p15:guide>
        <p15:guide id="17" pos="5466">
          <p15:clr>
            <a:srgbClr val="F26B43"/>
          </p15:clr>
        </p15:guide>
        <p15:guide id="18" pos="6000">
          <p15:clr>
            <a:srgbClr val="F26B43"/>
          </p15:clr>
        </p15:guide>
        <p15:guide id="19" pos="6216">
          <p15:clr>
            <a:srgbClr val="F26B43"/>
          </p15:clr>
        </p15:guide>
        <p15:guide id="20" pos="6750">
          <p15:clr>
            <a:srgbClr val="F26B43"/>
          </p15:clr>
        </p15:guide>
        <p15:guide id="21" pos="6966">
          <p15:clr>
            <a:srgbClr val="F26B43"/>
          </p15:clr>
        </p15:guide>
        <p15:guide id="22" pos="7500">
          <p15:clr>
            <a:srgbClr val="F26B43"/>
          </p15:clr>
        </p15:guide>
        <p15:guide id="23" pos="7716">
          <p15:clr>
            <a:srgbClr val="F26B43"/>
          </p15:clr>
        </p15:guide>
        <p15:guide id="24" pos="8250">
          <p15:clr>
            <a:srgbClr val="F26B43"/>
          </p15:clr>
        </p15:guide>
        <p15:guide id="25" pos="8466">
          <p15:clr>
            <a:srgbClr val="F26B43"/>
          </p15:clr>
        </p15:guide>
        <p15:guide id="26" pos="9000">
          <p15:clr>
            <a:srgbClr val="5ACBF0"/>
          </p15:clr>
        </p15:guide>
        <p15:guide id="29" orient="horz" pos="216">
          <p15:clr>
            <a:srgbClr val="5ACBF0"/>
          </p15:clr>
        </p15:guide>
        <p15:guide id="30" orient="horz" pos="4968">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46CE7D5-CF57-46EF-B807-FDD0502418D4}" type="datetimeFigureOut">
              <a:rPr lang="en-US" smtClean="0"/>
              <a:t>4/11/20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30EA680-D336-4FF7-8B7A-9848BB0A1C32}" type="slidenum">
              <a:rPr lang="en-US" smtClean="0"/>
              <a:t>‹#›</a:t>
            </a:fld>
            <a:endParaRPr lang="en-US"/>
          </a:p>
        </p:txBody>
      </p:sp>
      <p:pic>
        <p:nvPicPr>
          <p:cNvPr id="7" name="Picture 6">
            <a:extLst>
              <a:ext uri="{FF2B5EF4-FFF2-40B4-BE49-F238E27FC236}">
                <a16:creationId xmlns:a16="http://schemas.microsoft.com/office/drawing/2014/main" id="{BBAD8696-EC1E-49CC-D9A5-255D4A749ABA}"/>
              </a:ext>
            </a:extLst>
          </p:cNvPr>
          <p:cNvPicPr>
            <a:picLocks noChangeAspect="1"/>
          </p:cNvPicPr>
          <p:nvPr userDrawn="1"/>
        </p:nvPicPr>
        <p:blipFill>
          <a:blip r:embed="rId14"/>
          <a:stretch>
            <a:fillRect/>
          </a:stretch>
        </p:blipFill>
        <p:spPr>
          <a:xfrm>
            <a:off x="1597479" y="-504059"/>
            <a:ext cx="1211035" cy="457292"/>
          </a:xfrm>
          <a:prstGeom prst="rect">
            <a:avLst/>
          </a:prstGeom>
        </p:spPr>
      </p:pic>
    </p:spTree>
    <p:extLst>
      <p:ext uri="{BB962C8B-B14F-4D97-AF65-F5344CB8AC3E}">
        <p14:creationId xmlns:p14="http://schemas.microsoft.com/office/powerpoint/2010/main" val="169787087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4097"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5760" y="365125"/>
            <a:ext cx="11460480" cy="914400"/>
          </a:xfrm>
          <a:prstGeom prst="rect">
            <a:avLst/>
          </a:prstGeom>
        </p:spPr>
        <p:txBody>
          <a:bodyPr vert="horz"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365760" y="1527048"/>
            <a:ext cx="11460480" cy="420687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F0733385-7C9E-5242-9370-380A43759513}"/>
              </a:ext>
            </a:extLst>
          </p:cNvPr>
          <p:cNvSpPr>
            <a:spLocks noGrp="1"/>
          </p:cNvSpPr>
          <p:nvPr>
            <p:ph type="sldNum" sz="quarter" idx="4"/>
          </p:nvPr>
        </p:nvSpPr>
        <p:spPr>
          <a:xfrm>
            <a:off x="10101263" y="6114866"/>
            <a:ext cx="1724976" cy="365125"/>
          </a:xfrm>
          <a:prstGeom prst="rect">
            <a:avLst/>
          </a:prstGeom>
        </p:spPr>
        <p:txBody>
          <a:bodyPr vert="horz" lIns="0" tIns="0" rIns="0" bIns="0" rtlCol="0" anchor="b"/>
          <a:lstStyle>
            <a:lvl1pPr algn="r">
              <a:defRPr sz="1000" b="0" i="0">
                <a:solidFill>
                  <a:schemeClr val="bg2"/>
                </a:solidFill>
                <a:latin typeface="Arial" panose="020B0604020202020204" pitchFamily="34" charset="0"/>
                <a:cs typeface="Arial" panose="020B0604020202020204" pitchFamily="34" charset="0"/>
              </a:defRPr>
            </a:lvl1pPr>
          </a:lstStyle>
          <a:p>
            <a:r>
              <a:rPr lang="en-US"/>
              <a:t>©2025 Brillio  |  </a:t>
            </a:r>
            <a:fld id="{F1FE5E21-FD07-B44E-90A3-0254BFCDB49A}" type="slidenum">
              <a:rPr smtClean="0"/>
              <a:pPr/>
              <a:t>‹#›</a:t>
            </a:fld>
            <a:endParaRPr/>
          </a:p>
        </p:txBody>
      </p:sp>
      <p:sp>
        <p:nvSpPr>
          <p:cNvPr id="4" name="Footer Placeholder 3">
            <a:extLst>
              <a:ext uri="{FF2B5EF4-FFF2-40B4-BE49-F238E27FC236}">
                <a16:creationId xmlns:a16="http://schemas.microsoft.com/office/drawing/2014/main" id="{6D5838B1-B95D-7A45-BA6D-910DC76916E5}"/>
              </a:ext>
            </a:extLst>
          </p:cNvPr>
          <p:cNvSpPr>
            <a:spLocks noGrp="1"/>
          </p:cNvSpPr>
          <p:nvPr>
            <p:ph type="ftr" sz="quarter" idx="3"/>
          </p:nvPr>
        </p:nvSpPr>
        <p:spPr>
          <a:xfrm>
            <a:off x="4273550" y="6114866"/>
            <a:ext cx="5583238" cy="365125"/>
          </a:xfrm>
          <a:prstGeom prst="rect">
            <a:avLst/>
          </a:prstGeom>
        </p:spPr>
        <p:txBody>
          <a:bodyPr vert="horz" lIns="0" tIns="0" rIns="0" bIns="0" rtlCol="0" anchor="b"/>
          <a:lstStyle>
            <a:lvl1pPr algn="l">
              <a:defRPr sz="1000">
                <a:solidFill>
                  <a:schemeClr val="bg1"/>
                </a:solidFill>
              </a:defRPr>
            </a:lvl1pPr>
          </a:lstStyle>
          <a:p>
            <a:endParaRPr lang="en-US"/>
          </a:p>
        </p:txBody>
      </p:sp>
    </p:spTree>
    <p:extLst>
      <p:ext uri="{BB962C8B-B14F-4D97-AF65-F5344CB8AC3E}">
        <p14:creationId xmlns:p14="http://schemas.microsoft.com/office/powerpoint/2010/main" val="629899100"/>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Lst>
  <p:hf hdr="0" ftr="0" dt="0"/>
  <p:txStyles>
    <p:titleStyle>
      <a:lvl1pPr algn="l" defTabSz="914377" rtl="0" eaLnBrk="1" latinLnBrk="0" hangingPunct="1">
        <a:lnSpc>
          <a:spcPct val="90000"/>
        </a:lnSpc>
        <a:spcBef>
          <a:spcPct val="0"/>
        </a:spcBef>
        <a:buNone/>
        <a:defRPr sz="2800" b="1" i="0" kern="1200" baseline="0">
          <a:solidFill>
            <a:schemeClr val="bg1"/>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ct val="100000"/>
        </a:lnSpc>
        <a:spcBef>
          <a:spcPts val="0"/>
        </a:spcBef>
        <a:spcAft>
          <a:spcPts val="600"/>
        </a:spcAft>
        <a:buFont typeface="Arial" panose="020B0604020202020204" pitchFamily="34" charset="0"/>
        <a:buChar char="•"/>
        <a:defRPr sz="1600" b="0" i="0" kern="1200" baseline="0">
          <a:solidFill>
            <a:schemeClr val="bg1"/>
          </a:solidFill>
          <a:latin typeface="Arial" panose="020B0604020202020204" pitchFamily="34" charset="0"/>
          <a:ea typeface="+mn-ea"/>
          <a:cs typeface="Arial" panose="020B0604020202020204" pitchFamily="34" charset="0"/>
        </a:defRPr>
      </a:lvl1pPr>
      <a:lvl2pPr marL="463284" indent="-228594" algn="l" defTabSz="914377" rtl="0" eaLnBrk="1" latinLnBrk="0" hangingPunct="1">
        <a:lnSpc>
          <a:spcPct val="100000"/>
        </a:lnSpc>
        <a:spcBef>
          <a:spcPts val="0"/>
        </a:spcBef>
        <a:spcAft>
          <a:spcPts val="600"/>
        </a:spcAft>
        <a:buFont typeface="Arial" panose="020B0604020202020204" pitchFamily="34" charset="0"/>
        <a:buChar char="•"/>
        <a:defRPr sz="1600" b="0" i="0" kern="1200" baseline="0">
          <a:solidFill>
            <a:schemeClr val="bg1"/>
          </a:solidFill>
          <a:latin typeface="Arial" panose="020B0604020202020204" pitchFamily="34" charset="0"/>
          <a:ea typeface="+mn-ea"/>
          <a:cs typeface="Arial" panose="020B0604020202020204" pitchFamily="34" charset="0"/>
        </a:defRPr>
      </a:lvl2pPr>
      <a:lvl3pPr marL="682735" indent="-228594" algn="l" defTabSz="914377" rtl="0" eaLnBrk="1" latinLnBrk="0" hangingPunct="1">
        <a:lnSpc>
          <a:spcPct val="100000"/>
        </a:lnSpc>
        <a:spcBef>
          <a:spcPts val="0"/>
        </a:spcBef>
        <a:spcAft>
          <a:spcPts val="600"/>
        </a:spcAft>
        <a:buFont typeface="Arial" panose="020B0604020202020204" pitchFamily="34" charset="0"/>
        <a:buChar char="•"/>
        <a:defRPr sz="1600" b="0" i="0" kern="1200" baseline="0">
          <a:solidFill>
            <a:schemeClr val="bg1"/>
          </a:solidFill>
          <a:latin typeface="Arial" panose="020B0604020202020204" pitchFamily="34" charset="0"/>
          <a:ea typeface="+mn-ea"/>
          <a:cs typeface="Arial" panose="020B0604020202020204" pitchFamily="34" charset="0"/>
        </a:defRPr>
      </a:lvl3pPr>
      <a:lvl4pPr marL="914377" indent="-228594" algn="l" defTabSz="914377" rtl="0" eaLnBrk="1" latinLnBrk="0" hangingPunct="1">
        <a:lnSpc>
          <a:spcPct val="100000"/>
        </a:lnSpc>
        <a:spcBef>
          <a:spcPts val="0"/>
        </a:spcBef>
        <a:spcAft>
          <a:spcPts val="600"/>
        </a:spcAft>
        <a:buFont typeface="Arial" panose="020B0604020202020204" pitchFamily="34" charset="0"/>
        <a:buChar char="•"/>
        <a:defRPr sz="1600" b="0" i="0" kern="1200" baseline="0">
          <a:solidFill>
            <a:schemeClr val="bg1"/>
          </a:solidFill>
          <a:latin typeface="Arial" panose="020B0604020202020204" pitchFamily="34" charset="0"/>
          <a:ea typeface="+mn-ea"/>
          <a:cs typeface="Arial" panose="020B0604020202020204" pitchFamily="34" charset="0"/>
        </a:defRPr>
      </a:lvl4pPr>
      <a:lvl5pPr marL="1146019" indent="-228594" algn="l" defTabSz="914377" rtl="0" eaLnBrk="1" latinLnBrk="0" hangingPunct="1">
        <a:lnSpc>
          <a:spcPct val="100000"/>
        </a:lnSpc>
        <a:spcBef>
          <a:spcPts val="0"/>
        </a:spcBef>
        <a:spcAft>
          <a:spcPts val="600"/>
        </a:spcAft>
        <a:buFont typeface="Arial" panose="020B0604020202020204" pitchFamily="34" charset="0"/>
        <a:buChar char="•"/>
        <a:defRPr sz="1600" b="0" i="0" kern="1200" baseline="0">
          <a:solidFill>
            <a:schemeClr val="bg1"/>
          </a:solidFill>
          <a:latin typeface="Arial" panose="020B0604020202020204" pitchFamily="34" charset="0"/>
          <a:ea typeface="+mn-ea"/>
          <a:cs typeface="Arial" panose="020B0604020202020204" pitchFamily="34" charset="0"/>
        </a:defRPr>
      </a:lvl5pPr>
      <a:lvl6pPr marL="1146019" indent="-228594" algn="l" defTabSz="914377" rtl="0" eaLnBrk="1" latinLnBrk="0" hangingPunct="1">
        <a:lnSpc>
          <a:spcPct val="100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6pPr>
      <a:lvl7pPr marL="1146019" indent="-228594" algn="l" defTabSz="914377" rtl="0" eaLnBrk="1" latinLnBrk="0" hangingPunct="1">
        <a:lnSpc>
          <a:spcPct val="100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7pPr>
      <a:lvl8pPr marL="1146019" indent="-228594" algn="l" defTabSz="914377" rtl="0" eaLnBrk="1" latinLnBrk="0" hangingPunct="1">
        <a:lnSpc>
          <a:spcPct val="100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8pPr>
      <a:lvl9pPr marL="1146019" indent="-228594" algn="l" defTabSz="914377" rtl="0" eaLnBrk="1" latinLnBrk="0" hangingPunct="1">
        <a:lnSpc>
          <a:spcPct val="100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40">
          <p15:clr>
            <a:srgbClr val="F26B43"/>
          </p15:clr>
        </p15:guide>
        <p15:guide id="3" pos="7440">
          <p15:clr>
            <a:srgbClr val="F26B43"/>
          </p15:clr>
        </p15:guide>
        <p15:guide id="4" orient="horz" pos="240">
          <p15:clr>
            <a:srgbClr val="F26B43"/>
          </p15:clr>
        </p15:guide>
        <p15:guide id="5" orient="horz" pos="797">
          <p15:clr>
            <a:srgbClr val="F26B43"/>
          </p15:clr>
        </p15:guide>
        <p15:guide id="6" orient="horz" pos="1008">
          <p15:clr>
            <a:srgbClr val="F26B43"/>
          </p15:clr>
        </p15:guide>
        <p15:guide id="7" orient="horz" pos="3610">
          <p15:clr>
            <a:srgbClr val="F26B43"/>
          </p15:clr>
        </p15:guide>
        <p15:guide id="8" pos="1319">
          <p15:clr>
            <a:srgbClr val="F26B43"/>
          </p15:clr>
        </p15:guide>
        <p15:guide id="9" pos="1467">
          <p15:clr>
            <a:srgbClr val="F26B43"/>
          </p15:clr>
        </p15:guide>
        <p15:guide id="10" pos="2538">
          <p15:clr>
            <a:srgbClr val="F26B43"/>
          </p15:clr>
        </p15:guide>
        <p15:guide id="11" pos="2692">
          <p15:clr>
            <a:srgbClr val="F26B43"/>
          </p15:clr>
        </p15:guide>
        <p15:guide id="12" pos="3757">
          <p15:clr>
            <a:srgbClr val="F26B43"/>
          </p15:clr>
        </p15:guide>
        <p15:guide id="13" pos="3911">
          <p15:clr>
            <a:srgbClr val="F26B43"/>
          </p15:clr>
        </p15:guide>
        <p15:guide id="14" pos="4976">
          <p15:clr>
            <a:srgbClr val="F26B43"/>
          </p15:clr>
        </p15:guide>
        <p15:guide id="15" pos="5130">
          <p15:clr>
            <a:srgbClr val="F26B43"/>
          </p15:clr>
        </p15:guide>
        <p15:guide id="16" pos="6209">
          <p15:clr>
            <a:srgbClr val="F26B43"/>
          </p15:clr>
        </p15:guide>
        <p15:guide id="18" pos="6363">
          <p15:clr>
            <a:srgbClr val="F26B43"/>
          </p15:clr>
        </p15:guide>
        <p15:guide id="19" orient="horz" pos="4059">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8"/>
            </p:custDataLst>
            <p:extLst>
              <p:ext uri="{D42A27DB-BD31-4B8C-83A1-F6EECF244321}">
                <p14:modId xmlns:p14="http://schemas.microsoft.com/office/powerpoint/2010/main" val="3197596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471" imgH="423" progId="TCLayout.ActiveDocument.1">
                  <p:embed/>
                </p:oleObj>
              </mc:Choice>
              <mc:Fallback>
                <p:oleObj name="think-cell Slide" r:id="rId19" imgW="471" imgH="423" progId="TCLayout.ActiveDocument.1">
                  <p:embed/>
                  <p:pic>
                    <p:nvPicPr>
                      <p:cNvPr id="7" name="Object 6" hidden="1"/>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09947BC-C135-4AF9-80CB-7EC49EFAF7EE}"/>
              </a:ext>
            </a:extLst>
          </p:cNvPr>
          <p:cNvSpPr>
            <a:spLocks noGrp="1"/>
          </p:cNvSpPr>
          <p:nvPr>
            <p:ph type="title"/>
          </p:nvPr>
        </p:nvSpPr>
        <p:spPr>
          <a:xfrm>
            <a:off x="512064" y="365760"/>
            <a:ext cx="11180064" cy="570992"/>
          </a:xfrm>
          <a:prstGeom prst="rect">
            <a:avLst/>
          </a:prstGeom>
        </p:spPr>
        <p:txBody>
          <a:bodyPr vert="horz" lIns="0" tIns="0" rIns="0" bIns="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178C3981-E47F-4B94-A56D-1A8F4B3B3863}"/>
              </a:ext>
            </a:extLst>
          </p:cNvPr>
          <p:cNvSpPr>
            <a:spLocks noGrp="1"/>
          </p:cNvSpPr>
          <p:nvPr>
            <p:ph type="body" idx="1"/>
          </p:nvPr>
        </p:nvSpPr>
        <p:spPr>
          <a:xfrm>
            <a:off x="512064" y="1231641"/>
            <a:ext cx="11180064" cy="4730620"/>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527D70FC-A01F-B44F-9317-E682AFFD6EDB}"/>
              </a:ext>
            </a:extLst>
          </p:cNvPr>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a:off x="334865" y="6016620"/>
            <a:ext cx="1484604" cy="812034"/>
          </a:xfrm>
          <a:prstGeom prst="rect">
            <a:avLst/>
          </a:prstGeom>
        </p:spPr>
      </p:pic>
      <p:sp>
        <p:nvSpPr>
          <p:cNvPr id="8" name="Footer Placeholder 8">
            <a:extLst>
              <a:ext uri="{FF2B5EF4-FFF2-40B4-BE49-F238E27FC236}">
                <a16:creationId xmlns:a16="http://schemas.microsoft.com/office/drawing/2014/main" id="{D9B53F39-AAEF-FC4A-BFE2-B8D83F4AE1EA}"/>
              </a:ext>
            </a:extLst>
          </p:cNvPr>
          <p:cNvSpPr>
            <a:spLocks noGrp="1"/>
          </p:cNvSpPr>
          <p:nvPr>
            <p:ph type="ftr" sz="quarter" idx="3"/>
          </p:nvPr>
        </p:nvSpPr>
        <p:spPr>
          <a:xfrm>
            <a:off x="9637452" y="6327648"/>
            <a:ext cx="1706880" cy="207264"/>
          </a:xfrm>
          <a:prstGeom prst="rect">
            <a:avLst/>
          </a:prstGeom>
        </p:spPr>
        <p:txBody>
          <a:bodyPr vert="horz" lIns="0" tIns="0" rIns="0" bIns="0" rtlCol="0" anchor="ctr"/>
          <a:lstStyle>
            <a:lvl1pPr algn="r">
              <a:defRPr sz="1067" baseline="0">
                <a:solidFill>
                  <a:schemeClr val="tx2"/>
                </a:solidFill>
                <a:latin typeface="Arial" panose="020B0604020202020204" pitchFamily="34" charset="0"/>
                <a:cs typeface="Arial" panose="020B0604020202020204" pitchFamily="34" charset="0"/>
              </a:defRPr>
            </a:lvl1pPr>
            <a:lvl2pPr marL="0" indent="0">
              <a:defRPr sz="1000"/>
            </a:lvl2pPr>
            <a:lvl3pPr marL="0" indent="0">
              <a:defRPr sz="1000"/>
            </a:lvl3pPr>
            <a:lvl4pPr marL="0" indent="0">
              <a:defRPr sz="1000"/>
            </a:lvl4pPr>
            <a:lvl5pPr marL="0" indent="0">
              <a:defRPr sz="1000"/>
            </a:lvl5pPr>
            <a:lvl6pPr marL="0" indent="0">
              <a:defRPr sz="1000"/>
            </a:lvl6pPr>
            <a:lvl7pPr marL="0" indent="0">
              <a:defRPr sz="1000"/>
            </a:lvl7pPr>
            <a:lvl8pPr marL="0" indent="0">
              <a:defRPr sz="1000"/>
            </a:lvl8pPr>
            <a:lvl9pPr marL="0" indent="0">
              <a:defRPr sz="1000"/>
            </a:lvl9pPr>
          </a:lstStyle>
          <a:p>
            <a:r>
              <a:rPr lang="en-US"/>
              <a:t>© 2025 Brillio |</a:t>
            </a:r>
          </a:p>
        </p:txBody>
      </p:sp>
      <p:sp>
        <p:nvSpPr>
          <p:cNvPr id="11" name="Slide Number Placeholder 9">
            <a:extLst>
              <a:ext uri="{FF2B5EF4-FFF2-40B4-BE49-F238E27FC236}">
                <a16:creationId xmlns:a16="http://schemas.microsoft.com/office/drawing/2014/main" id="{7CA306FD-041D-B846-B716-93A80116D2A4}"/>
              </a:ext>
            </a:extLst>
          </p:cNvPr>
          <p:cNvSpPr>
            <a:spLocks noGrp="1"/>
          </p:cNvSpPr>
          <p:nvPr>
            <p:ph type="sldNum" sz="quarter" idx="4"/>
          </p:nvPr>
        </p:nvSpPr>
        <p:spPr>
          <a:xfrm>
            <a:off x="11387328" y="6326049"/>
            <a:ext cx="304800" cy="207264"/>
          </a:xfrm>
          <a:prstGeom prst="rect">
            <a:avLst/>
          </a:prstGeom>
        </p:spPr>
        <p:txBody>
          <a:bodyPr vert="horz" lIns="0" tIns="0" rIns="0" bIns="0" rtlCol="0" anchor="ctr"/>
          <a:lstStyle>
            <a:lvl1pPr algn="r">
              <a:defRPr sz="1067" b="0" baseline="0">
                <a:solidFill>
                  <a:schemeClr val="tx2"/>
                </a:solidFill>
                <a:latin typeface="Arial" panose="020B0604020202020204" pitchFamily="34" charset="0"/>
                <a:cs typeface="Arial" panose="020B0604020202020204" pitchFamily="34" charset="0"/>
              </a:defRPr>
            </a:lvl1pPr>
          </a:lstStyle>
          <a:p>
            <a:fld id="{2EFEF571-C9B4-4D92-A7F7-315B894862A8}" type="slidenum">
              <a:rPr lang="en-US" smtClean="0"/>
              <a:pPr/>
              <a:t>‹#›</a:t>
            </a:fld>
            <a:endParaRPr lang="en-US"/>
          </a:p>
        </p:txBody>
      </p:sp>
      <p:sp>
        <p:nvSpPr>
          <p:cNvPr id="4" name="GS Doctop Placeholder" hidden="1"/>
          <p:cNvSpPr txBox="1"/>
          <p:nvPr userDrawn="1"/>
        </p:nvSpPr>
        <p:spPr>
          <a:xfrm>
            <a:off x="546100" y="0"/>
            <a:ext cx="5651500" cy="246221"/>
          </a:xfrm>
          <a:prstGeom prst="rect">
            <a:avLst/>
          </a:prstGeom>
        </p:spPr>
        <p:txBody>
          <a:bodyPr vert="horz" wrap="square" lIns="0" tIns="0" rIns="0" bIns="0" rtlCol="0">
            <a:spAutoFit/>
          </a:bodyPr>
          <a:lstStyle/>
          <a:p>
            <a:pPr algn="l"/>
            <a:r>
              <a:rPr lang="en-US" sz="800" b="0" err="1">
                <a:solidFill>
                  <a:schemeClr val="tx2"/>
                </a:solidFill>
                <a:latin typeface="Arial" panose="020B0604020202020204" pitchFamily="34" charset="0"/>
              </a:rPr>
              <a:t>ibdroot</a:t>
            </a:r>
            <a:r>
              <a:rPr lang="en-US" sz="800" b="0">
                <a:solidFill>
                  <a:schemeClr val="tx2"/>
                </a:solidFill>
                <a:latin typeface="Arial" panose="020B0604020202020204" pitchFamily="34" charset="0"/>
              </a:rPr>
              <a:t>\projects\IBD-NY\beadwork2021\682398_1\Presentation\2025.01.xx TTW Presentation\Brillio_TTW_Feb16.2025 v9.30am EST.pptx</a:t>
            </a:r>
          </a:p>
        </p:txBody>
      </p:sp>
    </p:spTree>
    <p:extLst>
      <p:ext uri="{BB962C8B-B14F-4D97-AF65-F5344CB8AC3E}">
        <p14:creationId xmlns:p14="http://schemas.microsoft.com/office/powerpoint/2010/main" val="1709187388"/>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 id="2147483767" r:id="rId13"/>
    <p:sldLayoutId id="2147483768" r:id="rId14"/>
    <p:sldLayoutId id="2147483769" r:id="rId15"/>
    <p:sldLayoutId id="2147483771" r:id="rId16"/>
  </p:sldLayoutIdLst>
  <p:hf hdr="0" dt="0"/>
  <p:txStyles>
    <p:titleStyle>
      <a:lvl1pPr algn="l" defTabSz="1219110" rtl="0" eaLnBrk="1" latinLnBrk="0" hangingPunct="1">
        <a:lnSpc>
          <a:spcPct val="90000"/>
        </a:lnSpc>
        <a:spcBef>
          <a:spcPct val="0"/>
        </a:spcBef>
        <a:buNone/>
        <a:defRPr sz="2400" b="1" kern="1200" cap="all" baseline="0">
          <a:solidFill>
            <a:schemeClr val="tx2"/>
          </a:solidFill>
          <a:latin typeface="Arial" panose="020B0604020202020204" pitchFamily="34" charset="0"/>
          <a:ea typeface="+mj-ea"/>
          <a:cs typeface="Arial" panose="020B0604020202020204" pitchFamily="34" charset="0"/>
        </a:defRPr>
      </a:lvl1pPr>
    </p:titleStyle>
    <p:bodyStyle>
      <a:lvl1pPr marL="0" indent="0" algn="l" defTabSz="1219110" rtl="0" eaLnBrk="1" latinLnBrk="0" hangingPunct="1">
        <a:lnSpc>
          <a:spcPct val="100000"/>
        </a:lnSpc>
        <a:spcBef>
          <a:spcPts val="800"/>
        </a:spcBef>
        <a:buFont typeface="Arial" panose="020B0604020202020204" pitchFamily="34" charset="0"/>
        <a:buNone/>
        <a:defRPr sz="2400" kern="1200" baseline="0">
          <a:solidFill>
            <a:schemeClr val="tx2"/>
          </a:solidFill>
          <a:latin typeface="Arial" panose="020B0604020202020204" pitchFamily="34" charset="0"/>
          <a:ea typeface="+mn-ea"/>
          <a:cs typeface="Arial" panose="020B0604020202020204" pitchFamily="34" charset="0"/>
        </a:defRPr>
      </a:lvl1pPr>
      <a:lvl2pPr marL="304776" indent="-304776" algn="l" defTabSz="1219110" rtl="0" eaLnBrk="1" latinLnBrk="0" hangingPunct="1">
        <a:lnSpc>
          <a:spcPct val="100000"/>
        </a:lnSpc>
        <a:spcBef>
          <a:spcPts val="800"/>
        </a:spcBef>
        <a:buClrTx/>
        <a:buSzPct val="125000"/>
        <a:buFont typeface="Arial" panose="020B0604020202020204" pitchFamily="34" charset="0"/>
        <a:buChar char="•"/>
        <a:defRPr sz="2133" kern="1200" baseline="0">
          <a:solidFill>
            <a:schemeClr val="tx2"/>
          </a:solidFill>
          <a:latin typeface="Arial" panose="020B0604020202020204" pitchFamily="34" charset="0"/>
          <a:ea typeface="+mn-ea"/>
          <a:cs typeface="Arial" panose="020B0604020202020204" pitchFamily="34" charset="0"/>
        </a:defRPr>
      </a:lvl2pPr>
      <a:lvl3pPr marL="609555" indent="-304776" algn="l" defTabSz="1219110" rtl="0" eaLnBrk="1" latinLnBrk="0" hangingPunct="1">
        <a:lnSpc>
          <a:spcPct val="100000"/>
        </a:lnSpc>
        <a:spcBef>
          <a:spcPts val="533"/>
        </a:spcBef>
        <a:buClrTx/>
        <a:buSzPct val="100000"/>
        <a:buFont typeface="Arial" panose="020B0604020202020204" pitchFamily="34" charset="0"/>
        <a:buChar char="–"/>
        <a:defRPr sz="1867" kern="1200" baseline="0">
          <a:solidFill>
            <a:schemeClr val="tx2"/>
          </a:solidFill>
          <a:latin typeface="Arial" panose="020B0604020202020204" pitchFamily="34" charset="0"/>
          <a:ea typeface="+mn-ea"/>
          <a:cs typeface="Arial" panose="020B0604020202020204" pitchFamily="34" charset="0"/>
        </a:defRPr>
      </a:lvl3pPr>
      <a:lvl4pPr marL="914332" indent="-304776" algn="l" defTabSz="1219110" rtl="0" eaLnBrk="1" latinLnBrk="0" hangingPunct="1">
        <a:lnSpc>
          <a:spcPct val="100000"/>
        </a:lnSpc>
        <a:spcBef>
          <a:spcPts val="533"/>
        </a:spcBef>
        <a:buClrTx/>
        <a:buSzPct val="100000"/>
        <a:buFont typeface="Arial" panose="020B0604020202020204" pitchFamily="34" charset="0"/>
        <a:buChar char="•"/>
        <a:defRPr sz="1600" kern="1200" baseline="0">
          <a:solidFill>
            <a:schemeClr val="tx2"/>
          </a:solidFill>
          <a:latin typeface="Arial" panose="020B0604020202020204" pitchFamily="34" charset="0"/>
          <a:ea typeface="+mn-ea"/>
          <a:cs typeface="Arial" panose="020B0604020202020204" pitchFamily="34" charset="0"/>
        </a:defRPr>
      </a:lvl4pPr>
      <a:lvl5pPr marL="1219110" indent="-304776" algn="l" defTabSz="1219110" rtl="0" eaLnBrk="1" latinLnBrk="0" hangingPunct="1">
        <a:lnSpc>
          <a:spcPct val="100000"/>
        </a:lnSpc>
        <a:spcBef>
          <a:spcPts val="533"/>
        </a:spcBef>
        <a:buClrTx/>
        <a:buSzPct val="100000"/>
        <a:buFont typeface="Arial" panose="020B0604020202020204" pitchFamily="34" charset="0"/>
        <a:buChar char="–"/>
        <a:defRPr sz="1400" kern="1200" baseline="0">
          <a:solidFill>
            <a:schemeClr val="tx2"/>
          </a:solidFill>
          <a:latin typeface="Arial" panose="020B0604020202020204" pitchFamily="34" charset="0"/>
          <a:ea typeface="+mn-ea"/>
          <a:cs typeface="Arial" panose="020B0604020202020204" pitchFamily="34" charset="0"/>
        </a:defRPr>
      </a:lvl5pPr>
      <a:lvl6pPr marL="1523887" indent="-304776" algn="l" defTabSz="1219110" rtl="0" eaLnBrk="1" latinLnBrk="0" hangingPunct="1">
        <a:lnSpc>
          <a:spcPct val="100000"/>
        </a:lnSpc>
        <a:spcBef>
          <a:spcPts val="533"/>
        </a:spcBef>
        <a:buClr>
          <a:schemeClr val="accent2"/>
        </a:buClr>
        <a:buSzPct val="125000"/>
        <a:buFont typeface="Arial" panose="020B0604020202020204" pitchFamily="34" charset="0"/>
        <a:buChar char="•"/>
        <a:defRPr sz="2133" kern="1200">
          <a:solidFill>
            <a:schemeClr val="tx2"/>
          </a:solidFill>
          <a:latin typeface="Arial" panose="020B0604020202020204" pitchFamily="34" charset="0"/>
          <a:ea typeface="+mn-ea"/>
          <a:cs typeface="Arial" panose="020B0604020202020204" pitchFamily="34" charset="0"/>
        </a:defRPr>
      </a:lvl6pPr>
      <a:lvl7pPr marL="1828664" indent="-304776" algn="l" defTabSz="1219110" rtl="0" eaLnBrk="1" latinLnBrk="0" hangingPunct="1">
        <a:lnSpc>
          <a:spcPct val="100000"/>
        </a:lnSpc>
        <a:spcBef>
          <a:spcPts val="533"/>
        </a:spcBef>
        <a:buClr>
          <a:schemeClr val="accent2"/>
        </a:buClr>
        <a:buSzPct val="90000"/>
        <a:buFont typeface="Arial" panose="020B0604020202020204" pitchFamily="34" charset="0"/>
        <a:buChar char="–"/>
        <a:defRPr sz="2133" kern="1200">
          <a:solidFill>
            <a:schemeClr val="tx2"/>
          </a:solidFill>
          <a:latin typeface="+mn-lt"/>
          <a:ea typeface="+mn-ea"/>
          <a:cs typeface="+mn-cs"/>
        </a:defRPr>
      </a:lvl7pPr>
      <a:lvl8pPr marL="2133440" indent="-304776" algn="l" defTabSz="1219110" rtl="0" eaLnBrk="1" latinLnBrk="0" hangingPunct="1">
        <a:lnSpc>
          <a:spcPct val="100000"/>
        </a:lnSpc>
        <a:spcBef>
          <a:spcPts val="533"/>
        </a:spcBef>
        <a:buClr>
          <a:schemeClr val="accent2"/>
        </a:buClr>
        <a:buSzPct val="90000"/>
        <a:buFont typeface="Courier New" panose="02070309020205020404" pitchFamily="49" charset="0"/>
        <a:buChar char="o"/>
        <a:defRPr sz="2133" kern="1200">
          <a:solidFill>
            <a:schemeClr val="tx2"/>
          </a:solidFill>
          <a:latin typeface="+mn-lt"/>
          <a:ea typeface="+mn-ea"/>
          <a:cs typeface="+mn-cs"/>
        </a:defRPr>
      </a:lvl8pPr>
      <a:lvl9pPr marL="2133440" indent="-304776" algn="l" defTabSz="1219110" rtl="0" eaLnBrk="1" latinLnBrk="0" hangingPunct="1">
        <a:lnSpc>
          <a:spcPct val="100000"/>
        </a:lnSpc>
        <a:spcBef>
          <a:spcPts val="533"/>
        </a:spcBef>
        <a:buClrTx/>
        <a:buSzPct val="90000"/>
        <a:buFont typeface="Courier New" panose="02070309020205020404" pitchFamily="49" charset="0"/>
        <a:buChar char="o"/>
        <a:defRPr sz="2133" kern="1200">
          <a:solidFill>
            <a:schemeClr val="tx2"/>
          </a:solidFill>
          <a:latin typeface="+mn-lt"/>
          <a:ea typeface="+mn-ea"/>
          <a:cs typeface="+mn-cs"/>
        </a:defRPr>
      </a:lvl9pPr>
    </p:bodyStyle>
    <p:otherStyle>
      <a:defPPr>
        <a:defRPr lang="en-US"/>
      </a:defPPr>
      <a:lvl1pPr marL="0" algn="l" defTabSz="1219110" rtl="0" eaLnBrk="1" latinLnBrk="0" hangingPunct="1">
        <a:defRPr sz="2400" kern="1200">
          <a:solidFill>
            <a:schemeClr val="tx1"/>
          </a:solidFill>
          <a:latin typeface="+mn-lt"/>
          <a:ea typeface="+mn-ea"/>
          <a:cs typeface="+mn-cs"/>
        </a:defRPr>
      </a:lvl1pPr>
      <a:lvl2pPr marL="609555" algn="l" defTabSz="1219110" rtl="0" eaLnBrk="1" latinLnBrk="0" hangingPunct="1">
        <a:defRPr sz="2400" kern="1200">
          <a:solidFill>
            <a:schemeClr val="tx1"/>
          </a:solidFill>
          <a:latin typeface="+mn-lt"/>
          <a:ea typeface="+mn-ea"/>
          <a:cs typeface="+mn-cs"/>
        </a:defRPr>
      </a:lvl2pPr>
      <a:lvl3pPr marL="1219110" algn="l" defTabSz="1219110" rtl="0" eaLnBrk="1" latinLnBrk="0" hangingPunct="1">
        <a:defRPr sz="2400" kern="1200">
          <a:solidFill>
            <a:schemeClr val="tx1"/>
          </a:solidFill>
          <a:latin typeface="+mn-lt"/>
          <a:ea typeface="+mn-ea"/>
          <a:cs typeface="+mn-cs"/>
        </a:defRPr>
      </a:lvl3pPr>
      <a:lvl4pPr marL="1828664" algn="l" defTabSz="1219110" rtl="0" eaLnBrk="1" latinLnBrk="0" hangingPunct="1">
        <a:defRPr sz="2400" kern="1200">
          <a:solidFill>
            <a:schemeClr val="tx1"/>
          </a:solidFill>
          <a:latin typeface="+mn-lt"/>
          <a:ea typeface="+mn-ea"/>
          <a:cs typeface="+mn-cs"/>
        </a:defRPr>
      </a:lvl4pPr>
      <a:lvl5pPr marL="2438218" algn="l" defTabSz="1219110" rtl="0" eaLnBrk="1" latinLnBrk="0" hangingPunct="1">
        <a:defRPr sz="2400" kern="1200">
          <a:solidFill>
            <a:schemeClr val="tx1"/>
          </a:solidFill>
          <a:latin typeface="+mn-lt"/>
          <a:ea typeface="+mn-ea"/>
          <a:cs typeface="+mn-cs"/>
        </a:defRPr>
      </a:lvl5pPr>
      <a:lvl6pPr marL="3047772" algn="l" defTabSz="1219110" rtl="0" eaLnBrk="1" latinLnBrk="0" hangingPunct="1">
        <a:defRPr sz="2400" kern="1200">
          <a:solidFill>
            <a:schemeClr val="tx1"/>
          </a:solidFill>
          <a:latin typeface="+mn-lt"/>
          <a:ea typeface="+mn-ea"/>
          <a:cs typeface="+mn-cs"/>
        </a:defRPr>
      </a:lvl6pPr>
      <a:lvl7pPr marL="3657327" algn="l" defTabSz="1219110" rtl="0" eaLnBrk="1" latinLnBrk="0" hangingPunct="1">
        <a:defRPr sz="2400" kern="1200">
          <a:solidFill>
            <a:schemeClr val="tx1"/>
          </a:solidFill>
          <a:latin typeface="+mn-lt"/>
          <a:ea typeface="+mn-ea"/>
          <a:cs typeface="+mn-cs"/>
        </a:defRPr>
      </a:lvl7pPr>
      <a:lvl8pPr marL="4266880" algn="l" defTabSz="1219110" rtl="0" eaLnBrk="1" latinLnBrk="0" hangingPunct="1">
        <a:defRPr sz="2400" kern="1200">
          <a:solidFill>
            <a:schemeClr val="tx1"/>
          </a:solidFill>
          <a:latin typeface="+mn-lt"/>
          <a:ea typeface="+mn-ea"/>
          <a:cs typeface="+mn-cs"/>
        </a:defRPr>
      </a:lvl8pPr>
      <a:lvl9pPr marL="4876435" algn="l" defTabSz="121911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52">
          <p15:clr>
            <a:srgbClr val="F26B43"/>
          </p15:clr>
        </p15:guide>
        <p15:guide id="2" pos="320">
          <p15:clr>
            <a:srgbClr val="F26B43"/>
          </p15:clr>
        </p15:guide>
        <p15:guide id="3" pos="7392">
          <p15:clr>
            <a:srgbClr val="F26B43"/>
          </p15:clr>
        </p15:guide>
        <p15:guide id="4" orient="horz" pos="4016">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8" name="Title Text"/>
          <p:cNvSpPr txBox="1">
            <a:spLocks noGrp="1"/>
          </p:cNvSpPr>
          <p:nvPr>
            <p:ph type="title"/>
          </p:nvPr>
        </p:nvSpPr>
        <p:spPr>
          <a:xfrm>
            <a:off x="288718" y="274545"/>
            <a:ext cx="11609294" cy="1327849"/>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p>
            <a:r>
              <a:rPr lang="en-US"/>
              <a:t>Title Text</a:t>
            </a:r>
            <a:endParaRPr/>
          </a:p>
        </p:txBody>
      </p:sp>
      <p:sp>
        <p:nvSpPr>
          <p:cNvPr id="49" name="Body Level One…"/>
          <p:cNvSpPr txBox="1">
            <a:spLocks noGrp="1"/>
          </p:cNvSpPr>
          <p:nvPr>
            <p:ph type="body" idx="1"/>
          </p:nvPr>
        </p:nvSpPr>
        <p:spPr>
          <a:xfrm>
            <a:off x="288718" y="1663700"/>
            <a:ext cx="11609294" cy="450438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p>
            <a:r>
              <a:t>Body Level One</a:t>
            </a:r>
          </a:p>
          <a:p>
            <a:pPr lvl="1"/>
            <a:r>
              <a:t>Body Level Two</a:t>
            </a:r>
          </a:p>
          <a:p>
            <a:pPr lvl="2"/>
            <a:r>
              <a:t>Body Level Three</a:t>
            </a:r>
          </a:p>
          <a:p>
            <a:pPr lvl="3"/>
            <a:r>
              <a:t>Body Level Four</a:t>
            </a:r>
          </a:p>
        </p:txBody>
      </p:sp>
      <p:sp>
        <p:nvSpPr>
          <p:cNvPr id="2" name="Text Placeholder 3">
            <a:extLst>
              <a:ext uri="{FF2B5EF4-FFF2-40B4-BE49-F238E27FC236}">
                <a16:creationId xmlns:a16="http://schemas.microsoft.com/office/drawing/2014/main" id="{B5333677-585F-C25B-43AB-487EF281CF1D}"/>
              </a:ext>
            </a:extLst>
          </p:cNvPr>
          <p:cNvSpPr txBox="1">
            <a:spLocks/>
          </p:cNvSpPr>
          <p:nvPr userDrawn="1"/>
        </p:nvSpPr>
        <p:spPr>
          <a:xfrm>
            <a:off x="11438259" y="6458629"/>
            <a:ext cx="462473" cy="150303"/>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Outfit Light" pitchFamily="2" charset="0"/>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r" defTabSz="1218948" rtl="0" eaLnBrk="1" fontAlgn="auto" latinLnBrk="0" hangingPunct="1">
              <a:lnSpc>
                <a:spcPct val="110000"/>
              </a:lnSpc>
              <a:spcBef>
                <a:spcPts val="0"/>
              </a:spcBef>
              <a:spcAft>
                <a:spcPts val="0"/>
              </a:spcAft>
              <a:buClrTx/>
              <a:buSzTx/>
              <a:buFontTx/>
              <a:buNone/>
              <a:tabLst/>
              <a:defRPr/>
            </a:pPr>
            <a:fld id="{64F0821C-65D3-DD4D-8DB2-745946DB9115}" type="slidenum">
              <a:rPr kumimoji="0" lang="en-US" sz="917" b="0" i="0" u="none" strike="noStrike" kern="0" cap="none" spc="0" normalizeH="0" baseline="0" noProof="0" smtClean="0">
                <a:ln>
                  <a:noFill/>
                </a:ln>
                <a:solidFill>
                  <a:srgbClr val="000000"/>
                </a:solidFill>
                <a:effectLst/>
                <a:uLnTx/>
                <a:uFillTx/>
                <a:latin typeface="Aptos" panose="020B0004020202020204" pitchFamily="34" charset="0"/>
                <a:ea typeface="+mj-ea"/>
                <a:cs typeface="+mj-cs"/>
                <a:sym typeface="IBM Plex Sans Light"/>
              </a:rPr>
              <a:pPr marL="0" marR="0" lvl="0" indent="0" algn="r" defTabSz="1218948" rtl="0" eaLnBrk="1" fontAlgn="auto" latinLnBrk="0" hangingPunct="1">
                <a:lnSpc>
                  <a:spcPct val="110000"/>
                </a:lnSpc>
                <a:spcBef>
                  <a:spcPts val="0"/>
                </a:spcBef>
                <a:spcAft>
                  <a:spcPts val="0"/>
                </a:spcAft>
                <a:buClrTx/>
                <a:buSzTx/>
                <a:buFontTx/>
                <a:buNone/>
                <a:tabLst/>
                <a:defRPr/>
              </a:pPr>
              <a:t>‹#›</a:t>
            </a:fld>
            <a:endParaRPr kumimoji="0" lang="en-US" sz="917" b="0" i="0" u="none" strike="noStrike" kern="0" cap="none" spc="0" normalizeH="0" baseline="0" noProof="0">
              <a:ln>
                <a:noFill/>
              </a:ln>
              <a:solidFill>
                <a:srgbClr val="000000"/>
              </a:solidFill>
              <a:effectLst/>
              <a:uLnTx/>
              <a:uFillTx/>
              <a:latin typeface="Aptos" panose="020B0004020202020204" pitchFamily="34" charset="0"/>
              <a:ea typeface="+mj-ea"/>
              <a:cs typeface="+mj-cs"/>
              <a:sym typeface="IBM Plex Sans Light"/>
            </a:endParaRPr>
          </a:p>
        </p:txBody>
      </p:sp>
      <p:pic>
        <p:nvPicPr>
          <p:cNvPr id="3" name="Graphic 2">
            <a:extLst>
              <a:ext uri="{FF2B5EF4-FFF2-40B4-BE49-F238E27FC236}">
                <a16:creationId xmlns:a16="http://schemas.microsoft.com/office/drawing/2014/main" id="{1FB007B2-D6AF-6791-5D9F-560EA8EF7B93}"/>
              </a:ext>
            </a:extLst>
          </p:cNvPr>
          <p:cNvPicPr>
            <a:picLocks noChangeAspect="1"/>
          </p:cNvPicPr>
          <p:nvPr userDrawn="1"/>
        </p:nvPicPr>
        <p:blipFill>
          <a:blip r:embed="rId29" cstate="screen">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11543540" y="6495499"/>
            <a:ext cx="167269" cy="81501"/>
          </a:xfrm>
          <a:prstGeom prst="rect">
            <a:avLst/>
          </a:prstGeom>
        </p:spPr>
      </p:pic>
      <p:sp>
        <p:nvSpPr>
          <p:cNvPr id="7" name="Text Placeholder 3">
            <a:extLst>
              <a:ext uri="{FF2B5EF4-FFF2-40B4-BE49-F238E27FC236}">
                <a16:creationId xmlns:a16="http://schemas.microsoft.com/office/drawing/2014/main" id="{0377BAEC-FAA5-924E-45B9-6B9858BA8A3B}"/>
              </a:ext>
            </a:extLst>
          </p:cNvPr>
          <p:cNvSpPr txBox="1">
            <a:spLocks/>
          </p:cNvSpPr>
          <p:nvPr userDrawn="1"/>
        </p:nvSpPr>
        <p:spPr>
          <a:xfrm>
            <a:off x="288889" y="6458629"/>
            <a:ext cx="4088233" cy="150303"/>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Outfit Light" pitchFamily="2" charset="0"/>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1218948" rtl="0" eaLnBrk="1" fontAlgn="auto" latinLnBrk="0" hangingPunct="1">
              <a:lnSpc>
                <a:spcPct val="110000"/>
              </a:lnSpc>
              <a:spcBef>
                <a:spcPts val="0"/>
              </a:spcBef>
              <a:spcAft>
                <a:spcPts val="0"/>
              </a:spcAft>
              <a:buClrTx/>
              <a:buSzTx/>
              <a:buFontTx/>
              <a:buNone/>
              <a:tabLst/>
              <a:defRPr/>
            </a:pPr>
            <a:r>
              <a:rPr kumimoji="0" lang="en-US" sz="917" b="0" i="0" u="none" strike="noStrike" kern="0" cap="none" spc="0" normalizeH="0" baseline="0" noProof="0">
                <a:ln>
                  <a:noFill/>
                </a:ln>
                <a:solidFill>
                  <a:srgbClr val="000000"/>
                </a:solidFill>
                <a:effectLst/>
                <a:uLnTx/>
                <a:uFillTx/>
                <a:latin typeface="Aptos Light" panose="020B0004020202020204" pitchFamily="34" charset="0"/>
                <a:ea typeface="+mj-ea"/>
                <a:cs typeface="+mj-cs"/>
                <a:sym typeface="IBM Plex Sans Light"/>
              </a:rPr>
              <a:t>Confidential</a:t>
            </a:r>
            <a:r>
              <a:rPr kumimoji="0" lang="en-US" sz="917" b="0" i="0" u="none" strike="noStrike" kern="0" cap="none" spc="0" normalizeH="0" baseline="0" noProof="0">
                <a:ln>
                  <a:noFill/>
                </a:ln>
                <a:solidFill>
                  <a:srgbClr val="2CC84D"/>
                </a:solidFill>
                <a:effectLst/>
                <a:uLnTx/>
                <a:uFillTx/>
                <a:latin typeface="Aptos" panose="020B0004020202020204" pitchFamily="34" charset="0"/>
                <a:ea typeface="+mj-ea"/>
                <a:cs typeface="+mj-cs"/>
                <a:sym typeface="IBM Plex Sans Light"/>
              </a:rPr>
              <a:t> </a:t>
            </a:r>
            <a:r>
              <a:rPr kumimoji="0" lang="en-US" sz="917" b="0" i="0" u="none" strike="noStrike" kern="0" cap="none" spc="0" normalizeH="0" baseline="0" noProof="0">
                <a:ln>
                  <a:noFill/>
                </a:ln>
                <a:solidFill>
                  <a:schemeClr val="accent1"/>
                </a:solidFill>
                <a:effectLst/>
                <a:uLnTx/>
                <a:uFillTx/>
                <a:latin typeface="Aptos" panose="020B0004020202020204" pitchFamily="34" charset="0"/>
                <a:ea typeface="+mj-ea"/>
                <a:cs typeface="+mj-cs"/>
                <a:sym typeface="IBM Plex Sans Light"/>
              </a:rPr>
              <a:t> /  </a:t>
            </a:r>
            <a:r>
              <a:rPr kumimoji="0" lang="en-US" sz="917" b="0" i="0" u="none" strike="noStrike" kern="0" cap="none" spc="0" normalizeH="0" baseline="0" noProof="0">
                <a:ln>
                  <a:noFill/>
                </a:ln>
                <a:solidFill>
                  <a:srgbClr val="000000"/>
                </a:solidFill>
                <a:effectLst/>
                <a:uLnTx/>
                <a:uFillTx/>
                <a:latin typeface="Aptos Light" panose="020B0004020202020204" pitchFamily="34" charset="0"/>
                <a:ea typeface="+mj-ea"/>
                <a:cs typeface="+mj-cs"/>
                <a:sym typeface="IBM Plex Sans Light"/>
              </a:rPr>
              <a:t>Brillio Design</a:t>
            </a:r>
          </a:p>
        </p:txBody>
      </p:sp>
    </p:spTree>
    <p:extLst>
      <p:ext uri="{BB962C8B-B14F-4D97-AF65-F5344CB8AC3E}">
        <p14:creationId xmlns:p14="http://schemas.microsoft.com/office/powerpoint/2010/main" val="1494487214"/>
      </p:ext>
    </p:extLst>
  </p:cSld>
  <p:clrMap bg1="dk1" tx1="lt1" bg2="dk2" tx2="lt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 id="2147483790" r:id="rId17"/>
    <p:sldLayoutId id="2147483791" r:id="rId18"/>
    <p:sldLayoutId id="2147483792" r:id="rId19"/>
    <p:sldLayoutId id="2147483793" r:id="rId20"/>
    <p:sldLayoutId id="2147483794" r:id="rId21"/>
    <p:sldLayoutId id="2147483795" r:id="rId22"/>
    <p:sldLayoutId id="2147483796" r:id="rId23"/>
    <p:sldLayoutId id="2147483797" r:id="rId24"/>
    <p:sldLayoutId id="2147483798" r:id="rId25"/>
    <p:sldLayoutId id="2147483799" r:id="rId26"/>
    <p:sldLayoutId id="2147483800" r:id="rId27"/>
  </p:sldLayoutIdLst>
  <p:transition spd="med"/>
  <p:hf hdr="0" dt="0"/>
  <p:txStyles>
    <p:titleStyle>
      <a:lvl1pPr marL="0" marR="0" indent="0" algn="l" defTabSz="1218948" rtl="0" eaLnBrk="1" latinLnBrk="0" hangingPunct="1">
        <a:lnSpc>
          <a:spcPct val="80000"/>
        </a:lnSpc>
        <a:spcBef>
          <a:spcPts val="0"/>
        </a:spcBef>
        <a:spcAft>
          <a:spcPts val="0"/>
        </a:spcAft>
        <a:buClrTx/>
        <a:buSzTx/>
        <a:buFontTx/>
        <a:buNone/>
        <a:tabLst/>
        <a:defRPr sz="3167" b="0" i="0" u="none" strike="noStrike" cap="none" spc="0" baseline="0">
          <a:solidFill>
            <a:schemeClr val="bg1"/>
          </a:solidFill>
          <a:uFillTx/>
          <a:latin typeface="Aptos" panose="020B0004020202020204" pitchFamily="34" charset="0"/>
          <a:ea typeface="+mj-ea"/>
          <a:cs typeface="+mj-cs"/>
          <a:sym typeface="IBM Plex Sans Light"/>
        </a:defRPr>
      </a:lvl1pPr>
      <a:lvl2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7"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5"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1"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88"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p:titleStyle>
    <p:bodyStyle>
      <a:lvl1pPr marL="0" marR="0" indent="0" algn="l" defTabSz="1218948" rtl="0" eaLnBrk="1" latinLnBrk="0" hangingPunct="1">
        <a:lnSpc>
          <a:spcPct val="110000"/>
        </a:lnSpc>
        <a:spcBef>
          <a:spcPts val="0"/>
        </a:spcBef>
        <a:spcAft>
          <a:spcPts val="0"/>
        </a:spcAft>
        <a:buClrTx/>
        <a:buSzTx/>
        <a:buFontTx/>
        <a:buNone/>
        <a:tabLst/>
        <a:defRPr sz="1667" b="0" i="0" u="none" strike="noStrike" cap="none" spc="0" baseline="0">
          <a:solidFill>
            <a:schemeClr val="bg1"/>
          </a:solidFill>
          <a:uFillTx/>
          <a:latin typeface="Aptos Light" panose="020B0004020202020204" pitchFamily="34" charset="0"/>
          <a:ea typeface="+mj-ea"/>
          <a:cs typeface="+mj-cs"/>
          <a:sym typeface="IBM Plex Sans Light"/>
        </a:defRPr>
      </a:lvl1pPr>
      <a:lvl2pPr marL="164558" marR="0" indent="-164558" algn="l" defTabSz="1218948" rtl="0" eaLnBrk="1" latinLnBrk="0" hangingPunct="1">
        <a:lnSpc>
          <a:spcPct val="110000"/>
        </a:lnSpc>
        <a:spcBef>
          <a:spcPts val="0"/>
        </a:spcBef>
        <a:spcAft>
          <a:spcPts val="0"/>
        </a:spcAft>
        <a:buClrTx/>
        <a:buSzPct val="100000"/>
        <a:buFontTx/>
        <a:buChar char="–"/>
        <a:tabLst/>
        <a:defRPr sz="1667" b="0" i="0" u="none" strike="noStrike" cap="none" spc="0" baseline="0">
          <a:solidFill>
            <a:schemeClr val="bg1"/>
          </a:solidFill>
          <a:uFillTx/>
          <a:latin typeface="Aptos Light" panose="020B0004020202020204" pitchFamily="34" charset="0"/>
          <a:ea typeface="+mj-ea"/>
          <a:cs typeface="+mj-cs"/>
          <a:sym typeface="IBM Plex Sans Light"/>
        </a:defRPr>
      </a:lvl2pPr>
      <a:lvl3pPr marL="329116" marR="0" indent="-164558" algn="l" defTabSz="1218948" rtl="0" eaLnBrk="1" latinLnBrk="0" hangingPunct="1">
        <a:lnSpc>
          <a:spcPct val="110000"/>
        </a:lnSpc>
        <a:spcBef>
          <a:spcPts val="0"/>
        </a:spcBef>
        <a:spcAft>
          <a:spcPts val="0"/>
        </a:spcAft>
        <a:buClrTx/>
        <a:buSzPct val="100000"/>
        <a:buFontTx/>
        <a:buChar char="•"/>
        <a:tabLst/>
        <a:defRPr sz="1667" b="0" i="0" u="none" strike="noStrike" cap="none" spc="0" baseline="0">
          <a:solidFill>
            <a:schemeClr val="bg1"/>
          </a:solidFill>
          <a:uFillTx/>
          <a:latin typeface="Aptos Light" panose="020B0004020202020204" pitchFamily="34" charset="0"/>
          <a:ea typeface="+mj-ea"/>
          <a:cs typeface="+mj-cs"/>
          <a:sym typeface="IBM Plex Sans Light"/>
        </a:defRPr>
      </a:lvl3pPr>
      <a:lvl4pPr marL="493674" marR="0" indent="-164558" algn="l" defTabSz="1218948" rtl="0" eaLnBrk="1" latinLnBrk="0" hangingPunct="1">
        <a:lnSpc>
          <a:spcPct val="110000"/>
        </a:lnSpc>
        <a:spcBef>
          <a:spcPts val="0"/>
        </a:spcBef>
        <a:spcAft>
          <a:spcPts val="0"/>
        </a:spcAft>
        <a:buClrTx/>
        <a:buSzPct val="100000"/>
        <a:buFontTx/>
        <a:buChar char="–"/>
        <a:tabLst/>
        <a:defRPr sz="1667" b="0" i="0" u="none" strike="noStrike" cap="none" spc="0" baseline="0">
          <a:solidFill>
            <a:schemeClr val="bg1"/>
          </a:solidFill>
          <a:uFillTx/>
          <a:latin typeface="Aptos Light" panose="020B0004020202020204" pitchFamily="34" charset="0"/>
          <a:ea typeface="+mj-ea"/>
          <a:cs typeface="+mj-cs"/>
          <a:sym typeface="IBM Plex Sans Light"/>
        </a:defRPr>
      </a:lvl4pPr>
      <a:lvl5pPr marL="571382" marR="0" indent="-228553" algn="l" defTabSz="1218948"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40" marR="0" indent="-194464" algn="l" defTabSz="1218948"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588" marR="0" indent="-194464" algn="l" defTabSz="1218948"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34" marR="0" indent="-194464" algn="l" defTabSz="1218948"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081" marR="0" indent="-194464" algn="l" defTabSz="1218948"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p:bodyStyle>
    <p:otherStyle>
      <a:lvl1pPr marL="0" marR="0" indent="0" algn="r" defTabSz="914454"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1pPr>
      <a:lvl2pPr marL="0" marR="0" indent="171460" algn="r" defTabSz="914454"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2pPr>
      <a:lvl3pPr marL="0" marR="0" indent="342920" algn="r" defTabSz="914454"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3pPr>
      <a:lvl4pPr marL="0" marR="0" indent="514381" algn="r" defTabSz="914454"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4pPr>
      <a:lvl5pPr marL="0" marR="0" indent="685841" algn="r" defTabSz="914454"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5pPr>
      <a:lvl6pPr marL="0" marR="0" indent="857301" algn="r" defTabSz="914454"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6pPr>
      <a:lvl7pPr marL="0" marR="0" indent="1028761" algn="r" defTabSz="914454"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7pPr>
      <a:lvl8pPr marL="0" marR="0" indent="1200222" algn="r" defTabSz="914454"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8pPr>
      <a:lvl9pPr marL="0" marR="0" indent="1371682" algn="r" defTabSz="914454"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3" pos="216">
          <p15:clr>
            <a:srgbClr val="5ACBF0"/>
          </p15:clr>
        </p15:guide>
        <p15:guide id="4" pos="750">
          <p15:clr>
            <a:srgbClr val="F26B43"/>
          </p15:clr>
        </p15:guide>
        <p15:guide id="5" pos="966">
          <p15:clr>
            <a:srgbClr val="F26B43"/>
          </p15:clr>
        </p15:guide>
        <p15:guide id="6" pos="1500">
          <p15:clr>
            <a:srgbClr val="F26B43"/>
          </p15:clr>
        </p15:guide>
        <p15:guide id="7" pos="1716">
          <p15:clr>
            <a:srgbClr val="F26B43"/>
          </p15:clr>
        </p15:guide>
        <p15:guide id="8" pos="2250">
          <p15:clr>
            <a:srgbClr val="F26B43"/>
          </p15:clr>
        </p15:guide>
        <p15:guide id="9" pos="2466">
          <p15:clr>
            <a:srgbClr val="F26B43"/>
          </p15:clr>
        </p15:guide>
        <p15:guide id="10" pos="3000">
          <p15:clr>
            <a:srgbClr val="F26B43"/>
          </p15:clr>
        </p15:guide>
        <p15:guide id="11" pos="3216">
          <p15:clr>
            <a:srgbClr val="F26B43"/>
          </p15:clr>
        </p15:guide>
        <p15:guide id="12" pos="3750">
          <p15:clr>
            <a:srgbClr val="F26B43"/>
          </p15:clr>
        </p15:guide>
        <p15:guide id="13" pos="3966">
          <p15:clr>
            <a:srgbClr val="F26B43"/>
          </p15:clr>
        </p15:guide>
        <p15:guide id="14" pos="4500">
          <p15:clr>
            <a:srgbClr val="F26B43"/>
          </p15:clr>
        </p15:guide>
        <p15:guide id="15" pos="4716">
          <p15:clr>
            <a:srgbClr val="F26B43"/>
          </p15:clr>
        </p15:guide>
        <p15:guide id="16" pos="5250">
          <p15:clr>
            <a:srgbClr val="F26B43"/>
          </p15:clr>
        </p15:guide>
        <p15:guide id="17" pos="5466">
          <p15:clr>
            <a:srgbClr val="F26B43"/>
          </p15:clr>
        </p15:guide>
        <p15:guide id="18" pos="6000">
          <p15:clr>
            <a:srgbClr val="F26B43"/>
          </p15:clr>
        </p15:guide>
        <p15:guide id="19" pos="6216">
          <p15:clr>
            <a:srgbClr val="F26B43"/>
          </p15:clr>
        </p15:guide>
        <p15:guide id="20" pos="6750">
          <p15:clr>
            <a:srgbClr val="F26B43"/>
          </p15:clr>
        </p15:guide>
        <p15:guide id="21" pos="6966">
          <p15:clr>
            <a:srgbClr val="F26B43"/>
          </p15:clr>
        </p15:guide>
        <p15:guide id="22" pos="7500">
          <p15:clr>
            <a:srgbClr val="F26B43"/>
          </p15:clr>
        </p15:guide>
        <p15:guide id="23" pos="7716">
          <p15:clr>
            <a:srgbClr val="F26B43"/>
          </p15:clr>
        </p15:guide>
        <p15:guide id="24" pos="8250">
          <p15:clr>
            <a:srgbClr val="F26B43"/>
          </p15:clr>
        </p15:guide>
        <p15:guide id="25" pos="8466">
          <p15:clr>
            <a:srgbClr val="F26B43"/>
          </p15:clr>
        </p15:guide>
        <p15:guide id="26" pos="9000">
          <p15:clr>
            <a:srgbClr val="5ACBF0"/>
          </p15:clr>
        </p15:guide>
        <p15:guide id="29" orient="horz" pos="216">
          <p15:clr>
            <a:srgbClr val="5ACBF0"/>
          </p15:clr>
        </p15:guide>
        <p15:guide id="30" orient="horz" pos="4968">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63A96AF-27E1-4675-8D0D-DD997F463315}"/>
              </a:ext>
            </a:extLst>
          </p:cNvPr>
          <p:cNvSpPr>
            <a:spLocks noGrp="1"/>
          </p:cNvSpPr>
          <p:nvPr>
            <p:ph type="title"/>
          </p:nvPr>
        </p:nvSpPr>
        <p:spPr>
          <a:xfrm>
            <a:off x="838200" y="365129"/>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FE05C87A-93B3-4D7A-B0ED-C5EAD5DACDA7}"/>
              </a:ext>
            </a:extLst>
          </p:cNvPr>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79D671F7-E556-4C74-A485-00F17A30A01F}"/>
              </a:ext>
            </a:extLst>
          </p:cNvPr>
          <p:cNvSpPr>
            <a:spLocks noGrp="1"/>
          </p:cNvSpPr>
          <p:nvPr>
            <p:ph type="dt" sz="half" idx="2"/>
          </p:nvPr>
        </p:nvSpPr>
        <p:spPr>
          <a:xfrm>
            <a:off x="852055" y="6425627"/>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2C9C2DA-E156-4221-8286-7E9693B82C12}" type="datetime1">
              <a:rPr lang="en-IN" smtClean="0"/>
              <a:t>11-04-2025</a:t>
            </a:fld>
            <a:endParaRPr lang="en-IN"/>
          </a:p>
        </p:txBody>
      </p:sp>
      <p:sp>
        <p:nvSpPr>
          <p:cNvPr id="5" name="Footer Placeholder 4">
            <a:extLst>
              <a:ext uri="{FF2B5EF4-FFF2-40B4-BE49-F238E27FC236}">
                <a16:creationId xmlns:a16="http://schemas.microsoft.com/office/drawing/2014/main" id="{5D4F1006-C63E-42F6-BCCD-3CE813C44695}"/>
              </a:ext>
            </a:extLst>
          </p:cNvPr>
          <p:cNvSpPr>
            <a:spLocks noGrp="1"/>
          </p:cNvSpPr>
          <p:nvPr>
            <p:ph type="ftr" sz="quarter" idx="3"/>
          </p:nvPr>
        </p:nvSpPr>
        <p:spPr>
          <a:xfrm>
            <a:off x="4052455" y="6425627"/>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a:extLst>
              <a:ext uri="{FF2B5EF4-FFF2-40B4-BE49-F238E27FC236}">
                <a16:creationId xmlns:a16="http://schemas.microsoft.com/office/drawing/2014/main" id="{DCA6C08A-3A85-4A10-BB27-77DA9CF43CFA}"/>
              </a:ext>
            </a:extLst>
          </p:cNvPr>
          <p:cNvSpPr>
            <a:spLocks noGrp="1"/>
          </p:cNvSpPr>
          <p:nvPr>
            <p:ph type="sldNum" sz="quarter" idx="4"/>
          </p:nvPr>
        </p:nvSpPr>
        <p:spPr>
          <a:xfrm>
            <a:off x="8624455" y="6425627"/>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E8D28EE-DADA-4185-923A-61843F8176A9}" type="slidenum">
              <a:rPr lang="en-IN" smtClean="0"/>
              <a:t>‹#›</a:t>
            </a:fld>
            <a:endParaRPr lang="en-IN"/>
          </a:p>
        </p:txBody>
      </p:sp>
    </p:spTree>
    <p:extLst>
      <p:ext uri="{BB962C8B-B14F-4D97-AF65-F5344CB8AC3E}">
        <p14:creationId xmlns:p14="http://schemas.microsoft.com/office/powerpoint/2010/main" val="2981283859"/>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Lst>
  <p:hf sldNum="0" hdr="0" ftr="0" dt="0"/>
  <p:txStyles>
    <p:titleStyle>
      <a:lvl1pPr algn="l" defTabSz="91458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45" indent="-228645" algn="l" defTabSz="914580" rtl="0" eaLnBrk="1" latinLnBrk="0" hangingPunct="1">
        <a:lnSpc>
          <a:spcPct val="90000"/>
        </a:lnSpc>
        <a:spcBef>
          <a:spcPts val="1000"/>
        </a:spcBef>
        <a:buFont typeface="Arial" panose="020B0604020202020204" pitchFamily="34" charset="0"/>
        <a:buChar char="•"/>
        <a:defRPr sz="2933" kern="1200">
          <a:solidFill>
            <a:schemeClr val="tx1"/>
          </a:solidFill>
          <a:latin typeface="+mn-lt"/>
          <a:ea typeface="+mn-ea"/>
          <a:cs typeface="+mn-cs"/>
        </a:defRPr>
      </a:lvl1pPr>
      <a:lvl2pPr marL="685935" indent="-228645" algn="l" defTabSz="91458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225" indent="-228645" algn="l" defTabSz="914580" rtl="0" eaLnBrk="1" latinLnBrk="0" hangingPunct="1">
        <a:lnSpc>
          <a:spcPct val="90000"/>
        </a:lnSpc>
        <a:spcBef>
          <a:spcPts val="500"/>
        </a:spcBef>
        <a:buFont typeface="Arial" panose="020B0604020202020204" pitchFamily="34" charset="0"/>
        <a:buChar char="•"/>
        <a:defRPr sz="2135" kern="1200">
          <a:solidFill>
            <a:schemeClr val="tx1"/>
          </a:solidFill>
          <a:latin typeface="+mn-lt"/>
          <a:ea typeface="+mn-ea"/>
          <a:cs typeface="+mn-cs"/>
        </a:defRPr>
      </a:lvl3pPr>
      <a:lvl4pPr marL="1600515" indent="-228645" algn="l" defTabSz="914580"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4pPr>
      <a:lvl5pPr marL="2057806" indent="-228645" algn="l" defTabSz="914580"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5pPr>
      <a:lvl6pPr marL="2515096" indent="-228645" algn="l" defTabSz="91458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2386" indent="-228645" algn="l" defTabSz="91458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676" indent="-228645" algn="l" defTabSz="91458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965" indent="-228645" algn="l" defTabSz="91458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580" rtl="0" eaLnBrk="1" latinLnBrk="0" hangingPunct="1">
        <a:defRPr sz="1800" kern="1200">
          <a:solidFill>
            <a:schemeClr val="tx1"/>
          </a:solidFill>
          <a:latin typeface="+mn-lt"/>
          <a:ea typeface="+mn-ea"/>
          <a:cs typeface="+mn-cs"/>
        </a:defRPr>
      </a:lvl1pPr>
      <a:lvl2pPr marL="457291" algn="l" defTabSz="914580" rtl="0" eaLnBrk="1" latinLnBrk="0" hangingPunct="1">
        <a:defRPr sz="1800" kern="1200">
          <a:solidFill>
            <a:schemeClr val="tx1"/>
          </a:solidFill>
          <a:latin typeface="+mn-lt"/>
          <a:ea typeface="+mn-ea"/>
          <a:cs typeface="+mn-cs"/>
        </a:defRPr>
      </a:lvl2pPr>
      <a:lvl3pPr marL="914580" algn="l" defTabSz="914580" rtl="0" eaLnBrk="1" latinLnBrk="0" hangingPunct="1">
        <a:defRPr sz="1800" kern="1200">
          <a:solidFill>
            <a:schemeClr val="tx1"/>
          </a:solidFill>
          <a:latin typeface="+mn-lt"/>
          <a:ea typeface="+mn-ea"/>
          <a:cs typeface="+mn-cs"/>
        </a:defRPr>
      </a:lvl3pPr>
      <a:lvl4pPr marL="1371871" algn="l" defTabSz="914580" rtl="0" eaLnBrk="1" latinLnBrk="0" hangingPunct="1">
        <a:defRPr sz="1800" kern="1200">
          <a:solidFill>
            <a:schemeClr val="tx1"/>
          </a:solidFill>
          <a:latin typeface="+mn-lt"/>
          <a:ea typeface="+mn-ea"/>
          <a:cs typeface="+mn-cs"/>
        </a:defRPr>
      </a:lvl4pPr>
      <a:lvl5pPr marL="1829161" algn="l" defTabSz="914580" rtl="0" eaLnBrk="1" latinLnBrk="0" hangingPunct="1">
        <a:defRPr sz="1800" kern="1200">
          <a:solidFill>
            <a:schemeClr val="tx1"/>
          </a:solidFill>
          <a:latin typeface="+mn-lt"/>
          <a:ea typeface="+mn-ea"/>
          <a:cs typeface="+mn-cs"/>
        </a:defRPr>
      </a:lvl5pPr>
      <a:lvl6pPr marL="2286450" algn="l" defTabSz="914580" rtl="0" eaLnBrk="1" latinLnBrk="0" hangingPunct="1">
        <a:defRPr sz="1800" kern="1200">
          <a:solidFill>
            <a:schemeClr val="tx1"/>
          </a:solidFill>
          <a:latin typeface="+mn-lt"/>
          <a:ea typeface="+mn-ea"/>
          <a:cs typeface="+mn-cs"/>
        </a:defRPr>
      </a:lvl6pPr>
      <a:lvl7pPr marL="2743741" algn="l" defTabSz="914580" rtl="0" eaLnBrk="1" latinLnBrk="0" hangingPunct="1">
        <a:defRPr sz="1800" kern="1200">
          <a:solidFill>
            <a:schemeClr val="tx1"/>
          </a:solidFill>
          <a:latin typeface="+mn-lt"/>
          <a:ea typeface="+mn-ea"/>
          <a:cs typeface="+mn-cs"/>
        </a:defRPr>
      </a:lvl7pPr>
      <a:lvl8pPr marL="3201029" algn="l" defTabSz="914580" rtl="0" eaLnBrk="1" latinLnBrk="0" hangingPunct="1">
        <a:defRPr sz="1800" kern="1200">
          <a:solidFill>
            <a:schemeClr val="tx1"/>
          </a:solidFill>
          <a:latin typeface="+mn-lt"/>
          <a:ea typeface="+mn-ea"/>
          <a:cs typeface="+mn-cs"/>
        </a:defRPr>
      </a:lvl8pPr>
      <a:lvl9pPr marL="3658319" algn="l" defTabSz="91458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5760" y="365125"/>
            <a:ext cx="11460480" cy="914400"/>
          </a:xfrm>
          <a:prstGeom prst="rect">
            <a:avLst/>
          </a:prstGeom>
        </p:spPr>
        <p:txBody>
          <a:bodyPr vert="horz"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365760" y="1527048"/>
            <a:ext cx="11460480" cy="420687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F0733385-7C9E-5242-9370-380A43759513}"/>
              </a:ext>
            </a:extLst>
          </p:cNvPr>
          <p:cNvSpPr>
            <a:spLocks noGrp="1"/>
          </p:cNvSpPr>
          <p:nvPr>
            <p:ph type="sldNum" sz="quarter" idx="4"/>
          </p:nvPr>
        </p:nvSpPr>
        <p:spPr>
          <a:xfrm>
            <a:off x="10101263" y="6114866"/>
            <a:ext cx="1724976" cy="365125"/>
          </a:xfrm>
          <a:prstGeom prst="rect">
            <a:avLst/>
          </a:prstGeom>
        </p:spPr>
        <p:txBody>
          <a:bodyPr vert="horz" lIns="0" tIns="0" rIns="0" bIns="0" rtlCol="0" anchor="b"/>
          <a:lstStyle>
            <a:lvl1pPr algn="r">
              <a:defRPr sz="1000" b="0" i="0">
                <a:solidFill>
                  <a:schemeClr val="bg2"/>
                </a:solidFill>
                <a:latin typeface="Arial" panose="020B0604020202020204" pitchFamily="34" charset="0"/>
                <a:cs typeface="Arial" panose="020B0604020202020204" pitchFamily="34" charset="0"/>
              </a:defRPr>
            </a:lvl1pPr>
          </a:lstStyle>
          <a:p>
            <a:r>
              <a:rPr lang="en-US"/>
              <a:t>©2025 Brillio  |  </a:t>
            </a:r>
            <a:fld id="{F1FE5E21-FD07-B44E-90A3-0254BFCDB49A}" type="slidenum">
              <a:rPr smtClean="0"/>
              <a:pPr/>
              <a:t>‹#›</a:t>
            </a:fld>
            <a:endParaRPr/>
          </a:p>
        </p:txBody>
      </p:sp>
      <p:sp>
        <p:nvSpPr>
          <p:cNvPr id="4" name="Footer Placeholder 3">
            <a:extLst>
              <a:ext uri="{FF2B5EF4-FFF2-40B4-BE49-F238E27FC236}">
                <a16:creationId xmlns:a16="http://schemas.microsoft.com/office/drawing/2014/main" id="{6D5838B1-B95D-7A45-BA6D-910DC76916E5}"/>
              </a:ext>
            </a:extLst>
          </p:cNvPr>
          <p:cNvSpPr>
            <a:spLocks noGrp="1"/>
          </p:cNvSpPr>
          <p:nvPr>
            <p:ph type="ftr" sz="quarter" idx="3"/>
          </p:nvPr>
        </p:nvSpPr>
        <p:spPr>
          <a:xfrm>
            <a:off x="4273550" y="6114866"/>
            <a:ext cx="5583238" cy="365125"/>
          </a:xfrm>
          <a:prstGeom prst="rect">
            <a:avLst/>
          </a:prstGeom>
        </p:spPr>
        <p:txBody>
          <a:bodyPr vert="horz" lIns="0" tIns="0" rIns="0" bIns="0" rtlCol="0" anchor="b"/>
          <a:lstStyle>
            <a:lvl1pPr algn="l">
              <a:defRPr sz="1000">
                <a:solidFill>
                  <a:schemeClr val="bg1"/>
                </a:solidFill>
              </a:defRPr>
            </a:lvl1pPr>
          </a:lstStyle>
          <a:p>
            <a:endParaRPr lang="en-US"/>
          </a:p>
        </p:txBody>
      </p:sp>
    </p:spTree>
    <p:extLst>
      <p:ext uri="{BB962C8B-B14F-4D97-AF65-F5344CB8AC3E}">
        <p14:creationId xmlns:p14="http://schemas.microsoft.com/office/powerpoint/2010/main" val="1575575874"/>
      </p:ext>
    </p:extLst>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 id="2147483916" r:id="rId8"/>
    <p:sldLayoutId id="2147483917" r:id="rId9"/>
    <p:sldLayoutId id="2147483918" r:id="rId10"/>
  </p:sldLayoutIdLst>
  <p:hf hdr="0" ftr="0" dt="0"/>
  <p:txStyles>
    <p:titleStyle>
      <a:lvl1pPr algn="l" defTabSz="914377" rtl="0" eaLnBrk="1" latinLnBrk="0" hangingPunct="1">
        <a:lnSpc>
          <a:spcPct val="90000"/>
        </a:lnSpc>
        <a:spcBef>
          <a:spcPct val="0"/>
        </a:spcBef>
        <a:buNone/>
        <a:defRPr sz="2800" b="1" i="0" kern="1200" baseline="0">
          <a:solidFill>
            <a:schemeClr val="bg1"/>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ct val="100000"/>
        </a:lnSpc>
        <a:spcBef>
          <a:spcPts val="0"/>
        </a:spcBef>
        <a:spcAft>
          <a:spcPts val="600"/>
        </a:spcAft>
        <a:buFont typeface="Arial" panose="020B0604020202020204" pitchFamily="34" charset="0"/>
        <a:buChar char="•"/>
        <a:defRPr sz="1600" b="0" i="0" kern="1200" baseline="0">
          <a:solidFill>
            <a:schemeClr val="bg1"/>
          </a:solidFill>
          <a:latin typeface="Arial" panose="020B0604020202020204" pitchFamily="34" charset="0"/>
          <a:ea typeface="+mn-ea"/>
          <a:cs typeface="Arial" panose="020B0604020202020204" pitchFamily="34" charset="0"/>
        </a:defRPr>
      </a:lvl1pPr>
      <a:lvl2pPr marL="463284" indent="-228594" algn="l" defTabSz="914377" rtl="0" eaLnBrk="1" latinLnBrk="0" hangingPunct="1">
        <a:lnSpc>
          <a:spcPct val="100000"/>
        </a:lnSpc>
        <a:spcBef>
          <a:spcPts val="0"/>
        </a:spcBef>
        <a:spcAft>
          <a:spcPts val="600"/>
        </a:spcAft>
        <a:buFont typeface="Arial" panose="020B0604020202020204" pitchFamily="34" charset="0"/>
        <a:buChar char="•"/>
        <a:defRPr sz="1600" b="0" i="0" kern="1200" baseline="0">
          <a:solidFill>
            <a:schemeClr val="bg1"/>
          </a:solidFill>
          <a:latin typeface="Arial" panose="020B0604020202020204" pitchFamily="34" charset="0"/>
          <a:ea typeface="+mn-ea"/>
          <a:cs typeface="Arial" panose="020B0604020202020204" pitchFamily="34" charset="0"/>
        </a:defRPr>
      </a:lvl2pPr>
      <a:lvl3pPr marL="682735" indent="-228594" algn="l" defTabSz="914377" rtl="0" eaLnBrk="1" latinLnBrk="0" hangingPunct="1">
        <a:lnSpc>
          <a:spcPct val="100000"/>
        </a:lnSpc>
        <a:spcBef>
          <a:spcPts val="0"/>
        </a:spcBef>
        <a:spcAft>
          <a:spcPts val="600"/>
        </a:spcAft>
        <a:buFont typeface="Arial" panose="020B0604020202020204" pitchFamily="34" charset="0"/>
        <a:buChar char="•"/>
        <a:defRPr sz="1600" b="0" i="0" kern="1200" baseline="0">
          <a:solidFill>
            <a:schemeClr val="bg1"/>
          </a:solidFill>
          <a:latin typeface="Arial" panose="020B0604020202020204" pitchFamily="34" charset="0"/>
          <a:ea typeface="+mn-ea"/>
          <a:cs typeface="Arial" panose="020B0604020202020204" pitchFamily="34" charset="0"/>
        </a:defRPr>
      </a:lvl3pPr>
      <a:lvl4pPr marL="914377" indent="-228594" algn="l" defTabSz="914377" rtl="0" eaLnBrk="1" latinLnBrk="0" hangingPunct="1">
        <a:lnSpc>
          <a:spcPct val="100000"/>
        </a:lnSpc>
        <a:spcBef>
          <a:spcPts val="0"/>
        </a:spcBef>
        <a:spcAft>
          <a:spcPts val="600"/>
        </a:spcAft>
        <a:buFont typeface="Arial" panose="020B0604020202020204" pitchFamily="34" charset="0"/>
        <a:buChar char="•"/>
        <a:defRPr sz="1600" b="0" i="0" kern="1200" baseline="0">
          <a:solidFill>
            <a:schemeClr val="bg1"/>
          </a:solidFill>
          <a:latin typeface="Arial" panose="020B0604020202020204" pitchFamily="34" charset="0"/>
          <a:ea typeface="+mn-ea"/>
          <a:cs typeface="Arial" panose="020B0604020202020204" pitchFamily="34" charset="0"/>
        </a:defRPr>
      </a:lvl4pPr>
      <a:lvl5pPr marL="1146019" indent="-228594" algn="l" defTabSz="914377" rtl="0" eaLnBrk="1" latinLnBrk="0" hangingPunct="1">
        <a:lnSpc>
          <a:spcPct val="100000"/>
        </a:lnSpc>
        <a:spcBef>
          <a:spcPts val="0"/>
        </a:spcBef>
        <a:spcAft>
          <a:spcPts val="600"/>
        </a:spcAft>
        <a:buFont typeface="Arial" panose="020B0604020202020204" pitchFamily="34" charset="0"/>
        <a:buChar char="•"/>
        <a:defRPr sz="1600" b="0" i="0" kern="1200" baseline="0">
          <a:solidFill>
            <a:schemeClr val="bg1"/>
          </a:solidFill>
          <a:latin typeface="Arial" panose="020B0604020202020204" pitchFamily="34" charset="0"/>
          <a:ea typeface="+mn-ea"/>
          <a:cs typeface="Arial" panose="020B0604020202020204" pitchFamily="34" charset="0"/>
        </a:defRPr>
      </a:lvl5pPr>
      <a:lvl6pPr marL="1146019" indent="-228594" algn="l" defTabSz="914377" rtl="0" eaLnBrk="1" latinLnBrk="0" hangingPunct="1">
        <a:lnSpc>
          <a:spcPct val="100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6pPr>
      <a:lvl7pPr marL="1146019" indent="-228594" algn="l" defTabSz="914377" rtl="0" eaLnBrk="1" latinLnBrk="0" hangingPunct="1">
        <a:lnSpc>
          <a:spcPct val="100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7pPr>
      <a:lvl8pPr marL="1146019" indent="-228594" algn="l" defTabSz="914377" rtl="0" eaLnBrk="1" latinLnBrk="0" hangingPunct="1">
        <a:lnSpc>
          <a:spcPct val="100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8pPr>
      <a:lvl9pPr marL="1146019" indent="-228594" algn="l" defTabSz="914377" rtl="0" eaLnBrk="1" latinLnBrk="0" hangingPunct="1">
        <a:lnSpc>
          <a:spcPct val="100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40">
          <p15:clr>
            <a:srgbClr val="F26B43"/>
          </p15:clr>
        </p15:guide>
        <p15:guide id="3" pos="7440">
          <p15:clr>
            <a:srgbClr val="F26B43"/>
          </p15:clr>
        </p15:guide>
        <p15:guide id="4" orient="horz" pos="240">
          <p15:clr>
            <a:srgbClr val="F26B43"/>
          </p15:clr>
        </p15:guide>
        <p15:guide id="5" orient="horz" pos="797">
          <p15:clr>
            <a:srgbClr val="F26B43"/>
          </p15:clr>
        </p15:guide>
        <p15:guide id="6" orient="horz" pos="1008">
          <p15:clr>
            <a:srgbClr val="F26B43"/>
          </p15:clr>
        </p15:guide>
        <p15:guide id="7" orient="horz" pos="3610">
          <p15:clr>
            <a:srgbClr val="F26B43"/>
          </p15:clr>
        </p15:guide>
        <p15:guide id="8" pos="1319">
          <p15:clr>
            <a:srgbClr val="F26B43"/>
          </p15:clr>
        </p15:guide>
        <p15:guide id="9" pos="1467">
          <p15:clr>
            <a:srgbClr val="F26B43"/>
          </p15:clr>
        </p15:guide>
        <p15:guide id="10" pos="2538">
          <p15:clr>
            <a:srgbClr val="F26B43"/>
          </p15:clr>
        </p15:guide>
        <p15:guide id="11" pos="2692">
          <p15:clr>
            <a:srgbClr val="F26B43"/>
          </p15:clr>
        </p15:guide>
        <p15:guide id="12" pos="3757">
          <p15:clr>
            <a:srgbClr val="F26B43"/>
          </p15:clr>
        </p15:guide>
        <p15:guide id="13" pos="3911">
          <p15:clr>
            <a:srgbClr val="F26B43"/>
          </p15:clr>
        </p15:guide>
        <p15:guide id="14" pos="4976">
          <p15:clr>
            <a:srgbClr val="F26B43"/>
          </p15:clr>
        </p15:guide>
        <p15:guide id="15" pos="5130">
          <p15:clr>
            <a:srgbClr val="F26B43"/>
          </p15:clr>
        </p15:guide>
        <p15:guide id="16" pos="6209">
          <p15:clr>
            <a:srgbClr val="F26B43"/>
          </p15:clr>
        </p15:guide>
        <p15:guide id="18" pos="6363">
          <p15:clr>
            <a:srgbClr val="F26B43"/>
          </p15:clr>
        </p15:guide>
        <p15:guide id="19" orient="horz" pos="4059">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1"/>
            </p:custDataLst>
            <p:extLst>
              <p:ext uri="{D42A27DB-BD31-4B8C-83A1-F6EECF244321}">
                <p14:modId xmlns:p14="http://schemas.microsoft.com/office/powerpoint/2010/main" val="3197596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71" imgH="423" progId="TCLayout.ActiveDocument.1">
                  <p:embed/>
                </p:oleObj>
              </mc:Choice>
              <mc:Fallback>
                <p:oleObj name="think-cell Slide" r:id="rId22" imgW="471" imgH="423" progId="TCLayout.ActiveDocument.1">
                  <p:embed/>
                  <p:pic>
                    <p:nvPicPr>
                      <p:cNvPr id="7" name="Object 6" hidden="1"/>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09947BC-C135-4AF9-80CB-7EC49EFAF7EE}"/>
              </a:ext>
            </a:extLst>
          </p:cNvPr>
          <p:cNvSpPr>
            <a:spLocks noGrp="1"/>
          </p:cNvSpPr>
          <p:nvPr>
            <p:ph type="title"/>
          </p:nvPr>
        </p:nvSpPr>
        <p:spPr>
          <a:xfrm>
            <a:off x="512064" y="365760"/>
            <a:ext cx="11180064" cy="570992"/>
          </a:xfrm>
          <a:prstGeom prst="rect">
            <a:avLst/>
          </a:prstGeom>
        </p:spPr>
        <p:txBody>
          <a:bodyPr vert="horz" lIns="0" tIns="0" rIns="0" bIns="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178C3981-E47F-4B94-A56D-1A8F4B3B3863}"/>
              </a:ext>
            </a:extLst>
          </p:cNvPr>
          <p:cNvSpPr>
            <a:spLocks noGrp="1"/>
          </p:cNvSpPr>
          <p:nvPr>
            <p:ph type="body" idx="1"/>
          </p:nvPr>
        </p:nvSpPr>
        <p:spPr>
          <a:xfrm>
            <a:off x="512064" y="1231641"/>
            <a:ext cx="11180064" cy="4730620"/>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527D70FC-A01F-B44F-9317-E682AFFD6EDB}"/>
              </a:ext>
            </a:extLst>
          </p:cNvPr>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a:off x="334865" y="6016620"/>
            <a:ext cx="1484604" cy="812034"/>
          </a:xfrm>
          <a:prstGeom prst="rect">
            <a:avLst/>
          </a:prstGeom>
        </p:spPr>
      </p:pic>
      <p:sp>
        <p:nvSpPr>
          <p:cNvPr id="8" name="Footer Placeholder 8">
            <a:extLst>
              <a:ext uri="{FF2B5EF4-FFF2-40B4-BE49-F238E27FC236}">
                <a16:creationId xmlns:a16="http://schemas.microsoft.com/office/drawing/2014/main" id="{D9B53F39-AAEF-FC4A-BFE2-B8D83F4AE1EA}"/>
              </a:ext>
            </a:extLst>
          </p:cNvPr>
          <p:cNvSpPr>
            <a:spLocks noGrp="1"/>
          </p:cNvSpPr>
          <p:nvPr>
            <p:ph type="ftr" sz="quarter" idx="3"/>
          </p:nvPr>
        </p:nvSpPr>
        <p:spPr>
          <a:xfrm>
            <a:off x="9637452" y="6327648"/>
            <a:ext cx="1706880" cy="207264"/>
          </a:xfrm>
          <a:prstGeom prst="rect">
            <a:avLst/>
          </a:prstGeom>
        </p:spPr>
        <p:txBody>
          <a:bodyPr vert="horz" lIns="0" tIns="0" rIns="0" bIns="0" rtlCol="0" anchor="ctr"/>
          <a:lstStyle>
            <a:lvl1pPr algn="r">
              <a:defRPr sz="1067" baseline="0">
                <a:solidFill>
                  <a:schemeClr val="tx2"/>
                </a:solidFill>
                <a:latin typeface="Arial" panose="020B0604020202020204" pitchFamily="34" charset="0"/>
                <a:cs typeface="Arial" panose="020B0604020202020204" pitchFamily="34" charset="0"/>
              </a:defRPr>
            </a:lvl1pPr>
            <a:lvl2pPr marL="0" indent="0">
              <a:defRPr sz="1000"/>
            </a:lvl2pPr>
            <a:lvl3pPr marL="0" indent="0">
              <a:defRPr sz="1000"/>
            </a:lvl3pPr>
            <a:lvl4pPr marL="0" indent="0">
              <a:defRPr sz="1000"/>
            </a:lvl4pPr>
            <a:lvl5pPr marL="0" indent="0">
              <a:defRPr sz="1000"/>
            </a:lvl5pPr>
            <a:lvl6pPr marL="0" indent="0">
              <a:defRPr sz="1000"/>
            </a:lvl6pPr>
            <a:lvl7pPr marL="0" indent="0">
              <a:defRPr sz="1000"/>
            </a:lvl7pPr>
            <a:lvl8pPr marL="0" indent="0">
              <a:defRPr sz="1000"/>
            </a:lvl8pPr>
            <a:lvl9pPr marL="0" indent="0">
              <a:defRPr sz="1000"/>
            </a:lvl9pPr>
          </a:lstStyle>
          <a:p>
            <a:r>
              <a:rPr lang="en-US"/>
              <a:t>© 2024 Brillio |</a:t>
            </a:r>
          </a:p>
        </p:txBody>
      </p:sp>
      <p:sp>
        <p:nvSpPr>
          <p:cNvPr id="11" name="Slide Number Placeholder 9">
            <a:extLst>
              <a:ext uri="{FF2B5EF4-FFF2-40B4-BE49-F238E27FC236}">
                <a16:creationId xmlns:a16="http://schemas.microsoft.com/office/drawing/2014/main" id="{7CA306FD-041D-B846-B716-93A80116D2A4}"/>
              </a:ext>
            </a:extLst>
          </p:cNvPr>
          <p:cNvSpPr>
            <a:spLocks noGrp="1"/>
          </p:cNvSpPr>
          <p:nvPr>
            <p:ph type="sldNum" sz="quarter" idx="4"/>
          </p:nvPr>
        </p:nvSpPr>
        <p:spPr>
          <a:xfrm>
            <a:off x="11387328" y="6326049"/>
            <a:ext cx="304800" cy="207264"/>
          </a:xfrm>
          <a:prstGeom prst="rect">
            <a:avLst/>
          </a:prstGeom>
        </p:spPr>
        <p:txBody>
          <a:bodyPr vert="horz" lIns="0" tIns="0" rIns="0" bIns="0" rtlCol="0" anchor="ctr"/>
          <a:lstStyle>
            <a:lvl1pPr algn="r">
              <a:defRPr sz="1067" b="0" baseline="0">
                <a:solidFill>
                  <a:schemeClr val="tx2"/>
                </a:solidFill>
                <a:latin typeface="Arial" panose="020B0604020202020204" pitchFamily="34" charset="0"/>
                <a:cs typeface="Arial" panose="020B0604020202020204" pitchFamily="34" charset="0"/>
              </a:defRPr>
            </a:lvl1pPr>
          </a:lstStyle>
          <a:p>
            <a:fld id="{2EFEF571-C9B4-4D92-A7F7-315B894862A8}" type="slidenum">
              <a:rPr lang="en-US" smtClean="0"/>
              <a:pPr/>
              <a:t>‹#›</a:t>
            </a:fld>
            <a:endParaRPr lang="en-US"/>
          </a:p>
        </p:txBody>
      </p:sp>
      <p:sp>
        <p:nvSpPr>
          <p:cNvPr id="4" name="GS Doctop Placeholder" hidden="1"/>
          <p:cNvSpPr txBox="1"/>
          <p:nvPr userDrawn="1"/>
        </p:nvSpPr>
        <p:spPr>
          <a:xfrm>
            <a:off x="546100" y="0"/>
            <a:ext cx="5651500" cy="246221"/>
          </a:xfrm>
          <a:prstGeom prst="rect">
            <a:avLst/>
          </a:prstGeom>
        </p:spPr>
        <p:txBody>
          <a:bodyPr vert="horz" wrap="square" lIns="0" tIns="0" rIns="0" bIns="0" rtlCol="0">
            <a:spAutoFit/>
          </a:bodyPr>
          <a:lstStyle/>
          <a:p>
            <a:pPr algn="l"/>
            <a:r>
              <a:rPr lang="en-US" sz="800" b="0">
                <a:solidFill>
                  <a:schemeClr val="tx2"/>
                </a:solidFill>
                <a:latin typeface="Arial" panose="020B0604020202020204" pitchFamily="34" charset="0"/>
              </a:rPr>
              <a:t>ibdroot\projects\IBD-NY\beadwork2021\682398_1\Presentation\2024.01.xx TTW Presentation\Brillio_TTW_Feb16.2024 v9.30am EST.pptx</a:t>
            </a:r>
          </a:p>
        </p:txBody>
      </p:sp>
    </p:spTree>
    <p:extLst>
      <p:ext uri="{BB962C8B-B14F-4D97-AF65-F5344CB8AC3E}">
        <p14:creationId xmlns:p14="http://schemas.microsoft.com/office/powerpoint/2010/main" val="1072964460"/>
      </p:ext>
    </p:extLst>
  </p:cSld>
  <p:clrMap bg1="lt1" tx1="dk1" bg2="lt2" tx2="dk2" accent1="accent1" accent2="accent2" accent3="accent3" accent4="accent4" accent5="accent5" accent6="accent6" hlink="hlink" folHlink="folHlink"/>
  <p:sldLayoutIdLst>
    <p:sldLayoutId id="2147484023" r:id="rId1"/>
    <p:sldLayoutId id="2147484024" r:id="rId2"/>
    <p:sldLayoutId id="2147484025" r:id="rId3"/>
    <p:sldLayoutId id="2147484026" r:id="rId4"/>
    <p:sldLayoutId id="2147484027" r:id="rId5"/>
    <p:sldLayoutId id="2147484028" r:id="rId6"/>
    <p:sldLayoutId id="2147484029" r:id="rId7"/>
    <p:sldLayoutId id="2147484030" r:id="rId8"/>
    <p:sldLayoutId id="2147484031" r:id="rId9"/>
    <p:sldLayoutId id="2147484032" r:id="rId10"/>
    <p:sldLayoutId id="2147484033" r:id="rId11"/>
    <p:sldLayoutId id="2147484034" r:id="rId12"/>
    <p:sldLayoutId id="2147484035" r:id="rId13"/>
    <p:sldLayoutId id="2147484036" r:id="rId14"/>
    <p:sldLayoutId id="2147484037" r:id="rId15"/>
    <p:sldLayoutId id="2147484038" r:id="rId16"/>
    <p:sldLayoutId id="2147484039" r:id="rId17"/>
    <p:sldLayoutId id="2147484040" r:id="rId18"/>
    <p:sldLayoutId id="2147484041" r:id="rId19"/>
  </p:sldLayoutIdLst>
  <p:hf hdr="0" dt="0"/>
  <p:txStyles>
    <p:titleStyle>
      <a:lvl1pPr algn="l" defTabSz="1219110" rtl="0" eaLnBrk="1" latinLnBrk="0" hangingPunct="1">
        <a:lnSpc>
          <a:spcPct val="90000"/>
        </a:lnSpc>
        <a:spcBef>
          <a:spcPct val="0"/>
        </a:spcBef>
        <a:buNone/>
        <a:defRPr sz="2400" b="1" kern="1200" cap="all" baseline="0">
          <a:solidFill>
            <a:schemeClr val="tx2"/>
          </a:solidFill>
          <a:latin typeface="Arial" panose="020B0604020202020204" pitchFamily="34" charset="0"/>
          <a:ea typeface="+mj-ea"/>
          <a:cs typeface="Arial" panose="020B0604020202020204" pitchFamily="34" charset="0"/>
        </a:defRPr>
      </a:lvl1pPr>
    </p:titleStyle>
    <p:bodyStyle>
      <a:lvl1pPr marL="0" indent="0" algn="l" defTabSz="1219110" rtl="0" eaLnBrk="1" latinLnBrk="0" hangingPunct="1">
        <a:lnSpc>
          <a:spcPct val="100000"/>
        </a:lnSpc>
        <a:spcBef>
          <a:spcPts val="800"/>
        </a:spcBef>
        <a:buFont typeface="Arial" panose="020B0604020202020204" pitchFamily="34" charset="0"/>
        <a:buNone/>
        <a:defRPr sz="2400" kern="1200" baseline="0">
          <a:solidFill>
            <a:schemeClr val="tx2"/>
          </a:solidFill>
          <a:latin typeface="Arial" panose="020B0604020202020204" pitchFamily="34" charset="0"/>
          <a:ea typeface="+mn-ea"/>
          <a:cs typeface="Arial" panose="020B0604020202020204" pitchFamily="34" charset="0"/>
        </a:defRPr>
      </a:lvl1pPr>
      <a:lvl2pPr marL="304776" indent="-304776" algn="l" defTabSz="1219110" rtl="0" eaLnBrk="1" latinLnBrk="0" hangingPunct="1">
        <a:lnSpc>
          <a:spcPct val="100000"/>
        </a:lnSpc>
        <a:spcBef>
          <a:spcPts val="800"/>
        </a:spcBef>
        <a:buClrTx/>
        <a:buSzPct val="125000"/>
        <a:buFont typeface="Arial" panose="020B0604020202020204" pitchFamily="34" charset="0"/>
        <a:buChar char="•"/>
        <a:defRPr sz="2133" kern="1200" baseline="0">
          <a:solidFill>
            <a:schemeClr val="tx2"/>
          </a:solidFill>
          <a:latin typeface="Arial" panose="020B0604020202020204" pitchFamily="34" charset="0"/>
          <a:ea typeface="+mn-ea"/>
          <a:cs typeface="Arial" panose="020B0604020202020204" pitchFamily="34" charset="0"/>
        </a:defRPr>
      </a:lvl2pPr>
      <a:lvl3pPr marL="609555" indent="-304776" algn="l" defTabSz="1219110" rtl="0" eaLnBrk="1" latinLnBrk="0" hangingPunct="1">
        <a:lnSpc>
          <a:spcPct val="100000"/>
        </a:lnSpc>
        <a:spcBef>
          <a:spcPts val="533"/>
        </a:spcBef>
        <a:buClrTx/>
        <a:buSzPct val="100000"/>
        <a:buFont typeface="Arial" panose="020B0604020202020204" pitchFamily="34" charset="0"/>
        <a:buChar char="–"/>
        <a:defRPr sz="1867" kern="1200" baseline="0">
          <a:solidFill>
            <a:schemeClr val="tx2"/>
          </a:solidFill>
          <a:latin typeface="Arial" panose="020B0604020202020204" pitchFamily="34" charset="0"/>
          <a:ea typeface="+mn-ea"/>
          <a:cs typeface="Arial" panose="020B0604020202020204" pitchFamily="34" charset="0"/>
        </a:defRPr>
      </a:lvl3pPr>
      <a:lvl4pPr marL="914332" indent="-304776" algn="l" defTabSz="1219110" rtl="0" eaLnBrk="1" latinLnBrk="0" hangingPunct="1">
        <a:lnSpc>
          <a:spcPct val="100000"/>
        </a:lnSpc>
        <a:spcBef>
          <a:spcPts val="533"/>
        </a:spcBef>
        <a:buClrTx/>
        <a:buSzPct val="100000"/>
        <a:buFont typeface="Arial" panose="020B0604020202020204" pitchFamily="34" charset="0"/>
        <a:buChar char="•"/>
        <a:defRPr sz="1600" kern="1200" baseline="0">
          <a:solidFill>
            <a:schemeClr val="tx2"/>
          </a:solidFill>
          <a:latin typeface="Arial" panose="020B0604020202020204" pitchFamily="34" charset="0"/>
          <a:ea typeface="+mn-ea"/>
          <a:cs typeface="Arial" panose="020B0604020202020204" pitchFamily="34" charset="0"/>
        </a:defRPr>
      </a:lvl4pPr>
      <a:lvl5pPr marL="1219110" indent="-304776" algn="l" defTabSz="1219110" rtl="0" eaLnBrk="1" latinLnBrk="0" hangingPunct="1">
        <a:lnSpc>
          <a:spcPct val="100000"/>
        </a:lnSpc>
        <a:spcBef>
          <a:spcPts val="533"/>
        </a:spcBef>
        <a:buClrTx/>
        <a:buSzPct val="100000"/>
        <a:buFont typeface="Arial" panose="020B0604020202020204" pitchFamily="34" charset="0"/>
        <a:buChar char="–"/>
        <a:defRPr sz="1400" kern="1200" baseline="0">
          <a:solidFill>
            <a:schemeClr val="tx2"/>
          </a:solidFill>
          <a:latin typeface="Arial" panose="020B0604020202020204" pitchFamily="34" charset="0"/>
          <a:ea typeface="+mn-ea"/>
          <a:cs typeface="Arial" panose="020B0604020202020204" pitchFamily="34" charset="0"/>
        </a:defRPr>
      </a:lvl5pPr>
      <a:lvl6pPr marL="1523887" indent="-304776" algn="l" defTabSz="1219110" rtl="0" eaLnBrk="1" latinLnBrk="0" hangingPunct="1">
        <a:lnSpc>
          <a:spcPct val="100000"/>
        </a:lnSpc>
        <a:spcBef>
          <a:spcPts val="533"/>
        </a:spcBef>
        <a:buClr>
          <a:schemeClr val="accent2"/>
        </a:buClr>
        <a:buSzPct val="125000"/>
        <a:buFont typeface="Arial" panose="020B0604020202020204" pitchFamily="34" charset="0"/>
        <a:buChar char="•"/>
        <a:defRPr sz="2133" kern="1200">
          <a:solidFill>
            <a:schemeClr val="tx2"/>
          </a:solidFill>
          <a:latin typeface="Arial" panose="020B0604020202020204" pitchFamily="34" charset="0"/>
          <a:ea typeface="+mn-ea"/>
          <a:cs typeface="Arial" panose="020B0604020202020204" pitchFamily="34" charset="0"/>
        </a:defRPr>
      </a:lvl6pPr>
      <a:lvl7pPr marL="1828664" indent="-304776" algn="l" defTabSz="1219110" rtl="0" eaLnBrk="1" latinLnBrk="0" hangingPunct="1">
        <a:lnSpc>
          <a:spcPct val="100000"/>
        </a:lnSpc>
        <a:spcBef>
          <a:spcPts val="533"/>
        </a:spcBef>
        <a:buClr>
          <a:schemeClr val="accent2"/>
        </a:buClr>
        <a:buSzPct val="90000"/>
        <a:buFont typeface="Arial" panose="020B0604020202020204" pitchFamily="34" charset="0"/>
        <a:buChar char="–"/>
        <a:defRPr sz="2133" kern="1200">
          <a:solidFill>
            <a:schemeClr val="tx2"/>
          </a:solidFill>
          <a:latin typeface="+mn-lt"/>
          <a:ea typeface="+mn-ea"/>
          <a:cs typeface="+mn-cs"/>
        </a:defRPr>
      </a:lvl7pPr>
      <a:lvl8pPr marL="2133440" indent="-304776" algn="l" defTabSz="1219110" rtl="0" eaLnBrk="1" latinLnBrk="0" hangingPunct="1">
        <a:lnSpc>
          <a:spcPct val="100000"/>
        </a:lnSpc>
        <a:spcBef>
          <a:spcPts val="533"/>
        </a:spcBef>
        <a:buClr>
          <a:schemeClr val="accent2"/>
        </a:buClr>
        <a:buSzPct val="90000"/>
        <a:buFont typeface="Courier New" panose="02070309020205020404" pitchFamily="49" charset="0"/>
        <a:buChar char="o"/>
        <a:defRPr sz="2133" kern="1200">
          <a:solidFill>
            <a:schemeClr val="tx2"/>
          </a:solidFill>
          <a:latin typeface="+mn-lt"/>
          <a:ea typeface="+mn-ea"/>
          <a:cs typeface="+mn-cs"/>
        </a:defRPr>
      </a:lvl8pPr>
      <a:lvl9pPr marL="2133440" indent="-304776" algn="l" defTabSz="1219110" rtl="0" eaLnBrk="1" latinLnBrk="0" hangingPunct="1">
        <a:lnSpc>
          <a:spcPct val="100000"/>
        </a:lnSpc>
        <a:spcBef>
          <a:spcPts val="533"/>
        </a:spcBef>
        <a:buClrTx/>
        <a:buSzPct val="90000"/>
        <a:buFont typeface="Courier New" panose="02070309020205020404" pitchFamily="49" charset="0"/>
        <a:buChar char="o"/>
        <a:defRPr sz="2133" kern="1200">
          <a:solidFill>
            <a:schemeClr val="tx2"/>
          </a:solidFill>
          <a:latin typeface="+mn-lt"/>
          <a:ea typeface="+mn-ea"/>
          <a:cs typeface="+mn-cs"/>
        </a:defRPr>
      </a:lvl9pPr>
    </p:bodyStyle>
    <p:otherStyle>
      <a:defPPr>
        <a:defRPr lang="en-US"/>
      </a:defPPr>
      <a:lvl1pPr marL="0" algn="l" defTabSz="1219110" rtl="0" eaLnBrk="1" latinLnBrk="0" hangingPunct="1">
        <a:defRPr sz="2400" kern="1200">
          <a:solidFill>
            <a:schemeClr val="tx1"/>
          </a:solidFill>
          <a:latin typeface="+mn-lt"/>
          <a:ea typeface="+mn-ea"/>
          <a:cs typeface="+mn-cs"/>
        </a:defRPr>
      </a:lvl1pPr>
      <a:lvl2pPr marL="609555" algn="l" defTabSz="1219110" rtl="0" eaLnBrk="1" latinLnBrk="0" hangingPunct="1">
        <a:defRPr sz="2400" kern="1200">
          <a:solidFill>
            <a:schemeClr val="tx1"/>
          </a:solidFill>
          <a:latin typeface="+mn-lt"/>
          <a:ea typeface="+mn-ea"/>
          <a:cs typeface="+mn-cs"/>
        </a:defRPr>
      </a:lvl2pPr>
      <a:lvl3pPr marL="1219110" algn="l" defTabSz="1219110" rtl="0" eaLnBrk="1" latinLnBrk="0" hangingPunct="1">
        <a:defRPr sz="2400" kern="1200">
          <a:solidFill>
            <a:schemeClr val="tx1"/>
          </a:solidFill>
          <a:latin typeface="+mn-lt"/>
          <a:ea typeface="+mn-ea"/>
          <a:cs typeface="+mn-cs"/>
        </a:defRPr>
      </a:lvl3pPr>
      <a:lvl4pPr marL="1828664" algn="l" defTabSz="1219110" rtl="0" eaLnBrk="1" latinLnBrk="0" hangingPunct="1">
        <a:defRPr sz="2400" kern="1200">
          <a:solidFill>
            <a:schemeClr val="tx1"/>
          </a:solidFill>
          <a:latin typeface="+mn-lt"/>
          <a:ea typeface="+mn-ea"/>
          <a:cs typeface="+mn-cs"/>
        </a:defRPr>
      </a:lvl4pPr>
      <a:lvl5pPr marL="2438218" algn="l" defTabSz="1219110" rtl="0" eaLnBrk="1" latinLnBrk="0" hangingPunct="1">
        <a:defRPr sz="2400" kern="1200">
          <a:solidFill>
            <a:schemeClr val="tx1"/>
          </a:solidFill>
          <a:latin typeface="+mn-lt"/>
          <a:ea typeface="+mn-ea"/>
          <a:cs typeface="+mn-cs"/>
        </a:defRPr>
      </a:lvl5pPr>
      <a:lvl6pPr marL="3047772" algn="l" defTabSz="1219110" rtl="0" eaLnBrk="1" latinLnBrk="0" hangingPunct="1">
        <a:defRPr sz="2400" kern="1200">
          <a:solidFill>
            <a:schemeClr val="tx1"/>
          </a:solidFill>
          <a:latin typeface="+mn-lt"/>
          <a:ea typeface="+mn-ea"/>
          <a:cs typeface="+mn-cs"/>
        </a:defRPr>
      </a:lvl6pPr>
      <a:lvl7pPr marL="3657327" algn="l" defTabSz="1219110" rtl="0" eaLnBrk="1" latinLnBrk="0" hangingPunct="1">
        <a:defRPr sz="2400" kern="1200">
          <a:solidFill>
            <a:schemeClr val="tx1"/>
          </a:solidFill>
          <a:latin typeface="+mn-lt"/>
          <a:ea typeface="+mn-ea"/>
          <a:cs typeface="+mn-cs"/>
        </a:defRPr>
      </a:lvl7pPr>
      <a:lvl8pPr marL="4266880" algn="l" defTabSz="1219110" rtl="0" eaLnBrk="1" latinLnBrk="0" hangingPunct="1">
        <a:defRPr sz="2400" kern="1200">
          <a:solidFill>
            <a:schemeClr val="tx1"/>
          </a:solidFill>
          <a:latin typeface="+mn-lt"/>
          <a:ea typeface="+mn-ea"/>
          <a:cs typeface="+mn-cs"/>
        </a:defRPr>
      </a:lvl8pPr>
      <a:lvl9pPr marL="4876435" algn="l" defTabSz="121911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52">
          <p15:clr>
            <a:srgbClr val="F26B43"/>
          </p15:clr>
        </p15:guide>
        <p15:guide id="2" pos="320">
          <p15:clr>
            <a:srgbClr val="F26B43"/>
          </p15:clr>
        </p15:guide>
        <p15:guide id="3" pos="7392">
          <p15:clr>
            <a:srgbClr val="F26B43"/>
          </p15:clr>
        </p15:guide>
        <p15:guide id="4" orient="horz" pos="401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xml"/><Relationship Id="rId1" Type="http://schemas.openxmlformats.org/officeDocument/2006/relationships/slideLayout" Target="../slideLayouts/slideLayout59.xml"/><Relationship Id="rId6" Type="http://schemas.openxmlformats.org/officeDocument/2006/relationships/image" Target="../media/image27.jpeg"/><Relationship Id="rId5" Type="http://schemas.openxmlformats.org/officeDocument/2006/relationships/image" Target="../media/image26.png"/><Relationship Id="rId4" Type="http://schemas.openxmlformats.org/officeDocument/2006/relationships/image" Target="../media/image25.sv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6.xml"/></Relationships>
</file>

<file path=ppt/slides/_rels/slide11.xml.rels><?xml version="1.0" encoding="UTF-8" standalone="yes"?>
<Relationships xmlns="http://schemas.openxmlformats.org/package/2006/relationships"><Relationship Id="rId8" Type="http://schemas.openxmlformats.org/officeDocument/2006/relationships/image" Target="../media/image70.svg"/><Relationship Id="rId13" Type="http://schemas.openxmlformats.org/officeDocument/2006/relationships/image" Target="../media/image75.svg"/><Relationship Id="rId18" Type="http://schemas.openxmlformats.org/officeDocument/2006/relationships/image" Target="../media/image79.png"/><Relationship Id="rId3" Type="http://schemas.openxmlformats.org/officeDocument/2006/relationships/image" Target="../media/image65.png"/><Relationship Id="rId21" Type="http://schemas.openxmlformats.org/officeDocument/2006/relationships/image" Target="../media/image82.svg"/><Relationship Id="rId7" Type="http://schemas.openxmlformats.org/officeDocument/2006/relationships/image" Target="../media/image69.png"/><Relationship Id="rId12" Type="http://schemas.openxmlformats.org/officeDocument/2006/relationships/image" Target="../media/image74.png"/><Relationship Id="rId17" Type="http://schemas.microsoft.com/office/2007/relationships/hdphoto" Target="../media/hdphoto1.wdp"/><Relationship Id="rId2" Type="http://schemas.openxmlformats.org/officeDocument/2006/relationships/image" Target="../media/image64.png"/><Relationship Id="rId16" Type="http://schemas.openxmlformats.org/officeDocument/2006/relationships/image" Target="../media/image78.png"/><Relationship Id="rId20" Type="http://schemas.openxmlformats.org/officeDocument/2006/relationships/image" Target="../media/image81.png"/><Relationship Id="rId1" Type="http://schemas.openxmlformats.org/officeDocument/2006/relationships/slideLayout" Target="../slideLayouts/slideLayout26.xml"/><Relationship Id="rId6" Type="http://schemas.openxmlformats.org/officeDocument/2006/relationships/image" Target="../media/image68.svg"/><Relationship Id="rId11" Type="http://schemas.openxmlformats.org/officeDocument/2006/relationships/image" Target="../media/image73.png"/><Relationship Id="rId5" Type="http://schemas.openxmlformats.org/officeDocument/2006/relationships/image" Target="../media/image67.png"/><Relationship Id="rId15" Type="http://schemas.openxmlformats.org/officeDocument/2006/relationships/image" Target="../media/image77.svg"/><Relationship Id="rId23" Type="http://schemas.openxmlformats.org/officeDocument/2006/relationships/image" Target="../media/image84.svg"/><Relationship Id="rId10" Type="http://schemas.openxmlformats.org/officeDocument/2006/relationships/image" Target="../media/image72.svg"/><Relationship Id="rId19" Type="http://schemas.openxmlformats.org/officeDocument/2006/relationships/image" Target="../media/image80.png"/><Relationship Id="rId4" Type="http://schemas.openxmlformats.org/officeDocument/2006/relationships/image" Target="../media/image66.svg"/><Relationship Id="rId9" Type="http://schemas.openxmlformats.org/officeDocument/2006/relationships/image" Target="../media/image71.png"/><Relationship Id="rId14" Type="http://schemas.openxmlformats.org/officeDocument/2006/relationships/image" Target="../media/image76.png"/><Relationship Id="rId22" Type="http://schemas.openxmlformats.org/officeDocument/2006/relationships/image" Target="../media/image83.png"/></Relationships>
</file>

<file path=ppt/slides/_rels/slide12.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image" Target="../media/image86.svg"/><Relationship Id="rId7" Type="http://schemas.openxmlformats.org/officeDocument/2006/relationships/image" Target="../media/image90.png"/><Relationship Id="rId2" Type="http://schemas.openxmlformats.org/officeDocument/2006/relationships/image" Target="../media/image85.png"/><Relationship Id="rId1" Type="http://schemas.openxmlformats.org/officeDocument/2006/relationships/slideLayout" Target="../slideLayouts/slideLayout1.xml"/><Relationship Id="rId6" Type="http://schemas.openxmlformats.org/officeDocument/2006/relationships/image" Target="../media/image89.png"/><Relationship Id="rId5" Type="http://schemas.openxmlformats.org/officeDocument/2006/relationships/image" Target="../media/image88.svg"/><Relationship Id="rId4" Type="http://schemas.openxmlformats.org/officeDocument/2006/relationships/image" Target="../media/image87.png"/></Relationships>
</file>

<file path=ppt/slides/_rels/slide13.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26.xml"/><Relationship Id="rId6" Type="http://schemas.openxmlformats.org/officeDocument/2006/relationships/image" Target="../media/image96.png"/><Relationship Id="rId5" Type="http://schemas.openxmlformats.org/officeDocument/2006/relationships/image" Target="../media/image95.png"/><Relationship Id="rId4" Type="http://schemas.openxmlformats.org/officeDocument/2006/relationships/image" Target="../media/image94.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5.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image" Target="../media/image98.png"/><Relationship Id="rId7" Type="http://schemas.openxmlformats.org/officeDocument/2006/relationships/image" Target="../media/image102.png"/><Relationship Id="rId2" Type="http://schemas.openxmlformats.org/officeDocument/2006/relationships/image" Target="../media/image97.png"/><Relationship Id="rId1" Type="http://schemas.openxmlformats.org/officeDocument/2006/relationships/slideLayout" Target="../slideLayouts/slideLayout26.xml"/><Relationship Id="rId6" Type="http://schemas.openxmlformats.org/officeDocument/2006/relationships/image" Target="../media/image101.png"/><Relationship Id="rId5" Type="http://schemas.openxmlformats.org/officeDocument/2006/relationships/image" Target="../media/image100.png"/><Relationship Id="rId4" Type="http://schemas.openxmlformats.org/officeDocument/2006/relationships/image" Target="../media/image99.png"/></Relationships>
</file>

<file path=ppt/slides/_rels/slide16.xml.rels><?xml version="1.0" encoding="UTF-8" standalone="yes"?>
<Relationships xmlns="http://schemas.openxmlformats.org/package/2006/relationships"><Relationship Id="rId8" Type="http://schemas.openxmlformats.org/officeDocument/2006/relationships/oleObject" Target="../embeddings/oleObject5.bin"/><Relationship Id="rId13" Type="http://schemas.openxmlformats.org/officeDocument/2006/relationships/image" Target="../media/image109.emf"/><Relationship Id="rId3" Type="http://schemas.openxmlformats.org/officeDocument/2006/relationships/image" Target="../media/image104.emf"/><Relationship Id="rId7" Type="http://schemas.openxmlformats.org/officeDocument/2006/relationships/image" Target="../media/image106.emf"/><Relationship Id="rId12" Type="http://schemas.openxmlformats.org/officeDocument/2006/relationships/oleObject" Target="../embeddings/oleObject7.bin"/><Relationship Id="rId2" Type="http://schemas.openxmlformats.org/officeDocument/2006/relationships/oleObject" Target="../embeddings/oleObject2.bin"/><Relationship Id="rId1" Type="http://schemas.openxmlformats.org/officeDocument/2006/relationships/slideLayout" Target="../slideLayouts/slideLayout52.xml"/><Relationship Id="rId6" Type="http://schemas.openxmlformats.org/officeDocument/2006/relationships/oleObject" Target="../embeddings/oleObject4.bin"/><Relationship Id="rId11" Type="http://schemas.openxmlformats.org/officeDocument/2006/relationships/image" Target="../media/image108.emf"/><Relationship Id="rId5" Type="http://schemas.openxmlformats.org/officeDocument/2006/relationships/image" Target="../media/image105.emf"/><Relationship Id="rId10" Type="http://schemas.openxmlformats.org/officeDocument/2006/relationships/oleObject" Target="../embeddings/oleObject6.bin"/><Relationship Id="rId4" Type="http://schemas.openxmlformats.org/officeDocument/2006/relationships/oleObject" Target="../embeddings/oleObject3.bin"/><Relationship Id="rId9" Type="http://schemas.openxmlformats.org/officeDocument/2006/relationships/image" Target="../media/image107.emf"/></Relationships>
</file>

<file path=ppt/slides/_rels/slide17.xml.rels><?xml version="1.0" encoding="UTF-8" standalone="yes"?>
<Relationships xmlns="http://schemas.openxmlformats.org/package/2006/relationships"><Relationship Id="rId8" Type="http://schemas.openxmlformats.org/officeDocument/2006/relationships/image" Target="../media/image115.svg"/><Relationship Id="rId13" Type="http://schemas.openxmlformats.org/officeDocument/2006/relationships/image" Target="../media/image120.svg"/><Relationship Id="rId3" Type="http://schemas.openxmlformats.org/officeDocument/2006/relationships/image" Target="../media/image110.png"/><Relationship Id="rId7" Type="http://schemas.openxmlformats.org/officeDocument/2006/relationships/image" Target="../media/image114.png"/><Relationship Id="rId12" Type="http://schemas.openxmlformats.org/officeDocument/2006/relationships/image" Target="../media/image119.png"/><Relationship Id="rId2" Type="http://schemas.openxmlformats.org/officeDocument/2006/relationships/notesSlide" Target="../notesSlides/notesSlide11.xml"/><Relationship Id="rId16" Type="http://schemas.openxmlformats.org/officeDocument/2006/relationships/image" Target="../media/image123.png"/><Relationship Id="rId1" Type="http://schemas.openxmlformats.org/officeDocument/2006/relationships/slideLayout" Target="../slideLayouts/slideLayout26.xml"/><Relationship Id="rId6" Type="http://schemas.openxmlformats.org/officeDocument/2006/relationships/image" Target="../media/image113.png"/><Relationship Id="rId11" Type="http://schemas.openxmlformats.org/officeDocument/2006/relationships/image" Target="../media/image118.png"/><Relationship Id="rId5" Type="http://schemas.openxmlformats.org/officeDocument/2006/relationships/image" Target="../media/image112.svg"/><Relationship Id="rId15" Type="http://schemas.openxmlformats.org/officeDocument/2006/relationships/image" Target="../media/image122.svg"/><Relationship Id="rId10" Type="http://schemas.openxmlformats.org/officeDocument/2006/relationships/image" Target="../media/image117.svg"/><Relationship Id="rId4" Type="http://schemas.openxmlformats.org/officeDocument/2006/relationships/image" Target="../media/image111.png"/><Relationship Id="rId9" Type="http://schemas.openxmlformats.org/officeDocument/2006/relationships/image" Target="../media/image116.png"/><Relationship Id="rId14" Type="http://schemas.openxmlformats.org/officeDocument/2006/relationships/image" Target="../media/image121.png"/></Relationships>
</file>

<file path=ppt/slides/_rels/slide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2.xml"/><Relationship Id="rId1" Type="http://schemas.openxmlformats.org/officeDocument/2006/relationships/slideLayout" Target="../slideLayouts/slideLayout30.xml"/><Relationship Id="rId4" Type="http://schemas.openxmlformats.org/officeDocument/2006/relationships/image" Target="../media/image31.svg"/></Relationships>
</file>

<file path=ppt/slides/_rels/slide19.xml.rels><?xml version="1.0" encoding="UTF-8" standalone="yes"?>
<Relationships xmlns="http://schemas.openxmlformats.org/package/2006/relationships"><Relationship Id="rId2" Type="http://schemas.openxmlformats.org/officeDocument/2006/relationships/image" Target="../media/image124.jpeg"/><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xml"/><Relationship Id="rId1" Type="http://schemas.openxmlformats.org/officeDocument/2006/relationships/slideLayout" Target="../slideLayouts/slideLayout59.xml"/><Relationship Id="rId4" Type="http://schemas.openxmlformats.org/officeDocument/2006/relationships/image" Target="../media/image29.svg"/></Relationships>
</file>

<file path=ppt/slides/_rels/slide20.xml.rels><?xml version="1.0" encoding="UTF-8" standalone="yes"?>
<Relationships xmlns="http://schemas.openxmlformats.org/package/2006/relationships"><Relationship Id="rId8" Type="http://schemas.openxmlformats.org/officeDocument/2006/relationships/image" Target="../media/image130.png"/><Relationship Id="rId13" Type="http://schemas.openxmlformats.org/officeDocument/2006/relationships/image" Target="../media/image135.svg"/><Relationship Id="rId18" Type="http://schemas.openxmlformats.org/officeDocument/2006/relationships/image" Target="../media/image140.png"/><Relationship Id="rId3" Type="http://schemas.openxmlformats.org/officeDocument/2006/relationships/image" Target="../media/image125.png"/><Relationship Id="rId21" Type="http://schemas.openxmlformats.org/officeDocument/2006/relationships/image" Target="../media/image143.png"/><Relationship Id="rId7" Type="http://schemas.openxmlformats.org/officeDocument/2006/relationships/image" Target="../media/image129.jpeg"/><Relationship Id="rId12" Type="http://schemas.openxmlformats.org/officeDocument/2006/relationships/image" Target="../media/image134.png"/><Relationship Id="rId17" Type="http://schemas.openxmlformats.org/officeDocument/2006/relationships/image" Target="../media/image139.svg"/><Relationship Id="rId2" Type="http://schemas.openxmlformats.org/officeDocument/2006/relationships/notesSlide" Target="../notesSlides/notesSlide13.xml"/><Relationship Id="rId16" Type="http://schemas.openxmlformats.org/officeDocument/2006/relationships/image" Target="../media/image138.png"/><Relationship Id="rId20" Type="http://schemas.openxmlformats.org/officeDocument/2006/relationships/image" Target="../media/image142.svg"/><Relationship Id="rId1" Type="http://schemas.openxmlformats.org/officeDocument/2006/relationships/slideLayout" Target="../slideLayouts/slideLayout51.xml"/><Relationship Id="rId6" Type="http://schemas.openxmlformats.org/officeDocument/2006/relationships/image" Target="../media/image128.emf"/><Relationship Id="rId11" Type="http://schemas.openxmlformats.org/officeDocument/2006/relationships/image" Target="../media/image133.svg"/><Relationship Id="rId5" Type="http://schemas.openxmlformats.org/officeDocument/2006/relationships/image" Target="../media/image127.emf"/><Relationship Id="rId15" Type="http://schemas.openxmlformats.org/officeDocument/2006/relationships/image" Target="../media/image137.svg"/><Relationship Id="rId10" Type="http://schemas.openxmlformats.org/officeDocument/2006/relationships/image" Target="../media/image132.png"/><Relationship Id="rId19" Type="http://schemas.openxmlformats.org/officeDocument/2006/relationships/image" Target="../media/image141.png"/><Relationship Id="rId4" Type="http://schemas.openxmlformats.org/officeDocument/2006/relationships/image" Target="../media/image126.jpeg"/><Relationship Id="rId9" Type="http://schemas.openxmlformats.org/officeDocument/2006/relationships/image" Target="../media/image131.svg"/><Relationship Id="rId14" Type="http://schemas.openxmlformats.org/officeDocument/2006/relationships/image" Target="../media/image136.png"/><Relationship Id="rId22" Type="http://schemas.openxmlformats.org/officeDocument/2006/relationships/image" Target="../media/image144.svg"/></Relationships>
</file>

<file path=ppt/slides/_rels/slide21.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image" Target="../media/image145.png"/><Relationship Id="rId1" Type="http://schemas.openxmlformats.org/officeDocument/2006/relationships/slideLayout" Target="../slideLayouts/slideLayout51.xml"/><Relationship Id="rId5" Type="http://schemas.openxmlformats.org/officeDocument/2006/relationships/image" Target="../media/image148.png"/><Relationship Id="rId4" Type="http://schemas.openxmlformats.org/officeDocument/2006/relationships/image" Target="../media/image147.png"/></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4.xml"/><Relationship Id="rId1" Type="http://schemas.openxmlformats.org/officeDocument/2006/relationships/slideLayout" Target="../slideLayouts/slideLayout30.xml"/><Relationship Id="rId4" Type="http://schemas.openxmlformats.org/officeDocument/2006/relationships/image" Target="../media/image31.svg"/></Relationships>
</file>

<file path=ppt/slides/_rels/slide23.xml.rels><?xml version="1.0" encoding="UTF-8" standalone="yes"?>
<Relationships xmlns="http://schemas.openxmlformats.org/package/2006/relationships"><Relationship Id="rId3" Type="http://schemas.openxmlformats.org/officeDocument/2006/relationships/hyperlink" Target="https://www.figma.com/proto/XlChdUfJe7V7LDNgBnFPa0/Coty--Research-File?page-id=176%3A14934&amp;node-id=176-14944&amp;viewport=25%2C281%2C0.14&amp;t=aDClQo8NyYDKl6Rv-1&amp;scaling=min-zoom&amp;content-scaling=fixed&amp;starting-point-node-id=176%3A14944" TargetMode="External"/><Relationship Id="rId2" Type="http://schemas.openxmlformats.org/officeDocument/2006/relationships/notesSlide" Target="../notesSlides/notesSlide15.xml"/><Relationship Id="rId1" Type="http://schemas.openxmlformats.org/officeDocument/2006/relationships/slideLayout" Target="../slideLayouts/slideLayout27.xml"/><Relationship Id="rId4" Type="http://schemas.openxmlformats.org/officeDocument/2006/relationships/image" Target="../media/image149.png"/></Relationships>
</file>

<file path=ppt/slides/_rels/slide24.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hyperlink" Target="https://www.figma.com/proto/XlChdUfJe7V7LDNgBnFPa0/Coty--Research-File?page-id=176%3A14934&amp;node-id=176-14944&amp;viewport=25%2C281%2C0.14&amp;t=aDClQo8NyYDKl6Rv-1&amp;scaling=min-zoom&amp;content-scaling=fixed&amp;starting-point-node-id=176%3A14944" TargetMode="External"/><Relationship Id="rId1" Type="http://schemas.openxmlformats.org/officeDocument/2006/relationships/slideLayout" Target="../slideLayouts/slideLayout27.xml"/><Relationship Id="rId5" Type="http://schemas.openxmlformats.org/officeDocument/2006/relationships/image" Target="../media/image152.png"/><Relationship Id="rId4" Type="http://schemas.openxmlformats.org/officeDocument/2006/relationships/image" Target="../media/image151.png"/></Relationships>
</file>

<file path=ppt/slides/_rels/slide25.xml.rels><?xml version="1.0" encoding="UTF-8" standalone="yes"?>
<Relationships xmlns="http://schemas.openxmlformats.org/package/2006/relationships"><Relationship Id="rId3" Type="http://schemas.openxmlformats.org/officeDocument/2006/relationships/image" Target="../media/image153.jpeg"/><Relationship Id="rId2" Type="http://schemas.openxmlformats.org/officeDocument/2006/relationships/hyperlink" Target="https://www.figma.com/proto/XlChdUfJe7V7LDNgBnFPa0/Coty--Research-File?page-id=409%3A3375&amp;node-id=409-4590&amp;viewport=-1664%2C931%2C0.9&amp;t=1ALVECV9SDP9Upo6-1&amp;scaling=contain&amp;content-scaling=fixed&amp;starting-point-node-id=409%3A4590" TargetMode="External"/><Relationship Id="rId1" Type="http://schemas.openxmlformats.org/officeDocument/2006/relationships/slideLayout" Target="../slideLayouts/slideLayout39.xml"/></Relationships>
</file>

<file path=ppt/slides/_rels/slide26.xml.rels><?xml version="1.0" encoding="UTF-8" standalone="yes"?>
<Relationships xmlns="http://schemas.openxmlformats.org/package/2006/relationships"><Relationship Id="rId2" Type="http://schemas.openxmlformats.org/officeDocument/2006/relationships/image" Target="../media/image154.jpeg"/><Relationship Id="rId1" Type="http://schemas.openxmlformats.org/officeDocument/2006/relationships/slideLayout" Target="../slideLayouts/slideLayout39.xml"/></Relationships>
</file>

<file path=ppt/slides/_rels/slide27.xml.rels><?xml version="1.0" encoding="UTF-8" standalone="yes"?>
<Relationships xmlns="http://schemas.openxmlformats.org/package/2006/relationships"><Relationship Id="rId2" Type="http://schemas.openxmlformats.org/officeDocument/2006/relationships/image" Target="../media/image155.jpeg"/><Relationship Id="rId1" Type="http://schemas.openxmlformats.org/officeDocument/2006/relationships/slideLayout" Target="../slideLayouts/slideLayout39.xml"/></Relationships>
</file>

<file path=ppt/slides/_rels/slide2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6.xml"/><Relationship Id="rId1" Type="http://schemas.openxmlformats.org/officeDocument/2006/relationships/slideLayout" Target="../slideLayouts/slideLayout30.xml"/><Relationship Id="rId4" Type="http://schemas.openxmlformats.org/officeDocument/2006/relationships/image" Target="../media/image31.sv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xml"/><Relationship Id="rId1" Type="http://schemas.openxmlformats.org/officeDocument/2006/relationships/slideLayout" Target="../slideLayouts/slideLayout30.xml"/><Relationship Id="rId4" Type="http://schemas.openxmlformats.org/officeDocument/2006/relationships/image" Target="../media/image31.svg"/></Relationships>
</file>

<file path=ppt/slides/_rels/slide30.xml.rels><?xml version="1.0" encoding="UTF-8" standalone="yes"?>
<Relationships xmlns="http://schemas.openxmlformats.org/package/2006/relationships"><Relationship Id="rId3" Type="http://schemas.openxmlformats.org/officeDocument/2006/relationships/image" Target="../media/image157.svg"/><Relationship Id="rId7" Type="http://schemas.openxmlformats.org/officeDocument/2006/relationships/image" Target="../media/image161.png"/><Relationship Id="rId2" Type="http://schemas.openxmlformats.org/officeDocument/2006/relationships/image" Target="../media/image156.png"/><Relationship Id="rId1" Type="http://schemas.openxmlformats.org/officeDocument/2006/relationships/slideLayout" Target="../slideLayouts/slideLayout26.xml"/><Relationship Id="rId6" Type="http://schemas.openxmlformats.org/officeDocument/2006/relationships/image" Target="../media/image160.png"/><Relationship Id="rId5" Type="http://schemas.openxmlformats.org/officeDocument/2006/relationships/image" Target="../media/image159.svg"/><Relationship Id="rId4" Type="http://schemas.openxmlformats.org/officeDocument/2006/relationships/image" Target="../media/image158.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6.xml"/></Relationships>
</file>

<file path=ppt/slides/_rels/slide32.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19.xml"/><Relationship Id="rId1" Type="http://schemas.openxmlformats.org/officeDocument/2006/relationships/slideLayout" Target="../slideLayouts/slideLayout26.xml"/><Relationship Id="rId4" Type="http://schemas.openxmlformats.org/officeDocument/2006/relationships/image" Target="../media/image163.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0.xml"/><Relationship Id="rId1" Type="http://schemas.openxmlformats.org/officeDocument/2006/relationships/slideLayout" Target="../slideLayouts/slideLayout30.xml"/><Relationship Id="rId4" Type="http://schemas.openxmlformats.org/officeDocument/2006/relationships/image" Target="../media/image31.svg"/></Relationships>
</file>

<file path=ppt/slides/_rels/slide36.xml.rels><?xml version="1.0" encoding="UTF-8" standalone="yes"?>
<Relationships xmlns="http://schemas.openxmlformats.org/package/2006/relationships"><Relationship Id="rId8" Type="http://schemas.openxmlformats.org/officeDocument/2006/relationships/image" Target="../media/image169.svg"/><Relationship Id="rId13" Type="http://schemas.openxmlformats.org/officeDocument/2006/relationships/image" Target="../media/image174.png"/><Relationship Id="rId18" Type="http://schemas.openxmlformats.org/officeDocument/2006/relationships/image" Target="../media/image179.png"/><Relationship Id="rId3" Type="http://schemas.openxmlformats.org/officeDocument/2006/relationships/image" Target="../media/image164.png"/><Relationship Id="rId7" Type="http://schemas.openxmlformats.org/officeDocument/2006/relationships/image" Target="../media/image168.png"/><Relationship Id="rId12" Type="http://schemas.openxmlformats.org/officeDocument/2006/relationships/image" Target="../media/image173.png"/><Relationship Id="rId17" Type="http://schemas.openxmlformats.org/officeDocument/2006/relationships/image" Target="../media/image178.png"/><Relationship Id="rId2" Type="http://schemas.openxmlformats.org/officeDocument/2006/relationships/notesSlide" Target="../notesSlides/notesSlide21.xml"/><Relationship Id="rId16" Type="http://schemas.openxmlformats.org/officeDocument/2006/relationships/image" Target="../media/image177.jpeg"/><Relationship Id="rId1" Type="http://schemas.openxmlformats.org/officeDocument/2006/relationships/slideLayout" Target="../slideLayouts/slideLayout26.xml"/><Relationship Id="rId6" Type="http://schemas.openxmlformats.org/officeDocument/2006/relationships/image" Target="../media/image167.jpeg"/><Relationship Id="rId11" Type="http://schemas.openxmlformats.org/officeDocument/2006/relationships/image" Target="../media/image172.png"/><Relationship Id="rId5" Type="http://schemas.openxmlformats.org/officeDocument/2006/relationships/image" Target="../media/image166.png"/><Relationship Id="rId15" Type="http://schemas.openxmlformats.org/officeDocument/2006/relationships/image" Target="../media/image176.png"/><Relationship Id="rId10" Type="http://schemas.openxmlformats.org/officeDocument/2006/relationships/image" Target="../media/image171.png"/><Relationship Id="rId19" Type="http://schemas.openxmlformats.org/officeDocument/2006/relationships/image" Target="../media/image180.svg"/><Relationship Id="rId4" Type="http://schemas.openxmlformats.org/officeDocument/2006/relationships/image" Target="../media/image165.png"/><Relationship Id="rId9" Type="http://schemas.openxmlformats.org/officeDocument/2006/relationships/image" Target="../media/image170.jpeg"/><Relationship Id="rId14" Type="http://schemas.openxmlformats.org/officeDocument/2006/relationships/image" Target="../media/image175.jpeg"/></Relationships>
</file>

<file path=ppt/slides/_rels/slide3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2.xml"/><Relationship Id="rId1" Type="http://schemas.openxmlformats.org/officeDocument/2006/relationships/slideLayout" Target="../slideLayouts/slideLayout30.xml"/><Relationship Id="rId4" Type="http://schemas.openxmlformats.org/officeDocument/2006/relationships/image" Target="../media/image31.svg"/></Relationships>
</file>

<file path=ppt/slides/_rels/slide38.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image" Target="../media/image181.png"/><Relationship Id="rId1" Type="http://schemas.openxmlformats.org/officeDocument/2006/relationships/slideLayout" Target="../slideLayouts/slideLayout39.xml"/></Relationships>
</file>

<file path=ppt/slides/_rels/slide39.xml.rels><?xml version="1.0" encoding="UTF-8" standalone="yes"?>
<Relationships xmlns="http://schemas.openxmlformats.org/package/2006/relationships"><Relationship Id="rId8" Type="http://schemas.openxmlformats.org/officeDocument/2006/relationships/image" Target="../media/image188.svg"/><Relationship Id="rId3" Type="http://schemas.openxmlformats.org/officeDocument/2006/relationships/image" Target="../media/image183.png"/><Relationship Id="rId7" Type="http://schemas.openxmlformats.org/officeDocument/2006/relationships/image" Target="../media/image187.png"/><Relationship Id="rId2" Type="http://schemas.openxmlformats.org/officeDocument/2006/relationships/notesSlide" Target="../notesSlides/notesSlide23.xml"/><Relationship Id="rId1" Type="http://schemas.openxmlformats.org/officeDocument/2006/relationships/slideLayout" Target="../slideLayouts/slideLayout26.xml"/><Relationship Id="rId6" Type="http://schemas.openxmlformats.org/officeDocument/2006/relationships/image" Target="../media/image186.svg"/><Relationship Id="rId11" Type="http://schemas.openxmlformats.org/officeDocument/2006/relationships/image" Target="../media/image191.png"/><Relationship Id="rId5" Type="http://schemas.openxmlformats.org/officeDocument/2006/relationships/image" Target="../media/image185.png"/><Relationship Id="rId10" Type="http://schemas.openxmlformats.org/officeDocument/2006/relationships/image" Target="../media/image190.svg"/><Relationship Id="rId4" Type="http://schemas.openxmlformats.org/officeDocument/2006/relationships/image" Target="../media/image184.svg"/><Relationship Id="rId9" Type="http://schemas.openxmlformats.org/officeDocument/2006/relationships/image" Target="../media/image189.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6.xml"/></Relationships>
</file>

<file path=ppt/slides/_rels/slide40.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24.xml"/><Relationship Id="rId1" Type="http://schemas.openxmlformats.org/officeDocument/2006/relationships/slideLayout" Target="../slideLayouts/slideLayout26.xml"/><Relationship Id="rId4" Type="http://schemas.openxmlformats.org/officeDocument/2006/relationships/image" Target="../media/image193.png"/></Relationships>
</file>

<file path=ppt/slides/_rels/slide41.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25.xml"/><Relationship Id="rId1" Type="http://schemas.openxmlformats.org/officeDocument/2006/relationships/slideLayout" Target="../slideLayouts/slideLayout26.xml"/><Relationship Id="rId4" Type="http://schemas.openxmlformats.org/officeDocument/2006/relationships/image" Target="../media/image195.png"/></Relationships>
</file>

<file path=ppt/slides/_rels/slide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5.xml"/><Relationship Id="rId1" Type="http://schemas.openxmlformats.org/officeDocument/2006/relationships/slideLayout" Target="../slideLayouts/slideLayout30.xml"/><Relationship Id="rId4" Type="http://schemas.openxmlformats.org/officeDocument/2006/relationships/image" Target="../media/image31.svg"/></Relationships>
</file>

<file path=ppt/slides/_rels/slide6.xml.rels><?xml version="1.0" encoding="UTF-8" standalone="yes"?>
<Relationships xmlns="http://schemas.openxmlformats.org/package/2006/relationships"><Relationship Id="rId8" Type="http://schemas.openxmlformats.org/officeDocument/2006/relationships/image" Target="../media/image37.svg"/><Relationship Id="rId13" Type="http://schemas.openxmlformats.org/officeDocument/2006/relationships/image" Target="../media/image42.png"/><Relationship Id="rId3" Type="http://schemas.openxmlformats.org/officeDocument/2006/relationships/image" Target="../media/image32.png"/><Relationship Id="rId7" Type="http://schemas.openxmlformats.org/officeDocument/2006/relationships/image" Target="../media/image36.png"/><Relationship Id="rId12" Type="http://schemas.openxmlformats.org/officeDocument/2006/relationships/image" Target="../media/image41.svg"/><Relationship Id="rId2" Type="http://schemas.openxmlformats.org/officeDocument/2006/relationships/notesSlide" Target="../notesSlides/notesSlide6.xml"/><Relationship Id="rId16" Type="http://schemas.openxmlformats.org/officeDocument/2006/relationships/image" Target="../media/image45.svg"/><Relationship Id="rId1" Type="http://schemas.openxmlformats.org/officeDocument/2006/relationships/slideLayout" Target="../slideLayouts/slideLayout27.xml"/><Relationship Id="rId6" Type="http://schemas.openxmlformats.org/officeDocument/2006/relationships/image" Target="../media/image35.svg"/><Relationship Id="rId11" Type="http://schemas.openxmlformats.org/officeDocument/2006/relationships/image" Target="../media/image40.png"/><Relationship Id="rId5" Type="http://schemas.openxmlformats.org/officeDocument/2006/relationships/image" Target="../media/image34.png"/><Relationship Id="rId15" Type="http://schemas.openxmlformats.org/officeDocument/2006/relationships/image" Target="../media/image44.png"/><Relationship Id="rId10" Type="http://schemas.openxmlformats.org/officeDocument/2006/relationships/image" Target="../media/image39.svg"/><Relationship Id="rId4" Type="http://schemas.openxmlformats.org/officeDocument/2006/relationships/image" Target="../media/image33.svg"/><Relationship Id="rId9" Type="http://schemas.openxmlformats.org/officeDocument/2006/relationships/image" Target="../media/image38.png"/><Relationship Id="rId14" Type="http://schemas.openxmlformats.org/officeDocument/2006/relationships/image" Target="../media/image43.sv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6.xml"/></Relationships>
</file>

<file path=ppt/slides/_rels/slide8.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notesSlide" Target="../notesSlides/notesSlide8.xml"/><Relationship Id="rId1" Type="http://schemas.openxmlformats.org/officeDocument/2006/relationships/slideLayout" Target="../slideLayouts/slideLayout33.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9.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59.png"/><Relationship Id="rId3" Type="http://schemas.openxmlformats.org/officeDocument/2006/relationships/image" Target="../media/image51.png"/><Relationship Id="rId7" Type="http://schemas.openxmlformats.org/officeDocument/2006/relationships/image" Target="../media/image55.png"/><Relationship Id="rId12" Type="http://schemas.openxmlformats.org/officeDocument/2006/relationships/image" Target="../media/image58.png"/><Relationship Id="rId17" Type="http://schemas.openxmlformats.org/officeDocument/2006/relationships/image" Target="../media/image63.png"/><Relationship Id="rId2" Type="http://schemas.openxmlformats.org/officeDocument/2006/relationships/notesSlide" Target="../notesSlides/notesSlide9.xml"/><Relationship Id="rId16" Type="http://schemas.openxmlformats.org/officeDocument/2006/relationships/image" Target="../media/image62.png"/><Relationship Id="rId1" Type="http://schemas.openxmlformats.org/officeDocument/2006/relationships/slideLayout" Target="../slideLayouts/slideLayout31.xml"/><Relationship Id="rId6" Type="http://schemas.openxmlformats.org/officeDocument/2006/relationships/image" Target="../media/image54.png"/><Relationship Id="rId11" Type="http://schemas.openxmlformats.org/officeDocument/2006/relationships/image" Target="../media/image57.png"/><Relationship Id="rId5" Type="http://schemas.openxmlformats.org/officeDocument/2006/relationships/image" Target="../media/image53.png"/><Relationship Id="rId15" Type="http://schemas.openxmlformats.org/officeDocument/2006/relationships/image" Target="../media/image61.svg"/><Relationship Id="rId10" Type="http://schemas.openxmlformats.org/officeDocument/2006/relationships/image" Target="../media/image49.png"/><Relationship Id="rId4" Type="http://schemas.openxmlformats.org/officeDocument/2006/relationships/image" Target="../media/image52.png"/><Relationship Id="rId9" Type="http://schemas.openxmlformats.org/officeDocument/2006/relationships/image" Target="../media/image48.png"/><Relationship Id="rId14" Type="http://schemas.openxmlformats.org/officeDocument/2006/relationships/image" Target="../media/image60.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a:extLst>
            <a:ext uri="{FF2B5EF4-FFF2-40B4-BE49-F238E27FC236}">
              <a16:creationId xmlns:a16="http://schemas.microsoft.com/office/drawing/2014/main" id="{EA35541E-0548-75BC-14BC-C4E4967961CD}"/>
            </a:ext>
          </a:extLst>
        </p:cNvPr>
        <p:cNvGrpSpPr/>
        <p:nvPr/>
      </p:nvGrpSpPr>
      <p:grpSpPr>
        <a:xfrm>
          <a:off x="0" y="0"/>
          <a:ext cx="0" cy="0"/>
          <a:chOff x="0" y="0"/>
          <a:chExt cx="0" cy="0"/>
        </a:xfrm>
      </p:grpSpPr>
      <p:sp>
        <p:nvSpPr>
          <p:cNvPr id="22" name="Rectangle 21">
            <a:extLst>
              <a:ext uri="{FF2B5EF4-FFF2-40B4-BE49-F238E27FC236}">
                <a16:creationId xmlns:a16="http://schemas.microsoft.com/office/drawing/2014/main" id="{850BB2C2-CE21-3F9D-9B96-D7CCEB896877}"/>
              </a:ext>
            </a:extLst>
          </p:cNvPr>
          <p:cNvSpPr/>
          <p:nvPr/>
        </p:nvSpPr>
        <p:spPr>
          <a:xfrm>
            <a:off x="4719145" y="0"/>
            <a:ext cx="2543503" cy="2537143"/>
          </a:xfrm>
          <a:prstGeom prst="rect">
            <a:avLst/>
          </a:prstGeom>
          <a:solidFill>
            <a:srgbClr val="0D284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Graphic 29">
            <a:extLst>
              <a:ext uri="{FF2B5EF4-FFF2-40B4-BE49-F238E27FC236}">
                <a16:creationId xmlns:a16="http://schemas.microsoft.com/office/drawing/2014/main" id="{DCB8917B-8969-6A26-00E1-B655B2EBCBE9}"/>
              </a:ext>
            </a:extLst>
          </p:cNvPr>
          <p:cNvSpPr/>
          <p:nvPr/>
        </p:nvSpPr>
        <p:spPr>
          <a:xfrm>
            <a:off x="4605931" y="-40213"/>
            <a:ext cx="7177470" cy="6936263"/>
          </a:xfrm>
          <a:custGeom>
            <a:avLst/>
            <a:gdLst>
              <a:gd name="connsiteX0" fmla="*/ 422520 w 7072842"/>
              <a:gd name="connsiteY0" fmla="*/ 4804219 h 6847772"/>
              <a:gd name="connsiteX1" fmla="*/ 4464987 w 7072842"/>
              <a:gd name="connsiteY1" fmla="*/ 0 h 6847772"/>
              <a:gd name="connsiteX2" fmla="*/ 7072843 w 7072842"/>
              <a:gd name="connsiteY2" fmla="*/ 0 h 6847772"/>
              <a:gd name="connsiteX3" fmla="*/ 2827236 w 7072842"/>
              <a:gd name="connsiteY3" fmla="*/ 5023934 h 6847772"/>
              <a:gd name="connsiteX4" fmla="*/ 2814860 w 7072842"/>
              <a:gd name="connsiteY4" fmla="*/ 6847773 h 6847772"/>
              <a:gd name="connsiteX5" fmla="*/ 551057 w 7072842"/>
              <a:gd name="connsiteY5" fmla="*/ 6847773 h 6847772"/>
              <a:gd name="connsiteX6" fmla="*/ 422520 w 7072842"/>
              <a:gd name="connsiteY6" fmla="*/ 4804219 h 6847772"/>
              <a:gd name="connsiteX0" fmla="*/ 610830 w 7261153"/>
              <a:gd name="connsiteY0" fmla="*/ 4804219 h 6906766"/>
              <a:gd name="connsiteX1" fmla="*/ 4653297 w 7261153"/>
              <a:gd name="connsiteY1" fmla="*/ 0 h 6906766"/>
              <a:gd name="connsiteX2" fmla="*/ 7261153 w 7261153"/>
              <a:gd name="connsiteY2" fmla="*/ 0 h 6906766"/>
              <a:gd name="connsiteX3" fmla="*/ 3015546 w 7261153"/>
              <a:gd name="connsiteY3" fmla="*/ 5023934 h 6906766"/>
              <a:gd name="connsiteX4" fmla="*/ 3003170 w 7261153"/>
              <a:gd name="connsiteY4" fmla="*/ 6847773 h 6906766"/>
              <a:gd name="connsiteX5" fmla="*/ 414903 w 7261153"/>
              <a:gd name="connsiteY5" fmla="*/ 6906766 h 6906766"/>
              <a:gd name="connsiteX6" fmla="*/ 610830 w 7261153"/>
              <a:gd name="connsiteY6" fmla="*/ 4804219 h 6906766"/>
              <a:gd name="connsiteX0" fmla="*/ 527147 w 7177470"/>
              <a:gd name="connsiteY0" fmla="*/ 4804219 h 6936263"/>
              <a:gd name="connsiteX1" fmla="*/ 4569614 w 7177470"/>
              <a:gd name="connsiteY1" fmla="*/ 0 h 6936263"/>
              <a:gd name="connsiteX2" fmla="*/ 7177470 w 7177470"/>
              <a:gd name="connsiteY2" fmla="*/ 0 h 6936263"/>
              <a:gd name="connsiteX3" fmla="*/ 2931863 w 7177470"/>
              <a:gd name="connsiteY3" fmla="*/ 5023934 h 6936263"/>
              <a:gd name="connsiteX4" fmla="*/ 2919487 w 7177470"/>
              <a:gd name="connsiteY4" fmla="*/ 6847773 h 6936263"/>
              <a:gd name="connsiteX5" fmla="*/ 463955 w 7177470"/>
              <a:gd name="connsiteY5" fmla="*/ 6936263 h 6936263"/>
              <a:gd name="connsiteX6" fmla="*/ 527147 w 7177470"/>
              <a:gd name="connsiteY6" fmla="*/ 4804219 h 6936263"/>
              <a:gd name="connsiteX0" fmla="*/ 527147 w 7177470"/>
              <a:gd name="connsiteY0" fmla="*/ 4804219 h 6936263"/>
              <a:gd name="connsiteX1" fmla="*/ 4569614 w 7177470"/>
              <a:gd name="connsiteY1" fmla="*/ 0 h 6936263"/>
              <a:gd name="connsiteX2" fmla="*/ 7177470 w 7177470"/>
              <a:gd name="connsiteY2" fmla="*/ 0 h 6936263"/>
              <a:gd name="connsiteX3" fmla="*/ 2931863 w 7177470"/>
              <a:gd name="connsiteY3" fmla="*/ 5023934 h 6936263"/>
              <a:gd name="connsiteX4" fmla="*/ 2934235 w 7177470"/>
              <a:gd name="connsiteY4" fmla="*/ 6906767 h 6936263"/>
              <a:gd name="connsiteX5" fmla="*/ 463955 w 7177470"/>
              <a:gd name="connsiteY5" fmla="*/ 6936263 h 6936263"/>
              <a:gd name="connsiteX6" fmla="*/ 527147 w 7177470"/>
              <a:gd name="connsiteY6" fmla="*/ 4804219 h 6936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77470" h="6936263">
                <a:moveTo>
                  <a:pt x="527147" y="4804219"/>
                </a:moveTo>
                <a:lnTo>
                  <a:pt x="4569614" y="0"/>
                </a:lnTo>
                <a:lnTo>
                  <a:pt x="7177470" y="0"/>
                </a:lnTo>
                <a:lnTo>
                  <a:pt x="2931863" y="5023934"/>
                </a:lnTo>
                <a:cubicBezTo>
                  <a:pt x="2517257" y="5521355"/>
                  <a:pt x="2432463" y="6425785"/>
                  <a:pt x="2934235" y="6906767"/>
                </a:cubicBezTo>
                <a:cubicBezTo>
                  <a:pt x="2179634" y="6906767"/>
                  <a:pt x="1218556" y="6936263"/>
                  <a:pt x="463955" y="6936263"/>
                </a:cubicBezTo>
                <a:cubicBezTo>
                  <a:pt x="-298958" y="6434606"/>
                  <a:pt x="-7878" y="5442503"/>
                  <a:pt x="527147" y="4804219"/>
                </a:cubicBezTo>
                <a:close/>
              </a:path>
            </a:pathLst>
          </a:custGeom>
          <a:solidFill>
            <a:schemeClr val="bg1">
              <a:alpha val="82000"/>
            </a:schemeClr>
          </a:solidFill>
          <a:ln w="14404" cap="flat">
            <a:noFill/>
            <a:prstDash val="solid"/>
            <a:miter/>
          </a:ln>
        </p:spPr>
        <p:txBody>
          <a:bodyPr rtlCol="0" anchor="ctr"/>
          <a:lstStyle/>
          <a:p>
            <a:endParaRPr lang="en-US"/>
          </a:p>
        </p:txBody>
      </p:sp>
      <p:sp>
        <p:nvSpPr>
          <p:cNvPr id="17" name="Title 4">
            <a:extLst>
              <a:ext uri="{FF2B5EF4-FFF2-40B4-BE49-F238E27FC236}">
                <a16:creationId xmlns:a16="http://schemas.microsoft.com/office/drawing/2014/main" id="{039A7907-C16A-896E-495A-31032F78256E}"/>
              </a:ext>
            </a:extLst>
          </p:cNvPr>
          <p:cNvSpPr txBox="1">
            <a:spLocks/>
          </p:cNvSpPr>
          <p:nvPr/>
        </p:nvSpPr>
        <p:spPr>
          <a:xfrm>
            <a:off x="195285" y="2739677"/>
            <a:ext cx="4908193" cy="2413261"/>
          </a:xfrm>
          <a:prstGeom prst="rect">
            <a:avLst/>
          </a:prstGeom>
        </p:spPr>
        <p:txBody>
          <a:bodyPr>
            <a:normAutofit/>
          </a:bodyPr>
          <a:lstStyle>
            <a:lvl1pPr marL="0" marR="0" indent="0" algn="l" defTabSz="1462796" rtl="0" eaLnBrk="1" latinLnBrk="0" hangingPunct="1">
              <a:lnSpc>
                <a:spcPct val="80000"/>
              </a:lnSpc>
              <a:spcBef>
                <a:spcPts val="0"/>
              </a:spcBef>
              <a:spcAft>
                <a:spcPts val="0"/>
              </a:spcAft>
              <a:buClrTx/>
              <a:buSzTx/>
              <a:buFontTx/>
              <a:buNone/>
              <a:tabLst/>
              <a:defRPr sz="3800" b="0" i="0" u="none" strike="noStrike" cap="none" spc="0" baseline="0">
                <a:solidFill>
                  <a:schemeClr val="bg1"/>
                </a:solidFill>
                <a:uFillTx/>
                <a:latin typeface="Aptos" panose="020B0004020202020204" pitchFamily="34" charset="0"/>
                <a:ea typeface="+mj-ea"/>
                <a:cs typeface="+mj-cs"/>
                <a:sym typeface="IBM Plex Sans Light"/>
              </a:defRPr>
            </a:lvl1pPr>
            <a:lvl2pPr marL="0" marR="0" indent="0"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2pPr>
            <a:lvl3pPr marL="0" marR="0" indent="0"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3pPr>
            <a:lvl4pPr marL="0" marR="0" indent="0"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4pPr>
            <a:lvl5pPr marL="0" marR="0" indent="0"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5pPr>
            <a:lvl6pPr marL="0" marR="0" indent="217505"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6pPr>
            <a:lvl7pPr marL="0" marR="0" indent="435011"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7pPr>
            <a:lvl8pPr marL="0" marR="0" indent="652515"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8pPr>
            <a:lvl9pPr marL="0" marR="0" indent="870021"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9pPr>
          </a:lstStyle>
          <a:p>
            <a:pPr>
              <a:lnSpc>
                <a:spcPct val="90000"/>
              </a:lnSpc>
            </a:pPr>
            <a:r>
              <a:rPr lang="en-US" sz="4167" b="1" kern="0" spc="100">
                <a:latin typeface="Aptos SemiBold" panose="020B0004020202020204" pitchFamily="34" charset="0"/>
                <a:ea typeface="Helvetica Neue UltraLight" panose="02000206000000020004" pitchFamily="2" charset="0"/>
                <a:cs typeface="Helvetica Neue Medium" panose="02000503000000020004" pitchFamily="2" charset="0"/>
              </a:rPr>
              <a:t>Brillio’s Proposal on Customer 360 for Coty</a:t>
            </a:r>
            <a:endParaRPr lang="en-US" sz="4167" b="1" kern="0">
              <a:latin typeface="Aptos SemiBold" panose="020B0004020202020204" pitchFamily="34" charset="0"/>
              <a:ea typeface="Helvetica Neue UltraLight" panose="02000206000000020004" pitchFamily="2" charset="0"/>
              <a:cs typeface="Helvetica Neue Medium" panose="02000503000000020004" pitchFamily="2" charset="0"/>
            </a:endParaRPr>
          </a:p>
        </p:txBody>
      </p:sp>
      <p:sp>
        <p:nvSpPr>
          <p:cNvPr id="18" name="Text Placeholder 3">
            <a:extLst>
              <a:ext uri="{FF2B5EF4-FFF2-40B4-BE49-F238E27FC236}">
                <a16:creationId xmlns:a16="http://schemas.microsoft.com/office/drawing/2014/main" id="{FED60B5D-7BDA-DBBE-DA05-825C879AF416}"/>
              </a:ext>
            </a:extLst>
          </p:cNvPr>
          <p:cNvSpPr txBox="1">
            <a:spLocks/>
          </p:cNvSpPr>
          <p:nvPr/>
        </p:nvSpPr>
        <p:spPr>
          <a:xfrm>
            <a:off x="303045" y="2206772"/>
            <a:ext cx="3966104" cy="41275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1462796" rtl="0" eaLnBrk="1" latinLnBrk="0" hangingPunct="1">
              <a:lnSpc>
                <a:spcPct val="110000"/>
              </a:lnSpc>
              <a:spcBef>
                <a:spcPts val="0"/>
              </a:spcBef>
              <a:spcAft>
                <a:spcPts val="0"/>
              </a:spcAft>
              <a:buClrTx/>
              <a:buSzTx/>
              <a:buFontTx/>
              <a:buNone/>
              <a:tabLst/>
              <a:defRPr sz="2000" b="0" i="0" u="none" strike="noStrike" cap="none" spc="0" baseline="0">
                <a:solidFill>
                  <a:schemeClr val="bg1"/>
                </a:solidFill>
                <a:uFillTx/>
                <a:latin typeface="Aptos Light" panose="020B0004020202020204" pitchFamily="34" charset="0"/>
                <a:ea typeface="+mj-ea"/>
                <a:cs typeface="+mj-cs"/>
                <a:sym typeface="IBM Plex Sans Light"/>
              </a:defRPr>
            </a:lvl1pPr>
            <a:lvl2pPr marL="197477" marR="0" indent="-197477" algn="l" defTabSz="1462796"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bg1"/>
                </a:solidFill>
                <a:uFillTx/>
                <a:latin typeface="Aptos Light" panose="020B0004020202020204" pitchFamily="34" charset="0"/>
                <a:ea typeface="+mj-ea"/>
                <a:cs typeface="+mj-cs"/>
                <a:sym typeface="IBM Plex Sans Light"/>
              </a:defRPr>
            </a:lvl2pPr>
            <a:lvl3pPr marL="394955" marR="0" indent="-197477" algn="l" defTabSz="1462796"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bg1"/>
                </a:solidFill>
                <a:uFillTx/>
                <a:latin typeface="Aptos Light" panose="020B0004020202020204" pitchFamily="34" charset="0"/>
                <a:ea typeface="+mj-ea"/>
                <a:cs typeface="+mj-cs"/>
                <a:sym typeface="IBM Plex Sans Light"/>
              </a:defRPr>
            </a:lvl3pPr>
            <a:lvl4pPr marL="592432" marR="0" indent="-197477" algn="l" defTabSz="1462796"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bg1"/>
                </a:solidFill>
                <a:uFillTx/>
                <a:latin typeface="Aptos Light" panose="020B0004020202020204" pitchFamily="34" charset="0"/>
                <a:ea typeface="+mj-ea"/>
                <a:cs typeface="+mj-cs"/>
                <a:sym typeface="IBM Plex Sans Light"/>
              </a:defRPr>
            </a:lvl4pPr>
            <a:lvl5pPr marL="685686" marR="0" indent="-274274" algn="l" defTabSz="1462796" rtl="0" eaLnBrk="1" latinLnBrk="0" hangingPunct="1">
              <a:lnSpc>
                <a:spcPct val="110000"/>
              </a:lnSpc>
              <a:spcBef>
                <a:spcPts val="1740"/>
              </a:spcBef>
              <a:spcAft>
                <a:spcPts val="0"/>
              </a:spcAft>
              <a:buClrTx/>
              <a:buSzPct val="100000"/>
              <a:buFont typeface="Arial" panose="020B0604020202020204" pitchFamily="34" charset="0"/>
              <a:buChar char="•"/>
              <a:tabLst/>
              <a:defRPr sz="2160" b="0" i="0" u="none" strike="noStrike" cap="none" spc="0" baseline="0">
                <a:solidFill>
                  <a:srgbClr val="000000"/>
                </a:solidFill>
                <a:uFillTx/>
                <a:latin typeface="+mj-lt"/>
                <a:ea typeface="+mj-ea"/>
                <a:cs typeface="+mj-cs"/>
                <a:sym typeface="IBM Plex Sans Light"/>
              </a:defRPr>
            </a:lvl5pPr>
            <a:lvl6pPr marL="1105652" marR="0" indent="-233366" algn="l" defTabSz="1462796" rtl="0" eaLnBrk="1" latinLnBrk="0" hangingPunct="1">
              <a:lnSpc>
                <a:spcPct val="100000"/>
              </a:lnSpc>
              <a:spcBef>
                <a:spcPts val="1740"/>
              </a:spcBef>
              <a:spcAft>
                <a:spcPts val="0"/>
              </a:spcAft>
              <a:buClrTx/>
              <a:buSzPct val="100000"/>
              <a:buFontTx/>
              <a:buChar char="»"/>
              <a:tabLst/>
              <a:defRPr sz="2160" b="0" i="0" u="none" strike="noStrike" cap="none" spc="0" baseline="0">
                <a:solidFill>
                  <a:srgbClr val="000000"/>
                </a:solidFill>
                <a:uFillTx/>
                <a:latin typeface="+mj-lt"/>
                <a:ea typeface="+mj-ea"/>
                <a:cs typeface="+mj-cs"/>
                <a:sym typeface="IBM Plex Sans Light"/>
              </a:defRPr>
            </a:lvl6pPr>
            <a:lvl7pPr marL="1323158" marR="0" indent="-233366" algn="l" defTabSz="1462796" rtl="0" eaLnBrk="1" latinLnBrk="0" hangingPunct="1">
              <a:lnSpc>
                <a:spcPct val="100000"/>
              </a:lnSpc>
              <a:spcBef>
                <a:spcPts val="1740"/>
              </a:spcBef>
              <a:spcAft>
                <a:spcPts val="0"/>
              </a:spcAft>
              <a:buClrTx/>
              <a:buSzPct val="100000"/>
              <a:buFontTx/>
              <a:buChar char="»"/>
              <a:tabLst/>
              <a:defRPr sz="2160" b="0" i="0" u="none" strike="noStrike" cap="none" spc="0" baseline="0">
                <a:solidFill>
                  <a:srgbClr val="000000"/>
                </a:solidFill>
                <a:uFillTx/>
                <a:latin typeface="+mj-lt"/>
                <a:ea typeface="+mj-ea"/>
                <a:cs typeface="+mj-cs"/>
                <a:sym typeface="IBM Plex Sans Light"/>
              </a:defRPr>
            </a:lvl7pPr>
            <a:lvl8pPr marL="1540663" marR="0" indent="-233366" algn="l" defTabSz="1462796" rtl="0" eaLnBrk="1" latinLnBrk="0" hangingPunct="1">
              <a:lnSpc>
                <a:spcPct val="100000"/>
              </a:lnSpc>
              <a:spcBef>
                <a:spcPts val="1740"/>
              </a:spcBef>
              <a:spcAft>
                <a:spcPts val="0"/>
              </a:spcAft>
              <a:buClrTx/>
              <a:buSzPct val="100000"/>
              <a:buFontTx/>
              <a:buChar char="»"/>
              <a:tabLst/>
              <a:defRPr sz="2160" b="0" i="0" u="none" strike="noStrike" cap="none" spc="0" baseline="0">
                <a:solidFill>
                  <a:srgbClr val="000000"/>
                </a:solidFill>
                <a:uFillTx/>
                <a:latin typeface="+mj-lt"/>
                <a:ea typeface="+mj-ea"/>
                <a:cs typeface="+mj-cs"/>
                <a:sym typeface="IBM Plex Sans Light"/>
              </a:defRPr>
            </a:lvl8pPr>
            <a:lvl9pPr marL="1758168" marR="0" indent="-233366" algn="l" defTabSz="1462796" rtl="0" eaLnBrk="1" latinLnBrk="0" hangingPunct="1">
              <a:lnSpc>
                <a:spcPct val="100000"/>
              </a:lnSpc>
              <a:spcBef>
                <a:spcPts val="1740"/>
              </a:spcBef>
              <a:spcAft>
                <a:spcPts val="0"/>
              </a:spcAft>
              <a:buClrTx/>
              <a:buSzPct val="100000"/>
              <a:buFontTx/>
              <a:buChar char="»"/>
              <a:tabLst/>
              <a:defRPr sz="2160" b="0" i="0" u="none" strike="noStrike" cap="none" spc="0" baseline="0">
                <a:solidFill>
                  <a:srgbClr val="000000"/>
                </a:solidFill>
                <a:uFillTx/>
                <a:latin typeface="+mj-lt"/>
                <a:ea typeface="+mj-ea"/>
                <a:cs typeface="+mj-cs"/>
                <a:sym typeface="IBM Plex Sans Light"/>
              </a:defRPr>
            </a:lvl9pPr>
          </a:lstStyle>
          <a:p>
            <a:r>
              <a:rPr lang="en-US" sz="1167" b="1" kern="0"/>
              <a:t>Jan 2025</a:t>
            </a:r>
          </a:p>
        </p:txBody>
      </p:sp>
      <p:sp>
        <p:nvSpPr>
          <p:cNvPr id="24" name="TextBox 23">
            <a:extLst>
              <a:ext uri="{FF2B5EF4-FFF2-40B4-BE49-F238E27FC236}">
                <a16:creationId xmlns:a16="http://schemas.microsoft.com/office/drawing/2014/main" id="{26F651B8-54F4-AF7C-5F1D-CE86C829F0F1}"/>
              </a:ext>
            </a:extLst>
          </p:cNvPr>
          <p:cNvSpPr txBox="1"/>
          <p:nvPr/>
        </p:nvSpPr>
        <p:spPr>
          <a:xfrm>
            <a:off x="10678298" y="5334000"/>
            <a:ext cx="0" cy="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rtlCol="0">
            <a:noAutofit/>
          </a:bodyPr>
          <a:lstStyle/>
          <a:p>
            <a:pPr marL="370373" indent="-372276" defTabSz="2031919">
              <a:spcBef>
                <a:spcPts val="2417"/>
              </a:spcBef>
              <a:buSzPct val="100000"/>
              <a:buFontTx/>
              <a:buChar char="–"/>
            </a:pPr>
            <a:endParaRPr lang="en-US" sz="1500" kern="0">
              <a:solidFill>
                <a:srgbClr val="000000"/>
              </a:solidFill>
              <a:ea typeface="+mj-ea"/>
              <a:cs typeface="+mj-cs"/>
              <a:sym typeface="IBM Plex Sans Light"/>
            </a:endParaRPr>
          </a:p>
        </p:txBody>
      </p:sp>
      <p:pic>
        <p:nvPicPr>
          <p:cNvPr id="26" name="Graphic 25">
            <a:extLst>
              <a:ext uri="{FF2B5EF4-FFF2-40B4-BE49-F238E27FC236}">
                <a16:creationId xmlns:a16="http://schemas.microsoft.com/office/drawing/2014/main" id="{B4757A43-F623-D92E-5C14-FD018B80B70E}"/>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9496" t="30039" r="51620" b="35498"/>
          <a:stretch/>
        </p:blipFill>
        <p:spPr>
          <a:xfrm>
            <a:off x="95877" y="90004"/>
            <a:ext cx="1160313" cy="677626"/>
          </a:xfrm>
          <a:prstGeom prst="rect">
            <a:avLst/>
          </a:prstGeom>
        </p:spPr>
      </p:pic>
      <p:sp>
        <p:nvSpPr>
          <p:cNvPr id="28" name="Rectangle 27">
            <a:extLst>
              <a:ext uri="{FF2B5EF4-FFF2-40B4-BE49-F238E27FC236}">
                <a16:creationId xmlns:a16="http://schemas.microsoft.com/office/drawing/2014/main" id="{AAEB6FB8-9077-E40D-74FA-6ED911764842}"/>
              </a:ext>
            </a:extLst>
          </p:cNvPr>
          <p:cNvSpPr/>
          <p:nvPr/>
        </p:nvSpPr>
        <p:spPr bwMode="auto">
          <a:xfrm>
            <a:off x="311803" y="2537143"/>
            <a:ext cx="727828" cy="40640"/>
          </a:xfrm>
          <a:prstGeom prst="rect">
            <a:avLst/>
          </a:prstGeom>
          <a:solidFill>
            <a:schemeClr val="bg2"/>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76200" tIns="76200" rIns="76200" bIns="76200" numCol="1" rtlCol="0" anchor="t" anchorCtr="0" compatLnSpc="1">
            <a:prstTxWarp prst="textNoShape">
              <a:avLst/>
            </a:prstTxWarp>
          </a:bodyPr>
          <a:lstStyle/>
          <a:p>
            <a:pPr defTabSz="761970" fontAlgn="base">
              <a:spcBef>
                <a:spcPct val="0"/>
              </a:spcBef>
              <a:spcAft>
                <a:spcPct val="0"/>
              </a:spcAft>
            </a:pPr>
            <a:endParaRPr lang="en-US" sz="1167">
              <a:solidFill>
                <a:schemeClr val="bg2"/>
              </a:solidFill>
            </a:endParaRPr>
          </a:p>
        </p:txBody>
      </p:sp>
      <p:sp>
        <p:nvSpPr>
          <p:cNvPr id="2" name="TextBox 1">
            <a:extLst>
              <a:ext uri="{FF2B5EF4-FFF2-40B4-BE49-F238E27FC236}">
                <a16:creationId xmlns:a16="http://schemas.microsoft.com/office/drawing/2014/main" id="{215C5823-1EF0-2D4A-802A-A79272518597}"/>
              </a:ext>
            </a:extLst>
          </p:cNvPr>
          <p:cNvSpPr txBox="1"/>
          <p:nvPr/>
        </p:nvSpPr>
        <p:spPr>
          <a:xfrm>
            <a:off x="5345546" y="-254000"/>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370373" indent="-372276" defTabSz="2031919">
              <a:spcBef>
                <a:spcPts val="2417"/>
              </a:spcBef>
              <a:buSzPct val="100000"/>
              <a:buFontTx/>
              <a:buChar char="–"/>
            </a:pPr>
            <a:endParaRPr lang="en-US" sz="1500" kern="0">
              <a:solidFill>
                <a:srgbClr val="000000"/>
              </a:solidFill>
              <a:ea typeface="+mj-ea"/>
              <a:cs typeface="+mj-cs"/>
              <a:sym typeface="IBM Plex Sans Light"/>
            </a:endParaRPr>
          </a:p>
        </p:txBody>
      </p:sp>
      <p:sp>
        <p:nvSpPr>
          <p:cNvPr id="9" name="Rectangle 8">
            <a:extLst>
              <a:ext uri="{FF2B5EF4-FFF2-40B4-BE49-F238E27FC236}">
                <a16:creationId xmlns:a16="http://schemas.microsoft.com/office/drawing/2014/main" id="{3DFB0762-AE47-BB60-945F-687469C9F4AA}"/>
              </a:ext>
            </a:extLst>
          </p:cNvPr>
          <p:cNvSpPr/>
          <p:nvPr/>
        </p:nvSpPr>
        <p:spPr bwMode="auto">
          <a:xfrm flipH="1">
            <a:off x="1387258" y="228800"/>
            <a:ext cx="3000" cy="45000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76200" tIns="76200" rIns="76200" bIns="76200" numCol="1" rtlCol="0" anchor="t" anchorCtr="0" compatLnSpc="1">
            <a:prstTxWarp prst="textNoShape">
              <a:avLst/>
            </a:prstTxWarp>
          </a:bodyPr>
          <a:lstStyle/>
          <a:p>
            <a:pPr defTabSz="761970" fontAlgn="base">
              <a:spcBef>
                <a:spcPct val="0"/>
              </a:spcBef>
              <a:spcAft>
                <a:spcPct val="0"/>
              </a:spcAft>
            </a:pPr>
            <a:endParaRPr lang="en-US" sz="1167">
              <a:solidFill>
                <a:schemeClr val="bg1"/>
              </a:solidFill>
            </a:endParaRPr>
          </a:p>
        </p:txBody>
      </p:sp>
      <p:sp>
        <p:nvSpPr>
          <p:cNvPr id="7" name="TextBox 6">
            <a:extLst>
              <a:ext uri="{FF2B5EF4-FFF2-40B4-BE49-F238E27FC236}">
                <a16:creationId xmlns:a16="http://schemas.microsoft.com/office/drawing/2014/main" id="{3F2742DD-4EF2-BB1C-85A1-FAAA3C314125}"/>
              </a:ext>
            </a:extLst>
          </p:cNvPr>
          <p:cNvSpPr txBox="1"/>
          <p:nvPr/>
        </p:nvSpPr>
        <p:spPr>
          <a:xfrm>
            <a:off x="855579" y="-1016000"/>
            <a:ext cx="0" cy="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rtlCol="0">
            <a:noAutofit/>
          </a:bodyPr>
          <a:lstStyle/>
          <a:p>
            <a:pPr marL="370373" indent="-372276" defTabSz="2031919">
              <a:spcBef>
                <a:spcPts val="2417"/>
              </a:spcBef>
              <a:buSzPct val="100000"/>
              <a:buFontTx/>
              <a:buChar char="–"/>
            </a:pPr>
            <a:endParaRPr lang="en-US" sz="1500" kern="0">
              <a:solidFill>
                <a:srgbClr val="000000"/>
              </a:solidFill>
              <a:ea typeface="+mj-ea"/>
              <a:cs typeface="+mj-cs"/>
              <a:sym typeface="IBM Plex Sans Light"/>
            </a:endParaRPr>
          </a:p>
        </p:txBody>
      </p:sp>
      <p:pic>
        <p:nvPicPr>
          <p:cNvPr id="3" name="Picture 2">
            <a:extLst>
              <a:ext uri="{FF2B5EF4-FFF2-40B4-BE49-F238E27FC236}">
                <a16:creationId xmlns:a16="http://schemas.microsoft.com/office/drawing/2014/main" id="{315ABAF6-BB8B-8FFD-0774-1D6DF17C259C}"/>
              </a:ext>
            </a:extLst>
          </p:cNvPr>
          <p:cNvPicPr>
            <a:picLocks noChangeAspect="1"/>
          </p:cNvPicPr>
          <p:nvPr/>
        </p:nvPicPr>
        <p:blipFill>
          <a:blip r:embed="rId5"/>
          <a:stretch>
            <a:fillRect/>
          </a:stretch>
        </p:blipFill>
        <p:spPr>
          <a:xfrm>
            <a:off x="1621171" y="270839"/>
            <a:ext cx="985394" cy="381443"/>
          </a:xfrm>
          <a:prstGeom prst="rect">
            <a:avLst/>
          </a:prstGeom>
        </p:spPr>
      </p:pic>
      <p:pic>
        <p:nvPicPr>
          <p:cNvPr id="12" name="Picture 11" descr="A group of people posing for a picture&#10;&#10;Description automatically generated">
            <a:extLst>
              <a:ext uri="{FF2B5EF4-FFF2-40B4-BE49-F238E27FC236}">
                <a16:creationId xmlns:a16="http://schemas.microsoft.com/office/drawing/2014/main" id="{9212D643-F1F3-4F57-081A-988FA7FB9567}"/>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a:xfrm>
            <a:off x="4854539" y="-15477"/>
            <a:ext cx="7359686" cy="6885886"/>
          </a:xfrm>
          <a:custGeom>
            <a:avLst/>
            <a:gdLst>
              <a:gd name="connsiteX0" fmla="*/ 0 w 7329881"/>
              <a:gd name="connsiteY0" fmla="*/ 0 h 6858000"/>
              <a:gd name="connsiteX1" fmla="*/ 7329881 w 7329881"/>
              <a:gd name="connsiteY1" fmla="*/ 0 h 6858000"/>
              <a:gd name="connsiteX2" fmla="*/ 7329881 w 7329881"/>
              <a:gd name="connsiteY2" fmla="*/ 6858000 h 6858000"/>
              <a:gd name="connsiteX3" fmla="*/ 0 w 7329881"/>
              <a:gd name="connsiteY3" fmla="*/ 6858000 h 6858000"/>
              <a:gd name="connsiteX4" fmla="*/ 0 w 7329881"/>
              <a:gd name="connsiteY4" fmla="*/ 6847871 h 6858000"/>
              <a:gd name="connsiteX5" fmla="*/ 387746 w 7329881"/>
              <a:gd name="connsiteY5" fmla="*/ 6847871 h 6858000"/>
              <a:gd name="connsiteX6" fmla="*/ 400122 w 7329881"/>
              <a:gd name="connsiteY6" fmla="*/ 5024032 h 6858000"/>
              <a:gd name="connsiteX7" fmla="*/ 4645729 w 7329881"/>
              <a:gd name="connsiteY7" fmla="*/ 98 h 6858000"/>
              <a:gd name="connsiteX8" fmla="*/ 2037873 w 7329881"/>
              <a:gd name="connsiteY8" fmla="*/ 98 h 6858000"/>
              <a:gd name="connsiteX9" fmla="*/ 0 w 7329881"/>
              <a:gd name="connsiteY9" fmla="*/ 2421983 h 6858000"/>
              <a:gd name="connsiteX10" fmla="*/ 0 w 7329881"/>
              <a:gd name="connsiteY10"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329881" h="6858000">
                <a:moveTo>
                  <a:pt x="0" y="0"/>
                </a:moveTo>
                <a:lnTo>
                  <a:pt x="7329881" y="0"/>
                </a:lnTo>
                <a:lnTo>
                  <a:pt x="7329881" y="6858000"/>
                </a:lnTo>
                <a:lnTo>
                  <a:pt x="0" y="6858000"/>
                </a:lnTo>
                <a:lnTo>
                  <a:pt x="0" y="6847871"/>
                </a:lnTo>
                <a:lnTo>
                  <a:pt x="387746" y="6847871"/>
                </a:lnTo>
                <a:cubicBezTo>
                  <a:pt x="-114026" y="6366889"/>
                  <a:pt x="-14484" y="5521453"/>
                  <a:pt x="400122" y="5024032"/>
                </a:cubicBezTo>
                <a:lnTo>
                  <a:pt x="4645729" y="98"/>
                </a:lnTo>
                <a:lnTo>
                  <a:pt x="2037873" y="98"/>
                </a:lnTo>
                <a:lnTo>
                  <a:pt x="0" y="2421983"/>
                </a:lnTo>
                <a:lnTo>
                  <a:pt x="0" y="0"/>
                </a:lnTo>
                <a:close/>
              </a:path>
            </a:pathLst>
          </a:custGeom>
        </p:spPr>
      </p:pic>
      <p:sp>
        <p:nvSpPr>
          <p:cNvPr id="32" name="Right Triangle 31">
            <a:extLst>
              <a:ext uri="{FF2B5EF4-FFF2-40B4-BE49-F238E27FC236}">
                <a16:creationId xmlns:a16="http://schemas.microsoft.com/office/drawing/2014/main" id="{4837EE1A-89FC-BB56-9652-5C799EE43D3B}"/>
              </a:ext>
            </a:extLst>
          </p:cNvPr>
          <p:cNvSpPr>
            <a:spLocks noGrp="1" noRot="1" noMove="1" noResize="1" noEditPoints="1" noAdjustHandles="1" noChangeArrowheads="1" noChangeShapeType="1"/>
          </p:cNvSpPr>
          <p:nvPr/>
        </p:nvSpPr>
        <p:spPr>
          <a:xfrm rot="5400000">
            <a:off x="4657762" y="83137"/>
            <a:ext cx="2597087" cy="2428868"/>
          </a:xfrm>
          <a:prstGeom prst="rtTriangl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5511956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8639CC-AD22-46AC-DC7E-FD416A1F0EC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09099DD-969D-7FC8-DFB0-FB06D6A08637}"/>
              </a:ext>
            </a:extLst>
          </p:cNvPr>
          <p:cNvSpPr>
            <a:spLocks noGrp="1"/>
          </p:cNvSpPr>
          <p:nvPr>
            <p:ph type="title"/>
          </p:nvPr>
        </p:nvSpPr>
        <p:spPr/>
        <p:txBody>
          <a:bodyPr/>
          <a:lstStyle/>
          <a:p>
            <a:r>
              <a:rPr lang="en-US">
                <a:solidFill>
                  <a:srgbClr val="002060"/>
                </a:solidFill>
                <a:latin typeface="Aptos" panose="020B0004020202020204" pitchFamily="34" charset="0"/>
                <a:cs typeface="Calibri"/>
              </a:rPr>
              <a:t>Customer 360 - Solution Focus Areas- Phase 1</a:t>
            </a:r>
            <a:endParaRPr lang="en-IN">
              <a:latin typeface="Aptos" panose="020B0004020202020204" pitchFamily="34" charset="0"/>
            </a:endParaRPr>
          </a:p>
        </p:txBody>
      </p:sp>
      <p:sp>
        <p:nvSpPr>
          <p:cNvPr id="5" name="TextBox 4">
            <a:extLst>
              <a:ext uri="{FF2B5EF4-FFF2-40B4-BE49-F238E27FC236}">
                <a16:creationId xmlns:a16="http://schemas.microsoft.com/office/drawing/2014/main" id="{DB6B2965-27FE-5C5D-3926-A5CDA0C206D6}"/>
              </a:ext>
            </a:extLst>
          </p:cNvPr>
          <p:cNvSpPr txBox="1"/>
          <p:nvPr/>
        </p:nvSpPr>
        <p:spPr>
          <a:xfrm>
            <a:off x="288555" y="6017252"/>
            <a:ext cx="8650840" cy="230832"/>
          </a:xfrm>
          <a:prstGeom prst="rect">
            <a:avLst/>
          </a:prstGeom>
          <a:noFill/>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rtlCol="0">
            <a:spAutoFit/>
          </a:bodyPr>
          <a:lstStyle>
            <a:defPPr>
              <a:defRPr lang="en-US"/>
            </a:defPPr>
            <a:lvl1pPr>
              <a:defRPr sz="900">
                <a:solidFill>
                  <a:schemeClr val="bg1"/>
                </a:solidFill>
                <a:latin typeface="Aptos" panose="020B0004020202020204" pitchFamily="34" charset="0"/>
              </a:defRPr>
            </a:lvl1pPr>
          </a:lstStyle>
          <a:p>
            <a:r>
              <a:rPr lang="en-US" b="1">
                <a:sym typeface="IBM Plex Sans Light"/>
              </a:rPr>
              <a:t>Note: </a:t>
            </a:r>
            <a:r>
              <a:rPr lang="en-US">
                <a:sym typeface="IBM Plex Sans Light"/>
              </a:rPr>
              <a:t>Existing data lake is built with medallion architecture</a:t>
            </a:r>
            <a:endParaRPr lang="en-IN">
              <a:sym typeface="IBM Plex Sans Light"/>
            </a:endParaRPr>
          </a:p>
        </p:txBody>
      </p:sp>
      <p:sp>
        <p:nvSpPr>
          <p:cNvPr id="3" name="Round Single Corner of Rectangle 2">
            <a:extLst>
              <a:ext uri="{FF2B5EF4-FFF2-40B4-BE49-F238E27FC236}">
                <a16:creationId xmlns:a16="http://schemas.microsoft.com/office/drawing/2014/main" id="{3CCC38C6-9F72-8B34-85BA-60F3F01F23E4}"/>
              </a:ext>
            </a:extLst>
          </p:cNvPr>
          <p:cNvSpPr/>
          <p:nvPr/>
        </p:nvSpPr>
        <p:spPr bwMode="auto">
          <a:xfrm rot="5400000">
            <a:off x="5141344" y="-3263985"/>
            <a:ext cx="1984786" cy="11545021"/>
          </a:xfrm>
          <a:prstGeom prst="round1Rect">
            <a:avLst>
              <a:gd name="adj" fmla="val 0"/>
            </a:avLst>
          </a:prstGeom>
          <a:solidFill>
            <a:srgbClr val="B5C1CE">
              <a:alpha val="15000"/>
            </a:srgb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bg1"/>
              </a:solidFill>
              <a:effectLst/>
              <a:latin typeface="+mn-lt"/>
            </a:endParaRPr>
          </a:p>
        </p:txBody>
      </p:sp>
      <p:sp>
        <p:nvSpPr>
          <p:cNvPr id="7" name="Round Single Corner of Rectangle 6">
            <a:extLst>
              <a:ext uri="{FF2B5EF4-FFF2-40B4-BE49-F238E27FC236}">
                <a16:creationId xmlns:a16="http://schemas.microsoft.com/office/drawing/2014/main" id="{6B94E9BF-CE7D-0799-7AAF-A93E5FEF8717}"/>
              </a:ext>
            </a:extLst>
          </p:cNvPr>
          <p:cNvSpPr/>
          <p:nvPr/>
        </p:nvSpPr>
        <p:spPr bwMode="auto">
          <a:xfrm rot="5400000">
            <a:off x="4920105" y="-1057955"/>
            <a:ext cx="2427272" cy="11545022"/>
          </a:xfrm>
          <a:prstGeom prst="round1Rect">
            <a:avLst/>
          </a:prstGeom>
          <a:solidFill>
            <a:srgbClr val="012354"/>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bg1"/>
              </a:solidFill>
              <a:effectLst/>
              <a:latin typeface="+mn-lt"/>
            </a:endParaRPr>
          </a:p>
        </p:txBody>
      </p:sp>
      <p:sp>
        <p:nvSpPr>
          <p:cNvPr id="8" name="Round Single Corner of Rectangle 7">
            <a:extLst>
              <a:ext uri="{FF2B5EF4-FFF2-40B4-BE49-F238E27FC236}">
                <a16:creationId xmlns:a16="http://schemas.microsoft.com/office/drawing/2014/main" id="{6C8F4E55-8166-C6FA-321B-1BD7F03518BB}"/>
              </a:ext>
            </a:extLst>
          </p:cNvPr>
          <p:cNvSpPr/>
          <p:nvPr/>
        </p:nvSpPr>
        <p:spPr bwMode="auto">
          <a:xfrm rot="5400000">
            <a:off x="5964457" y="-4422070"/>
            <a:ext cx="338555" cy="11545021"/>
          </a:xfrm>
          <a:prstGeom prst="round1Rect">
            <a:avLst>
              <a:gd name="adj" fmla="val 0"/>
            </a:avLst>
          </a:prstGeom>
          <a:solidFill>
            <a:schemeClr val="accent1">
              <a:alpha val="16342"/>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bg1"/>
              </a:solidFill>
              <a:effectLst/>
              <a:latin typeface="+mn-lt"/>
            </a:endParaRPr>
          </a:p>
        </p:txBody>
      </p:sp>
      <p:sp>
        <p:nvSpPr>
          <p:cNvPr id="10" name="TextBox 9">
            <a:extLst>
              <a:ext uri="{FF2B5EF4-FFF2-40B4-BE49-F238E27FC236}">
                <a16:creationId xmlns:a16="http://schemas.microsoft.com/office/drawing/2014/main" id="{7DD5D516-CC7C-EF1F-0D64-B06DE5237DE0}"/>
              </a:ext>
            </a:extLst>
          </p:cNvPr>
          <p:cNvSpPr txBox="1"/>
          <p:nvPr/>
        </p:nvSpPr>
        <p:spPr>
          <a:xfrm>
            <a:off x="361221" y="1588049"/>
            <a:ext cx="2020029" cy="307777"/>
          </a:xfrm>
          <a:prstGeom prst="rect">
            <a:avLst/>
          </a:prstGeom>
          <a:noFill/>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a:spAutoFit/>
          </a:bodyPr>
          <a:lstStyle/>
          <a:p>
            <a:pPr algn="l">
              <a:spcAft>
                <a:spcPts val="300"/>
              </a:spcAft>
            </a:pPr>
            <a:r>
              <a:rPr lang="en-US" sz="1400" b="1">
                <a:solidFill>
                  <a:schemeClr val="bg1"/>
                </a:solidFill>
                <a:latin typeface="Aptos" panose="020B0004020202020204" pitchFamily="34" charset="0"/>
              </a:rPr>
              <a:t>Semantic Layer</a:t>
            </a:r>
            <a:endParaRPr lang="en-IN" sz="1400" b="1">
              <a:solidFill>
                <a:schemeClr val="bg1"/>
              </a:solidFill>
              <a:latin typeface="Aptos" panose="020B0004020202020204" pitchFamily="34" charset="0"/>
            </a:endParaRPr>
          </a:p>
        </p:txBody>
      </p:sp>
      <p:sp>
        <p:nvSpPr>
          <p:cNvPr id="11" name="TextBox 10">
            <a:extLst>
              <a:ext uri="{FF2B5EF4-FFF2-40B4-BE49-F238E27FC236}">
                <a16:creationId xmlns:a16="http://schemas.microsoft.com/office/drawing/2014/main" id="{A54B1AA3-50C8-8AAC-E35A-49D843171DBD}"/>
              </a:ext>
            </a:extLst>
          </p:cNvPr>
          <p:cNvSpPr txBox="1"/>
          <p:nvPr/>
        </p:nvSpPr>
        <p:spPr>
          <a:xfrm>
            <a:off x="361221" y="3596970"/>
            <a:ext cx="2020029" cy="307777"/>
          </a:xfrm>
          <a:prstGeom prst="rect">
            <a:avLst/>
          </a:prstGeom>
          <a:noFill/>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a:spAutoFit/>
          </a:bodyPr>
          <a:lstStyle/>
          <a:p>
            <a:pPr algn="l">
              <a:spcAft>
                <a:spcPts val="300"/>
              </a:spcAft>
            </a:pPr>
            <a:r>
              <a:rPr lang="en-US" sz="1400" b="1">
                <a:latin typeface="Aptos" panose="020B0004020202020204" pitchFamily="34" charset="0"/>
              </a:rPr>
              <a:t>Consumption Layer</a:t>
            </a:r>
            <a:endParaRPr lang="en-IN" sz="1400" b="1">
              <a:latin typeface="Aptos" panose="020B0004020202020204" pitchFamily="34" charset="0"/>
            </a:endParaRPr>
          </a:p>
        </p:txBody>
      </p:sp>
      <p:sp>
        <p:nvSpPr>
          <p:cNvPr id="13" name="TextBox 12">
            <a:extLst>
              <a:ext uri="{FF2B5EF4-FFF2-40B4-BE49-F238E27FC236}">
                <a16:creationId xmlns:a16="http://schemas.microsoft.com/office/drawing/2014/main" id="{2CD91FEE-5C33-E962-4CF3-1C1B0CB945F8}"/>
              </a:ext>
            </a:extLst>
          </p:cNvPr>
          <p:cNvSpPr txBox="1"/>
          <p:nvPr/>
        </p:nvSpPr>
        <p:spPr>
          <a:xfrm>
            <a:off x="2724150" y="1591636"/>
            <a:ext cx="3228975" cy="1538883"/>
          </a:xfrm>
          <a:prstGeom prst="rect">
            <a:avLst/>
          </a:prstGeom>
          <a:noFill/>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a:spAutoFit/>
          </a:bodyPr>
          <a:lstStyle/>
          <a:p>
            <a:pPr marL="171450" indent="-171450" algn="l">
              <a:spcAft>
                <a:spcPts val="300"/>
              </a:spcAft>
              <a:buFont typeface="Arial" panose="020B0604020202020204" pitchFamily="34" charset="0"/>
              <a:buChar char="•"/>
            </a:pPr>
            <a:r>
              <a:rPr lang="en-US" sz="1200">
                <a:solidFill>
                  <a:schemeClr val="bg1"/>
                </a:solidFill>
                <a:latin typeface="Aptos" panose="020B0004020202020204" pitchFamily="34" charset="0"/>
              </a:rPr>
              <a:t>Map data schemas for different modules</a:t>
            </a:r>
          </a:p>
          <a:p>
            <a:pPr marL="171450" indent="-171450" algn="l">
              <a:spcAft>
                <a:spcPts val="300"/>
              </a:spcAft>
              <a:buFont typeface="Arial" panose="020B0604020202020204" pitchFamily="34" charset="0"/>
              <a:buChar char="•"/>
            </a:pPr>
            <a:r>
              <a:rPr lang="en-US" sz="1200">
                <a:solidFill>
                  <a:schemeClr val="bg1"/>
                </a:solidFill>
                <a:latin typeface="Aptos" panose="020B0004020202020204" pitchFamily="34" charset="0"/>
              </a:rPr>
              <a:t>Handling the table joins complexity</a:t>
            </a:r>
          </a:p>
          <a:p>
            <a:pPr marL="171450" indent="-171450" algn="l">
              <a:spcAft>
                <a:spcPts val="300"/>
              </a:spcAft>
              <a:buFont typeface="Arial" panose="020B0604020202020204" pitchFamily="34" charset="0"/>
              <a:buChar char="•"/>
            </a:pPr>
            <a:r>
              <a:rPr lang="en-US" sz="1200">
                <a:solidFill>
                  <a:schemeClr val="bg1"/>
                </a:solidFill>
                <a:latin typeface="Aptos" panose="020B0004020202020204" pitchFamily="34" charset="0"/>
              </a:rPr>
              <a:t>Target data model and KPIs</a:t>
            </a:r>
          </a:p>
          <a:p>
            <a:pPr marL="171450" indent="-171450" algn="l">
              <a:spcAft>
                <a:spcPts val="300"/>
              </a:spcAft>
              <a:buFont typeface="Arial" panose="020B0604020202020204" pitchFamily="34" charset="0"/>
              <a:buChar char="•"/>
            </a:pPr>
            <a:r>
              <a:rPr lang="en-US" sz="1200">
                <a:solidFill>
                  <a:schemeClr val="bg1"/>
                </a:solidFill>
                <a:latin typeface="Aptos" panose="020B0004020202020204" pitchFamily="34" charset="0"/>
              </a:rPr>
              <a:t>Design data model to address majority of reporting needs</a:t>
            </a:r>
          </a:p>
          <a:p>
            <a:pPr marL="171450" indent="-171450" algn="l">
              <a:spcAft>
                <a:spcPts val="300"/>
              </a:spcAft>
              <a:buFont typeface="Arial" panose="020B0604020202020204" pitchFamily="34" charset="0"/>
              <a:buChar char="•"/>
            </a:pPr>
            <a:r>
              <a:rPr lang="en-US" sz="1200">
                <a:solidFill>
                  <a:schemeClr val="bg1"/>
                </a:solidFill>
                <a:latin typeface="Aptos" panose="020B0004020202020204" pitchFamily="34" charset="0"/>
              </a:rPr>
              <a:t>To develop a composite model for all 4 dashboards</a:t>
            </a:r>
          </a:p>
        </p:txBody>
      </p:sp>
      <p:sp>
        <p:nvSpPr>
          <p:cNvPr id="15" name="TextBox 14">
            <a:extLst>
              <a:ext uri="{FF2B5EF4-FFF2-40B4-BE49-F238E27FC236}">
                <a16:creationId xmlns:a16="http://schemas.microsoft.com/office/drawing/2014/main" id="{691F6963-2954-3A54-A644-7C49537E2C4B}"/>
              </a:ext>
            </a:extLst>
          </p:cNvPr>
          <p:cNvSpPr txBox="1"/>
          <p:nvPr/>
        </p:nvSpPr>
        <p:spPr>
          <a:xfrm>
            <a:off x="2724150" y="3615218"/>
            <a:ext cx="3228975" cy="461665"/>
          </a:xfrm>
          <a:prstGeom prst="rect">
            <a:avLst/>
          </a:prstGeom>
          <a:noFill/>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a:spAutoFit/>
          </a:bodyPr>
          <a:lstStyle/>
          <a:p>
            <a:pPr marL="171450" indent="-171450" algn="l">
              <a:spcAft>
                <a:spcPts val="300"/>
              </a:spcAft>
              <a:buFont typeface="Arial" panose="020B0604020202020204" pitchFamily="34" charset="0"/>
              <a:buChar char="•"/>
            </a:pPr>
            <a:r>
              <a:rPr lang="en-US" sz="1200">
                <a:latin typeface="Aptos" panose="020B0004020202020204" pitchFamily="34" charset="0"/>
              </a:rPr>
              <a:t>Power BI integration with Databricks Unity Catalog with right refresh rate</a:t>
            </a:r>
          </a:p>
        </p:txBody>
      </p:sp>
      <p:sp>
        <p:nvSpPr>
          <p:cNvPr id="16" name="TextBox 15">
            <a:extLst>
              <a:ext uri="{FF2B5EF4-FFF2-40B4-BE49-F238E27FC236}">
                <a16:creationId xmlns:a16="http://schemas.microsoft.com/office/drawing/2014/main" id="{980E2BCC-B758-A26A-27C7-4670D4180641}"/>
              </a:ext>
            </a:extLst>
          </p:cNvPr>
          <p:cNvSpPr txBox="1"/>
          <p:nvPr/>
        </p:nvSpPr>
        <p:spPr>
          <a:xfrm>
            <a:off x="6296025" y="1591636"/>
            <a:ext cx="5614934" cy="1762021"/>
          </a:xfrm>
          <a:prstGeom prst="rect">
            <a:avLst/>
          </a:prstGeom>
          <a:noFill/>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a:spAutoFit/>
          </a:bodyPr>
          <a:lstStyle/>
          <a:p>
            <a:pPr marL="171450" indent="-171450" algn="l">
              <a:spcAft>
                <a:spcPts val="300"/>
              </a:spcAft>
              <a:buFont typeface="Arial" panose="020B0604020202020204" pitchFamily="34" charset="0"/>
              <a:buChar char="•"/>
            </a:pPr>
            <a:r>
              <a:rPr lang="en-US" sz="1200">
                <a:solidFill>
                  <a:schemeClr val="bg1"/>
                </a:solidFill>
                <a:latin typeface="Aptos" panose="020B0004020202020204" pitchFamily="34" charset="0"/>
              </a:rPr>
              <a:t>Reusable Data Discovery Databricks Notebooks for data and metadata profiling</a:t>
            </a:r>
          </a:p>
          <a:p>
            <a:pPr marL="171450" indent="-171450" algn="l">
              <a:spcAft>
                <a:spcPts val="300"/>
              </a:spcAft>
              <a:buFont typeface="Arial" panose="020B0604020202020204" pitchFamily="34" charset="0"/>
              <a:buChar char="•"/>
            </a:pPr>
            <a:r>
              <a:rPr lang="en-US" sz="1200">
                <a:solidFill>
                  <a:schemeClr val="bg1"/>
                </a:solidFill>
                <a:latin typeface="Aptos" panose="020B0004020202020204" pitchFamily="34" charset="0"/>
              </a:rPr>
              <a:t>Leverage source to target mapping to create data dictionaries</a:t>
            </a:r>
          </a:p>
          <a:p>
            <a:pPr marL="171450" indent="-171450" algn="l">
              <a:spcAft>
                <a:spcPts val="300"/>
              </a:spcAft>
              <a:buFont typeface="Arial" panose="020B0604020202020204" pitchFamily="34" charset="0"/>
              <a:buChar char="•"/>
            </a:pPr>
            <a:r>
              <a:rPr lang="en-US" sz="1200" err="1">
                <a:solidFill>
                  <a:schemeClr val="bg1"/>
                </a:solidFill>
                <a:latin typeface="Aptos" panose="020B0004020202020204" pitchFamily="34" charset="0"/>
              </a:rPr>
              <a:t>PySpark</a:t>
            </a:r>
            <a:r>
              <a:rPr lang="en-US" sz="1200">
                <a:solidFill>
                  <a:schemeClr val="bg1"/>
                </a:solidFill>
                <a:latin typeface="Aptos" panose="020B0004020202020204" pitchFamily="34" charset="0"/>
              </a:rPr>
              <a:t> based Data Transformations</a:t>
            </a:r>
          </a:p>
          <a:p>
            <a:pPr marL="171450" indent="-171450" algn="l">
              <a:spcAft>
                <a:spcPts val="300"/>
              </a:spcAft>
              <a:buFont typeface="Arial" panose="020B0604020202020204" pitchFamily="34" charset="0"/>
              <a:buChar char="•"/>
            </a:pPr>
            <a:r>
              <a:rPr lang="en-US" sz="1200">
                <a:solidFill>
                  <a:schemeClr val="bg1"/>
                </a:solidFill>
                <a:latin typeface="Aptos" panose="020B0004020202020204" pitchFamily="34" charset="0"/>
              </a:rPr>
              <a:t>Ensuring the transformations are accurate through Brillio data validation framework</a:t>
            </a:r>
          </a:p>
          <a:p>
            <a:pPr marL="171450" indent="-171450" algn="l">
              <a:spcAft>
                <a:spcPts val="300"/>
              </a:spcAft>
              <a:buFont typeface="Arial" panose="020B0604020202020204" pitchFamily="34" charset="0"/>
              <a:buChar char="•"/>
            </a:pPr>
            <a:r>
              <a:rPr lang="en-US" sz="1200">
                <a:solidFill>
                  <a:schemeClr val="bg1"/>
                </a:solidFill>
                <a:latin typeface="Aptos" panose="020B0004020202020204" pitchFamily="34" charset="0"/>
              </a:rPr>
              <a:t>Query optimization with processing pushed down to Databricks and hence compute will be planned accordingly</a:t>
            </a:r>
          </a:p>
          <a:p>
            <a:pPr marL="171450" indent="-171450" algn="l">
              <a:spcAft>
                <a:spcPts val="300"/>
              </a:spcAft>
              <a:buFont typeface="Arial" panose="020B0604020202020204" pitchFamily="34" charset="0"/>
              <a:buChar char="•"/>
            </a:pPr>
            <a:r>
              <a:rPr lang="en-US" sz="1200">
                <a:solidFill>
                  <a:schemeClr val="bg1"/>
                </a:solidFill>
                <a:latin typeface="Aptos" panose="020B0004020202020204" pitchFamily="34" charset="0"/>
              </a:rPr>
              <a:t>Data for semantic layer can be fetched from any of raw, silver, and gold layer</a:t>
            </a:r>
          </a:p>
        </p:txBody>
      </p:sp>
      <p:sp>
        <p:nvSpPr>
          <p:cNvPr id="17" name="TextBox 16">
            <a:extLst>
              <a:ext uri="{FF2B5EF4-FFF2-40B4-BE49-F238E27FC236}">
                <a16:creationId xmlns:a16="http://schemas.microsoft.com/office/drawing/2014/main" id="{73EDB197-3D9B-53C5-F8CC-187BBDF30AAF}"/>
              </a:ext>
            </a:extLst>
          </p:cNvPr>
          <p:cNvSpPr txBox="1"/>
          <p:nvPr/>
        </p:nvSpPr>
        <p:spPr>
          <a:xfrm>
            <a:off x="6296025" y="3615218"/>
            <a:ext cx="5614934" cy="1315745"/>
          </a:xfrm>
          <a:prstGeom prst="rect">
            <a:avLst/>
          </a:prstGeom>
          <a:noFill/>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a:spAutoFit/>
          </a:bodyPr>
          <a:lstStyle/>
          <a:p>
            <a:pPr marL="171450" indent="-171450" algn="l">
              <a:spcAft>
                <a:spcPts val="300"/>
              </a:spcAft>
              <a:buFont typeface="Arial" panose="020B0604020202020204" pitchFamily="34" charset="0"/>
              <a:buChar char="•"/>
            </a:pPr>
            <a:r>
              <a:rPr lang="en-US" sz="1200">
                <a:latin typeface="Aptos" panose="020B0004020202020204" pitchFamily="34" charset="0"/>
              </a:rPr>
              <a:t>Incremental refresh once a day in Power BI data model will be enabled with inbuilt Power BI connector with Databricks Unity catalog</a:t>
            </a:r>
          </a:p>
          <a:p>
            <a:pPr marL="171450" indent="-171450" algn="l">
              <a:spcAft>
                <a:spcPts val="300"/>
              </a:spcAft>
              <a:buFont typeface="Arial" panose="020B0604020202020204" pitchFamily="34" charset="0"/>
              <a:buChar char="•"/>
            </a:pPr>
            <a:r>
              <a:rPr lang="en-US" sz="1200">
                <a:latin typeface="Aptos" panose="020B0004020202020204" pitchFamily="34" charset="0"/>
              </a:rPr>
              <a:t>Performing the integration and UAT testing to ascertain right functionality, performance, refresh rate, and latency</a:t>
            </a:r>
          </a:p>
          <a:p>
            <a:pPr marL="171450" marR="0" lvl="0" indent="-171450" algn="l" defTabSz="914377"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200">
                <a:latin typeface="Aptos" panose="020B0004020202020204" pitchFamily="34" charset="0"/>
              </a:rPr>
              <a:t>Power BI will be run as app in the Power BI service to provide access to end user</a:t>
            </a:r>
          </a:p>
          <a:p>
            <a:pPr marL="171450" marR="0" lvl="0" indent="-171450" algn="l" defTabSz="914377"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200">
                <a:latin typeface="Aptos" panose="020B0004020202020204" pitchFamily="34" charset="0"/>
              </a:rPr>
              <a:t>Authentication and authorization through Microsoft Entra ID</a:t>
            </a:r>
          </a:p>
        </p:txBody>
      </p:sp>
      <p:cxnSp>
        <p:nvCxnSpPr>
          <p:cNvPr id="19" name="Straight Connector 18">
            <a:extLst>
              <a:ext uri="{FF2B5EF4-FFF2-40B4-BE49-F238E27FC236}">
                <a16:creationId xmlns:a16="http://schemas.microsoft.com/office/drawing/2014/main" id="{23CA79A3-3493-010B-F072-1EA10EDE92DB}"/>
              </a:ext>
            </a:extLst>
          </p:cNvPr>
          <p:cNvCxnSpPr>
            <a:cxnSpLocks/>
          </p:cNvCxnSpPr>
          <p:nvPr/>
        </p:nvCxnSpPr>
        <p:spPr bwMode="auto">
          <a:xfrm>
            <a:off x="2558265" y="3500918"/>
            <a:ext cx="0" cy="2522734"/>
          </a:xfrm>
          <a:prstGeom prst="line">
            <a:avLst/>
          </a:prstGeom>
          <a:ln w="63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D8AC8F37-F85A-D1B3-B623-73A0721D1869}"/>
              </a:ext>
            </a:extLst>
          </p:cNvPr>
          <p:cNvCxnSpPr>
            <a:cxnSpLocks/>
          </p:cNvCxnSpPr>
          <p:nvPr/>
        </p:nvCxnSpPr>
        <p:spPr bwMode="auto">
          <a:xfrm>
            <a:off x="2558265" y="1181163"/>
            <a:ext cx="0" cy="2319755"/>
          </a:xfrm>
          <a:prstGeom prst="line">
            <a:avLst/>
          </a:prstGeom>
          <a:ln w="6350">
            <a:solidFill>
              <a:schemeClr val="bg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2A510FB2-EC72-69A9-324A-DA0436679B2A}"/>
              </a:ext>
            </a:extLst>
          </p:cNvPr>
          <p:cNvCxnSpPr>
            <a:cxnSpLocks/>
            <a:stCxn id="7" idx="1"/>
          </p:cNvCxnSpPr>
          <p:nvPr/>
        </p:nvCxnSpPr>
        <p:spPr bwMode="auto">
          <a:xfrm flipH="1">
            <a:off x="6123398" y="3500920"/>
            <a:ext cx="10343" cy="2522732"/>
          </a:xfrm>
          <a:prstGeom prst="line">
            <a:avLst/>
          </a:prstGeom>
          <a:ln w="63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C6EC4C2-E961-BC52-63DE-3C8FB34025E3}"/>
              </a:ext>
            </a:extLst>
          </p:cNvPr>
          <p:cNvCxnSpPr>
            <a:cxnSpLocks/>
            <a:stCxn id="8" idx="1"/>
            <a:endCxn id="3" idx="3"/>
          </p:cNvCxnSpPr>
          <p:nvPr/>
        </p:nvCxnSpPr>
        <p:spPr bwMode="auto">
          <a:xfrm>
            <a:off x="6133734" y="1181163"/>
            <a:ext cx="3" cy="2319756"/>
          </a:xfrm>
          <a:prstGeom prst="line">
            <a:avLst/>
          </a:prstGeom>
          <a:ln w="6350">
            <a:solidFill>
              <a:schemeClr val="bg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8" name="TextBox 27">
            <a:extLst>
              <a:ext uri="{FF2B5EF4-FFF2-40B4-BE49-F238E27FC236}">
                <a16:creationId xmlns:a16="http://schemas.microsoft.com/office/drawing/2014/main" id="{7D393F71-F2EB-DAED-D230-BEF045E0743A}"/>
              </a:ext>
            </a:extLst>
          </p:cNvPr>
          <p:cNvSpPr txBox="1"/>
          <p:nvPr/>
        </p:nvSpPr>
        <p:spPr>
          <a:xfrm>
            <a:off x="361221" y="1207905"/>
            <a:ext cx="2020029" cy="307777"/>
          </a:xfrm>
          <a:prstGeom prst="rect">
            <a:avLst/>
          </a:prstGeom>
          <a:noFill/>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a:spAutoFit/>
          </a:bodyPr>
          <a:lstStyle/>
          <a:p>
            <a:pPr algn="l">
              <a:spcAft>
                <a:spcPts val="300"/>
              </a:spcAft>
            </a:pPr>
            <a:r>
              <a:rPr lang="en-US" sz="1400" b="1">
                <a:solidFill>
                  <a:schemeClr val="bg1"/>
                </a:solidFill>
                <a:latin typeface="Aptos" panose="020B0004020202020204" pitchFamily="34" charset="0"/>
              </a:rPr>
              <a:t>Solution Area</a:t>
            </a:r>
            <a:endParaRPr lang="en-IN" sz="1400" b="1">
              <a:solidFill>
                <a:schemeClr val="bg1"/>
              </a:solidFill>
              <a:latin typeface="Aptos" panose="020B0004020202020204" pitchFamily="34" charset="0"/>
            </a:endParaRPr>
          </a:p>
        </p:txBody>
      </p:sp>
      <p:sp>
        <p:nvSpPr>
          <p:cNvPr id="29" name="TextBox 28">
            <a:extLst>
              <a:ext uri="{FF2B5EF4-FFF2-40B4-BE49-F238E27FC236}">
                <a16:creationId xmlns:a16="http://schemas.microsoft.com/office/drawing/2014/main" id="{D8788897-AFF7-54B8-CC4C-580AF75BEAC1}"/>
              </a:ext>
            </a:extLst>
          </p:cNvPr>
          <p:cNvSpPr txBox="1"/>
          <p:nvPr/>
        </p:nvSpPr>
        <p:spPr>
          <a:xfrm>
            <a:off x="2734552" y="1207905"/>
            <a:ext cx="2020029" cy="307777"/>
          </a:xfrm>
          <a:prstGeom prst="rect">
            <a:avLst/>
          </a:prstGeom>
          <a:noFill/>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a:spAutoFit/>
          </a:bodyPr>
          <a:lstStyle/>
          <a:p>
            <a:pPr algn="l">
              <a:spcAft>
                <a:spcPts val="300"/>
              </a:spcAft>
            </a:pPr>
            <a:r>
              <a:rPr lang="en-US" sz="1400" b="1">
                <a:solidFill>
                  <a:schemeClr val="bg1"/>
                </a:solidFill>
                <a:latin typeface="Aptos" panose="020B0004020202020204" pitchFamily="34" charset="0"/>
              </a:rPr>
              <a:t>Focus Area</a:t>
            </a:r>
            <a:endParaRPr lang="en-IN" sz="1400" b="1">
              <a:solidFill>
                <a:schemeClr val="bg1"/>
              </a:solidFill>
              <a:latin typeface="Aptos" panose="020B0004020202020204" pitchFamily="34" charset="0"/>
            </a:endParaRPr>
          </a:p>
        </p:txBody>
      </p:sp>
      <p:sp>
        <p:nvSpPr>
          <p:cNvPr id="30" name="TextBox 29">
            <a:extLst>
              <a:ext uri="{FF2B5EF4-FFF2-40B4-BE49-F238E27FC236}">
                <a16:creationId xmlns:a16="http://schemas.microsoft.com/office/drawing/2014/main" id="{7F6D5DE1-714F-29CD-6081-F69643F4C7C2}"/>
              </a:ext>
            </a:extLst>
          </p:cNvPr>
          <p:cNvSpPr txBox="1"/>
          <p:nvPr/>
        </p:nvSpPr>
        <p:spPr>
          <a:xfrm>
            <a:off x="6309958" y="1207905"/>
            <a:ext cx="2020029" cy="307777"/>
          </a:xfrm>
          <a:prstGeom prst="rect">
            <a:avLst/>
          </a:prstGeom>
          <a:noFill/>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a:spAutoFit/>
          </a:bodyPr>
          <a:lstStyle/>
          <a:p>
            <a:pPr algn="l">
              <a:spcAft>
                <a:spcPts val="300"/>
              </a:spcAft>
            </a:pPr>
            <a:r>
              <a:rPr lang="en-US" sz="1400" b="1">
                <a:solidFill>
                  <a:schemeClr val="bg1"/>
                </a:solidFill>
                <a:latin typeface="Aptos" panose="020B0004020202020204" pitchFamily="34" charset="0"/>
              </a:rPr>
              <a:t>Our Approach</a:t>
            </a:r>
            <a:endParaRPr lang="en-IN" sz="1400" b="1">
              <a:solidFill>
                <a:schemeClr val="bg1"/>
              </a:solidFill>
              <a:latin typeface="Aptos" panose="020B0004020202020204" pitchFamily="34" charset="0"/>
            </a:endParaRPr>
          </a:p>
        </p:txBody>
      </p:sp>
    </p:spTree>
    <p:extLst>
      <p:ext uri="{BB962C8B-B14F-4D97-AF65-F5344CB8AC3E}">
        <p14:creationId xmlns:p14="http://schemas.microsoft.com/office/powerpoint/2010/main" val="380477825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 name="Rectangle 89">
            <a:extLst>
              <a:ext uri="{FF2B5EF4-FFF2-40B4-BE49-F238E27FC236}">
                <a16:creationId xmlns:a16="http://schemas.microsoft.com/office/drawing/2014/main" id="{AB7ADDB9-5133-8C48-CC2A-F28F360F2A38}"/>
              </a:ext>
            </a:extLst>
          </p:cNvPr>
          <p:cNvSpPr/>
          <p:nvPr/>
        </p:nvSpPr>
        <p:spPr>
          <a:xfrm>
            <a:off x="0" y="1062318"/>
            <a:ext cx="12192000" cy="579568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IN" sz="1100" b="1">
              <a:latin typeface="Aptos" panose="020B0004020202020204" pitchFamily="34" charset="0"/>
              <a:ea typeface="Helvetica Neue" panose="02000503000000020004" pitchFamily="2" charset="0"/>
              <a:cs typeface="Helvetica Neue" panose="02000503000000020004" pitchFamily="2" charset="0"/>
            </a:endParaRPr>
          </a:p>
        </p:txBody>
      </p:sp>
      <p:sp>
        <p:nvSpPr>
          <p:cNvPr id="2" name="Title 1">
            <a:extLst>
              <a:ext uri="{FF2B5EF4-FFF2-40B4-BE49-F238E27FC236}">
                <a16:creationId xmlns:a16="http://schemas.microsoft.com/office/drawing/2014/main" id="{556023A7-827C-C567-8C23-75CD31D30050}"/>
              </a:ext>
            </a:extLst>
          </p:cNvPr>
          <p:cNvSpPr>
            <a:spLocks noGrp="1"/>
          </p:cNvSpPr>
          <p:nvPr>
            <p:ph type="title"/>
          </p:nvPr>
        </p:nvSpPr>
        <p:spPr/>
        <p:txBody>
          <a:bodyPr/>
          <a:lstStyle/>
          <a:p>
            <a:r>
              <a:rPr lang="en-US">
                <a:solidFill>
                  <a:srgbClr val="002060"/>
                </a:solidFill>
                <a:latin typeface="Aptos" panose="020B0004020202020204" pitchFamily="34" charset="0"/>
              </a:rPr>
              <a:t>Data Modeling for Semantic Data Layer</a:t>
            </a:r>
            <a:endParaRPr lang="en-IN">
              <a:solidFill>
                <a:srgbClr val="002060"/>
              </a:solidFill>
              <a:latin typeface="Aptos" panose="020B0004020202020204" pitchFamily="34" charset="0"/>
            </a:endParaRPr>
          </a:p>
        </p:txBody>
      </p:sp>
      <p:sp>
        <p:nvSpPr>
          <p:cNvPr id="48" name="Flowchart: Decision 2">
            <a:extLst>
              <a:ext uri="{FF2B5EF4-FFF2-40B4-BE49-F238E27FC236}">
                <a16:creationId xmlns:a16="http://schemas.microsoft.com/office/drawing/2014/main" id="{E2C3F76E-7677-842F-3EA1-B0CB0AC02B00}"/>
              </a:ext>
            </a:extLst>
          </p:cNvPr>
          <p:cNvSpPr/>
          <p:nvPr/>
        </p:nvSpPr>
        <p:spPr>
          <a:xfrm>
            <a:off x="861666" y="3714696"/>
            <a:ext cx="959487" cy="793044"/>
          </a:xfrm>
          <a:prstGeom prst="flowChartDecision">
            <a:avLst/>
          </a:prstGeom>
          <a:no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ptos" panose="020B0004020202020204" pitchFamily="34" charset="0"/>
            </a:endParaRPr>
          </a:p>
        </p:txBody>
      </p:sp>
      <p:sp>
        <p:nvSpPr>
          <p:cNvPr id="49" name="TextBox 48">
            <a:extLst>
              <a:ext uri="{FF2B5EF4-FFF2-40B4-BE49-F238E27FC236}">
                <a16:creationId xmlns:a16="http://schemas.microsoft.com/office/drawing/2014/main" id="{80CDE85D-F37A-C2CD-450A-DF3283AD9FEB}"/>
              </a:ext>
            </a:extLst>
          </p:cNvPr>
          <p:cNvSpPr txBox="1"/>
          <p:nvPr/>
        </p:nvSpPr>
        <p:spPr>
          <a:xfrm>
            <a:off x="341310" y="4949618"/>
            <a:ext cx="2382840" cy="1631216"/>
          </a:xfrm>
          <a:prstGeom prst="rect">
            <a:avLst/>
          </a:prstGeom>
          <a:noFill/>
        </p:spPr>
        <p:txBody>
          <a:bodyPr wrap="square" rtlCol="0">
            <a:spAutoFit/>
          </a:bodyPr>
          <a:lstStyle/>
          <a:p>
            <a:pPr>
              <a:defRPr/>
            </a:pPr>
            <a:r>
              <a:rPr lang="en-US" sz="1100">
                <a:solidFill>
                  <a:schemeClr val="bg1"/>
                </a:solidFill>
                <a:latin typeface="Aptos" panose="020B0004020202020204" pitchFamily="34" charset="0"/>
              </a:rPr>
              <a:t>Sessions with business and IT stakeholders to understand the KPIs and modeling requirements</a:t>
            </a:r>
          </a:p>
          <a:p>
            <a:pPr>
              <a:defRPr/>
            </a:pPr>
            <a:endParaRPr lang="en-US" sz="1100">
              <a:solidFill>
                <a:schemeClr val="bg1"/>
              </a:solidFill>
              <a:latin typeface="Aptos" panose="020B0004020202020204" pitchFamily="34" charset="0"/>
            </a:endParaRPr>
          </a:p>
          <a:p>
            <a:pPr>
              <a:defRPr/>
            </a:pPr>
            <a:r>
              <a:rPr lang="en-US" sz="1100">
                <a:solidFill>
                  <a:schemeClr val="bg1"/>
                </a:solidFill>
                <a:latin typeface="Aptos" panose="020B0004020202020204" pitchFamily="34" charset="0"/>
              </a:rPr>
              <a:t>Finalize the target fields in semantic data layer along with required operations like aggregations, complex calculations, etc.</a:t>
            </a:r>
          </a:p>
          <a:p>
            <a:pPr>
              <a:defRPr/>
            </a:pPr>
            <a:endParaRPr kumimoji="0" lang="en-US" sz="1200" b="0" i="0" u="none" strike="noStrike" kern="1200" cap="none" spc="0" normalizeH="0" baseline="0" noProof="0">
              <a:ln>
                <a:noFill/>
              </a:ln>
              <a:solidFill>
                <a:schemeClr val="bg1"/>
              </a:solidFill>
              <a:effectLst/>
              <a:uLnTx/>
              <a:uFillTx/>
              <a:latin typeface="Aptos" panose="020B0004020202020204" pitchFamily="34" charset="0"/>
            </a:endParaRPr>
          </a:p>
        </p:txBody>
      </p:sp>
      <p:sp>
        <p:nvSpPr>
          <p:cNvPr id="50" name="Flowchart: Decision 4">
            <a:extLst>
              <a:ext uri="{FF2B5EF4-FFF2-40B4-BE49-F238E27FC236}">
                <a16:creationId xmlns:a16="http://schemas.microsoft.com/office/drawing/2014/main" id="{412228A6-33D7-A29C-713D-0EC6ED68F570}"/>
              </a:ext>
            </a:extLst>
          </p:cNvPr>
          <p:cNvSpPr/>
          <p:nvPr/>
        </p:nvSpPr>
        <p:spPr>
          <a:xfrm>
            <a:off x="3036797" y="3093000"/>
            <a:ext cx="1424609" cy="1444488"/>
          </a:xfrm>
          <a:prstGeom prst="flowChartDecision">
            <a:avLst/>
          </a:prstGeom>
          <a:no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ptos" panose="020B0004020202020204" pitchFamily="34" charset="0"/>
            </a:endParaRPr>
          </a:p>
        </p:txBody>
      </p:sp>
      <p:sp>
        <p:nvSpPr>
          <p:cNvPr id="51" name="TextBox 50">
            <a:extLst>
              <a:ext uri="{FF2B5EF4-FFF2-40B4-BE49-F238E27FC236}">
                <a16:creationId xmlns:a16="http://schemas.microsoft.com/office/drawing/2014/main" id="{16697017-A0BB-22AD-5386-7A72458D57DB}"/>
              </a:ext>
            </a:extLst>
          </p:cNvPr>
          <p:cNvSpPr txBox="1"/>
          <p:nvPr/>
        </p:nvSpPr>
        <p:spPr>
          <a:xfrm>
            <a:off x="3198054" y="2754995"/>
            <a:ext cx="118422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Aptos" panose="020B0004020202020204" pitchFamily="34" charset="0"/>
              </a:rPr>
              <a:t>Prioritization</a:t>
            </a:r>
          </a:p>
        </p:txBody>
      </p:sp>
      <p:sp>
        <p:nvSpPr>
          <p:cNvPr id="52" name="TextBox 51">
            <a:extLst>
              <a:ext uri="{FF2B5EF4-FFF2-40B4-BE49-F238E27FC236}">
                <a16:creationId xmlns:a16="http://schemas.microsoft.com/office/drawing/2014/main" id="{60749D38-8E9F-9D4C-53CB-65A0D841D7E5}"/>
              </a:ext>
            </a:extLst>
          </p:cNvPr>
          <p:cNvSpPr txBox="1"/>
          <p:nvPr/>
        </p:nvSpPr>
        <p:spPr>
          <a:xfrm>
            <a:off x="2980269" y="5019066"/>
            <a:ext cx="1530032" cy="461665"/>
          </a:xfrm>
          <a:prstGeom prst="rect">
            <a:avLst/>
          </a:prstGeom>
          <a:noFill/>
        </p:spPr>
        <p:txBody>
          <a:bodyPr wrap="square" rtlCol="0">
            <a:spAutoFit/>
          </a:bodyPr>
          <a:lstStyle/>
          <a:p>
            <a:pPr marR="0" lvl="0" algn="ctr" defTabSz="914400" rtl="0" eaLnBrk="1" fontAlgn="auto" latinLnBrk="0" hangingPunct="1">
              <a:lnSpc>
                <a:spcPct val="100000"/>
              </a:lnSpc>
              <a:spcBef>
                <a:spcPts val="0"/>
              </a:spcBef>
              <a:spcAft>
                <a:spcPts val="0"/>
              </a:spcAft>
              <a:buClrTx/>
              <a:buSzTx/>
              <a:tabLst/>
              <a:defRPr/>
            </a:pPr>
            <a:r>
              <a:rPr kumimoji="0" lang="en-US" sz="1200" b="0" i="0" u="none" strike="noStrike" kern="1200" cap="none" spc="0" normalizeH="0" baseline="0" noProof="0">
                <a:ln>
                  <a:noFill/>
                </a:ln>
                <a:solidFill>
                  <a:schemeClr val="bg1"/>
                </a:solidFill>
                <a:effectLst/>
                <a:uLnTx/>
                <a:uFillTx/>
                <a:latin typeface="Aptos" panose="020B0004020202020204" pitchFamily="34" charset="0"/>
              </a:rPr>
              <a:t>Source to Target mapping</a:t>
            </a:r>
          </a:p>
        </p:txBody>
      </p:sp>
      <p:sp>
        <p:nvSpPr>
          <p:cNvPr id="53" name="TextBox 52">
            <a:extLst>
              <a:ext uri="{FF2B5EF4-FFF2-40B4-BE49-F238E27FC236}">
                <a16:creationId xmlns:a16="http://schemas.microsoft.com/office/drawing/2014/main" id="{D5A2AC4B-EE02-0E25-5EC9-3C9A53AD0627}"/>
              </a:ext>
            </a:extLst>
          </p:cNvPr>
          <p:cNvSpPr txBox="1"/>
          <p:nvPr/>
        </p:nvSpPr>
        <p:spPr>
          <a:xfrm>
            <a:off x="4494115" y="3049631"/>
            <a:ext cx="1207524"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solidFill>
                <a:effectLst/>
                <a:uLnTx/>
                <a:uFillTx/>
                <a:latin typeface="Aptos" panose="020B0004020202020204" pitchFamily="34" charset="0"/>
              </a:rPr>
              <a:t>Product Backlog</a:t>
            </a:r>
          </a:p>
        </p:txBody>
      </p:sp>
      <p:pic>
        <p:nvPicPr>
          <p:cNvPr id="54" name="Picture 10" descr="Image result for half circle with arrow">
            <a:extLst>
              <a:ext uri="{FF2B5EF4-FFF2-40B4-BE49-F238E27FC236}">
                <a16:creationId xmlns:a16="http://schemas.microsoft.com/office/drawing/2014/main" id="{92BB2DB2-F4C8-BEFD-E506-265846EDCA7C}"/>
              </a:ext>
            </a:extLst>
          </p:cNvPr>
          <p:cNvPicPr>
            <a:picLocks noChangeAspect="1" noChangeArrowheads="1"/>
          </p:cNvPicPr>
          <p:nvPr/>
        </p:nvPicPr>
        <p:blipFill>
          <a:blip r:embed="rId2">
            <a:duotone>
              <a:schemeClr val="accent6">
                <a:shade val="45000"/>
                <a:satMod val="135000"/>
              </a:schemeClr>
              <a:prstClr val="white"/>
            </a:duotone>
            <a:alphaModFix amt="35000"/>
            <a:extLst>
              <a:ext uri="{28A0092B-C50C-407E-A947-70E740481C1C}">
                <a14:useLocalDpi xmlns:a14="http://schemas.microsoft.com/office/drawing/2010/main" val="0"/>
              </a:ext>
            </a:extLst>
          </a:blip>
          <a:srcRect/>
          <a:stretch>
            <a:fillRect/>
          </a:stretch>
        </p:blipFill>
        <p:spPr bwMode="auto">
          <a:xfrm rot="7148234">
            <a:off x="5524021" y="2439350"/>
            <a:ext cx="3525926" cy="3343735"/>
          </a:xfrm>
          <a:prstGeom prst="rect">
            <a:avLst/>
          </a:prstGeom>
          <a:noFill/>
          <a:extLst>
            <a:ext uri="{909E8E84-426E-40DD-AFC4-6F175D3DCCD1}">
              <a14:hiddenFill xmlns:a14="http://schemas.microsoft.com/office/drawing/2010/main">
                <a:solidFill>
                  <a:srgbClr val="FFFFFF"/>
                </a:solidFill>
              </a14:hiddenFill>
            </a:ext>
          </a:extLst>
        </p:spPr>
      </p:pic>
      <p:sp>
        <p:nvSpPr>
          <p:cNvPr id="55" name="TextBox 54">
            <a:extLst>
              <a:ext uri="{FF2B5EF4-FFF2-40B4-BE49-F238E27FC236}">
                <a16:creationId xmlns:a16="http://schemas.microsoft.com/office/drawing/2014/main" id="{9BEDF47B-149B-F7C8-191E-04CEB56A4A2E}"/>
              </a:ext>
            </a:extLst>
          </p:cNvPr>
          <p:cNvSpPr txBox="1"/>
          <p:nvPr/>
        </p:nvSpPr>
        <p:spPr>
          <a:xfrm>
            <a:off x="7129655" y="5132215"/>
            <a:ext cx="1113333"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bg1"/>
                </a:solidFill>
                <a:effectLst/>
                <a:uLnTx/>
                <a:uFillTx/>
                <a:latin typeface="Aptos" panose="020B0004020202020204" pitchFamily="34" charset="0"/>
              </a:rPr>
              <a:t>Apply naming conventions</a:t>
            </a:r>
          </a:p>
        </p:txBody>
      </p:sp>
      <p:sp>
        <p:nvSpPr>
          <p:cNvPr id="56" name="TextBox 55">
            <a:extLst>
              <a:ext uri="{FF2B5EF4-FFF2-40B4-BE49-F238E27FC236}">
                <a16:creationId xmlns:a16="http://schemas.microsoft.com/office/drawing/2014/main" id="{BA43E276-5F23-F6ED-9233-991B05976AE1}"/>
              </a:ext>
            </a:extLst>
          </p:cNvPr>
          <p:cNvSpPr txBox="1"/>
          <p:nvPr/>
        </p:nvSpPr>
        <p:spPr>
          <a:xfrm>
            <a:off x="5946135" y="4777264"/>
            <a:ext cx="994417"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bg1"/>
                </a:solidFill>
                <a:effectLst/>
                <a:uLnTx/>
                <a:uFillTx/>
                <a:latin typeface="Aptos" panose="020B0004020202020204" pitchFamily="34" charset="0"/>
              </a:rPr>
              <a:t>Identify relationships</a:t>
            </a:r>
          </a:p>
        </p:txBody>
      </p:sp>
      <p:sp>
        <p:nvSpPr>
          <p:cNvPr id="57" name="TextBox 56">
            <a:extLst>
              <a:ext uri="{FF2B5EF4-FFF2-40B4-BE49-F238E27FC236}">
                <a16:creationId xmlns:a16="http://schemas.microsoft.com/office/drawing/2014/main" id="{CC49FE14-AA03-EB73-C7D8-340CAD1A3A37}"/>
              </a:ext>
            </a:extLst>
          </p:cNvPr>
          <p:cNvSpPr txBox="1"/>
          <p:nvPr/>
        </p:nvSpPr>
        <p:spPr>
          <a:xfrm>
            <a:off x="5812737" y="3657717"/>
            <a:ext cx="1143768"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bg1"/>
                </a:solidFill>
                <a:effectLst/>
                <a:uLnTx/>
                <a:uFillTx/>
                <a:latin typeface="Aptos" panose="020B0004020202020204" pitchFamily="34" charset="0"/>
              </a:rPr>
              <a:t>Apply data model patterns</a:t>
            </a:r>
          </a:p>
        </p:txBody>
      </p:sp>
      <p:sp>
        <p:nvSpPr>
          <p:cNvPr id="58" name="TextBox 57">
            <a:extLst>
              <a:ext uri="{FF2B5EF4-FFF2-40B4-BE49-F238E27FC236}">
                <a16:creationId xmlns:a16="http://schemas.microsoft.com/office/drawing/2014/main" id="{2AE9F507-15A6-1469-FF8B-CD19A14A1D2C}"/>
              </a:ext>
            </a:extLst>
          </p:cNvPr>
          <p:cNvSpPr txBox="1"/>
          <p:nvPr/>
        </p:nvSpPr>
        <p:spPr>
          <a:xfrm>
            <a:off x="6848008" y="2993202"/>
            <a:ext cx="1065070"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bg1"/>
                </a:solidFill>
                <a:effectLst/>
                <a:uLnTx/>
                <a:uFillTx/>
                <a:latin typeface="Aptos" panose="020B0004020202020204" pitchFamily="34" charset="0"/>
              </a:rPr>
              <a:t>Assign keys</a:t>
            </a:r>
          </a:p>
        </p:txBody>
      </p:sp>
      <p:cxnSp>
        <p:nvCxnSpPr>
          <p:cNvPr id="59" name="Straight Connector 58">
            <a:extLst>
              <a:ext uri="{FF2B5EF4-FFF2-40B4-BE49-F238E27FC236}">
                <a16:creationId xmlns:a16="http://schemas.microsoft.com/office/drawing/2014/main" id="{BE802568-875F-555F-7409-1770A3D57412}"/>
              </a:ext>
            </a:extLst>
          </p:cNvPr>
          <p:cNvCxnSpPr>
            <a:cxnSpLocks/>
          </p:cNvCxnSpPr>
          <p:nvPr/>
        </p:nvCxnSpPr>
        <p:spPr>
          <a:xfrm flipV="1">
            <a:off x="8601294" y="4967723"/>
            <a:ext cx="547180" cy="1"/>
          </a:xfrm>
          <a:prstGeom prst="line">
            <a:avLst/>
          </a:prstGeom>
          <a:ln w="28575">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0" name="Oval 59">
            <a:extLst>
              <a:ext uri="{FF2B5EF4-FFF2-40B4-BE49-F238E27FC236}">
                <a16:creationId xmlns:a16="http://schemas.microsoft.com/office/drawing/2014/main" id="{C1C23868-66AF-4D4C-2493-E0519CA4A049}"/>
              </a:ext>
            </a:extLst>
          </p:cNvPr>
          <p:cNvSpPr/>
          <p:nvPr/>
        </p:nvSpPr>
        <p:spPr>
          <a:xfrm flipV="1">
            <a:off x="9146728" y="4858936"/>
            <a:ext cx="184626" cy="18136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ptos" panose="020B0004020202020204" pitchFamily="34" charset="0"/>
            </a:endParaRPr>
          </a:p>
        </p:txBody>
      </p:sp>
      <p:sp>
        <p:nvSpPr>
          <p:cNvPr id="61" name="Flowchart: Decision 15">
            <a:extLst>
              <a:ext uri="{FF2B5EF4-FFF2-40B4-BE49-F238E27FC236}">
                <a16:creationId xmlns:a16="http://schemas.microsoft.com/office/drawing/2014/main" id="{6188B9A3-56B5-A2AF-7918-5E38E45FD1D5}"/>
              </a:ext>
            </a:extLst>
          </p:cNvPr>
          <p:cNvSpPr/>
          <p:nvPr/>
        </p:nvSpPr>
        <p:spPr>
          <a:xfrm>
            <a:off x="9100017" y="3122694"/>
            <a:ext cx="1650519" cy="1539009"/>
          </a:xfrm>
          <a:prstGeom prst="flowChartDecision">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ptos" panose="020B0004020202020204" pitchFamily="34" charset="0"/>
            </a:endParaRPr>
          </a:p>
        </p:txBody>
      </p:sp>
      <p:sp>
        <p:nvSpPr>
          <p:cNvPr id="62" name="TextBox 61">
            <a:extLst>
              <a:ext uri="{FF2B5EF4-FFF2-40B4-BE49-F238E27FC236}">
                <a16:creationId xmlns:a16="http://schemas.microsoft.com/office/drawing/2014/main" id="{0E201DCE-11F5-AE31-28C4-68248A4E5F7A}"/>
              </a:ext>
            </a:extLst>
          </p:cNvPr>
          <p:cNvSpPr txBox="1"/>
          <p:nvPr/>
        </p:nvSpPr>
        <p:spPr>
          <a:xfrm>
            <a:off x="9435933" y="3954831"/>
            <a:ext cx="994417"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solidFill>
                <a:effectLst/>
                <a:uLnTx/>
                <a:uFillTx/>
                <a:latin typeface="Aptos" panose="020B0004020202020204" pitchFamily="34" charset="0"/>
              </a:rPr>
              <a:t>Business Validation</a:t>
            </a:r>
          </a:p>
        </p:txBody>
      </p:sp>
      <p:pic>
        <p:nvPicPr>
          <p:cNvPr id="63" name="Graphic 62" descr="Treasure Map with solid fill">
            <a:extLst>
              <a:ext uri="{FF2B5EF4-FFF2-40B4-BE49-F238E27FC236}">
                <a16:creationId xmlns:a16="http://schemas.microsoft.com/office/drawing/2014/main" id="{CA0695E2-4FAF-3AA7-75DB-D6B7B2B52B7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453930" y="3586460"/>
            <a:ext cx="583036" cy="583036"/>
          </a:xfrm>
          <a:prstGeom prst="rect">
            <a:avLst/>
          </a:prstGeom>
        </p:spPr>
      </p:pic>
      <p:pic>
        <p:nvPicPr>
          <p:cNvPr id="64" name="Graphic 63" descr="Test tubes with solid fill">
            <a:extLst>
              <a:ext uri="{FF2B5EF4-FFF2-40B4-BE49-F238E27FC236}">
                <a16:creationId xmlns:a16="http://schemas.microsoft.com/office/drawing/2014/main" id="{26AE9478-60D0-25F2-8527-EF67F6CBF66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400734" y="4695433"/>
            <a:ext cx="467871" cy="467871"/>
          </a:xfrm>
          <a:prstGeom prst="rect">
            <a:avLst/>
          </a:prstGeom>
        </p:spPr>
      </p:pic>
      <p:pic>
        <p:nvPicPr>
          <p:cNvPr id="65" name="Graphic 64" descr="Blueprint with solid fill">
            <a:extLst>
              <a:ext uri="{FF2B5EF4-FFF2-40B4-BE49-F238E27FC236}">
                <a16:creationId xmlns:a16="http://schemas.microsoft.com/office/drawing/2014/main" id="{0E90244F-4DCB-16F9-E09D-F303545272F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011422" y="4200922"/>
            <a:ext cx="671425" cy="671425"/>
          </a:xfrm>
          <a:prstGeom prst="rect">
            <a:avLst/>
          </a:prstGeom>
        </p:spPr>
      </p:pic>
      <p:pic>
        <p:nvPicPr>
          <p:cNvPr id="66" name="Graphic 65" descr="Puzzle with solid fill">
            <a:extLst>
              <a:ext uri="{FF2B5EF4-FFF2-40B4-BE49-F238E27FC236}">
                <a16:creationId xmlns:a16="http://schemas.microsoft.com/office/drawing/2014/main" id="{602A56E3-EB65-A723-E831-9E8A98C6A13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059826" y="3056512"/>
            <a:ext cx="600521" cy="600521"/>
          </a:xfrm>
          <a:prstGeom prst="rect">
            <a:avLst/>
          </a:prstGeom>
        </p:spPr>
      </p:pic>
      <p:pic>
        <p:nvPicPr>
          <p:cNvPr id="67" name="Picture 2" descr="Image result for backlog icon png">
            <a:extLst>
              <a:ext uri="{FF2B5EF4-FFF2-40B4-BE49-F238E27FC236}">
                <a16:creationId xmlns:a16="http://schemas.microsoft.com/office/drawing/2014/main" id="{95C8BCE0-FE7F-4162-6415-61C561F5417D}"/>
              </a:ext>
            </a:extLst>
          </p:cNvPr>
          <p:cNvPicPr>
            <a:picLocks noChangeAspect="1" noChangeArrowheads="1"/>
          </p:cNvPicPr>
          <p:nvPr/>
        </p:nvPicPr>
        <p:blipFill>
          <a:blip r:embed="rId11" cstate="screen">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937235" y="2651088"/>
            <a:ext cx="321285" cy="325130"/>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68" name="Graphic 67" descr="Rating 3 Star with solid fill">
            <a:extLst>
              <a:ext uri="{FF2B5EF4-FFF2-40B4-BE49-F238E27FC236}">
                <a16:creationId xmlns:a16="http://schemas.microsoft.com/office/drawing/2014/main" id="{DCD86274-418F-0718-F130-E2B6FB329F8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106445" y="2619254"/>
            <a:ext cx="506942" cy="527871"/>
          </a:xfrm>
          <a:prstGeom prst="rect">
            <a:avLst/>
          </a:prstGeom>
        </p:spPr>
      </p:pic>
      <p:pic>
        <p:nvPicPr>
          <p:cNvPr id="69" name="Graphic 68" descr="Handshake with solid fill">
            <a:extLst>
              <a:ext uri="{FF2B5EF4-FFF2-40B4-BE49-F238E27FC236}">
                <a16:creationId xmlns:a16="http://schemas.microsoft.com/office/drawing/2014/main" id="{A0F3B9C0-709A-410C-9E56-BF85EAD945C8}"/>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643165" y="3503887"/>
            <a:ext cx="564892" cy="564892"/>
          </a:xfrm>
          <a:prstGeom prst="rect">
            <a:avLst/>
          </a:prstGeom>
        </p:spPr>
      </p:pic>
      <p:pic>
        <p:nvPicPr>
          <p:cNvPr id="70" name="Picture 69">
            <a:extLst>
              <a:ext uri="{FF2B5EF4-FFF2-40B4-BE49-F238E27FC236}">
                <a16:creationId xmlns:a16="http://schemas.microsoft.com/office/drawing/2014/main" id="{2555778A-8993-3D71-2A97-C6DB6072CDD8}"/>
              </a:ext>
            </a:extLst>
          </p:cNvPr>
          <p:cNvPicPr>
            <a:picLocks noChangeAspect="1"/>
          </p:cNvPicPr>
          <p:nvPr/>
        </p:nvPicPr>
        <p:blipFill>
          <a:blip r:embed="rId16" cstate="print">
            <a:extLst>
              <a:ext uri="{BEBA8EAE-BF5A-486C-A8C5-ECC9F3942E4B}">
                <a14:imgProps xmlns:a14="http://schemas.microsoft.com/office/drawing/2010/main">
                  <a14:imgLayer r:embed="rId17">
                    <a14:imgEffect>
                      <a14:saturation sat="300000"/>
                    </a14:imgEffect>
                  </a14:imgLayer>
                </a14:imgProps>
              </a:ext>
              <a:ext uri="{28A0092B-C50C-407E-A947-70E740481C1C}">
                <a14:useLocalDpi xmlns:a14="http://schemas.microsoft.com/office/drawing/2010/main" val="0"/>
              </a:ext>
            </a:extLst>
          </a:blip>
          <a:srcRect/>
          <a:stretch/>
        </p:blipFill>
        <p:spPr>
          <a:xfrm>
            <a:off x="11031544" y="2665900"/>
            <a:ext cx="670859" cy="823460"/>
          </a:xfrm>
          <a:prstGeom prst="rect">
            <a:avLst/>
          </a:prstGeom>
        </p:spPr>
      </p:pic>
      <p:sp>
        <p:nvSpPr>
          <p:cNvPr id="73" name="Rectangle: Rounded Corners 28">
            <a:extLst>
              <a:ext uri="{FF2B5EF4-FFF2-40B4-BE49-F238E27FC236}">
                <a16:creationId xmlns:a16="http://schemas.microsoft.com/office/drawing/2014/main" id="{A6218BBC-A204-1E5C-FA83-261AF191C204}"/>
              </a:ext>
            </a:extLst>
          </p:cNvPr>
          <p:cNvSpPr/>
          <p:nvPr/>
        </p:nvSpPr>
        <p:spPr>
          <a:xfrm>
            <a:off x="413480" y="1367431"/>
            <a:ext cx="2189919" cy="448033"/>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Aptos SemiBold" panose="020B0004020202020204" pitchFamily="34" charset="0"/>
              </a:rPr>
              <a:t>Data Analysis &amp; Workshop</a:t>
            </a:r>
          </a:p>
        </p:txBody>
      </p:sp>
      <p:sp>
        <p:nvSpPr>
          <p:cNvPr id="74" name="Rectangle: Rounded Corners 29">
            <a:extLst>
              <a:ext uri="{FF2B5EF4-FFF2-40B4-BE49-F238E27FC236}">
                <a16:creationId xmlns:a16="http://schemas.microsoft.com/office/drawing/2014/main" id="{9AB6EAA9-DFB5-03AD-31F9-892BFB1DFB0F}"/>
              </a:ext>
            </a:extLst>
          </p:cNvPr>
          <p:cNvSpPr/>
          <p:nvPr/>
        </p:nvSpPr>
        <p:spPr>
          <a:xfrm>
            <a:off x="2959302" y="1354127"/>
            <a:ext cx="5380713" cy="448033"/>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b="1">
                <a:solidFill>
                  <a:schemeClr val="tx1"/>
                </a:solidFill>
                <a:latin typeface="Aptos SemiBold" panose="020B0004020202020204" pitchFamily="34" charset="0"/>
              </a:rPr>
              <a:t>Agile based Iterative Delivery</a:t>
            </a:r>
          </a:p>
        </p:txBody>
      </p:sp>
      <p:sp>
        <p:nvSpPr>
          <p:cNvPr id="75" name="Rectangle: Rounded Corners 30">
            <a:extLst>
              <a:ext uri="{FF2B5EF4-FFF2-40B4-BE49-F238E27FC236}">
                <a16:creationId xmlns:a16="http://schemas.microsoft.com/office/drawing/2014/main" id="{ACE3CE98-6136-84DD-E77C-7EDF0691E59B}"/>
              </a:ext>
            </a:extLst>
          </p:cNvPr>
          <p:cNvSpPr/>
          <p:nvPr/>
        </p:nvSpPr>
        <p:spPr>
          <a:xfrm>
            <a:off x="8453694" y="1354444"/>
            <a:ext cx="3647529" cy="448033"/>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Aptos SemiBold" panose="020B0004020202020204" pitchFamily="34" charset="0"/>
              </a:rPr>
              <a:t>Consumption</a:t>
            </a:r>
            <a:endParaRPr lang="en-IN" sz="1400" b="1">
              <a:solidFill>
                <a:schemeClr val="tx1"/>
              </a:solidFill>
              <a:latin typeface="Aptos SemiBold" panose="020B0004020202020204" pitchFamily="34" charset="0"/>
            </a:endParaRPr>
          </a:p>
        </p:txBody>
      </p:sp>
      <p:cxnSp>
        <p:nvCxnSpPr>
          <p:cNvPr id="76" name="Connector: Elbow 31">
            <a:extLst>
              <a:ext uri="{FF2B5EF4-FFF2-40B4-BE49-F238E27FC236}">
                <a16:creationId xmlns:a16="http://schemas.microsoft.com/office/drawing/2014/main" id="{DD4C9511-DD6B-ED49-8B13-A89598F8C8C6}"/>
              </a:ext>
            </a:extLst>
          </p:cNvPr>
          <p:cNvCxnSpPr>
            <a:cxnSpLocks/>
            <a:stCxn id="61" idx="3"/>
            <a:endCxn id="70" idx="2"/>
          </p:cNvCxnSpPr>
          <p:nvPr/>
        </p:nvCxnSpPr>
        <p:spPr>
          <a:xfrm flipV="1">
            <a:off x="10750536" y="3489360"/>
            <a:ext cx="616438" cy="402839"/>
          </a:xfrm>
          <a:prstGeom prst="bentConnector2">
            <a:avLst/>
          </a:prstGeom>
          <a:ln>
            <a:tailEnd type="triangle"/>
          </a:ln>
        </p:spPr>
        <p:style>
          <a:lnRef idx="1">
            <a:schemeClr val="dk1"/>
          </a:lnRef>
          <a:fillRef idx="0">
            <a:schemeClr val="dk1"/>
          </a:fillRef>
          <a:effectRef idx="0">
            <a:schemeClr val="dk1"/>
          </a:effectRef>
          <a:fontRef idx="minor">
            <a:schemeClr val="tx1"/>
          </a:fontRef>
        </p:style>
      </p:cxnSp>
      <p:pic>
        <p:nvPicPr>
          <p:cNvPr id="77" name="Picture 4" descr="Image result for sprint planning icon">
            <a:extLst>
              <a:ext uri="{FF2B5EF4-FFF2-40B4-BE49-F238E27FC236}">
                <a16:creationId xmlns:a16="http://schemas.microsoft.com/office/drawing/2014/main" id="{61A47400-79B4-3407-38EE-64FA530A56E0}"/>
              </a:ext>
            </a:extLst>
          </p:cNvPr>
          <p:cNvPicPr>
            <a:picLocks noChangeAspect="1" noChangeArrowheads="1"/>
          </p:cNvPicPr>
          <p:nvPr/>
        </p:nvPicPr>
        <p:blipFill>
          <a:blip r:embed="rId18" cstate="screen">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958517" y="3476122"/>
            <a:ext cx="411422" cy="416346"/>
          </a:xfrm>
          <a:prstGeom prst="rect">
            <a:avLst/>
          </a:prstGeom>
          <a:ln>
            <a:noFill/>
          </a:ln>
          <a:effectLst/>
          <a:extLst>
            <a:ext uri="{909E8E84-426E-40DD-AFC4-6F175D3DCCD1}">
              <a14:hiddenFill xmlns:a14="http://schemas.microsoft.com/office/drawing/2010/main">
                <a:solidFill>
                  <a:srgbClr val="FFFFFF"/>
                </a:solidFill>
              </a14:hiddenFill>
            </a:ext>
          </a:extLst>
        </p:spPr>
      </p:pic>
      <p:pic>
        <p:nvPicPr>
          <p:cNvPr id="79" name="Picture 6" descr="Image result for sprint backlog icon">
            <a:extLst>
              <a:ext uri="{FF2B5EF4-FFF2-40B4-BE49-F238E27FC236}">
                <a16:creationId xmlns:a16="http://schemas.microsoft.com/office/drawing/2014/main" id="{F30BAAA0-61AE-F447-2650-476FB8ED5BC1}"/>
              </a:ext>
            </a:extLst>
          </p:cNvPr>
          <p:cNvPicPr>
            <a:picLocks noChangeAspect="1" noChangeArrowheads="1"/>
          </p:cNvPicPr>
          <p:nvPr/>
        </p:nvPicPr>
        <p:blipFill>
          <a:blip r:embed="rId19" cstate="screen">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852629" y="4425263"/>
            <a:ext cx="540411" cy="546879"/>
          </a:xfrm>
          <a:prstGeom prst="rect">
            <a:avLst/>
          </a:prstGeom>
          <a:noFill/>
          <a:effectLst/>
          <a:extLst>
            <a:ext uri="{909E8E84-426E-40DD-AFC4-6F175D3DCCD1}">
              <a14:hiddenFill xmlns:a14="http://schemas.microsoft.com/office/drawing/2010/main">
                <a:solidFill>
                  <a:srgbClr val="FFFFFF"/>
                </a:solidFill>
              </a14:hiddenFill>
            </a:ext>
          </a:extLst>
        </p:spPr>
      </p:pic>
      <p:sp>
        <p:nvSpPr>
          <p:cNvPr id="80" name="TextBox 79">
            <a:extLst>
              <a:ext uri="{FF2B5EF4-FFF2-40B4-BE49-F238E27FC236}">
                <a16:creationId xmlns:a16="http://schemas.microsoft.com/office/drawing/2014/main" id="{9D9A20FB-431B-9F90-94D7-D0CC316C1C78}"/>
              </a:ext>
            </a:extLst>
          </p:cNvPr>
          <p:cNvSpPr txBox="1"/>
          <p:nvPr/>
        </p:nvSpPr>
        <p:spPr>
          <a:xfrm>
            <a:off x="4664945" y="5027321"/>
            <a:ext cx="902812" cy="230832"/>
          </a:xfrm>
          <a:prstGeom prst="rect">
            <a:avLst/>
          </a:prstGeom>
          <a:noFill/>
        </p:spPr>
        <p:txBody>
          <a:bodyPr wrap="none"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a:ln>
                  <a:noFill/>
                </a:ln>
                <a:solidFill>
                  <a:schemeClr val="bg1"/>
                </a:solidFill>
                <a:effectLst/>
                <a:uLnTx/>
                <a:uFillTx/>
                <a:latin typeface="Aptos" panose="020B0004020202020204" pitchFamily="34" charset="0"/>
                <a:cs typeface="Calibri" panose="020F0502020204030204" pitchFamily="34" charset="0"/>
              </a:rPr>
              <a:t>Sprint Backlog</a:t>
            </a:r>
          </a:p>
        </p:txBody>
      </p:sp>
      <p:pic>
        <p:nvPicPr>
          <p:cNvPr id="81" name="Graphic 80" descr="Users with solid fill">
            <a:extLst>
              <a:ext uri="{FF2B5EF4-FFF2-40B4-BE49-F238E27FC236}">
                <a16:creationId xmlns:a16="http://schemas.microsoft.com/office/drawing/2014/main" id="{99A8D322-BC3A-FEFE-B972-ECEE39F4B7CE}"/>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042099" y="3800281"/>
            <a:ext cx="621694" cy="621694"/>
          </a:xfrm>
          <a:prstGeom prst="rect">
            <a:avLst/>
          </a:prstGeom>
        </p:spPr>
      </p:pic>
      <p:sp>
        <p:nvSpPr>
          <p:cNvPr id="82" name="TextBox 81">
            <a:extLst>
              <a:ext uri="{FF2B5EF4-FFF2-40B4-BE49-F238E27FC236}">
                <a16:creationId xmlns:a16="http://schemas.microsoft.com/office/drawing/2014/main" id="{A3D557C6-5CC7-8E0B-A8BC-693EABB0422B}"/>
              </a:ext>
            </a:extLst>
          </p:cNvPr>
          <p:cNvSpPr txBox="1"/>
          <p:nvPr/>
        </p:nvSpPr>
        <p:spPr>
          <a:xfrm>
            <a:off x="407202" y="3255714"/>
            <a:ext cx="1923934" cy="307777"/>
          </a:xfrm>
          <a:prstGeom prst="rect">
            <a:avLst/>
          </a:prstGeom>
          <a:noFill/>
        </p:spPr>
        <p:txBody>
          <a:bodyPr wrap="square">
            <a:spAutoFit/>
          </a:bodyPr>
          <a:lstStyle/>
          <a:p>
            <a:r>
              <a:rPr lang="en-US" sz="1400" b="1">
                <a:solidFill>
                  <a:schemeClr val="bg1"/>
                </a:solidFill>
                <a:latin typeface="Aptos" panose="020B0004020202020204" pitchFamily="34" charset="0"/>
              </a:rPr>
              <a:t>Qualitative analysis</a:t>
            </a:r>
          </a:p>
        </p:txBody>
      </p:sp>
      <p:sp>
        <p:nvSpPr>
          <p:cNvPr id="83" name="TextBox 82">
            <a:extLst>
              <a:ext uri="{FF2B5EF4-FFF2-40B4-BE49-F238E27FC236}">
                <a16:creationId xmlns:a16="http://schemas.microsoft.com/office/drawing/2014/main" id="{1276FD8D-413C-7474-CA5F-1A40779F12BA}"/>
              </a:ext>
            </a:extLst>
          </p:cNvPr>
          <p:cNvSpPr txBox="1"/>
          <p:nvPr/>
        </p:nvSpPr>
        <p:spPr>
          <a:xfrm>
            <a:off x="407202" y="2079980"/>
            <a:ext cx="1923934" cy="307777"/>
          </a:xfrm>
          <a:prstGeom prst="rect">
            <a:avLst/>
          </a:prstGeom>
          <a:noFill/>
        </p:spPr>
        <p:txBody>
          <a:bodyPr wrap="square">
            <a:spAutoFit/>
          </a:bodyPr>
          <a:lstStyle/>
          <a:p>
            <a:r>
              <a:rPr lang="en-US" sz="1400" b="1">
                <a:solidFill>
                  <a:schemeClr val="bg1"/>
                </a:solidFill>
                <a:latin typeface="Aptos" panose="020B0004020202020204" pitchFamily="34" charset="0"/>
              </a:rPr>
              <a:t>Quantitative analysis</a:t>
            </a:r>
          </a:p>
        </p:txBody>
      </p:sp>
      <p:sp>
        <p:nvSpPr>
          <p:cNvPr id="84" name="Flowchart: Decision 39">
            <a:extLst>
              <a:ext uri="{FF2B5EF4-FFF2-40B4-BE49-F238E27FC236}">
                <a16:creationId xmlns:a16="http://schemas.microsoft.com/office/drawing/2014/main" id="{8A29ADC7-D662-4841-89F4-65EAB3876891}"/>
              </a:ext>
            </a:extLst>
          </p:cNvPr>
          <p:cNvSpPr/>
          <p:nvPr/>
        </p:nvSpPr>
        <p:spPr>
          <a:xfrm>
            <a:off x="889426" y="2394774"/>
            <a:ext cx="959487" cy="793044"/>
          </a:xfrm>
          <a:prstGeom prst="flowChartDecision">
            <a:avLst/>
          </a:prstGeom>
          <a:no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ptos" panose="020B0004020202020204" pitchFamily="34" charset="0"/>
            </a:endParaRPr>
          </a:p>
        </p:txBody>
      </p:sp>
      <p:pic>
        <p:nvPicPr>
          <p:cNvPr id="85" name="Graphic 84" descr="Robot Hand outline">
            <a:extLst>
              <a:ext uri="{FF2B5EF4-FFF2-40B4-BE49-F238E27FC236}">
                <a16:creationId xmlns:a16="http://schemas.microsoft.com/office/drawing/2014/main" id="{04A3D896-6507-17EE-BBCF-12F9A5E1215C}"/>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1146285" y="2473721"/>
            <a:ext cx="545266" cy="545266"/>
          </a:xfrm>
          <a:prstGeom prst="rect">
            <a:avLst/>
          </a:prstGeom>
        </p:spPr>
      </p:pic>
      <p:cxnSp>
        <p:nvCxnSpPr>
          <p:cNvPr id="86" name="Connector: Elbow 41">
            <a:extLst>
              <a:ext uri="{FF2B5EF4-FFF2-40B4-BE49-F238E27FC236}">
                <a16:creationId xmlns:a16="http://schemas.microsoft.com/office/drawing/2014/main" id="{9DBD1445-32C5-58A9-42F3-EFA3B1E95201}"/>
              </a:ext>
            </a:extLst>
          </p:cNvPr>
          <p:cNvCxnSpPr>
            <a:cxnSpLocks/>
            <a:stCxn id="48" idx="3"/>
          </p:cNvCxnSpPr>
          <p:nvPr/>
        </p:nvCxnSpPr>
        <p:spPr>
          <a:xfrm flipV="1">
            <a:off x="1821153" y="3792141"/>
            <a:ext cx="602596" cy="319077"/>
          </a:xfrm>
          <a:prstGeom prst="bentConnector3">
            <a:avLst/>
          </a:prstGeom>
        </p:spPr>
        <p:style>
          <a:lnRef idx="1">
            <a:schemeClr val="dk1"/>
          </a:lnRef>
          <a:fillRef idx="0">
            <a:schemeClr val="dk1"/>
          </a:fillRef>
          <a:effectRef idx="0">
            <a:schemeClr val="dk1"/>
          </a:effectRef>
          <a:fontRef idx="minor">
            <a:schemeClr val="tx1"/>
          </a:fontRef>
        </p:style>
      </p:cxnSp>
      <p:cxnSp>
        <p:nvCxnSpPr>
          <p:cNvPr id="87" name="Connector: Elbow 42">
            <a:extLst>
              <a:ext uri="{FF2B5EF4-FFF2-40B4-BE49-F238E27FC236}">
                <a16:creationId xmlns:a16="http://schemas.microsoft.com/office/drawing/2014/main" id="{09823692-BBE9-649C-9A4F-204558EA3CDF}"/>
              </a:ext>
            </a:extLst>
          </p:cNvPr>
          <p:cNvCxnSpPr>
            <a:cxnSpLocks/>
          </p:cNvCxnSpPr>
          <p:nvPr/>
        </p:nvCxnSpPr>
        <p:spPr>
          <a:xfrm>
            <a:off x="1877489" y="2791296"/>
            <a:ext cx="248563" cy="1008985"/>
          </a:xfrm>
          <a:prstGeom prst="bentConnector2">
            <a:avLst/>
          </a:prstGeom>
        </p:spPr>
        <p:style>
          <a:lnRef idx="1">
            <a:schemeClr val="dk1"/>
          </a:lnRef>
          <a:fillRef idx="0">
            <a:schemeClr val="dk1"/>
          </a:fillRef>
          <a:effectRef idx="0">
            <a:schemeClr val="dk1"/>
          </a:effectRef>
          <a:fontRef idx="minor">
            <a:schemeClr val="tx1"/>
          </a:fontRef>
        </p:style>
      </p:cxnSp>
      <p:sp>
        <p:nvSpPr>
          <p:cNvPr id="88" name="TextBox 87">
            <a:extLst>
              <a:ext uri="{FF2B5EF4-FFF2-40B4-BE49-F238E27FC236}">
                <a16:creationId xmlns:a16="http://schemas.microsoft.com/office/drawing/2014/main" id="{CFC461E0-908C-8062-0451-D00873486C54}"/>
              </a:ext>
            </a:extLst>
          </p:cNvPr>
          <p:cNvSpPr txBox="1"/>
          <p:nvPr/>
        </p:nvSpPr>
        <p:spPr>
          <a:xfrm>
            <a:off x="9280481" y="4819175"/>
            <a:ext cx="1407151"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solidFill>
                  <a:schemeClr val="bg1"/>
                </a:solidFill>
                <a:latin typeface="Aptos" panose="020B0004020202020204" pitchFamily="34" charset="0"/>
              </a:rPr>
              <a:t>Normalize to reduce data redundancy</a:t>
            </a:r>
            <a:endParaRPr kumimoji="0" lang="en-US" sz="1400" b="0" i="0" u="none" strike="noStrike" kern="1200" cap="none" spc="0" normalizeH="0" baseline="0" noProof="0">
              <a:ln>
                <a:noFill/>
              </a:ln>
              <a:solidFill>
                <a:schemeClr val="bg1"/>
              </a:solidFill>
              <a:effectLst/>
              <a:uLnTx/>
              <a:uFillTx/>
              <a:latin typeface="Aptos" panose="020B0004020202020204" pitchFamily="34" charset="0"/>
            </a:endParaRPr>
          </a:p>
        </p:txBody>
      </p:sp>
      <p:cxnSp>
        <p:nvCxnSpPr>
          <p:cNvPr id="98" name="Straight Arrow Connector 97">
            <a:extLst>
              <a:ext uri="{FF2B5EF4-FFF2-40B4-BE49-F238E27FC236}">
                <a16:creationId xmlns:a16="http://schemas.microsoft.com/office/drawing/2014/main" id="{C51D902F-905B-9922-FD77-BD25AE067726}"/>
              </a:ext>
            </a:extLst>
          </p:cNvPr>
          <p:cNvCxnSpPr>
            <a:cxnSpLocks/>
          </p:cNvCxnSpPr>
          <p:nvPr/>
        </p:nvCxnSpPr>
        <p:spPr>
          <a:xfrm>
            <a:off x="2293357" y="3793765"/>
            <a:ext cx="712064" cy="1913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99" name="Straight Arrow Connector 98">
            <a:extLst>
              <a:ext uri="{FF2B5EF4-FFF2-40B4-BE49-F238E27FC236}">
                <a16:creationId xmlns:a16="http://schemas.microsoft.com/office/drawing/2014/main" id="{2BEB2765-747B-7B3A-BF12-1E3CF80BABF3}"/>
              </a:ext>
            </a:extLst>
          </p:cNvPr>
          <p:cNvCxnSpPr>
            <a:cxnSpLocks/>
          </p:cNvCxnSpPr>
          <p:nvPr/>
        </p:nvCxnSpPr>
        <p:spPr>
          <a:xfrm>
            <a:off x="4461406" y="3817095"/>
            <a:ext cx="460234"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0" name="TextBox 99">
            <a:extLst>
              <a:ext uri="{FF2B5EF4-FFF2-40B4-BE49-F238E27FC236}">
                <a16:creationId xmlns:a16="http://schemas.microsoft.com/office/drawing/2014/main" id="{AFE39595-16BA-DE07-073D-0F1DF91FA36C}"/>
              </a:ext>
            </a:extLst>
          </p:cNvPr>
          <p:cNvSpPr txBox="1"/>
          <p:nvPr/>
        </p:nvSpPr>
        <p:spPr>
          <a:xfrm>
            <a:off x="4730784" y="3916019"/>
            <a:ext cx="817852" cy="215444"/>
          </a:xfrm>
          <a:prstGeom prst="rect">
            <a:avLst/>
          </a:prstGeom>
          <a:noFill/>
        </p:spPr>
        <p:txBody>
          <a:bodyPr wrap="square"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a:ln>
                  <a:noFill/>
                </a:ln>
                <a:solidFill>
                  <a:prstClr val="black"/>
                </a:solidFill>
                <a:effectLst/>
                <a:uLnTx/>
                <a:uFillTx/>
                <a:latin typeface="Outfit"/>
                <a:cs typeface="Calibri" panose="020F0502020204030204" pitchFamily="34" charset="0"/>
              </a:rPr>
              <a:t>Sprint Planning</a:t>
            </a:r>
          </a:p>
        </p:txBody>
      </p:sp>
      <p:sp>
        <p:nvSpPr>
          <p:cNvPr id="3" name="Rectangle 2">
            <a:extLst>
              <a:ext uri="{FF2B5EF4-FFF2-40B4-BE49-F238E27FC236}">
                <a16:creationId xmlns:a16="http://schemas.microsoft.com/office/drawing/2014/main" id="{994B0426-9A3B-C550-F055-CED342D18393}"/>
              </a:ext>
            </a:extLst>
          </p:cNvPr>
          <p:cNvSpPr/>
          <p:nvPr/>
        </p:nvSpPr>
        <p:spPr>
          <a:xfrm>
            <a:off x="2959302" y="6121689"/>
            <a:ext cx="3997203" cy="380144"/>
          </a:xfrm>
          <a:prstGeom prst="rect">
            <a:avLst/>
          </a:prstGeom>
          <a:solidFill>
            <a:srgbClr val="EEDAD9"/>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pPr algn="ctr"/>
            <a:r>
              <a:rPr lang="en-US" sz="1200" b="1">
                <a:solidFill>
                  <a:schemeClr val="bg1"/>
                </a:solidFill>
                <a:latin typeface="Aptos SemiBold" panose="020B0004020202020204" pitchFamily="34" charset="0"/>
              </a:rPr>
              <a:t>Reusable Data Discovery Framework</a:t>
            </a:r>
            <a:endParaRPr lang="en-IN" sz="1200" b="1">
              <a:solidFill>
                <a:schemeClr val="bg1"/>
              </a:solidFill>
              <a:latin typeface="Aptos SemiBold" panose="020B0004020202020204" pitchFamily="34" charset="0"/>
            </a:endParaRPr>
          </a:p>
        </p:txBody>
      </p:sp>
      <p:sp>
        <p:nvSpPr>
          <p:cNvPr id="4" name="Rectangle 3">
            <a:extLst>
              <a:ext uri="{FF2B5EF4-FFF2-40B4-BE49-F238E27FC236}">
                <a16:creationId xmlns:a16="http://schemas.microsoft.com/office/drawing/2014/main" id="{88F19491-61F7-74C1-26FB-1989C0E147A2}"/>
              </a:ext>
            </a:extLst>
          </p:cNvPr>
          <p:cNvSpPr/>
          <p:nvPr/>
        </p:nvSpPr>
        <p:spPr>
          <a:xfrm>
            <a:off x="7415014" y="6121689"/>
            <a:ext cx="1933399" cy="380144"/>
          </a:xfrm>
          <a:prstGeom prst="rect">
            <a:avLst/>
          </a:prstGeom>
          <a:solidFill>
            <a:srgbClr val="EEDAD9"/>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pPr algn="ctr"/>
            <a:r>
              <a:rPr lang="en-US" sz="1200" b="1">
                <a:solidFill>
                  <a:schemeClr val="bg1"/>
                </a:solidFill>
                <a:latin typeface="Aptos SemiBold" panose="020B0004020202020204" pitchFamily="34" charset="0"/>
              </a:rPr>
              <a:t>DQ Framework</a:t>
            </a:r>
            <a:endParaRPr lang="en-IN" sz="1200" b="1">
              <a:solidFill>
                <a:schemeClr val="bg1"/>
              </a:solidFill>
              <a:latin typeface="Aptos SemiBold" panose="020B0004020202020204" pitchFamily="34" charset="0"/>
            </a:endParaRPr>
          </a:p>
        </p:txBody>
      </p:sp>
      <p:sp>
        <p:nvSpPr>
          <p:cNvPr id="5" name="Rectangle 4">
            <a:extLst>
              <a:ext uri="{FF2B5EF4-FFF2-40B4-BE49-F238E27FC236}">
                <a16:creationId xmlns:a16="http://schemas.microsoft.com/office/drawing/2014/main" id="{B40FEB0F-DE76-14C8-57D3-850DEEE3D7D5}"/>
              </a:ext>
            </a:extLst>
          </p:cNvPr>
          <p:cNvSpPr/>
          <p:nvPr/>
        </p:nvSpPr>
        <p:spPr>
          <a:xfrm>
            <a:off x="9806921" y="6121689"/>
            <a:ext cx="2294302" cy="380144"/>
          </a:xfrm>
          <a:prstGeom prst="rect">
            <a:avLst/>
          </a:prstGeom>
          <a:solidFill>
            <a:srgbClr val="EEDAD9"/>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pPr algn="ctr"/>
            <a:r>
              <a:rPr lang="en-US" sz="1200" b="1">
                <a:solidFill>
                  <a:schemeClr val="bg1"/>
                </a:solidFill>
                <a:latin typeface="Aptos SemiBold" panose="020B0004020202020204" pitchFamily="34" charset="0"/>
              </a:rPr>
              <a:t>~20% effort savings</a:t>
            </a:r>
            <a:endParaRPr lang="en-IN" sz="1200" b="1">
              <a:solidFill>
                <a:schemeClr val="bg1"/>
              </a:solidFill>
              <a:latin typeface="Aptos SemiBold" panose="020B0004020202020204" pitchFamily="34" charset="0"/>
            </a:endParaRPr>
          </a:p>
        </p:txBody>
      </p:sp>
    </p:spTree>
    <p:extLst>
      <p:ext uri="{BB962C8B-B14F-4D97-AF65-F5344CB8AC3E}">
        <p14:creationId xmlns:p14="http://schemas.microsoft.com/office/powerpoint/2010/main" val="307316586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25ED34-9EF5-D545-5806-0E2E001D0563}"/>
            </a:ext>
          </a:extLst>
        </p:cNvPr>
        <p:cNvGrpSpPr/>
        <p:nvPr/>
      </p:nvGrpSpPr>
      <p:grpSpPr>
        <a:xfrm>
          <a:off x="0" y="0"/>
          <a:ext cx="0" cy="0"/>
          <a:chOff x="0" y="0"/>
          <a:chExt cx="0" cy="0"/>
        </a:xfrm>
      </p:grpSpPr>
      <p:sp>
        <p:nvSpPr>
          <p:cNvPr id="31" name="Round Single Corner of Rectangle 30">
            <a:extLst>
              <a:ext uri="{FF2B5EF4-FFF2-40B4-BE49-F238E27FC236}">
                <a16:creationId xmlns:a16="http://schemas.microsoft.com/office/drawing/2014/main" id="{735B171E-538B-EE89-CCB4-223A384A7352}"/>
              </a:ext>
            </a:extLst>
          </p:cNvPr>
          <p:cNvSpPr/>
          <p:nvPr/>
        </p:nvSpPr>
        <p:spPr bwMode="auto">
          <a:xfrm rot="5400000">
            <a:off x="7814953" y="285205"/>
            <a:ext cx="1032335" cy="4788259"/>
          </a:xfrm>
          <a:prstGeom prst="round1Rect">
            <a:avLst>
              <a:gd name="adj" fmla="val 0"/>
            </a:avLst>
          </a:prstGeom>
          <a:solidFill>
            <a:srgbClr val="B5C1CE">
              <a:alpha val="15000"/>
            </a:srgb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IBM Plex Sans Light"/>
              <a:buNone/>
              <a:tabLst/>
              <a:defRPr/>
            </a:pPr>
            <a:endParaRPr kumimoji="0" lang="en-US" sz="1400" b="0" i="0" u="none" strike="noStrike" kern="1200" cap="none" spc="0" normalizeH="0" baseline="0" noProof="0">
              <a:ln>
                <a:noFill/>
              </a:ln>
              <a:solidFill>
                <a:srgbClr val="000000"/>
              </a:solidFill>
              <a:effectLst/>
              <a:uLnTx/>
              <a:uFillTx/>
              <a:latin typeface="Aptos" panose="020B0004020202020204" pitchFamily="34" charset="0"/>
            </a:endParaRPr>
          </a:p>
        </p:txBody>
      </p:sp>
      <p:sp>
        <p:nvSpPr>
          <p:cNvPr id="33" name="Round Single Corner of Rectangle 32">
            <a:extLst>
              <a:ext uri="{FF2B5EF4-FFF2-40B4-BE49-F238E27FC236}">
                <a16:creationId xmlns:a16="http://schemas.microsoft.com/office/drawing/2014/main" id="{3E88F295-E45B-E956-913A-CFF52EFD580F}"/>
              </a:ext>
            </a:extLst>
          </p:cNvPr>
          <p:cNvSpPr/>
          <p:nvPr/>
        </p:nvSpPr>
        <p:spPr bwMode="auto">
          <a:xfrm rot="5400000">
            <a:off x="7814953" y="1400327"/>
            <a:ext cx="1032335" cy="4788259"/>
          </a:xfrm>
          <a:prstGeom prst="round1Rect">
            <a:avLst>
              <a:gd name="adj" fmla="val 0"/>
            </a:avLst>
          </a:prstGeom>
          <a:solidFill>
            <a:srgbClr val="B5C1CE">
              <a:alpha val="15000"/>
            </a:srgb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IBM Plex Sans Light"/>
              <a:buNone/>
              <a:tabLst/>
              <a:defRPr/>
            </a:pPr>
            <a:endParaRPr kumimoji="0" lang="en-US" sz="1400" b="0" i="0" u="none" strike="noStrike" kern="1200" cap="none" spc="0" normalizeH="0" baseline="0" noProof="0">
              <a:ln>
                <a:noFill/>
              </a:ln>
              <a:solidFill>
                <a:srgbClr val="000000"/>
              </a:solidFill>
              <a:effectLst/>
              <a:uLnTx/>
              <a:uFillTx/>
              <a:latin typeface="Aptos" panose="020B0004020202020204" pitchFamily="34" charset="0"/>
            </a:endParaRPr>
          </a:p>
        </p:txBody>
      </p:sp>
      <p:sp>
        <p:nvSpPr>
          <p:cNvPr id="39" name="Round Single Corner of Rectangle 38">
            <a:extLst>
              <a:ext uri="{FF2B5EF4-FFF2-40B4-BE49-F238E27FC236}">
                <a16:creationId xmlns:a16="http://schemas.microsoft.com/office/drawing/2014/main" id="{DC52DF2E-0718-B62A-F8E3-737E56AF034A}"/>
              </a:ext>
            </a:extLst>
          </p:cNvPr>
          <p:cNvSpPr/>
          <p:nvPr/>
        </p:nvSpPr>
        <p:spPr bwMode="auto">
          <a:xfrm rot="5400000">
            <a:off x="7726190" y="2626513"/>
            <a:ext cx="1209860" cy="4788259"/>
          </a:xfrm>
          <a:prstGeom prst="round1Rect">
            <a:avLst>
              <a:gd name="adj" fmla="val 50000"/>
            </a:avLst>
          </a:prstGeom>
          <a:solidFill>
            <a:srgbClr val="B5C1CE">
              <a:alpha val="15000"/>
            </a:srgb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IBM Plex Sans Light"/>
              <a:buNone/>
              <a:tabLst/>
              <a:defRPr/>
            </a:pPr>
            <a:endParaRPr kumimoji="0" lang="en-US" sz="1400" b="0" i="0" u="none" strike="noStrike" kern="1200" cap="none" spc="0" normalizeH="0" baseline="0" noProof="0">
              <a:ln>
                <a:noFill/>
              </a:ln>
              <a:solidFill>
                <a:srgbClr val="000000"/>
              </a:solidFill>
              <a:effectLst/>
              <a:uLnTx/>
              <a:uFillTx/>
              <a:latin typeface="Aptos" panose="020B0004020202020204" pitchFamily="34" charset="0"/>
            </a:endParaRPr>
          </a:p>
        </p:txBody>
      </p:sp>
      <p:sp>
        <p:nvSpPr>
          <p:cNvPr id="19" name="Rectángulo redondeado 13">
            <a:extLst>
              <a:ext uri="{FF2B5EF4-FFF2-40B4-BE49-F238E27FC236}">
                <a16:creationId xmlns:a16="http://schemas.microsoft.com/office/drawing/2014/main" id="{A492C625-08A4-3C09-13FE-A2A5D3110863}"/>
              </a:ext>
            </a:extLst>
          </p:cNvPr>
          <p:cNvSpPr/>
          <p:nvPr/>
        </p:nvSpPr>
        <p:spPr>
          <a:xfrm>
            <a:off x="368879" y="2163166"/>
            <a:ext cx="4874983" cy="456111"/>
          </a:xfrm>
          <a:prstGeom prst="roundRect">
            <a:avLst>
              <a:gd name="adj" fmla="val 0"/>
            </a:avLst>
          </a:prstGeom>
          <a:solidFill>
            <a:srgbClr val="B5C1CE"/>
          </a:solidFill>
          <a:ln w="25400" cap="flat" cmpd="sng" algn="ctr">
            <a:noFill/>
            <a:prstDash val="solid"/>
          </a:ln>
          <a:effectLst/>
        </p:spPr>
        <p:txBody>
          <a:bodyPr lIns="0" tIns="45717" rIns="0" bIns="45717" rtlCol="0" anchor="ctr"/>
          <a:lstStyle/>
          <a:p>
            <a:pPr marL="0" marR="0" lvl="0" indent="0" algn="ctr" defTabSz="533427" rtl="0" eaLnBrk="1" fontAlgn="auto" latinLnBrk="0" hangingPunct="1">
              <a:lnSpc>
                <a:spcPct val="90000"/>
              </a:lnSpc>
              <a:spcBef>
                <a:spcPct val="0"/>
              </a:spcBef>
              <a:spcAft>
                <a:spcPct val="35000"/>
              </a:spcAft>
              <a:buClrTx/>
              <a:buSzTx/>
              <a:buFontTx/>
              <a:buNone/>
              <a:tabLst/>
              <a:defRPr/>
            </a:pPr>
            <a:r>
              <a:rPr kumimoji="0" lang="en-US" sz="1400" b="1" i="0" u="none" strike="noStrike" kern="1200" cap="none" spc="0" normalizeH="0" baseline="0" noProof="0">
                <a:ln>
                  <a:noFill/>
                </a:ln>
                <a:solidFill>
                  <a:srgbClr val="012354"/>
                </a:solidFill>
                <a:effectLst/>
                <a:uLnTx/>
                <a:uFillTx/>
                <a:latin typeface="Aptos" panose="020B0004020202020204" pitchFamily="34" charset="0"/>
                <a:ea typeface="Calibri" panose="020F0502020204030204" pitchFamily="34" charset="0"/>
                <a:cs typeface="Calibri" panose="020F0502020204030204" pitchFamily="34" charset="0"/>
              </a:rPr>
              <a:t>Semantic Layer Data Transformations</a:t>
            </a:r>
          </a:p>
        </p:txBody>
      </p:sp>
      <p:sp>
        <p:nvSpPr>
          <p:cNvPr id="20" name="Round Single Corner of Rectangle 19">
            <a:extLst>
              <a:ext uri="{FF2B5EF4-FFF2-40B4-BE49-F238E27FC236}">
                <a16:creationId xmlns:a16="http://schemas.microsoft.com/office/drawing/2014/main" id="{C0F465DB-166D-3AEB-86C8-8D5CFBD4A3C1}"/>
              </a:ext>
            </a:extLst>
          </p:cNvPr>
          <p:cNvSpPr/>
          <p:nvPr/>
        </p:nvSpPr>
        <p:spPr bwMode="auto">
          <a:xfrm rot="5400000">
            <a:off x="1289502" y="1671213"/>
            <a:ext cx="3060385" cy="4848335"/>
          </a:xfrm>
          <a:prstGeom prst="round1Rect">
            <a:avLst>
              <a:gd name="adj" fmla="val 22455"/>
            </a:avLst>
          </a:prstGeom>
          <a:solidFill>
            <a:srgbClr val="B5C1CE">
              <a:alpha val="15000"/>
            </a:srgb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IBM Plex Sans Light"/>
              <a:buNone/>
              <a:tabLst/>
              <a:defRPr/>
            </a:pPr>
            <a:endParaRPr kumimoji="0" lang="en-US" sz="1400" b="0" i="0" u="none" strike="noStrike" kern="1200" cap="none" spc="0" normalizeH="0" baseline="0" noProof="0">
              <a:ln>
                <a:noFill/>
              </a:ln>
              <a:solidFill>
                <a:srgbClr val="000000"/>
              </a:solidFill>
              <a:effectLst/>
              <a:uLnTx/>
              <a:uFillTx/>
              <a:latin typeface="Aptos" panose="020B0004020202020204" pitchFamily="34" charset="0"/>
            </a:endParaRPr>
          </a:p>
        </p:txBody>
      </p:sp>
      <p:sp>
        <p:nvSpPr>
          <p:cNvPr id="10" name="TextBox 2">
            <a:extLst>
              <a:ext uri="{FF2B5EF4-FFF2-40B4-BE49-F238E27FC236}">
                <a16:creationId xmlns:a16="http://schemas.microsoft.com/office/drawing/2014/main" id="{B2B0F910-D70E-EECE-D18F-ABB9588D096E}"/>
              </a:ext>
            </a:extLst>
          </p:cNvPr>
          <p:cNvSpPr txBox="1"/>
          <p:nvPr/>
        </p:nvSpPr>
        <p:spPr>
          <a:xfrm>
            <a:off x="266253" y="1244109"/>
            <a:ext cx="11460480" cy="307777"/>
          </a:xfrm>
          <a:prstGeom prst="rect">
            <a:avLst/>
          </a:prstGeom>
          <a:noFill/>
        </p:spPr>
        <p:txBody>
          <a:bodyPr wrap="square" lIns="91440" tIns="45720" rIns="91440" bIns="45720" rtlCol="0" anchor="t">
            <a:spAutoFit/>
          </a:bodyPr>
          <a:lstStyle>
            <a:defPPr>
              <a:defRPr lang="en-US"/>
            </a:defPPr>
            <a:lvl1pPr>
              <a:defRPr sz="1400">
                <a:latin typeface="Arial"/>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rgbClr val="012354"/>
                </a:solidFill>
                <a:latin typeface="Aptos" panose="020B0004020202020204" pitchFamily="34" charset="0"/>
              </a:rPr>
              <a:t>Brillio will design the data transformation capabilities by using applicable Databricks features like Autoloader, Notebooks and Delta Live tables.</a:t>
            </a:r>
          </a:p>
        </p:txBody>
      </p:sp>
      <p:sp>
        <p:nvSpPr>
          <p:cNvPr id="6" name="Rectangle 5">
            <a:extLst>
              <a:ext uri="{FF2B5EF4-FFF2-40B4-BE49-F238E27FC236}">
                <a16:creationId xmlns:a16="http://schemas.microsoft.com/office/drawing/2014/main" id="{7D55E0F0-B6C4-CDB7-77DF-6FD7EEC47C22}"/>
              </a:ext>
            </a:extLst>
          </p:cNvPr>
          <p:cNvSpPr/>
          <p:nvPr/>
        </p:nvSpPr>
        <p:spPr>
          <a:xfrm>
            <a:off x="469444" y="2904299"/>
            <a:ext cx="4555356" cy="2420440"/>
          </a:xfrm>
          <a:prstGeom prst="rect">
            <a:avLst/>
          </a:prstGeom>
          <a:no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GB"/>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IN" sz="1600">
              <a:solidFill>
                <a:srgbClr val="012354"/>
              </a:solidFill>
              <a:latin typeface="Aptos" panose="020B0004020202020204" pitchFamily="34" charset="0"/>
            </a:endParaRPr>
          </a:p>
        </p:txBody>
      </p:sp>
      <p:sp>
        <p:nvSpPr>
          <p:cNvPr id="8" name="TextBox 10">
            <a:extLst>
              <a:ext uri="{FF2B5EF4-FFF2-40B4-BE49-F238E27FC236}">
                <a16:creationId xmlns:a16="http://schemas.microsoft.com/office/drawing/2014/main" id="{56801F86-F246-6464-ECCB-7B174B20600D}"/>
              </a:ext>
            </a:extLst>
          </p:cNvPr>
          <p:cNvSpPr txBox="1"/>
          <p:nvPr/>
        </p:nvSpPr>
        <p:spPr>
          <a:xfrm>
            <a:off x="502898" y="2743179"/>
            <a:ext cx="4681018" cy="2616101"/>
          </a:xfrm>
          <a:prstGeom prst="rect">
            <a:avLst/>
          </a:prstGeom>
          <a:noFill/>
        </p:spPr>
        <p:txBody>
          <a:bodyPr wrap="square" rtlCol="0">
            <a:spAutoFit/>
          </a:bodyPr>
          <a:lstStyle>
            <a:defPPr>
              <a:defRPr lang="en-GB"/>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44000" indent="-144000">
              <a:spcBef>
                <a:spcPts val="600"/>
              </a:spcBef>
              <a:buFont typeface="Arial" panose="020B0604020202020204" pitchFamily="34" charset="0"/>
              <a:buChar char="•"/>
            </a:pPr>
            <a:r>
              <a:rPr lang="en-GB" sz="1200" b="0">
                <a:solidFill>
                  <a:srgbClr val="012354"/>
                </a:solidFill>
                <a:latin typeface="Aptos" panose="020B0004020202020204" pitchFamily="34" charset="0"/>
              </a:rPr>
              <a:t>Databricks workflows will be </a:t>
            </a:r>
            <a:r>
              <a:rPr lang="en-GB" sz="1200">
                <a:solidFill>
                  <a:srgbClr val="012354"/>
                </a:solidFill>
                <a:latin typeface="Aptos" panose="020B0004020202020204" pitchFamily="34" charset="0"/>
              </a:rPr>
              <a:t>used to orchestrate the data pipelines</a:t>
            </a:r>
            <a:endParaRPr lang="en-GB" sz="1200" b="0">
              <a:solidFill>
                <a:srgbClr val="012354"/>
              </a:solidFill>
              <a:latin typeface="Aptos" panose="020B0004020202020204" pitchFamily="34" charset="0"/>
            </a:endParaRPr>
          </a:p>
          <a:p>
            <a:pPr marL="144000" indent="-144000">
              <a:spcBef>
                <a:spcPts val="600"/>
              </a:spcBef>
              <a:buFont typeface="Arial" panose="020B0604020202020204" pitchFamily="34" charset="0"/>
              <a:buChar char="•"/>
            </a:pPr>
            <a:r>
              <a:rPr lang="en-GB" sz="1200" b="0">
                <a:solidFill>
                  <a:srgbClr val="012354"/>
                </a:solidFill>
                <a:latin typeface="Aptos" panose="020B0004020202020204" pitchFamily="34" charset="0"/>
              </a:rPr>
              <a:t>Delta Live will be used to build the data processing pipelines and set the configurations to manage the business rules required for transformations</a:t>
            </a:r>
          </a:p>
          <a:p>
            <a:pPr marL="144000" indent="-144000">
              <a:spcBef>
                <a:spcPts val="600"/>
              </a:spcBef>
              <a:buFont typeface="Arial" panose="020B0604020202020204" pitchFamily="34" charset="0"/>
              <a:buChar char="•"/>
            </a:pPr>
            <a:r>
              <a:rPr lang="en-GB" sz="1200">
                <a:solidFill>
                  <a:srgbClr val="012354"/>
                </a:solidFill>
                <a:latin typeface="Aptos" panose="020B0004020202020204" pitchFamily="34" charset="0"/>
              </a:rPr>
              <a:t>A</a:t>
            </a:r>
            <a:r>
              <a:rPr lang="en-GB" sz="1200" b="0">
                <a:solidFill>
                  <a:srgbClr val="012354"/>
                </a:solidFill>
                <a:latin typeface="Aptos" panose="020B0004020202020204" pitchFamily="34" charset="0"/>
              </a:rPr>
              <a:t>utoloader combined with Databricks transformation notebooks in the pipeline will load the new files and write them onto Semantic layer delta tables (if required)</a:t>
            </a:r>
          </a:p>
          <a:p>
            <a:pPr marL="144000" indent="-144000">
              <a:spcBef>
                <a:spcPts val="600"/>
              </a:spcBef>
              <a:buFont typeface="Arial" panose="020B0604020202020204" pitchFamily="34" charset="0"/>
              <a:buChar char="•"/>
            </a:pPr>
            <a:r>
              <a:rPr lang="en-GB" sz="1200">
                <a:solidFill>
                  <a:srgbClr val="012354"/>
                </a:solidFill>
                <a:latin typeface="Aptos" panose="020B0004020202020204" pitchFamily="34" charset="0"/>
              </a:rPr>
              <a:t>Semantic layer data model will be enabled using either delta tables or materialized views as applicable</a:t>
            </a:r>
          </a:p>
          <a:p>
            <a:pPr marL="144000" indent="-144000">
              <a:spcBef>
                <a:spcPts val="600"/>
              </a:spcBef>
              <a:buFont typeface="Arial" panose="020B0604020202020204" pitchFamily="34" charset="0"/>
              <a:buChar char="•"/>
            </a:pPr>
            <a:r>
              <a:rPr lang="en-GB" sz="1200" b="0">
                <a:solidFill>
                  <a:srgbClr val="012354"/>
                </a:solidFill>
                <a:latin typeface="Aptos" panose="020B0004020202020204" pitchFamily="34" charset="0"/>
              </a:rPr>
              <a:t>DQ framework</a:t>
            </a:r>
            <a:r>
              <a:rPr lang="en-GB" sz="1200">
                <a:solidFill>
                  <a:srgbClr val="012354"/>
                </a:solidFill>
                <a:latin typeface="Aptos" panose="020B0004020202020204" pitchFamily="34" charset="0"/>
              </a:rPr>
              <a:t> will be built with “Great Expectations framework” for data quality, validation, monitoring, logging, and alerts</a:t>
            </a:r>
            <a:endParaRPr lang="en-GB" sz="1200" b="0">
              <a:solidFill>
                <a:srgbClr val="012354"/>
              </a:solidFill>
              <a:latin typeface="Aptos" panose="020B0004020202020204" pitchFamily="34" charset="0"/>
            </a:endParaRPr>
          </a:p>
        </p:txBody>
      </p:sp>
      <p:pic>
        <p:nvPicPr>
          <p:cNvPr id="9" name="Graphic 26" descr="Delivery with solid fill">
            <a:extLst>
              <a:ext uri="{FF2B5EF4-FFF2-40B4-BE49-F238E27FC236}">
                <a16:creationId xmlns:a16="http://schemas.microsoft.com/office/drawing/2014/main" id="{9C0C3934-2AFF-E1BF-9B03-443F22085B4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02898" y="2199315"/>
            <a:ext cx="487147" cy="419962"/>
          </a:xfrm>
          <a:prstGeom prst="rect">
            <a:avLst/>
          </a:prstGeom>
        </p:spPr>
      </p:pic>
      <p:pic>
        <p:nvPicPr>
          <p:cNvPr id="13" name="Graphic 20">
            <a:extLst>
              <a:ext uri="{FF2B5EF4-FFF2-40B4-BE49-F238E27FC236}">
                <a16:creationId xmlns:a16="http://schemas.microsoft.com/office/drawing/2014/main" id="{50FD7300-B9B6-E677-B243-274B18894B8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06371" y="3661173"/>
            <a:ext cx="484525" cy="340835"/>
          </a:xfrm>
          <a:prstGeom prst="rect">
            <a:avLst/>
          </a:prstGeom>
        </p:spPr>
      </p:pic>
      <p:pic>
        <p:nvPicPr>
          <p:cNvPr id="14" name="Graphic 22">
            <a:extLst>
              <a:ext uri="{FF2B5EF4-FFF2-40B4-BE49-F238E27FC236}">
                <a16:creationId xmlns:a16="http://schemas.microsoft.com/office/drawing/2014/main" id="{F47EBD54-4DE4-D240-98C8-D8BBC8F54B5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171056" y="3672721"/>
            <a:ext cx="484525" cy="340835"/>
          </a:xfrm>
          <a:prstGeom prst="rect">
            <a:avLst/>
          </a:prstGeom>
        </p:spPr>
      </p:pic>
      <p:pic>
        <p:nvPicPr>
          <p:cNvPr id="15" name="Picture 14" descr="Icon&#10;&#10;Description automatically generated">
            <a:extLst>
              <a:ext uri="{FF2B5EF4-FFF2-40B4-BE49-F238E27FC236}">
                <a16:creationId xmlns:a16="http://schemas.microsoft.com/office/drawing/2014/main" id="{11661A69-0FFA-2574-F54E-623E7EA812AF}"/>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8024219" y="2603261"/>
            <a:ext cx="397810" cy="279836"/>
          </a:xfrm>
          <a:prstGeom prst="rect">
            <a:avLst/>
          </a:prstGeom>
        </p:spPr>
      </p:pic>
      <p:cxnSp>
        <p:nvCxnSpPr>
          <p:cNvPr id="16" name="Connector: Elbow 38">
            <a:extLst>
              <a:ext uri="{FF2B5EF4-FFF2-40B4-BE49-F238E27FC236}">
                <a16:creationId xmlns:a16="http://schemas.microsoft.com/office/drawing/2014/main" id="{B6D542CA-256A-521B-6EDE-36DCBAD5C17B}"/>
              </a:ext>
            </a:extLst>
          </p:cNvPr>
          <p:cNvCxnSpPr>
            <a:stCxn id="13" idx="0"/>
            <a:endCxn id="15" idx="1"/>
          </p:cNvCxnSpPr>
          <p:nvPr/>
        </p:nvCxnSpPr>
        <p:spPr>
          <a:xfrm rot="5400000" flipH="1" flipV="1">
            <a:off x="7077429" y="2714384"/>
            <a:ext cx="917995" cy="975586"/>
          </a:xfrm>
          <a:prstGeom prst="bentConnector2">
            <a:avLst/>
          </a:prstGeom>
          <a:noFill/>
          <a:ln w="6350" cap="flat" cmpd="sng" algn="ctr">
            <a:solidFill>
              <a:sysClr val="windowText" lastClr="000000">
                <a:lumMod val="65000"/>
                <a:lumOff val="35000"/>
              </a:sysClr>
            </a:solidFill>
            <a:prstDash val="solid"/>
            <a:miter lim="800000"/>
            <a:tailEnd type="triangle"/>
          </a:ln>
          <a:effectLst/>
        </p:spPr>
      </p:cxnSp>
      <p:cxnSp>
        <p:nvCxnSpPr>
          <p:cNvPr id="17" name="Connector: Elbow 42">
            <a:extLst>
              <a:ext uri="{FF2B5EF4-FFF2-40B4-BE49-F238E27FC236}">
                <a16:creationId xmlns:a16="http://schemas.microsoft.com/office/drawing/2014/main" id="{B8F7EABC-FAD8-AF4C-35D1-7F946AC5EAD3}"/>
              </a:ext>
            </a:extLst>
          </p:cNvPr>
          <p:cNvCxnSpPr>
            <a:cxnSpLocks/>
            <a:stCxn id="15" idx="3"/>
            <a:endCxn id="14" idx="0"/>
          </p:cNvCxnSpPr>
          <p:nvPr/>
        </p:nvCxnSpPr>
        <p:spPr>
          <a:xfrm>
            <a:off x="8422029" y="2743179"/>
            <a:ext cx="991289" cy="929542"/>
          </a:xfrm>
          <a:prstGeom prst="bentConnector2">
            <a:avLst/>
          </a:prstGeom>
          <a:noFill/>
          <a:ln w="6350" cap="flat" cmpd="sng" algn="ctr">
            <a:solidFill>
              <a:sysClr val="windowText" lastClr="000000">
                <a:lumMod val="65000"/>
                <a:lumOff val="35000"/>
              </a:sysClr>
            </a:solidFill>
            <a:prstDash val="solid"/>
            <a:miter lim="800000"/>
            <a:tailEnd type="triangle"/>
          </a:ln>
          <a:effectLst/>
        </p:spPr>
      </p:cxnSp>
      <p:sp>
        <p:nvSpPr>
          <p:cNvPr id="22" name="TextBox 95">
            <a:extLst>
              <a:ext uri="{FF2B5EF4-FFF2-40B4-BE49-F238E27FC236}">
                <a16:creationId xmlns:a16="http://schemas.microsoft.com/office/drawing/2014/main" id="{3EC2AE66-21EE-8489-2876-2518F0FE4B27}"/>
              </a:ext>
            </a:extLst>
          </p:cNvPr>
          <p:cNvSpPr txBox="1"/>
          <p:nvPr/>
        </p:nvSpPr>
        <p:spPr>
          <a:xfrm>
            <a:off x="5795404" y="2240356"/>
            <a:ext cx="1627650" cy="25391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50" b="1">
                <a:solidFill>
                  <a:srgbClr val="012354"/>
                </a:solidFill>
                <a:latin typeface="Aptos" panose="020B0004020202020204" pitchFamily="34" charset="0"/>
              </a:rPr>
              <a:t>ORCHESTRATION</a:t>
            </a:r>
          </a:p>
        </p:txBody>
      </p:sp>
      <p:sp>
        <p:nvSpPr>
          <p:cNvPr id="23" name="TextBox 95">
            <a:extLst>
              <a:ext uri="{FF2B5EF4-FFF2-40B4-BE49-F238E27FC236}">
                <a16:creationId xmlns:a16="http://schemas.microsoft.com/office/drawing/2014/main" id="{F48F1BE6-A83B-FFF5-423E-64432D43ABCA}"/>
              </a:ext>
            </a:extLst>
          </p:cNvPr>
          <p:cNvSpPr txBox="1"/>
          <p:nvPr/>
        </p:nvSpPr>
        <p:spPr>
          <a:xfrm>
            <a:off x="6035904" y="3320340"/>
            <a:ext cx="1627650" cy="25391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50" b="1">
                <a:solidFill>
                  <a:srgbClr val="012354"/>
                </a:solidFill>
                <a:latin typeface="Aptos" panose="020B0004020202020204" pitchFamily="34" charset="0"/>
              </a:rPr>
              <a:t>STORAGE</a:t>
            </a:r>
          </a:p>
        </p:txBody>
      </p:sp>
      <p:sp>
        <p:nvSpPr>
          <p:cNvPr id="24" name="TextBox 95">
            <a:extLst>
              <a:ext uri="{FF2B5EF4-FFF2-40B4-BE49-F238E27FC236}">
                <a16:creationId xmlns:a16="http://schemas.microsoft.com/office/drawing/2014/main" id="{DEA336F5-CF53-784B-66EA-A4E7978DD9F6}"/>
              </a:ext>
            </a:extLst>
          </p:cNvPr>
          <p:cNvSpPr txBox="1"/>
          <p:nvPr/>
        </p:nvSpPr>
        <p:spPr>
          <a:xfrm>
            <a:off x="6664843" y="4023725"/>
            <a:ext cx="807263"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a:solidFill>
                  <a:srgbClr val="012354"/>
                </a:solidFill>
                <a:latin typeface="Aptos" panose="020B0004020202020204" pitchFamily="34" charset="0"/>
              </a:rPr>
              <a:t>Existing Data Lake</a:t>
            </a:r>
          </a:p>
        </p:txBody>
      </p:sp>
      <p:sp>
        <p:nvSpPr>
          <p:cNvPr id="25" name="TextBox 95">
            <a:extLst>
              <a:ext uri="{FF2B5EF4-FFF2-40B4-BE49-F238E27FC236}">
                <a16:creationId xmlns:a16="http://schemas.microsoft.com/office/drawing/2014/main" id="{198F248A-3246-9928-B07B-3D390C9F8D54}"/>
              </a:ext>
            </a:extLst>
          </p:cNvPr>
          <p:cNvSpPr txBox="1"/>
          <p:nvPr/>
        </p:nvSpPr>
        <p:spPr>
          <a:xfrm>
            <a:off x="9009686" y="4023725"/>
            <a:ext cx="807263"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a:solidFill>
                  <a:srgbClr val="012354"/>
                </a:solidFill>
                <a:latin typeface="Aptos" panose="020B0004020202020204" pitchFamily="34" charset="0"/>
              </a:rPr>
              <a:t>Semantic Layer</a:t>
            </a:r>
          </a:p>
        </p:txBody>
      </p:sp>
      <p:sp>
        <p:nvSpPr>
          <p:cNvPr id="26" name="TextBox 56">
            <a:extLst>
              <a:ext uri="{FF2B5EF4-FFF2-40B4-BE49-F238E27FC236}">
                <a16:creationId xmlns:a16="http://schemas.microsoft.com/office/drawing/2014/main" id="{54657FD8-49E8-AFA8-85FE-F2D628571D01}"/>
              </a:ext>
            </a:extLst>
          </p:cNvPr>
          <p:cNvSpPr txBox="1"/>
          <p:nvPr/>
        </p:nvSpPr>
        <p:spPr>
          <a:xfrm>
            <a:off x="7048634" y="2856946"/>
            <a:ext cx="2364684" cy="338554"/>
          </a:xfrm>
          <a:prstGeom prst="rect">
            <a:avLst/>
          </a:prstGeom>
          <a:noFill/>
        </p:spPr>
        <p:txBody>
          <a:bodyPr wrap="square" rtlCol="0">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012354"/>
                </a:solidFill>
                <a:effectLst/>
                <a:uLnTx/>
                <a:uFillTx/>
                <a:latin typeface="Aptos" panose="020B0004020202020204" pitchFamily="34" charset="0"/>
                <a:cs typeface="Arial" panose="020B0604020202020204" pitchFamily="34" charset="0"/>
              </a:rPr>
              <a:t>Data Standardization , Transformations, pipeline orchestrations</a:t>
            </a:r>
          </a:p>
        </p:txBody>
      </p:sp>
      <p:sp>
        <p:nvSpPr>
          <p:cNvPr id="34" name="TextBox 56">
            <a:extLst>
              <a:ext uri="{FF2B5EF4-FFF2-40B4-BE49-F238E27FC236}">
                <a16:creationId xmlns:a16="http://schemas.microsoft.com/office/drawing/2014/main" id="{E361EAB2-1E20-5E9E-3D28-86DB9E62AD1C}"/>
              </a:ext>
            </a:extLst>
          </p:cNvPr>
          <p:cNvSpPr txBox="1"/>
          <p:nvPr/>
        </p:nvSpPr>
        <p:spPr>
          <a:xfrm>
            <a:off x="7397667" y="4434381"/>
            <a:ext cx="1906604" cy="215444"/>
          </a:xfrm>
          <a:prstGeom prst="rect">
            <a:avLst/>
          </a:prstGeom>
          <a:noFill/>
        </p:spPr>
        <p:txBody>
          <a:bodyPr wrap="square" rtlCol="0">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012354"/>
                </a:solidFill>
                <a:effectLst/>
                <a:uLnTx/>
                <a:uFillTx/>
                <a:latin typeface="Aptos" panose="020B0004020202020204" pitchFamily="34" charset="0"/>
                <a:cs typeface="Arial" panose="020B0604020202020204" pitchFamily="34" charset="0"/>
              </a:rPr>
              <a:t>DQ Framework</a:t>
            </a:r>
          </a:p>
        </p:txBody>
      </p:sp>
      <p:sp>
        <p:nvSpPr>
          <p:cNvPr id="36" name="Rectangle 35">
            <a:extLst>
              <a:ext uri="{FF2B5EF4-FFF2-40B4-BE49-F238E27FC236}">
                <a16:creationId xmlns:a16="http://schemas.microsoft.com/office/drawing/2014/main" id="{2A5AA18E-BAB1-C1C8-9E40-82CE97830AFA}"/>
              </a:ext>
            </a:extLst>
          </p:cNvPr>
          <p:cNvSpPr/>
          <p:nvPr/>
        </p:nvSpPr>
        <p:spPr>
          <a:xfrm>
            <a:off x="7397667" y="4697419"/>
            <a:ext cx="1777436" cy="777348"/>
          </a:xfrm>
          <a:prstGeom prst="rect">
            <a:avLst/>
          </a:prstGeom>
          <a:noFill/>
          <a:ln w="12700" cap="flat" cmpd="sng" algn="ctr">
            <a:noFill/>
            <a:prstDash val="solid"/>
            <a:miter lim="800000"/>
          </a:ln>
          <a:effectLst/>
        </p:spPr>
        <p:txBody>
          <a:bodyPr rtlCol="0" anchor="ct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12354"/>
              </a:solidFill>
              <a:effectLst/>
              <a:uLnTx/>
              <a:uFillTx/>
              <a:latin typeface="Aptos" panose="020B0004020202020204" pitchFamily="34" charset="0"/>
            </a:endParaRPr>
          </a:p>
        </p:txBody>
      </p:sp>
      <p:pic>
        <p:nvPicPr>
          <p:cNvPr id="37" name="Picture 36" descr="Icon&#10;&#10;Description automatically generated">
            <a:extLst>
              <a:ext uri="{FF2B5EF4-FFF2-40B4-BE49-F238E27FC236}">
                <a16:creationId xmlns:a16="http://schemas.microsoft.com/office/drawing/2014/main" id="{3B9E8576-4F72-1584-FA72-B5C10872687E}"/>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7923624" y="4965360"/>
            <a:ext cx="498405" cy="350599"/>
          </a:xfrm>
          <a:prstGeom prst="rect">
            <a:avLst/>
          </a:prstGeom>
        </p:spPr>
      </p:pic>
      <p:pic>
        <p:nvPicPr>
          <p:cNvPr id="38" name="Picture 37">
            <a:extLst>
              <a:ext uri="{FF2B5EF4-FFF2-40B4-BE49-F238E27FC236}">
                <a16:creationId xmlns:a16="http://schemas.microsoft.com/office/drawing/2014/main" id="{F32FBBB2-9B7E-716B-71C8-734D2C9615D9}"/>
              </a:ext>
            </a:extLst>
          </p:cNvPr>
          <p:cNvPicPr>
            <a:picLocks noChangeAspect="1" noChangeArrowheads="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7752271" y="4733800"/>
            <a:ext cx="1068227" cy="147585"/>
          </a:xfrm>
          <a:prstGeom prst="rect">
            <a:avLst/>
          </a:prstGeom>
          <a:noFill/>
          <a:extLst>
            <a:ext uri="{909E8E84-426E-40DD-AFC4-6F175D3DCCD1}">
              <a14:hiddenFill xmlns:a14="http://schemas.microsoft.com/office/drawing/2010/main">
                <a:solidFill>
                  <a:srgbClr val="FFFFFF"/>
                </a:solidFill>
              </a14:hiddenFill>
            </a:ext>
          </a:extLst>
        </p:spPr>
      </p:pic>
      <p:sp>
        <p:nvSpPr>
          <p:cNvPr id="12" name="Title 1">
            <a:extLst>
              <a:ext uri="{FF2B5EF4-FFF2-40B4-BE49-F238E27FC236}">
                <a16:creationId xmlns:a16="http://schemas.microsoft.com/office/drawing/2014/main" id="{45CAD14A-A6CD-909A-D390-EFFECAA978CC}"/>
              </a:ext>
            </a:extLst>
          </p:cNvPr>
          <p:cNvSpPr txBox="1">
            <a:spLocks/>
          </p:cNvSpPr>
          <p:nvPr/>
        </p:nvSpPr>
        <p:spPr>
          <a:xfrm>
            <a:off x="288555" y="299392"/>
            <a:ext cx="11606656" cy="386603"/>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73152" rIns="0" bIns="0"/>
          <a:lstStyle>
            <a:lvl1pPr marL="0" marR="0" indent="0" algn="l" defTabSz="1218948" rtl="0" eaLnBrk="1" latinLnBrk="0" hangingPunct="1">
              <a:lnSpc>
                <a:spcPct val="80000"/>
              </a:lnSpc>
              <a:spcBef>
                <a:spcPts val="0"/>
              </a:spcBef>
              <a:spcAft>
                <a:spcPts val="0"/>
              </a:spcAft>
              <a:buClrTx/>
              <a:buSzTx/>
              <a:buFontTx/>
              <a:buNone/>
              <a:tabLst/>
              <a:defRPr sz="3500" b="0" i="0" u="none" strike="noStrike" cap="none" spc="0" baseline="0">
                <a:solidFill>
                  <a:schemeClr val="bg1"/>
                </a:solidFill>
                <a:uFillTx/>
                <a:latin typeface="Aptos Light" panose="020B0004020202020204" pitchFamily="34" charset="0"/>
                <a:ea typeface="+mj-ea"/>
                <a:cs typeface="+mj-cs"/>
                <a:sym typeface="IBM Plex Sans Light"/>
              </a:defRPr>
            </a:lvl1pPr>
            <a:lvl2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7"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5"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1"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88"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r>
              <a:rPr lang="en-US" kern="0">
                <a:solidFill>
                  <a:srgbClr val="002060"/>
                </a:solidFill>
                <a:latin typeface="Aptos" panose="020B0004020202020204" pitchFamily="34" charset="0"/>
              </a:rPr>
              <a:t>Data Transformation from Existing Data Lake to Semantic Layer </a:t>
            </a:r>
            <a:endParaRPr lang="en-IN" kern="0">
              <a:solidFill>
                <a:srgbClr val="002060"/>
              </a:solidFill>
              <a:latin typeface="Aptos" panose="020B0004020202020204" pitchFamily="34" charset="0"/>
            </a:endParaRPr>
          </a:p>
        </p:txBody>
      </p:sp>
    </p:spTree>
    <p:extLst>
      <p:ext uri="{BB962C8B-B14F-4D97-AF65-F5344CB8AC3E}">
        <p14:creationId xmlns:p14="http://schemas.microsoft.com/office/powerpoint/2010/main" val="237530270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07B7E6-3D1C-849C-87E0-AACDBB3AFDC1}"/>
              </a:ext>
            </a:extLst>
          </p:cNvPr>
          <p:cNvSpPr>
            <a:spLocks noGrp="1"/>
          </p:cNvSpPr>
          <p:nvPr>
            <p:ph type="title"/>
          </p:nvPr>
        </p:nvSpPr>
        <p:spPr/>
        <p:txBody>
          <a:bodyPr/>
          <a:lstStyle/>
          <a:p>
            <a:r>
              <a:rPr lang="en-US">
                <a:solidFill>
                  <a:schemeClr val="bg1"/>
                </a:solidFill>
                <a:latin typeface="Aptos" panose="020B0004020202020204" pitchFamily="34" charset="0"/>
              </a:rPr>
              <a:t>Consumption - Power BI Connection with Databricks </a:t>
            </a:r>
            <a:br>
              <a:rPr lang="en-US">
                <a:solidFill>
                  <a:schemeClr val="bg1"/>
                </a:solidFill>
                <a:latin typeface="Aptos" panose="020B0004020202020204" pitchFamily="34" charset="0"/>
              </a:rPr>
            </a:br>
            <a:r>
              <a:rPr lang="en-US">
                <a:solidFill>
                  <a:schemeClr val="bg1"/>
                </a:solidFill>
                <a:latin typeface="Aptos" panose="020B0004020202020204" pitchFamily="34" charset="0"/>
              </a:rPr>
              <a:t>Unity Catalog</a:t>
            </a:r>
            <a:endParaRPr lang="en-IN">
              <a:solidFill>
                <a:schemeClr val="bg1"/>
              </a:solidFill>
              <a:latin typeface="Aptos" panose="020B0004020202020204" pitchFamily="34" charset="0"/>
            </a:endParaRPr>
          </a:p>
        </p:txBody>
      </p:sp>
      <p:sp>
        <p:nvSpPr>
          <p:cNvPr id="4" name="Rectangle 3">
            <a:extLst>
              <a:ext uri="{FF2B5EF4-FFF2-40B4-BE49-F238E27FC236}">
                <a16:creationId xmlns:a16="http://schemas.microsoft.com/office/drawing/2014/main" id="{D58CCDAA-CE82-0DAD-03FB-AB1BA2469D6C}"/>
              </a:ext>
            </a:extLst>
          </p:cNvPr>
          <p:cNvSpPr/>
          <p:nvPr/>
        </p:nvSpPr>
        <p:spPr>
          <a:xfrm>
            <a:off x="343521" y="1574934"/>
            <a:ext cx="2286000" cy="27209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400">
                <a:solidFill>
                  <a:schemeClr val="bg1"/>
                </a:solidFill>
                <a:latin typeface="Aptos" panose="020B0004020202020204" pitchFamily="34" charset="0"/>
              </a:rPr>
              <a:t>Databricks Data Catalog</a:t>
            </a:r>
            <a:endParaRPr lang="en-IN" sz="1400">
              <a:solidFill>
                <a:schemeClr val="bg1"/>
              </a:solidFill>
              <a:latin typeface="Aptos" panose="020B0004020202020204" pitchFamily="34" charset="0"/>
            </a:endParaRPr>
          </a:p>
        </p:txBody>
      </p:sp>
      <p:pic>
        <p:nvPicPr>
          <p:cNvPr id="30" name="Picture 29">
            <a:extLst>
              <a:ext uri="{FF2B5EF4-FFF2-40B4-BE49-F238E27FC236}">
                <a16:creationId xmlns:a16="http://schemas.microsoft.com/office/drawing/2014/main" id="{23460DDA-6E38-905B-4639-23B877983380}"/>
              </a:ext>
            </a:extLst>
          </p:cNvPr>
          <p:cNvPicPr>
            <a:picLocks noChangeAspect="1"/>
          </p:cNvPicPr>
          <p:nvPr/>
        </p:nvPicPr>
        <p:blipFill>
          <a:blip r:embed="rId2"/>
          <a:stretch>
            <a:fillRect/>
          </a:stretch>
        </p:blipFill>
        <p:spPr>
          <a:xfrm>
            <a:off x="7444181" y="1908622"/>
            <a:ext cx="2608385" cy="1694036"/>
          </a:xfrm>
          <a:prstGeom prst="rect">
            <a:avLst/>
          </a:prstGeom>
        </p:spPr>
      </p:pic>
      <p:pic>
        <p:nvPicPr>
          <p:cNvPr id="32" name="Picture 31">
            <a:extLst>
              <a:ext uri="{FF2B5EF4-FFF2-40B4-BE49-F238E27FC236}">
                <a16:creationId xmlns:a16="http://schemas.microsoft.com/office/drawing/2014/main" id="{A336EC7D-F246-3C2D-4DF6-FDF3868E4C03}"/>
              </a:ext>
            </a:extLst>
          </p:cNvPr>
          <p:cNvPicPr>
            <a:picLocks noChangeAspect="1"/>
          </p:cNvPicPr>
          <p:nvPr/>
        </p:nvPicPr>
        <p:blipFill>
          <a:blip r:embed="rId3"/>
          <a:stretch>
            <a:fillRect/>
          </a:stretch>
        </p:blipFill>
        <p:spPr>
          <a:xfrm>
            <a:off x="342900" y="1948885"/>
            <a:ext cx="3247884" cy="2680793"/>
          </a:xfrm>
          <a:prstGeom prst="rect">
            <a:avLst/>
          </a:prstGeom>
          <a:ln>
            <a:solidFill>
              <a:schemeClr val="tx1">
                <a:lumMod val="50000"/>
              </a:schemeClr>
            </a:solidFill>
          </a:ln>
        </p:spPr>
      </p:pic>
      <p:pic>
        <p:nvPicPr>
          <p:cNvPr id="33" name="Picture 32">
            <a:extLst>
              <a:ext uri="{FF2B5EF4-FFF2-40B4-BE49-F238E27FC236}">
                <a16:creationId xmlns:a16="http://schemas.microsoft.com/office/drawing/2014/main" id="{ACBABCC1-7AF9-29BE-79BA-3E9071AD81D6}"/>
              </a:ext>
            </a:extLst>
          </p:cNvPr>
          <p:cNvPicPr>
            <a:picLocks noChangeAspect="1"/>
          </p:cNvPicPr>
          <p:nvPr/>
        </p:nvPicPr>
        <p:blipFill>
          <a:blip r:embed="rId4"/>
          <a:stretch>
            <a:fillRect/>
          </a:stretch>
        </p:blipFill>
        <p:spPr>
          <a:xfrm>
            <a:off x="4221738" y="1908622"/>
            <a:ext cx="2700050" cy="1694037"/>
          </a:xfrm>
          <a:prstGeom prst="rect">
            <a:avLst/>
          </a:prstGeom>
        </p:spPr>
      </p:pic>
      <p:sp>
        <p:nvSpPr>
          <p:cNvPr id="34" name="Arrow: Right 33">
            <a:extLst>
              <a:ext uri="{FF2B5EF4-FFF2-40B4-BE49-F238E27FC236}">
                <a16:creationId xmlns:a16="http://schemas.microsoft.com/office/drawing/2014/main" id="{ED7BE3F9-56F8-6087-D50C-BF7A79E30F68}"/>
              </a:ext>
            </a:extLst>
          </p:cNvPr>
          <p:cNvSpPr/>
          <p:nvPr/>
        </p:nvSpPr>
        <p:spPr>
          <a:xfrm>
            <a:off x="3849726" y="2630189"/>
            <a:ext cx="221631" cy="250902"/>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solidFill>
                <a:srgbClr val="012354"/>
              </a:solidFill>
              <a:latin typeface="Aptos" panose="020B0004020202020204" pitchFamily="34" charset="0"/>
            </a:endParaRPr>
          </a:p>
        </p:txBody>
      </p:sp>
      <p:sp>
        <p:nvSpPr>
          <p:cNvPr id="35" name="Arrow: Right 34">
            <a:extLst>
              <a:ext uri="{FF2B5EF4-FFF2-40B4-BE49-F238E27FC236}">
                <a16:creationId xmlns:a16="http://schemas.microsoft.com/office/drawing/2014/main" id="{0E8696A8-4926-65E2-F3C2-933C10846DA1}"/>
              </a:ext>
            </a:extLst>
          </p:cNvPr>
          <p:cNvSpPr/>
          <p:nvPr/>
        </p:nvSpPr>
        <p:spPr>
          <a:xfrm>
            <a:off x="7072169" y="2630189"/>
            <a:ext cx="221631" cy="250902"/>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solidFill>
                <a:srgbClr val="012354"/>
              </a:solidFill>
              <a:latin typeface="Aptos" panose="020B0004020202020204" pitchFamily="34" charset="0"/>
            </a:endParaRPr>
          </a:p>
        </p:txBody>
      </p:sp>
      <p:sp>
        <p:nvSpPr>
          <p:cNvPr id="36" name="Arrow: Right 35">
            <a:extLst>
              <a:ext uri="{FF2B5EF4-FFF2-40B4-BE49-F238E27FC236}">
                <a16:creationId xmlns:a16="http://schemas.microsoft.com/office/drawing/2014/main" id="{A8E4AB95-BFB6-7C03-E888-C983CC9E1CC4}"/>
              </a:ext>
            </a:extLst>
          </p:cNvPr>
          <p:cNvSpPr/>
          <p:nvPr/>
        </p:nvSpPr>
        <p:spPr>
          <a:xfrm>
            <a:off x="10210536" y="2630189"/>
            <a:ext cx="221631" cy="250902"/>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solidFill>
                <a:srgbClr val="012354"/>
              </a:solidFill>
              <a:latin typeface="Aptos" panose="020B0004020202020204" pitchFamily="34" charset="0"/>
            </a:endParaRPr>
          </a:p>
        </p:txBody>
      </p:sp>
      <p:pic>
        <p:nvPicPr>
          <p:cNvPr id="37" name="Picture 36">
            <a:extLst>
              <a:ext uri="{FF2B5EF4-FFF2-40B4-BE49-F238E27FC236}">
                <a16:creationId xmlns:a16="http://schemas.microsoft.com/office/drawing/2014/main" id="{72ED42BF-D974-F5A0-D7DC-E900C910DA1F}"/>
              </a:ext>
            </a:extLst>
          </p:cNvPr>
          <p:cNvPicPr>
            <a:picLocks noChangeAspect="1"/>
          </p:cNvPicPr>
          <p:nvPr/>
        </p:nvPicPr>
        <p:blipFill>
          <a:blip r:embed="rId5"/>
          <a:stretch>
            <a:fillRect/>
          </a:stretch>
        </p:blipFill>
        <p:spPr>
          <a:xfrm>
            <a:off x="10544544" y="2499406"/>
            <a:ext cx="1304555" cy="512468"/>
          </a:xfrm>
          <a:prstGeom prst="rect">
            <a:avLst/>
          </a:prstGeom>
        </p:spPr>
      </p:pic>
      <p:sp>
        <p:nvSpPr>
          <p:cNvPr id="38" name="Rectangle 37">
            <a:extLst>
              <a:ext uri="{FF2B5EF4-FFF2-40B4-BE49-F238E27FC236}">
                <a16:creationId xmlns:a16="http://schemas.microsoft.com/office/drawing/2014/main" id="{FBEB088F-710F-CB71-D42E-2FA686C7C5E0}"/>
              </a:ext>
            </a:extLst>
          </p:cNvPr>
          <p:cNvSpPr/>
          <p:nvPr/>
        </p:nvSpPr>
        <p:spPr>
          <a:xfrm>
            <a:off x="342900" y="4792595"/>
            <a:ext cx="11517758" cy="162281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spcAft>
                <a:spcPts val="200"/>
              </a:spcAft>
            </a:pPr>
            <a:r>
              <a:rPr lang="en-US" sz="1200" b="1">
                <a:solidFill>
                  <a:schemeClr val="bg1"/>
                </a:solidFill>
                <a:latin typeface="Aptos SemiBold" panose="020B0004020202020204" pitchFamily="34" charset="0"/>
              </a:rPr>
              <a:t>Using Delta Live Tables offers the following benefits:</a:t>
            </a:r>
            <a:endParaRPr lang="en-US" sz="1100">
              <a:solidFill>
                <a:schemeClr val="bg1"/>
              </a:solidFill>
              <a:latin typeface="Aptos" panose="020B0004020202020204" pitchFamily="34" charset="0"/>
            </a:endParaRPr>
          </a:p>
          <a:p>
            <a:pPr marL="171450" indent="-171450">
              <a:spcAft>
                <a:spcPts val="200"/>
              </a:spcAft>
              <a:buFont typeface="Arial" panose="020B0604020202020204" pitchFamily="34" charset="0"/>
              <a:buChar char="•"/>
            </a:pPr>
            <a:r>
              <a:rPr lang="en-US" sz="1100">
                <a:solidFill>
                  <a:schemeClr val="bg1"/>
                </a:solidFill>
                <a:latin typeface="Aptos Light" panose="020B0004020202020204" pitchFamily="34" charset="0"/>
              </a:rPr>
              <a:t>Declarative pipeline development, improved data reliability, and cloud-scale production operations. Users can perform both batch and streaming operations on the same table and the data is immediately available for querying. </a:t>
            </a:r>
          </a:p>
          <a:p>
            <a:pPr marL="171450" indent="-171450">
              <a:spcAft>
                <a:spcPts val="200"/>
              </a:spcAft>
              <a:buFont typeface="Arial" panose="020B0604020202020204" pitchFamily="34" charset="0"/>
              <a:buChar char="•"/>
            </a:pPr>
            <a:r>
              <a:rPr lang="en-US" sz="1100">
                <a:solidFill>
                  <a:schemeClr val="bg1"/>
                </a:solidFill>
                <a:latin typeface="Aptos Light" panose="020B0004020202020204" pitchFamily="34" charset="0"/>
              </a:rPr>
              <a:t>Support for streaming to provide fresh and up-to-date data by only processing new data</a:t>
            </a:r>
          </a:p>
          <a:p>
            <a:pPr marL="171450" indent="-171450">
              <a:spcAft>
                <a:spcPts val="200"/>
              </a:spcAft>
              <a:buFont typeface="Arial" panose="020B0604020202020204" pitchFamily="34" charset="0"/>
              <a:buChar char="•"/>
            </a:pPr>
            <a:r>
              <a:rPr lang="en-US" sz="1100">
                <a:solidFill>
                  <a:schemeClr val="bg1"/>
                </a:solidFill>
                <a:latin typeface="Aptos Light" panose="020B0004020202020204" pitchFamily="34" charset="0"/>
              </a:rPr>
              <a:t>Have confidence in your data with built-in data quality testing and monitoring</a:t>
            </a:r>
          </a:p>
          <a:p>
            <a:pPr marL="171450" indent="-171450">
              <a:spcAft>
                <a:spcPts val="200"/>
              </a:spcAft>
              <a:buFont typeface="Arial" panose="020B0604020202020204" pitchFamily="34" charset="0"/>
              <a:buChar char="•"/>
            </a:pPr>
            <a:r>
              <a:rPr lang="en-US" sz="1100">
                <a:solidFill>
                  <a:schemeClr val="bg1"/>
                </a:solidFill>
                <a:latin typeface="Aptos Light" panose="020B0004020202020204" pitchFamily="34" charset="0"/>
              </a:rPr>
              <a:t>Automatically generated lineage graph between all tables</a:t>
            </a:r>
          </a:p>
          <a:p>
            <a:pPr marL="171450" indent="-171450">
              <a:spcAft>
                <a:spcPts val="200"/>
              </a:spcAft>
              <a:buFont typeface="Arial" panose="020B0604020202020204" pitchFamily="34" charset="0"/>
              <a:buChar char="•"/>
            </a:pPr>
            <a:r>
              <a:rPr lang="en-US" sz="1100">
                <a:solidFill>
                  <a:schemeClr val="bg1"/>
                </a:solidFill>
                <a:latin typeface="Aptos Light" panose="020B0004020202020204" pitchFamily="34" charset="0"/>
              </a:rPr>
              <a:t>Automated management and auto-scaling of the clusters to run the pipeline</a:t>
            </a:r>
            <a:endParaRPr lang="en-IN" sz="1100">
              <a:solidFill>
                <a:schemeClr val="bg1"/>
              </a:solidFill>
              <a:latin typeface="Aptos Light" panose="020B0004020202020204" pitchFamily="34" charset="0"/>
            </a:endParaRPr>
          </a:p>
        </p:txBody>
      </p:sp>
      <p:pic>
        <p:nvPicPr>
          <p:cNvPr id="1026" name="Picture 2" descr="Power BI icon PNG and SVG Vector Free Download">
            <a:extLst>
              <a:ext uri="{FF2B5EF4-FFF2-40B4-BE49-F238E27FC236}">
                <a16:creationId xmlns:a16="http://schemas.microsoft.com/office/drawing/2014/main" id="{E25B0068-608B-4EEF-3AF6-C50A6D745DB6}"/>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384408" y="1550357"/>
            <a:ext cx="376398" cy="256639"/>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B4E1CD77-3795-DBBF-C2D4-7D27ED1C924F}"/>
              </a:ext>
            </a:extLst>
          </p:cNvPr>
          <p:cNvSpPr txBox="1"/>
          <p:nvPr/>
        </p:nvSpPr>
        <p:spPr>
          <a:xfrm>
            <a:off x="7572607" y="1539250"/>
            <a:ext cx="2209336" cy="307777"/>
          </a:xfrm>
          <a:prstGeom prst="rect">
            <a:avLst/>
          </a:prstGeom>
          <a:noFill/>
        </p:spPr>
        <p:txBody>
          <a:bodyPr wrap="square" rtlCol="0">
            <a:spAutoFit/>
          </a:bodyPr>
          <a:lstStyle/>
          <a:p>
            <a:pPr algn="ctr"/>
            <a:r>
              <a:rPr lang="en-US" sz="1400">
                <a:solidFill>
                  <a:schemeClr val="bg1"/>
                </a:solidFill>
                <a:latin typeface="Aptos" panose="020B0004020202020204" pitchFamily="34" charset="0"/>
              </a:rPr>
              <a:t>Power BI Report Model</a:t>
            </a:r>
            <a:endParaRPr lang="en-IN" sz="1400">
              <a:solidFill>
                <a:schemeClr val="bg1"/>
              </a:solidFill>
              <a:latin typeface="Aptos" panose="020B0004020202020204" pitchFamily="34" charset="0"/>
            </a:endParaRPr>
          </a:p>
        </p:txBody>
      </p:sp>
      <p:cxnSp>
        <p:nvCxnSpPr>
          <p:cNvPr id="9" name="Straight Connector 8">
            <a:extLst>
              <a:ext uri="{FF2B5EF4-FFF2-40B4-BE49-F238E27FC236}">
                <a16:creationId xmlns:a16="http://schemas.microsoft.com/office/drawing/2014/main" id="{9ADB6D5C-6A3B-98FF-A085-DE17B1C0B648}"/>
              </a:ext>
            </a:extLst>
          </p:cNvPr>
          <p:cNvCxnSpPr>
            <a:cxnSpLocks/>
          </p:cNvCxnSpPr>
          <p:nvPr/>
        </p:nvCxnSpPr>
        <p:spPr bwMode="auto">
          <a:xfrm>
            <a:off x="331749" y="4751201"/>
            <a:ext cx="11377032" cy="0"/>
          </a:xfrm>
          <a:prstGeom prst="line">
            <a:avLst/>
          </a:prstGeom>
          <a:ln w="9525">
            <a:solidFill>
              <a:srgbClr val="012354">
                <a:alpha val="36000"/>
              </a:srgb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Rectangle 5">
            <a:extLst>
              <a:ext uri="{FF2B5EF4-FFF2-40B4-BE49-F238E27FC236}">
                <a16:creationId xmlns:a16="http://schemas.microsoft.com/office/drawing/2014/main" id="{C5E0078A-AB47-84D7-4989-DF3A2DC7A051}"/>
              </a:ext>
            </a:extLst>
          </p:cNvPr>
          <p:cNvSpPr/>
          <p:nvPr/>
        </p:nvSpPr>
        <p:spPr>
          <a:xfrm>
            <a:off x="4221738" y="1574934"/>
            <a:ext cx="2286000" cy="27209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400">
                <a:solidFill>
                  <a:schemeClr val="bg1"/>
                </a:solidFill>
                <a:latin typeface="Aptos" panose="020B0004020202020204" pitchFamily="34" charset="0"/>
              </a:rPr>
              <a:t>Data Governance</a:t>
            </a:r>
            <a:endParaRPr lang="en-IN" sz="1400">
              <a:solidFill>
                <a:schemeClr val="bg1"/>
              </a:solidFill>
              <a:latin typeface="Aptos" panose="020B0004020202020204" pitchFamily="34" charset="0"/>
            </a:endParaRPr>
          </a:p>
        </p:txBody>
      </p:sp>
    </p:spTree>
    <p:extLst>
      <p:ext uri="{BB962C8B-B14F-4D97-AF65-F5344CB8AC3E}">
        <p14:creationId xmlns:p14="http://schemas.microsoft.com/office/powerpoint/2010/main" val="117198622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530AB6DB-27A6-8A45-2C47-84DFB7A79C5C}"/>
              </a:ext>
            </a:extLst>
          </p:cNvPr>
          <p:cNvSpPr txBox="1">
            <a:spLocks/>
          </p:cNvSpPr>
          <p:nvPr/>
        </p:nvSpPr>
        <p:spPr>
          <a:xfrm>
            <a:off x="288555" y="299392"/>
            <a:ext cx="11606656" cy="38660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73152" rIns="0" bIns="0"/>
          <a:lstStyle>
            <a:lvl1pPr marL="0" marR="0" indent="0" algn="l" defTabSz="1218948" rtl="0" eaLnBrk="1" latinLnBrk="0" hangingPunct="1">
              <a:lnSpc>
                <a:spcPct val="80000"/>
              </a:lnSpc>
              <a:spcBef>
                <a:spcPts val="0"/>
              </a:spcBef>
              <a:spcAft>
                <a:spcPts val="0"/>
              </a:spcAft>
              <a:buClrTx/>
              <a:buSzTx/>
              <a:buFontTx/>
              <a:buNone/>
              <a:tabLst/>
              <a:defRPr sz="3500" b="0" i="0" u="none" strike="noStrike" cap="none" spc="0" baseline="0">
                <a:solidFill>
                  <a:schemeClr val="bg1"/>
                </a:solidFill>
                <a:uFillTx/>
                <a:latin typeface="Aptos Light" panose="020B0004020202020204" pitchFamily="34" charset="0"/>
                <a:ea typeface="+mj-ea"/>
                <a:cs typeface="+mj-cs"/>
                <a:sym typeface="IBM Plex Sans Light"/>
              </a:defRPr>
            </a:lvl1pPr>
            <a:lvl2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7"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5"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1"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88"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r>
              <a:rPr lang="en-US" kern="0">
                <a:solidFill>
                  <a:srgbClr val="002060"/>
                </a:solidFill>
                <a:latin typeface="+mj-lt"/>
              </a:rPr>
              <a:t>Performance of Power BI</a:t>
            </a:r>
          </a:p>
        </p:txBody>
      </p:sp>
      <p:sp>
        <p:nvSpPr>
          <p:cNvPr id="20" name="Text Placeholder 19">
            <a:extLst>
              <a:ext uri="{FF2B5EF4-FFF2-40B4-BE49-F238E27FC236}">
                <a16:creationId xmlns:a16="http://schemas.microsoft.com/office/drawing/2014/main" id="{3DDB0C72-E351-8FF9-E721-6636F7EE8593}"/>
              </a:ext>
            </a:extLst>
          </p:cNvPr>
          <p:cNvSpPr>
            <a:spLocks noGrp="1"/>
          </p:cNvSpPr>
          <p:nvPr>
            <p:ph type="body" sz="quarter" idx="11"/>
          </p:nvPr>
        </p:nvSpPr>
        <p:spPr>
          <a:solidFill>
            <a:srgbClr val="F4F7F9"/>
          </a:solidFill>
        </p:spPr>
        <p:txBody>
          <a:bodyPr lIns="144000" tIns="108000" rIns="180000"/>
          <a:lstStyle/>
          <a:p>
            <a:pPr>
              <a:spcAft>
                <a:spcPts val="600"/>
              </a:spcAft>
            </a:pPr>
            <a:r>
              <a:rPr lang="en-US" b="1">
                <a:solidFill>
                  <a:schemeClr val="bg1"/>
                </a:solidFill>
                <a:latin typeface="Aptos" panose="020B0004020202020204" pitchFamily="34" charset="0"/>
              </a:rPr>
              <a:t>Data Set Size Limit</a:t>
            </a:r>
          </a:p>
          <a:p>
            <a:pPr marL="457200" indent="-457200">
              <a:buFont typeface="Arial" panose="020B0604020202020204" pitchFamily="34" charset="0"/>
              <a:buChar char="•"/>
            </a:pPr>
            <a:r>
              <a:rPr lang="en-US" sz="1400">
                <a:solidFill>
                  <a:schemeClr val="bg1"/>
                </a:solidFill>
              </a:rPr>
              <a:t>Power BI Pro has a 1 GB per dataset limit when using Import mode.</a:t>
            </a:r>
          </a:p>
          <a:p>
            <a:pPr marL="457200" indent="-457200">
              <a:buFont typeface="Arial" panose="020B0604020202020204" pitchFamily="34" charset="0"/>
              <a:buChar char="•"/>
            </a:pPr>
            <a:r>
              <a:rPr lang="en-US" sz="1400">
                <a:solidFill>
                  <a:schemeClr val="bg1"/>
                </a:solidFill>
              </a:rPr>
              <a:t>Performance issues can arise if the dataset approaches this limit due to heavy aggregations, relationships, or inefficient modeling.</a:t>
            </a:r>
          </a:p>
          <a:p>
            <a:pPr>
              <a:spcAft>
                <a:spcPts val="600"/>
              </a:spcAft>
            </a:pPr>
            <a:endParaRPr lang="en-US" b="1">
              <a:solidFill>
                <a:schemeClr val="bg1"/>
              </a:solidFill>
              <a:latin typeface="Aptos" panose="020B0004020202020204" pitchFamily="34" charset="0"/>
            </a:endParaRPr>
          </a:p>
        </p:txBody>
      </p:sp>
      <p:sp>
        <p:nvSpPr>
          <p:cNvPr id="23" name="Text Placeholder 19">
            <a:extLst>
              <a:ext uri="{FF2B5EF4-FFF2-40B4-BE49-F238E27FC236}">
                <a16:creationId xmlns:a16="http://schemas.microsoft.com/office/drawing/2014/main" id="{924F5A0F-146C-9E52-AAA4-3722D5B30189}"/>
              </a:ext>
            </a:extLst>
          </p:cNvPr>
          <p:cNvSpPr txBox="1">
            <a:spLocks/>
          </p:cNvSpPr>
          <p:nvPr/>
        </p:nvSpPr>
        <p:spPr>
          <a:xfrm>
            <a:off x="4261419" y="1221441"/>
            <a:ext cx="3673748" cy="4938059"/>
          </a:xfrm>
          <a:prstGeom prst="rect">
            <a:avLst/>
          </a:prstGeom>
          <a:solidFill>
            <a:srgbClr val="FFF1EC"/>
          </a:solidFill>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144000" tIns="108000" rIns="180000" bIns="0"/>
          <a:lstStyle>
            <a:lvl1pPr marL="0" marR="0" indent="0" algn="l" defTabSz="1218948" rtl="0" eaLnBrk="1" latinLnBrk="0" hangingPunct="1">
              <a:lnSpc>
                <a:spcPct val="110000"/>
              </a:lnSpc>
              <a:spcBef>
                <a:spcPts val="0"/>
              </a:spcBef>
              <a:spcAft>
                <a:spcPts val="0"/>
              </a:spcAft>
              <a:buClrTx/>
              <a:buSzTx/>
              <a:buFontTx/>
              <a:buNone/>
              <a:tabLst/>
              <a:defRPr sz="1500" b="0" i="0" u="none" strike="noStrike" cap="none" spc="0" baseline="0">
                <a:solidFill>
                  <a:schemeClr val="bg2"/>
                </a:solidFill>
                <a:uFillTx/>
                <a:latin typeface="Aptos Light" panose="020B0004020202020204" pitchFamily="34" charset="0"/>
                <a:ea typeface="+mj-ea"/>
                <a:cs typeface="+mj-cs"/>
                <a:sym typeface="IBM Plex Sans Light"/>
              </a:defRPr>
            </a:lvl1pPr>
            <a:lvl2pPr marL="91421" marR="0" indent="-91421" algn="l" defTabSz="1218948" rtl="0" eaLnBrk="1" latinLnBrk="0" hangingPunct="1">
              <a:lnSpc>
                <a:spcPct val="110000"/>
              </a:lnSpc>
              <a:spcBef>
                <a:spcPts val="0"/>
              </a:spcBef>
              <a:spcAft>
                <a:spcPts val="0"/>
              </a:spcAft>
              <a:buClr>
                <a:schemeClr val="accent1"/>
              </a:buClr>
              <a:buSzPct val="100000"/>
              <a:buFont typeface="Arial" panose="020B0604020202020204" pitchFamily="34" charset="0"/>
              <a:buChar char="•"/>
              <a:tabLst/>
              <a:defRPr sz="1500" b="0" i="0" u="none" strike="noStrike" cap="none" spc="0" baseline="0">
                <a:solidFill>
                  <a:schemeClr val="bg2"/>
                </a:solidFill>
                <a:uFillTx/>
                <a:latin typeface="Aptos Light" panose="020B0004020202020204" pitchFamily="34" charset="0"/>
                <a:ea typeface="+mj-ea"/>
                <a:cs typeface="+mj-cs"/>
                <a:sym typeface="IBM Plex Sans Light"/>
              </a:defRPr>
            </a:lvl2pPr>
            <a:lvl3pPr marL="182842" marR="0" indent="-91421" algn="l" defTabSz="1218948" rtl="0" eaLnBrk="1" latinLnBrk="0" hangingPunct="1">
              <a:lnSpc>
                <a:spcPct val="110000"/>
              </a:lnSpc>
              <a:spcBef>
                <a:spcPts val="0"/>
              </a:spcBef>
              <a:spcAft>
                <a:spcPts val="0"/>
              </a:spcAft>
              <a:buClr>
                <a:schemeClr val="accent1"/>
              </a:buClr>
              <a:buSzPct val="100000"/>
              <a:buFont typeface="System Font Regular"/>
              <a:buChar char="-"/>
              <a:tabLst/>
              <a:defRPr sz="1500" b="0" i="0" u="none" strike="noStrike" cap="none" spc="0" baseline="0">
                <a:solidFill>
                  <a:schemeClr val="bg2"/>
                </a:solidFill>
                <a:uFillTx/>
                <a:latin typeface="Aptos Light" panose="020B0004020202020204" pitchFamily="34" charset="0"/>
                <a:ea typeface="+mj-ea"/>
                <a:cs typeface="+mj-cs"/>
                <a:sym typeface="IBM Plex Sans Light"/>
              </a:defRPr>
            </a:lvl3pPr>
            <a:lvl4pPr marL="274263" marR="0" indent="-91421" algn="l" defTabSz="1218948" rtl="0" eaLnBrk="1" latinLnBrk="0" hangingPunct="1">
              <a:lnSpc>
                <a:spcPct val="110000"/>
              </a:lnSpc>
              <a:spcBef>
                <a:spcPts val="0"/>
              </a:spcBef>
              <a:spcAft>
                <a:spcPts val="0"/>
              </a:spcAft>
              <a:buClr>
                <a:schemeClr val="bg2"/>
              </a:buClr>
              <a:buSzPct val="100000"/>
              <a:buFont typeface="Arial" panose="020B0604020202020204" pitchFamily="34" charset="0"/>
              <a:buChar char="•"/>
              <a:tabLst/>
              <a:defRPr sz="1500" b="0" i="0" u="none" strike="noStrike" cap="none" spc="0" baseline="0">
                <a:solidFill>
                  <a:schemeClr val="bg2"/>
                </a:solidFill>
                <a:uFillTx/>
                <a:latin typeface="Aptos Light" panose="020B0004020202020204" pitchFamily="34" charset="0"/>
                <a:ea typeface="+mj-ea"/>
                <a:cs typeface="+mj-cs"/>
                <a:sym typeface="IBM Plex Sans Light"/>
              </a:defRPr>
            </a:lvl4pPr>
            <a:lvl5pPr marL="571382" marR="0" indent="-228553" algn="l" defTabSz="1218948" rtl="0" eaLnBrk="1" latinLnBrk="0" hangingPunct="1">
              <a:lnSpc>
                <a:spcPct val="110000"/>
              </a:lnSpc>
              <a:spcBef>
                <a:spcPts val="0"/>
              </a:spcBef>
              <a:spcAft>
                <a:spcPts val="0"/>
              </a:spcAft>
              <a:buClrTx/>
              <a:buSzPct val="100000"/>
              <a:buFont typeface="Arial" panose="020B0604020202020204" pitchFamily="34" charset="0"/>
              <a:buChar char="•"/>
              <a:tabLst/>
              <a:defRPr sz="1000" b="0" i="0" u="none" strike="noStrike" cap="none" spc="0" baseline="0">
                <a:solidFill>
                  <a:schemeClr val="tx1"/>
                </a:solidFill>
                <a:uFillTx/>
                <a:latin typeface="IBM Plex Sans" panose="020B0503050203000203" pitchFamily="34" charset="0"/>
                <a:ea typeface="+mj-ea"/>
                <a:cs typeface="+mj-cs"/>
                <a:sym typeface="IBM Plex Sans Light"/>
              </a:defRPr>
            </a:lvl5pPr>
            <a:lvl6pPr marL="921340" marR="0" indent="-194464" algn="l" defTabSz="1218948"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588" marR="0" indent="-194464" algn="l" defTabSz="1218948"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34" marR="0" indent="-194464" algn="l" defTabSz="1218948"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081" marR="0" indent="-194464" algn="l" defTabSz="1218948"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a:spcAft>
                <a:spcPts val="600"/>
              </a:spcAft>
            </a:pPr>
            <a:r>
              <a:rPr lang="en-US" b="1" kern="0">
                <a:solidFill>
                  <a:schemeClr val="bg1"/>
                </a:solidFill>
                <a:latin typeface="Aptos" panose="020B0004020202020204" pitchFamily="34" charset="0"/>
              </a:rPr>
              <a:t>Record Count</a:t>
            </a:r>
          </a:p>
          <a:p>
            <a:pPr marL="457200" indent="-457200">
              <a:buFont typeface="Arial" panose="020B0604020202020204" pitchFamily="34" charset="0"/>
              <a:buChar char="•"/>
            </a:pPr>
            <a:r>
              <a:rPr lang="en-US" sz="1400">
                <a:solidFill>
                  <a:srgbClr val="002060"/>
                </a:solidFill>
              </a:rPr>
              <a:t>There is no hard limit on the number of records Power BI can handle, but the following guidelines apply: Power BI can comfortably handle millions of rows of data in Import mode, provided the data model is optimized (e.g., by removing unused columns, reducing cardinality, and avoiding heavy calculated columns).</a:t>
            </a:r>
          </a:p>
          <a:p>
            <a:pPr marL="457200" indent="-457200">
              <a:buFont typeface="Arial" panose="020B0604020202020204" pitchFamily="34" charset="0"/>
              <a:buChar char="•"/>
            </a:pPr>
            <a:r>
              <a:rPr lang="en-US" sz="1400">
                <a:solidFill>
                  <a:srgbClr val="002060"/>
                </a:solidFill>
              </a:rPr>
              <a:t>For </a:t>
            </a:r>
            <a:r>
              <a:rPr lang="en-US" sz="1400" err="1">
                <a:solidFill>
                  <a:srgbClr val="002060"/>
                </a:solidFill>
              </a:rPr>
              <a:t>DirectQuery</a:t>
            </a:r>
            <a:r>
              <a:rPr lang="en-US" sz="1400">
                <a:solidFill>
                  <a:srgbClr val="002060"/>
                </a:solidFill>
              </a:rPr>
              <a:t> mode, the record count depends on the performance of the underlying data source. Querying very large tables (e.g., hundreds of millions of rows) might lead to performance degradation if the database is slow or poorly indexed.</a:t>
            </a:r>
          </a:p>
          <a:p>
            <a:pPr marL="457200" indent="-457200">
              <a:buFont typeface="Arial" panose="020B0604020202020204" pitchFamily="34" charset="0"/>
              <a:buChar char="•"/>
            </a:pPr>
            <a:endParaRPr lang="en-US" sz="1400">
              <a:solidFill>
                <a:srgbClr val="002060"/>
              </a:solidFill>
              <a:latin typeface="+mn-lt"/>
            </a:endParaRPr>
          </a:p>
          <a:p>
            <a:pPr>
              <a:spcAft>
                <a:spcPts val="600"/>
              </a:spcAft>
            </a:pPr>
            <a:endParaRPr lang="en-US" b="1" kern="0">
              <a:solidFill>
                <a:schemeClr val="bg1"/>
              </a:solidFill>
              <a:latin typeface="Aptos" panose="020B0004020202020204" pitchFamily="34" charset="0"/>
            </a:endParaRPr>
          </a:p>
        </p:txBody>
      </p:sp>
      <p:sp>
        <p:nvSpPr>
          <p:cNvPr id="25" name="Text Placeholder 19">
            <a:extLst>
              <a:ext uri="{FF2B5EF4-FFF2-40B4-BE49-F238E27FC236}">
                <a16:creationId xmlns:a16="http://schemas.microsoft.com/office/drawing/2014/main" id="{093FD641-9CB5-16C1-A444-70C0FE1743E3}"/>
              </a:ext>
            </a:extLst>
          </p:cNvPr>
          <p:cNvSpPr txBox="1">
            <a:spLocks/>
          </p:cNvSpPr>
          <p:nvPr/>
        </p:nvSpPr>
        <p:spPr>
          <a:xfrm>
            <a:off x="8223819" y="1221441"/>
            <a:ext cx="3673748" cy="4938059"/>
          </a:xfrm>
          <a:prstGeom prst="rect">
            <a:avLst/>
          </a:prstGeom>
          <a:solidFill>
            <a:srgbClr val="E8FCF4"/>
          </a:solidFill>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144000" tIns="108000" rIns="180000" bIns="0"/>
          <a:lstStyle>
            <a:lvl1pPr marL="0" marR="0" indent="0" algn="l" defTabSz="1218948" rtl="0" eaLnBrk="1" latinLnBrk="0" hangingPunct="1">
              <a:lnSpc>
                <a:spcPct val="110000"/>
              </a:lnSpc>
              <a:spcBef>
                <a:spcPts val="0"/>
              </a:spcBef>
              <a:spcAft>
                <a:spcPts val="0"/>
              </a:spcAft>
              <a:buClrTx/>
              <a:buSzTx/>
              <a:buFontTx/>
              <a:buNone/>
              <a:tabLst/>
              <a:defRPr sz="1500" b="0" i="0" u="none" strike="noStrike" cap="none" spc="0" baseline="0">
                <a:solidFill>
                  <a:schemeClr val="bg2"/>
                </a:solidFill>
                <a:uFillTx/>
                <a:latin typeface="Aptos Light" panose="020B0004020202020204" pitchFamily="34" charset="0"/>
                <a:ea typeface="+mj-ea"/>
                <a:cs typeface="+mj-cs"/>
                <a:sym typeface="IBM Plex Sans Light"/>
              </a:defRPr>
            </a:lvl1pPr>
            <a:lvl2pPr marL="91421" marR="0" indent="-91421" algn="l" defTabSz="1218948" rtl="0" eaLnBrk="1" latinLnBrk="0" hangingPunct="1">
              <a:lnSpc>
                <a:spcPct val="110000"/>
              </a:lnSpc>
              <a:spcBef>
                <a:spcPts val="0"/>
              </a:spcBef>
              <a:spcAft>
                <a:spcPts val="0"/>
              </a:spcAft>
              <a:buClr>
                <a:schemeClr val="accent1"/>
              </a:buClr>
              <a:buSzPct val="100000"/>
              <a:buFont typeface="Arial" panose="020B0604020202020204" pitchFamily="34" charset="0"/>
              <a:buChar char="•"/>
              <a:tabLst/>
              <a:defRPr sz="1500" b="0" i="0" u="none" strike="noStrike" cap="none" spc="0" baseline="0">
                <a:solidFill>
                  <a:schemeClr val="bg2"/>
                </a:solidFill>
                <a:uFillTx/>
                <a:latin typeface="Aptos Light" panose="020B0004020202020204" pitchFamily="34" charset="0"/>
                <a:ea typeface="+mj-ea"/>
                <a:cs typeface="+mj-cs"/>
                <a:sym typeface="IBM Plex Sans Light"/>
              </a:defRPr>
            </a:lvl2pPr>
            <a:lvl3pPr marL="182842" marR="0" indent="-91421" algn="l" defTabSz="1218948" rtl="0" eaLnBrk="1" latinLnBrk="0" hangingPunct="1">
              <a:lnSpc>
                <a:spcPct val="110000"/>
              </a:lnSpc>
              <a:spcBef>
                <a:spcPts val="0"/>
              </a:spcBef>
              <a:spcAft>
                <a:spcPts val="0"/>
              </a:spcAft>
              <a:buClr>
                <a:schemeClr val="accent1"/>
              </a:buClr>
              <a:buSzPct val="100000"/>
              <a:buFont typeface="System Font Regular"/>
              <a:buChar char="-"/>
              <a:tabLst/>
              <a:defRPr sz="1500" b="0" i="0" u="none" strike="noStrike" cap="none" spc="0" baseline="0">
                <a:solidFill>
                  <a:schemeClr val="bg2"/>
                </a:solidFill>
                <a:uFillTx/>
                <a:latin typeface="Aptos Light" panose="020B0004020202020204" pitchFamily="34" charset="0"/>
                <a:ea typeface="+mj-ea"/>
                <a:cs typeface="+mj-cs"/>
                <a:sym typeface="IBM Plex Sans Light"/>
              </a:defRPr>
            </a:lvl3pPr>
            <a:lvl4pPr marL="274263" marR="0" indent="-91421" algn="l" defTabSz="1218948" rtl="0" eaLnBrk="1" latinLnBrk="0" hangingPunct="1">
              <a:lnSpc>
                <a:spcPct val="110000"/>
              </a:lnSpc>
              <a:spcBef>
                <a:spcPts val="0"/>
              </a:spcBef>
              <a:spcAft>
                <a:spcPts val="0"/>
              </a:spcAft>
              <a:buClr>
                <a:schemeClr val="bg2"/>
              </a:buClr>
              <a:buSzPct val="100000"/>
              <a:buFont typeface="Arial" panose="020B0604020202020204" pitchFamily="34" charset="0"/>
              <a:buChar char="•"/>
              <a:tabLst/>
              <a:defRPr sz="1500" b="0" i="0" u="none" strike="noStrike" cap="none" spc="0" baseline="0">
                <a:solidFill>
                  <a:schemeClr val="bg2"/>
                </a:solidFill>
                <a:uFillTx/>
                <a:latin typeface="Aptos Light" panose="020B0004020202020204" pitchFamily="34" charset="0"/>
                <a:ea typeface="+mj-ea"/>
                <a:cs typeface="+mj-cs"/>
                <a:sym typeface="IBM Plex Sans Light"/>
              </a:defRPr>
            </a:lvl4pPr>
            <a:lvl5pPr marL="571382" marR="0" indent="-228553" algn="l" defTabSz="1218948" rtl="0" eaLnBrk="1" latinLnBrk="0" hangingPunct="1">
              <a:lnSpc>
                <a:spcPct val="110000"/>
              </a:lnSpc>
              <a:spcBef>
                <a:spcPts val="0"/>
              </a:spcBef>
              <a:spcAft>
                <a:spcPts val="0"/>
              </a:spcAft>
              <a:buClrTx/>
              <a:buSzPct val="100000"/>
              <a:buFont typeface="Arial" panose="020B0604020202020204" pitchFamily="34" charset="0"/>
              <a:buChar char="•"/>
              <a:tabLst/>
              <a:defRPr sz="1000" b="0" i="0" u="none" strike="noStrike" cap="none" spc="0" baseline="0">
                <a:solidFill>
                  <a:schemeClr val="tx1"/>
                </a:solidFill>
                <a:uFillTx/>
                <a:latin typeface="IBM Plex Sans" panose="020B0503050203000203" pitchFamily="34" charset="0"/>
                <a:ea typeface="+mj-ea"/>
                <a:cs typeface="+mj-cs"/>
                <a:sym typeface="IBM Plex Sans Light"/>
              </a:defRPr>
            </a:lvl5pPr>
            <a:lvl6pPr marL="921340" marR="0" indent="-194464" algn="l" defTabSz="1218948"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588" marR="0" indent="-194464" algn="l" defTabSz="1218948"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34" marR="0" indent="-194464" algn="l" defTabSz="1218948"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081" marR="0" indent="-194464" algn="l" defTabSz="1218948"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a:spcAft>
                <a:spcPts val="600"/>
              </a:spcAft>
            </a:pPr>
            <a:r>
              <a:rPr lang="en-US" b="1" kern="0">
                <a:solidFill>
                  <a:schemeClr val="bg1"/>
                </a:solidFill>
                <a:latin typeface="Aptos" panose="020B0004020202020204" pitchFamily="34" charset="0"/>
              </a:rPr>
              <a:t>Performance Factors</a:t>
            </a:r>
          </a:p>
          <a:p>
            <a:r>
              <a:rPr lang="en-US" sz="1400">
                <a:solidFill>
                  <a:srgbClr val="002060"/>
                </a:solidFill>
              </a:rPr>
              <a:t>Performance issues usually arise not from the record count itself, but from </a:t>
            </a:r>
          </a:p>
          <a:p>
            <a:pPr marL="342900" indent="-342900">
              <a:buFont typeface="Arial" panose="020B0604020202020204" pitchFamily="34" charset="0"/>
              <a:buChar char="•"/>
            </a:pPr>
            <a:r>
              <a:rPr lang="en-US" sz="1400">
                <a:solidFill>
                  <a:srgbClr val="002060"/>
                </a:solidFill>
                <a:latin typeface="Aptos" panose="020B0004020202020204" pitchFamily="34" charset="0"/>
              </a:rPr>
              <a:t>High Cardinality: </a:t>
            </a:r>
            <a:r>
              <a:rPr lang="en-US" sz="1400">
                <a:solidFill>
                  <a:srgbClr val="002060"/>
                </a:solidFill>
              </a:rPr>
              <a:t>Columns with many unique values (like IDs or timestamps) can slow down performance due to large dictionary sizes.</a:t>
            </a:r>
          </a:p>
          <a:p>
            <a:pPr marL="342900" indent="-342900">
              <a:buFont typeface="Arial" panose="020B0604020202020204" pitchFamily="34" charset="0"/>
              <a:buChar char="•"/>
            </a:pPr>
            <a:r>
              <a:rPr lang="en-US" sz="1400">
                <a:solidFill>
                  <a:srgbClr val="002060"/>
                </a:solidFill>
                <a:latin typeface="Aptos" panose="020B0004020202020204" pitchFamily="34" charset="0"/>
              </a:rPr>
              <a:t>Complex Relationships: </a:t>
            </a:r>
            <a:r>
              <a:rPr lang="en-US" sz="1400">
                <a:solidFill>
                  <a:srgbClr val="002060"/>
                </a:solidFill>
              </a:rPr>
              <a:t>Too many relationships or circular dependencies can impact query performance.</a:t>
            </a:r>
          </a:p>
          <a:p>
            <a:pPr marL="342900" indent="-342900">
              <a:buFont typeface="Arial" panose="020B0604020202020204" pitchFamily="34" charset="0"/>
              <a:buChar char="•"/>
            </a:pPr>
            <a:r>
              <a:rPr lang="en-US" sz="1400">
                <a:solidFill>
                  <a:srgbClr val="002060"/>
                </a:solidFill>
                <a:latin typeface="Aptos" panose="020B0004020202020204" pitchFamily="34" charset="0"/>
              </a:rPr>
              <a:t>Visual Complexity: </a:t>
            </a:r>
            <a:r>
              <a:rPr lang="en-US" sz="1400">
                <a:solidFill>
                  <a:srgbClr val="002060"/>
                </a:solidFill>
              </a:rPr>
              <a:t>A large number of visuals on a single page can increase rendering time.</a:t>
            </a:r>
          </a:p>
          <a:p>
            <a:pPr>
              <a:spcAft>
                <a:spcPts val="600"/>
              </a:spcAft>
            </a:pPr>
            <a:endParaRPr lang="en-US" b="1" kern="0">
              <a:solidFill>
                <a:schemeClr val="bg1"/>
              </a:solidFill>
              <a:latin typeface="Aptos" panose="020B0004020202020204" pitchFamily="34" charset="0"/>
            </a:endParaRPr>
          </a:p>
        </p:txBody>
      </p:sp>
    </p:spTree>
    <p:extLst>
      <p:ext uri="{BB962C8B-B14F-4D97-AF65-F5344CB8AC3E}">
        <p14:creationId xmlns:p14="http://schemas.microsoft.com/office/powerpoint/2010/main" val="3873773764"/>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6D0F1165-A7D0-E4E5-ED02-D731653BA463}"/>
              </a:ext>
            </a:extLst>
          </p:cNvPr>
          <p:cNvSpPr/>
          <p:nvPr/>
        </p:nvSpPr>
        <p:spPr bwMode="auto">
          <a:xfrm>
            <a:off x="5241073" y="867626"/>
            <a:ext cx="6950927" cy="5990374"/>
          </a:xfrm>
          <a:prstGeom prst="rect">
            <a:avLst/>
          </a:prstGeom>
          <a:solidFill>
            <a:srgbClr val="E8FCF4"/>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bg1"/>
              </a:solidFill>
              <a:effectLst/>
              <a:latin typeface="+mn-lt"/>
            </a:endParaRPr>
          </a:p>
        </p:txBody>
      </p:sp>
      <p:sp>
        <p:nvSpPr>
          <p:cNvPr id="15" name="Rectangle 14">
            <a:extLst>
              <a:ext uri="{FF2B5EF4-FFF2-40B4-BE49-F238E27FC236}">
                <a16:creationId xmlns:a16="http://schemas.microsoft.com/office/drawing/2014/main" id="{6A79C9A7-C93F-07B5-3D58-4A202EA9002E}"/>
              </a:ext>
            </a:extLst>
          </p:cNvPr>
          <p:cNvSpPr/>
          <p:nvPr/>
        </p:nvSpPr>
        <p:spPr bwMode="auto">
          <a:xfrm>
            <a:off x="0" y="867626"/>
            <a:ext cx="5225143" cy="5990374"/>
          </a:xfrm>
          <a:prstGeom prst="rect">
            <a:avLst/>
          </a:prstGeom>
          <a:solidFill>
            <a:srgbClr val="FFF1EC"/>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bg1"/>
              </a:solidFill>
              <a:effectLst/>
              <a:latin typeface="+mn-lt"/>
            </a:endParaRPr>
          </a:p>
        </p:txBody>
      </p:sp>
      <p:sp>
        <p:nvSpPr>
          <p:cNvPr id="4" name="Rectangle 3">
            <a:extLst>
              <a:ext uri="{FF2B5EF4-FFF2-40B4-BE49-F238E27FC236}">
                <a16:creationId xmlns:a16="http://schemas.microsoft.com/office/drawing/2014/main" id="{1AF49ADF-7B18-2A16-BA98-7B5328D487FB}"/>
              </a:ext>
            </a:extLst>
          </p:cNvPr>
          <p:cNvSpPr/>
          <p:nvPr/>
        </p:nvSpPr>
        <p:spPr>
          <a:xfrm>
            <a:off x="217019" y="968074"/>
            <a:ext cx="4822368" cy="913268"/>
          </a:xfrm>
          <a:prstGeom prst="rect">
            <a:avLst/>
          </a:prstGeom>
          <a:solidFill>
            <a:srgbClr val="FFF1EC"/>
          </a:solidFill>
          <a:ln>
            <a:no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2"/>
                </a:solidFill>
                <a:effectLst/>
                <a:uLnTx/>
                <a:uFillTx/>
                <a:latin typeface="Aptos" panose="020B0004020202020204" pitchFamily="34" charset="0"/>
              </a:rPr>
              <a:t>Before State</a:t>
            </a:r>
            <a:r>
              <a:rPr kumimoji="0" lang="en-US" sz="1400" b="0" i="0" u="none" strike="noStrike" kern="1200" cap="none" spc="0" normalizeH="0" baseline="0" noProof="0">
                <a:ln>
                  <a:noFill/>
                </a:ln>
                <a:solidFill>
                  <a:schemeClr val="bg2"/>
                </a:solidFill>
                <a:effectLst/>
                <a:uLnTx/>
                <a:uFillTx/>
                <a:latin typeface="Aptos" panose="020B0004020202020204" pitchFamily="34" charset="0"/>
              </a:rPr>
              <a:t>: </a:t>
            </a:r>
            <a:r>
              <a:rPr kumimoji="0" lang="en-US" sz="1400" u="none" strike="noStrike" kern="1200" cap="none" spc="0" normalizeH="0" baseline="0" noProof="0">
                <a:ln>
                  <a:noFill/>
                </a:ln>
                <a:solidFill>
                  <a:schemeClr val="bg2"/>
                </a:solidFill>
                <a:effectLst/>
                <a:uLnTx/>
                <a:uFillTx/>
                <a:latin typeface="Aptos Light" panose="020B0004020202020204" pitchFamily="34" charset="0"/>
              </a:rPr>
              <a:t>Performance Issue due to</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u="none" strike="noStrike" kern="1200" cap="none" spc="0" normalizeH="0" baseline="0" noProof="0">
                <a:ln>
                  <a:noFill/>
                </a:ln>
                <a:solidFill>
                  <a:schemeClr val="bg2"/>
                </a:solidFill>
                <a:effectLst/>
                <a:uLnTx/>
                <a:uFillTx/>
                <a:latin typeface="Aptos Light" panose="020B0004020202020204" pitchFamily="34" charset="0"/>
              </a:rPr>
              <a:t>A model was developed for each repor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u="none" strike="noStrike" kern="1200" cap="none" spc="0" normalizeH="0" baseline="0" noProof="0">
                <a:ln>
                  <a:noFill/>
                </a:ln>
                <a:solidFill>
                  <a:schemeClr val="bg2"/>
                </a:solidFill>
                <a:effectLst/>
                <a:uLnTx/>
                <a:uFillTx/>
                <a:latin typeface="Aptos Light" panose="020B0004020202020204" pitchFamily="34" charset="0"/>
              </a:rPr>
              <a:t>Transformations were handled in Power BI repor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u="none" strike="noStrike" kern="1200" cap="none" spc="0" normalizeH="0" baseline="0" noProof="0">
                <a:ln>
                  <a:noFill/>
                </a:ln>
                <a:solidFill>
                  <a:schemeClr val="bg2"/>
                </a:solidFill>
                <a:effectLst/>
                <a:uLnTx/>
                <a:uFillTx/>
                <a:latin typeface="Aptos Light" panose="020B0004020202020204" pitchFamily="34" charset="0"/>
              </a:rPr>
              <a:t>Star Schema was not followed and unwanted data import</a:t>
            </a:r>
            <a:r>
              <a:rPr kumimoji="0" lang="en-US" sz="1200" b="0" i="0" u="none" strike="noStrike" kern="1200" cap="none" spc="0" normalizeH="0" baseline="0" noProof="0">
                <a:ln>
                  <a:noFill/>
                </a:ln>
                <a:solidFill>
                  <a:schemeClr val="bg2"/>
                </a:solidFill>
                <a:effectLst/>
                <a:uLnTx/>
                <a:uFillTx/>
                <a:latin typeface="Aptos" panose="020B0004020202020204" pitchFamily="34" charset="0"/>
              </a:rPr>
              <a:t>.</a:t>
            </a:r>
          </a:p>
        </p:txBody>
      </p:sp>
      <p:pic>
        <p:nvPicPr>
          <p:cNvPr id="2050" name="Picture 2" descr="Microsoft Power BI Logo and symbol, meaning, history, PNG, brand">
            <a:extLst>
              <a:ext uri="{FF2B5EF4-FFF2-40B4-BE49-F238E27FC236}">
                <a16:creationId xmlns:a16="http://schemas.microsoft.com/office/drawing/2014/main" id="{91BF86E6-C6EA-3050-8C34-94CA591B7E60}"/>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03249" y="2538846"/>
            <a:ext cx="780677" cy="43112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Semantic - Free arrows icons">
            <a:extLst>
              <a:ext uri="{FF2B5EF4-FFF2-40B4-BE49-F238E27FC236}">
                <a16:creationId xmlns:a16="http://schemas.microsoft.com/office/drawing/2014/main" id="{5CF984A9-9F93-A6D1-DC44-77417E7E9E7F}"/>
              </a:ext>
            </a:extLst>
          </p:cNvPr>
          <p:cNvPicPr>
            <a:picLocks noChangeAspect="1" noChangeArrowheads="1"/>
          </p:cNvPicPr>
          <p:nvPr/>
        </p:nvPicPr>
        <p:blipFill>
          <a:blip r:embed="rId3" cstate="print">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628203" y="2411574"/>
            <a:ext cx="679677" cy="679677"/>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Semantic - Free arrows icons">
            <a:extLst>
              <a:ext uri="{FF2B5EF4-FFF2-40B4-BE49-F238E27FC236}">
                <a16:creationId xmlns:a16="http://schemas.microsoft.com/office/drawing/2014/main" id="{36012093-BE8A-9474-E5FE-77D820D98D78}"/>
              </a:ext>
            </a:extLst>
          </p:cNvPr>
          <p:cNvPicPr>
            <a:picLocks noChangeAspect="1" noChangeArrowheads="1"/>
          </p:cNvPicPr>
          <p:nvPr/>
        </p:nvPicPr>
        <p:blipFill>
          <a:blip r:embed="rId3" cstate="print">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628203" y="3917544"/>
            <a:ext cx="679677" cy="679677"/>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Semantic - Free arrows icons">
            <a:extLst>
              <a:ext uri="{FF2B5EF4-FFF2-40B4-BE49-F238E27FC236}">
                <a16:creationId xmlns:a16="http://schemas.microsoft.com/office/drawing/2014/main" id="{1D72DEE2-6F22-71D2-7E3D-484C55411480}"/>
              </a:ext>
            </a:extLst>
          </p:cNvPr>
          <p:cNvPicPr>
            <a:picLocks noChangeAspect="1" noChangeArrowheads="1"/>
          </p:cNvPicPr>
          <p:nvPr/>
        </p:nvPicPr>
        <p:blipFill>
          <a:blip r:embed="rId3" cstate="print">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628203" y="5403619"/>
            <a:ext cx="679677" cy="679677"/>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data-source-24 Vector Icons free download in SVG, PNG Format">
            <a:extLst>
              <a:ext uri="{FF2B5EF4-FFF2-40B4-BE49-F238E27FC236}">
                <a16:creationId xmlns:a16="http://schemas.microsoft.com/office/drawing/2014/main" id="{38750460-E5BA-ADC1-8439-5A14A1EC19B8}"/>
              </a:ext>
            </a:extLst>
          </p:cNvPr>
          <p:cNvPicPr>
            <a:picLocks noChangeAspect="1" noChangeArrowheads="1"/>
          </p:cNvPicPr>
          <p:nvPr/>
        </p:nvPicPr>
        <p:blipFill>
          <a:blip r:embed="rId4"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855895" y="2433828"/>
            <a:ext cx="615191" cy="595086"/>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Data Sources Icons - Free SVG &amp; PNG Data Sources Images ...">
            <a:extLst>
              <a:ext uri="{FF2B5EF4-FFF2-40B4-BE49-F238E27FC236}">
                <a16:creationId xmlns:a16="http://schemas.microsoft.com/office/drawing/2014/main" id="{2F6CE2A2-4366-E7CD-E0C9-9BA1EA4DE24E}"/>
              </a:ext>
            </a:extLst>
          </p:cNvPr>
          <p:cNvPicPr>
            <a:picLocks noChangeAspect="1" noChangeArrowheads="1"/>
          </p:cNvPicPr>
          <p:nvPr/>
        </p:nvPicPr>
        <p:blipFill>
          <a:blip r:embed="rId5"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954962" y="3642310"/>
            <a:ext cx="632065" cy="611409"/>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World wide web - Free web icons">
            <a:extLst>
              <a:ext uri="{FF2B5EF4-FFF2-40B4-BE49-F238E27FC236}">
                <a16:creationId xmlns:a16="http://schemas.microsoft.com/office/drawing/2014/main" id="{BD4F4C3A-033C-6734-488B-D5017A2770CC}"/>
              </a:ext>
            </a:extLst>
          </p:cNvPr>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942510" y="5937102"/>
            <a:ext cx="519299" cy="51929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Data Cloud icon SVG Vector &amp; PNG Free Download | UXWing">
            <a:extLst>
              <a:ext uri="{FF2B5EF4-FFF2-40B4-BE49-F238E27FC236}">
                <a16:creationId xmlns:a16="http://schemas.microsoft.com/office/drawing/2014/main" id="{FBB3CE66-7260-0795-7F42-3DB0369E98D5}"/>
              </a:ext>
            </a:extLst>
          </p:cNvPr>
          <p:cNvPicPr>
            <a:picLocks noChangeAspect="1" noChangeArrowheads="1"/>
          </p:cNvPicPr>
          <p:nvPr/>
        </p:nvPicPr>
        <p:blipFill>
          <a:blip r:embed="rId7"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947454" y="4912619"/>
            <a:ext cx="569920" cy="511201"/>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Connector: Curved 12">
            <a:extLst>
              <a:ext uri="{FF2B5EF4-FFF2-40B4-BE49-F238E27FC236}">
                <a16:creationId xmlns:a16="http://schemas.microsoft.com/office/drawing/2014/main" id="{AC67AC09-2B4B-A0FD-1009-0EA611B75DCA}"/>
              </a:ext>
            </a:extLst>
          </p:cNvPr>
          <p:cNvCxnSpPr>
            <a:cxnSpLocks/>
            <a:stCxn id="2052" idx="1"/>
            <a:endCxn id="9" idx="3"/>
          </p:cNvCxnSpPr>
          <p:nvPr/>
        </p:nvCxnSpPr>
        <p:spPr>
          <a:xfrm rot="10800000" flipV="1">
            <a:off x="3307881" y="2731371"/>
            <a:ext cx="1548015" cy="20042"/>
          </a:xfrm>
          <a:prstGeom prst="curvedConnector3">
            <a:avLst>
              <a:gd name="adj1" fmla="val 50000"/>
            </a:avLst>
          </a:prstGeom>
          <a:ln w="12700">
            <a:solidFill>
              <a:schemeClr val="bg2">
                <a:alpha val="6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4" name="Connector: Curved 13">
            <a:extLst>
              <a:ext uri="{FF2B5EF4-FFF2-40B4-BE49-F238E27FC236}">
                <a16:creationId xmlns:a16="http://schemas.microsoft.com/office/drawing/2014/main" id="{5C3A93F6-FF29-CC5A-000C-EE67E39D5975}"/>
              </a:ext>
            </a:extLst>
          </p:cNvPr>
          <p:cNvCxnSpPr>
            <a:cxnSpLocks/>
            <a:stCxn id="2054" idx="1"/>
            <a:endCxn id="9" idx="3"/>
          </p:cNvCxnSpPr>
          <p:nvPr/>
        </p:nvCxnSpPr>
        <p:spPr>
          <a:xfrm rot="10800000">
            <a:off x="3307880" y="2751413"/>
            <a:ext cx="1647082" cy="1196602"/>
          </a:xfrm>
          <a:prstGeom prst="curvedConnector3">
            <a:avLst>
              <a:gd name="adj1" fmla="val 50000"/>
            </a:avLst>
          </a:prstGeom>
          <a:ln w="12700">
            <a:solidFill>
              <a:schemeClr val="bg2">
                <a:alpha val="6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7" name="Connector: Curved 16">
            <a:extLst>
              <a:ext uri="{FF2B5EF4-FFF2-40B4-BE49-F238E27FC236}">
                <a16:creationId xmlns:a16="http://schemas.microsoft.com/office/drawing/2014/main" id="{312384E7-E373-5FDB-6109-9C4CE5577057}"/>
              </a:ext>
            </a:extLst>
          </p:cNvPr>
          <p:cNvCxnSpPr>
            <a:cxnSpLocks/>
            <a:stCxn id="2058" idx="1"/>
            <a:endCxn id="9" idx="3"/>
          </p:cNvCxnSpPr>
          <p:nvPr/>
        </p:nvCxnSpPr>
        <p:spPr>
          <a:xfrm rot="10800000">
            <a:off x="3307880" y="2751414"/>
            <a:ext cx="1639574" cy="2416807"/>
          </a:xfrm>
          <a:prstGeom prst="curvedConnector3">
            <a:avLst>
              <a:gd name="adj1" fmla="val 50000"/>
            </a:avLst>
          </a:prstGeom>
          <a:ln w="12700">
            <a:solidFill>
              <a:schemeClr val="bg2">
                <a:alpha val="6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0" name="Connector: Curved 19">
            <a:extLst>
              <a:ext uri="{FF2B5EF4-FFF2-40B4-BE49-F238E27FC236}">
                <a16:creationId xmlns:a16="http://schemas.microsoft.com/office/drawing/2014/main" id="{CBFC3C78-DE57-26A2-9358-921889E0AD19}"/>
              </a:ext>
            </a:extLst>
          </p:cNvPr>
          <p:cNvCxnSpPr>
            <a:cxnSpLocks/>
            <a:stCxn id="2056" idx="1"/>
            <a:endCxn id="9" idx="3"/>
          </p:cNvCxnSpPr>
          <p:nvPr/>
        </p:nvCxnSpPr>
        <p:spPr>
          <a:xfrm rot="10800000">
            <a:off x="3307880" y="2751414"/>
            <a:ext cx="1634630" cy="3445339"/>
          </a:xfrm>
          <a:prstGeom prst="curvedConnector3">
            <a:avLst>
              <a:gd name="adj1" fmla="val 50000"/>
            </a:avLst>
          </a:prstGeom>
          <a:ln w="12700">
            <a:solidFill>
              <a:schemeClr val="bg2">
                <a:alpha val="6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3" name="Connector: Curved 22">
            <a:extLst>
              <a:ext uri="{FF2B5EF4-FFF2-40B4-BE49-F238E27FC236}">
                <a16:creationId xmlns:a16="http://schemas.microsoft.com/office/drawing/2014/main" id="{09B886C4-25F3-3E45-EDC4-687452C7046C}"/>
              </a:ext>
            </a:extLst>
          </p:cNvPr>
          <p:cNvCxnSpPr>
            <a:cxnSpLocks/>
            <a:stCxn id="2058" idx="1"/>
            <a:endCxn id="10" idx="3"/>
          </p:cNvCxnSpPr>
          <p:nvPr/>
        </p:nvCxnSpPr>
        <p:spPr>
          <a:xfrm rot="10800000">
            <a:off x="3307880" y="4257384"/>
            <a:ext cx="1639574" cy="910837"/>
          </a:xfrm>
          <a:prstGeom prst="curvedConnector3">
            <a:avLst>
              <a:gd name="adj1" fmla="val 50000"/>
            </a:avLst>
          </a:prstGeom>
          <a:ln w="12700">
            <a:solidFill>
              <a:schemeClr val="bg2">
                <a:alpha val="6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2" name="Connector: Curved 31">
            <a:extLst>
              <a:ext uri="{FF2B5EF4-FFF2-40B4-BE49-F238E27FC236}">
                <a16:creationId xmlns:a16="http://schemas.microsoft.com/office/drawing/2014/main" id="{9E8D7B78-55A0-55AF-280E-5D9BF0E90D26}"/>
              </a:ext>
            </a:extLst>
          </p:cNvPr>
          <p:cNvCxnSpPr>
            <a:cxnSpLocks/>
            <a:stCxn id="2056" idx="1"/>
            <a:endCxn id="10" idx="3"/>
          </p:cNvCxnSpPr>
          <p:nvPr/>
        </p:nvCxnSpPr>
        <p:spPr>
          <a:xfrm rot="10800000">
            <a:off x="3307880" y="4257384"/>
            <a:ext cx="1634630" cy="1939369"/>
          </a:xfrm>
          <a:prstGeom prst="curvedConnector3">
            <a:avLst>
              <a:gd name="adj1" fmla="val 50000"/>
            </a:avLst>
          </a:prstGeom>
          <a:ln w="12700">
            <a:solidFill>
              <a:schemeClr val="bg2">
                <a:alpha val="6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9" name="Connector: Curved 38">
            <a:extLst>
              <a:ext uri="{FF2B5EF4-FFF2-40B4-BE49-F238E27FC236}">
                <a16:creationId xmlns:a16="http://schemas.microsoft.com/office/drawing/2014/main" id="{12D92878-E8D9-6432-4B84-A07C4F1B98C2}"/>
              </a:ext>
            </a:extLst>
          </p:cNvPr>
          <p:cNvCxnSpPr>
            <a:cxnSpLocks/>
            <a:stCxn id="2056" idx="1"/>
            <a:endCxn id="11" idx="3"/>
          </p:cNvCxnSpPr>
          <p:nvPr/>
        </p:nvCxnSpPr>
        <p:spPr>
          <a:xfrm rot="10800000">
            <a:off x="3307880" y="5743458"/>
            <a:ext cx="1634630" cy="453294"/>
          </a:xfrm>
          <a:prstGeom prst="curvedConnector3">
            <a:avLst>
              <a:gd name="adj1" fmla="val 50000"/>
            </a:avLst>
          </a:prstGeom>
          <a:ln w="12700">
            <a:solidFill>
              <a:schemeClr val="bg2">
                <a:alpha val="6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2" name="Connector: Curved 41">
            <a:extLst>
              <a:ext uri="{FF2B5EF4-FFF2-40B4-BE49-F238E27FC236}">
                <a16:creationId xmlns:a16="http://schemas.microsoft.com/office/drawing/2014/main" id="{F3371606-8523-2E8A-939D-AA8B1EFDED71}"/>
              </a:ext>
            </a:extLst>
          </p:cNvPr>
          <p:cNvCxnSpPr>
            <a:cxnSpLocks/>
            <a:stCxn id="2058" idx="1"/>
            <a:endCxn id="11" idx="3"/>
          </p:cNvCxnSpPr>
          <p:nvPr/>
        </p:nvCxnSpPr>
        <p:spPr>
          <a:xfrm rot="10800000" flipV="1">
            <a:off x="3307880" y="5168220"/>
            <a:ext cx="1639574" cy="575238"/>
          </a:xfrm>
          <a:prstGeom prst="curvedConnector3">
            <a:avLst>
              <a:gd name="adj1" fmla="val 50000"/>
            </a:avLst>
          </a:prstGeom>
          <a:ln w="12700">
            <a:solidFill>
              <a:schemeClr val="bg2">
                <a:alpha val="6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5" name="Connector: Curved 44">
            <a:extLst>
              <a:ext uri="{FF2B5EF4-FFF2-40B4-BE49-F238E27FC236}">
                <a16:creationId xmlns:a16="http://schemas.microsoft.com/office/drawing/2014/main" id="{0B793230-4866-D3C4-0A1D-2E1317DC51AA}"/>
              </a:ext>
            </a:extLst>
          </p:cNvPr>
          <p:cNvCxnSpPr>
            <a:cxnSpLocks/>
            <a:stCxn id="2054" idx="1"/>
            <a:endCxn id="11" idx="3"/>
          </p:cNvCxnSpPr>
          <p:nvPr/>
        </p:nvCxnSpPr>
        <p:spPr>
          <a:xfrm rot="10800000" flipV="1">
            <a:off x="3307880" y="3948014"/>
            <a:ext cx="1647082" cy="1795443"/>
          </a:xfrm>
          <a:prstGeom prst="curvedConnector3">
            <a:avLst>
              <a:gd name="adj1" fmla="val 50000"/>
            </a:avLst>
          </a:prstGeom>
          <a:ln w="12700">
            <a:solidFill>
              <a:schemeClr val="bg2">
                <a:alpha val="6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8" name="Connector: Curved 47">
            <a:extLst>
              <a:ext uri="{FF2B5EF4-FFF2-40B4-BE49-F238E27FC236}">
                <a16:creationId xmlns:a16="http://schemas.microsoft.com/office/drawing/2014/main" id="{34B05859-56A5-0F4E-140F-F645983AA87F}"/>
              </a:ext>
            </a:extLst>
          </p:cNvPr>
          <p:cNvCxnSpPr>
            <a:cxnSpLocks/>
            <a:stCxn id="2052" idx="1"/>
            <a:endCxn id="10" idx="3"/>
          </p:cNvCxnSpPr>
          <p:nvPr/>
        </p:nvCxnSpPr>
        <p:spPr>
          <a:xfrm rot="10800000" flipV="1">
            <a:off x="3307881" y="2731371"/>
            <a:ext cx="1548015" cy="1526012"/>
          </a:xfrm>
          <a:prstGeom prst="curvedConnector3">
            <a:avLst>
              <a:gd name="adj1" fmla="val 50000"/>
            </a:avLst>
          </a:prstGeom>
          <a:ln w="12700">
            <a:solidFill>
              <a:schemeClr val="bg2">
                <a:alpha val="6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2" name="Straight Arrow Connector 51">
            <a:extLst>
              <a:ext uri="{FF2B5EF4-FFF2-40B4-BE49-F238E27FC236}">
                <a16:creationId xmlns:a16="http://schemas.microsoft.com/office/drawing/2014/main" id="{23FA0464-79CA-B345-DCD5-89B314971999}"/>
              </a:ext>
            </a:extLst>
          </p:cNvPr>
          <p:cNvCxnSpPr>
            <a:cxnSpLocks/>
            <a:stCxn id="9" idx="1"/>
            <a:endCxn id="2050" idx="3"/>
          </p:cNvCxnSpPr>
          <p:nvPr/>
        </p:nvCxnSpPr>
        <p:spPr>
          <a:xfrm flipH="1">
            <a:off x="1683926" y="2751413"/>
            <a:ext cx="944277" cy="2994"/>
          </a:xfrm>
          <a:prstGeom prst="straightConnector1">
            <a:avLst/>
          </a:prstGeom>
          <a:ln w="12700">
            <a:solidFill>
              <a:schemeClr val="bg2">
                <a:alpha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5" name="Straight Arrow Connector 54">
            <a:extLst>
              <a:ext uri="{FF2B5EF4-FFF2-40B4-BE49-F238E27FC236}">
                <a16:creationId xmlns:a16="http://schemas.microsoft.com/office/drawing/2014/main" id="{76065816-C795-9DE5-F329-A83099831358}"/>
              </a:ext>
            </a:extLst>
          </p:cNvPr>
          <p:cNvCxnSpPr>
            <a:cxnSpLocks/>
            <a:stCxn id="10" idx="1"/>
            <a:endCxn id="2203" idx="3"/>
          </p:cNvCxnSpPr>
          <p:nvPr/>
        </p:nvCxnSpPr>
        <p:spPr>
          <a:xfrm flipH="1">
            <a:off x="1683926" y="4257383"/>
            <a:ext cx="944277" cy="2994"/>
          </a:xfrm>
          <a:prstGeom prst="straightConnector1">
            <a:avLst/>
          </a:prstGeom>
          <a:ln w="12700">
            <a:solidFill>
              <a:schemeClr val="bg2">
                <a:alpha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9" name="Straight Arrow Connector 58">
            <a:extLst>
              <a:ext uri="{FF2B5EF4-FFF2-40B4-BE49-F238E27FC236}">
                <a16:creationId xmlns:a16="http://schemas.microsoft.com/office/drawing/2014/main" id="{2D5561AC-6801-6F3D-A364-1A3D9D5BFE6B}"/>
              </a:ext>
            </a:extLst>
          </p:cNvPr>
          <p:cNvCxnSpPr>
            <a:cxnSpLocks/>
            <a:stCxn id="11" idx="1"/>
            <a:endCxn id="2204" idx="3"/>
          </p:cNvCxnSpPr>
          <p:nvPr/>
        </p:nvCxnSpPr>
        <p:spPr>
          <a:xfrm flipH="1">
            <a:off x="1683926" y="5743458"/>
            <a:ext cx="944277" cy="2994"/>
          </a:xfrm>
          <a:prstGeom prst="straightConnector1">
            <a:avLst/>
          </a:prstGeom>
          <a:ln w="12700">
            <a:solidFill>
              <a:schemeClr val="bg2">
                <a:alpha val="75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2048" name="TextBox 2047">
            <a:extLst>
              <a:ext uri="{FF2B5EF4-FFF2-40B4-BE49-F238E27FC236}">
                <a16:creationId xmlns:a16="http://schemas.microsoft.com/office/drawing/2014/main" id="{44045E72-304A-A75A-BB30-067F49BE9E22}"/>
              </a:ext>
            </a:extLst>
          </p:cNvPr>
          <p:cNvSpPr txBox="1"/>
          <p:nvPr/>
        </p:nvSpPr>
        <p:spPr>
          <a:xfrm>
            <a:off x="112829" y="3053755"/>
            <a:ext cx="2372363" cy="6001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Aptos" panose="020B0004020202020204" pitchFamily="34" charset="0"/>
              </a:rPr>
              <a:t>Media Data Quality Track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rPr>
              <a:t>Model size: </a:t>
            </a:r>
            <a:r>
              <a:rPr kumimoji="0" lang="en-US" sz="1100" b="1" i="0" u="none" strike="noStrike" kern="1200" cap="none" spc="0" normalizeH="0" baseline="0" noProof="0">
                <a:ln>
                  <a:noFill/>
                </a:ln>
                <a:solidFill>
                  <a:srgbClr val="FF0000"/>
                </a:solidFill>
                <a:effectLst/>
                <a:uLnTx/>
                <a:uFillTx/>
                <a:latin typeface="Aptos" panose="020B0004020202020204" pitchFamily="34" charset="0"/>
              </a:rPr>
              <a:t>&gt;400 M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rPr>
              <a:t>Refresh Time: </a:t>
            </a:r>
            <a:r>
              <a:rPr kumimoji="0" lang="en-US" sz="1100" b="1" i="0" u="none" strike="noStrike" kern="1200" cap="none" spc="0" normalizeH="0" baseline="0" noProof="0">
                <a:ln>
                  <a:noFill/>
                </a:ln>
                <a:solidFill>
                  <a:srgbClr val="FF0000"/>
                </a:solidFill>
                <a:effectLst/>
                <a:uLnTx/>
                <a:uFillTx/>
                <a:latin typeface="Aptos" panose="020B0004020202020204" pitchFamily="34" charset="0"/>
              </a:rPr>
              <a:t>&gt;3.5 </a:t>
            </a:r>
            <a:r>
              <a:rPr kumimoji="0" lang="en-US" sz="1100" b="1" i="0" u="none" strike="noStrike" kern="1200" cap="none" spc="0" normalizeH="0" baseline="0" noProof="0" err="1">
                <a:ln>
                  <a:noFill/>
                </a:ln>
                <a:solidFill>
                  <a:srgbClr val="FF0000"/>
                </a:solidFill>
                <a:effectLst/>
                <a:uLnTx/>
                <a:uFillTx/>
                <a:latin typeface="Aptos" panose="020B0004020202020204" pitchFamily="34" charset="0"/>
              </a:rPr>
              <a:t>hrs</a:t>
            </a:r>
            <a:endParaRPr kumimoji="0" lang="en-US" sz="1100" b="1" i="0" u="none" strike="noStrike" kern="1200" cap="none" spc="0" normalizeH="0" baseline="0" noProof="0">
              <a:ln>
                <a:noFill/>
              </a:ln>
              <a:solidFill>
                <a:srgbClr val="FF0000"/>
              </a:solidFill>
              <a:effectLst/>
              <a:uLnTx/>
              <a:uFillTx/>
              <a:latin typeface="Aptos" panose="020B0004020202020204" pitchFamily="34" charset="0"/>
            </a:endParaRPr>
          </a:p>
        </p:txBody>
      </p:sp>
      <p:sp>
        <p:nvSpPr>
          <p:cNvPr id="2049" name="TextBox 2048">
            <a:extLst>
              <a:ext uri="{FF2B5EF4-FFF2-40B4-BE49-F238E27FC236}">
                <a16:creationId xmlns:a16="http://schemas.microsoft.com/office/drawing/2014/main" id="{96A7105B-174A-AEEA-A22C-5F3713F71EE6}"/>
              </a:ext>
            </a:extLst>
          </p:cNvPr>
          <p:cNvSpPr txBox="1"/>
          <p:nvPr/>
        </p:nvSpPr>
        <p:spPr>
          <a:xfrm>
            <a:off x="47869" y="4552983"/>
            <a:ext cx="2502283" cy="6001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Aptos" panose="020B0004020202020204" pitchFamily="34" charset="0"/>
              </a:rPr>
              <a:t>Meta / Snapchat / TikTok Repor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rPr>
              <a:t>Model size: </a:t>
            </a:r>
            <a:r>
              <a:rPr kumimoji="0" lang="en-US" sz="1100" b="1" i="0" u="none" strike="noStrike" kern="1200" cap="none" spc="0" normalizeH="0" baseline="0" noProof="0">
                <a:ln>
                  <a:noFill/>
                </a:ln>
                <a:solidFill>
                  <a:srgbClr val="FF0000"/>
                </a:solidFill>
                <a:effectLst/>
                <a:uLnTx/>
                <a:uFillTx/>
                <a:latin typeface="Aptos" panose="020B0004020202020204" pitchFamily="34" charset="0"/>
              </a:rPr>
              <a:t>&gt;300 M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rPr>
              <a:t>Refresh Time</a:t>
            </a:r>
            <a:r>
              <a:rPr kumimoji="0" lang="en-US" sz="1100" b="1" i="0" u="none" strike="noStrike" kern="1200" cap="none" spc="0" normalizeH="0" baseline="0" noProof="0">
                <a:ln>
                  <a:noFill/>
                </a:ln>
                <a:solidFill>
                  <a:srgbClr val="FF0000"/>
                </a:solidFill>
                <a:effectLst/>
                <a:uLnTx/>
                <a:uFillTx/>
                <a:latin typeface="Aptos" panose="020B0004020202020204" pitchFamily="34" charset="0"/>
              </a:rPr>
              <a:t>: &gt;1.5 </a:t>
            </a:r>
            <a:r>
              <a:rPr kumimoji="0" lang="en-US" sz="1100" b="1" i="0" u="none" strike="noStrike" kern="1200" cap="none" spc="0" normalizeH="0" baseline="0" noProof="0" err="1">
                <a:ln>
                  <a:noFill/>
                </a:ln>
                <a:solidFill>
                  <a:srgbClr val="FF0000"/>
                </a:solidFill>
                <a:effectLst/>
                <a:uLnTx/>
                <a:uFillTx/>
                <a:latin typeface="Aptos" panose="020B0004020202020204" pitchFamily="34" charset="0"/>
              </a:rPr>
              <a:t>hrs</a:t>
            </a:r>
            <a:endParaRPr kumimoji="0" lang="en-US" sz="1100" b="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2051" name="TextBox 2050">
            <a:extLst>
              <a:ext uri="{FF2B5EF4-FFF2-40B4-BE49-F238E27FC236}">
                <a16:creationId xmlns:a16="http://schemas.microsoft.com/office/drawing/2014/main" id="{82A22C00-2C5D-6769-8504-D30EBA9A0146}"/>
              </a:ext>
            </a:extLst>
          </p:cNvPr>
          <p:cNvSpPr txBox="1"/>
          <p:nvPr/>
        </p:nvSpPr>
        <p:spPr>
          <a:xfrm>
            <a:off x="154524" y="6001465"/>
            <a:ext cx="2288972" cy="6001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Aptos" panose="020B0004020202020204" pitchFamily="34" charset="0"/>
              </a:rPr>
              <a:t>Media E&amp;E Program Track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rPr>
              <a:t>Model size: </a:t>
            </a:r>
            <a:r>
              <a:rPr kumimoji="0" lang="en-US" sz="1100" b="1" i="0" u="none" strike="noStrike" kern="1200" cap="none" spc="0" normalizeH="0" baseline="0" noProof="0">
                <a:ln>
                  <a:noFill/>
                </a:ln>
                <a:solidFill>
                  <a:srgbClr val="FF0000"/>
                </a:solidFill>
                <a:effectLst/>
                <a:uLnTx/>
                <a:uFillTx/>
                <a:latin typeface="Aptos" panose="020B0004020202020204" pitchFamily="34" charset="0"/>
              </a:rPr>
              <a:t>&gt;500 M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rPr>
              <a:t>Refresh Time: </a:t>
            </a:r>
            <a:r>
              <a:rPr kumimoji="0" lang="en-US" sz="1100" b="1" i="0" u="none" strike="noStrike" kern="1200" cap="none" spc="0" normalizeH="0" baseline="0" noProof="0">
                <a:ln>
                  <a:noFill/>
                </a:ln>
                <a:solidFill>
                  <a:srgbClr val="FF0000"/>
                </a:solidFill>
                <a:effectLst/>
                <a:uLnTx/>
                <a:uFillTx/>
                <a:latin typeface="Aptos" panose="020B0004020202020204" pitchFamily="34" charset="0"/>
              </a:rPr>
              <a:t>&gt;3.5 </a:t>
            </a:r>
            <a:r>
              <a:rPr kumimoji="0" lang="en-US" sz="1100" b="1" i="0" u="none" strike="noStrike" kern="1200" cap="none" spc="0" normalizeH="0" baseline="0" noProof="0" err="1">
                <a:ln>
                  <a:noFill/>
                </a:ln>
                <a:solidFill>
                  <a:srgbClr val="FF0000"/>
                </a:solidFill>
                <a:effectLst/>
                <a:uLnTx/>
                <a:uFillTx/>
                <a:latin typeface="Aptos" panose="020B0004020202020204" pitchFamily="34" charset="0"/>
              </a:rPr>
              <a:t>hrs</a:t>
            </a:r>
            <a:endParaRPr kumimoji="0" lang="en-US" sz="1100" b="1" i="0" u="none" strike="noStrike" kern="1200" cap="none" spc="0" normalizeH="0" baseline="0" noProof="0">
              <a:ln>
                <a:noFill/>
              </a:ln>
              <a:solidFill>
                <a:srgbClr val="FF0000"/>
              </a:solidFill>
              <a:effectLst/>
              <a:uLnTx/>
              <a:uFillTx/>
              <a:latin typeface="Aptos" panose="020B0004020202020204" pitchFamily="34" charset="0"/>
            </a:endParaRPr>
          </a:p>
        </p:txBody>
      </p:sp>
      <p:sp>
        <p:nvSpPr>
          <p:cNvPr id="2141" name="Rectangle 2140">
            <a:extLst>
              <a:ext uri="{FF2B5EF4-FFF2-40B4-BE49-F238E27FC236}">
                <a16:creationId xmlns:a16="http://schemas.microsoft.com/office/drawing/2014/main" id="{0F6439A9-022C-5247-91BA-F122E68EE814}"/>
              </a:ext>
            </a:extLst>
          </p:cNvPr>
          <p:cNvSpPr/>
          <p:nvPr/>
        </p:nvSpPr>
        <p:spPr>
          <a:xfrm>
            <a:off x="5491274" y="952536"/>
            <a:ext cx="6009261" cy="928806"/>
          </a:xfrm>
          <a:prstGeom prst="rect">
            <a:avLst/>
          </a:prstGeom>
          <a:solidFill>
            <a:srgbClr val="E8FCF4"/>
          </a:solidFill>
          <a:ln>
            <a:no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2"/>
                </a:solidFill>
                <a:effectLst/>
                <a:uLnTx/>
                <a:uFillTx/>
                <a:latin typeface="Aptos" panose="020B0004020202020204" pitchFamily="34" charset="0"/>
              </a:rPr>
              <a:t>After State</a:t>
            </a:r>
            <a:r>
              <a:rPr kumimoji="0" lang="en-US" sz="1400" b="0" i="0" u="none" strike="noStrike" kern="1200" cap="none" spc="0" normalizeH="0" baseline="0" noProof="0">
                <a:ln>
                  <a:noFill/>
                </a:ln>
                <a:solidFill>
                  <a:schemeClr val="bg2"/>
                </a:solidFill>
                <a:effectLst/>
                <a:uLnTx/>
                <a:uFillTx/>
                <a:latin typeface="Aptos" panose="020B0004020202020204" pitchFamily="34" charset="0"/>
              </a:rPr>
              <a:t>: </a:t>
            </a:r>
            <a:r>
              <a:rPr kumimoji="0" lang="en-US" sz="1400" u="none" strike="noStrike" kern="1200" cap="none" spc="0" normalizeH="0" baseline="0" noProof="0">
                <a:ln>
                  <a:noFill/>
                </a:ln>
                <a:solidFill>
                  <a:schemeClr val="bg2"/>
                </a:solidFill>
                <a:effectLst/>
                <a:uLnTx/>
                <a:uFillTx/>
                <a:latin typeface="Aptos Light" panose="020B0004020202020204" pitchFamily="34" charset="0"/>
              </a:rPr>
              <a:t>Performance Improvement highligh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u="none" strike="noStrike" kern="1200" cap="none" spc="0" normalizeH="0" baseline="0" noProof="0">
                <a:ln>
                  <a:noFill/>
                </a:ln>
                <a:solidFill>
                  <a:schemeClr val="bg2"/>
                </a:solidFill>
                <a:effectLst/>
                <a:uLnTx/>
                <a:uFillTx/>
                <a:latin typeface="Aptos Light" panose="020B0004020202020204" pitchFamily="34" charset="0"/>
              </a:rPr>
              <a:t>Reduced model size by 80% with common data mode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u="none" strike="noStrike" kern="1200" cap="none" spc="0" normalizeH="0" baseline="0" noProof="0">
                <a:ln>
                  <a:noFill/>
                </a:ln>
                <a:solidFill>
                  <a:schemeClr val="bg2"/>
                </a:solidFill>
                <a:effectLst/>
                <a:uLnTx/>
                <a:uFillTx/>
                <a:latin typeface="Aptos Light" panose="020B0004020202020204" pitchFamily="34" charset="0"/>
              </a:rPr>
              <a:t>Reduced cost by 60% with reduction in refresh time for all reports i.e., &lt;15 minute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u="none" strike="noStrike" kern="1200" cap="none" spc="0" normalizeH="0" baseline="0" noProof="0">
                <a:ln>
                  <a:noFill/>
                </a:ln>
                <a:solidFill>
                  <a:schemeClr val="bg2"/>
                </a:solidFill>
                <a:effectLst/>
                <a:uLnTx/>
                <a:uFillTx/>
                <a:latin typeface="Aptos Light" panose="020B0004020202020204" pitchFamily="34" charset="0"/>
              </a:rPr>
              <a:t>Reports development is made easier by handling specific data on project requirements</a:t>
            </a:r>
          </a:p>
        </p:txBody>
      </p:sp>
      <p:pic>
        <p:nvPicPr>
          <p:cNvPr id="2142" name="Picture 12" descr="dataflow&quot; Icon - Download for free – Iconduck">
            <a:extLst>
              <a:ext uri="{FF2B5EF4-FFF2-40B4-BE49-F238E27FC236}">
                <a16:creationId xmlns:a16="http://schemas.microsoft.com/office/drawing/2014/main" id="{4076F1BC-7397-EF94-895F-158C6EB9FB32}"/>
              </a:ext>
            </a:extLst>
          </p:cNvPr>
          <p:cNvPicPr>
            <a:picLocks noChangeAspect="1" noChangeArrowheads="1"/>
          </p:cNvPicPr>
          <p:nvPr/>
        </p:nvPicPr>
        <p:blipFill>
          <a:blip r:embed="rId8" cstate="print">
            <a:duotone>
              <a:prstClr val="black"/>
              <a:schemeClr val="accent3">
                <a:tint val="45000"/>
                <a:satMod val="400000"/>
              </a:schemeClr>
            </a:duotone>
            <a:alphaModFix amt="50000"/>
            <a:extLst>
              <a:ext uri="{28A0092B-C50C-407E-A947-70E740481C1C}">
                <a14:useLocalDpi xmlns:a14="http://schemas.microsoft.com/office/drawing/2010/main" val="0"/>
              </a:ext>
            </a:extLst>
          </a:blip>
          <a:srcRect/>
          <a:stretch>
            <a:fillRect/>
          </a:stretch>
        </p:blipFill>
        <p:spPr bwMode="auto">
          <a:xfrm>
            <a:off x="6689103" y="2961687"/>
            <a:ext cx="454154" cy="519033"/>
          </a:xfrm>
          <a:prstGeom prst="rect">
            <a:avLst/>
          </a:prstGeom>
          <a:noFill/>
          <a:extLst>
            <a:ext uri="{909E8E84-426E-40DD-AFC4-6F175D3DCCD1}">
              <a14:hiddenFill xmlns:a14="http://schemas.microsoft.com/office/drawing/2010/main">
                <a:solidFill>
                  <a:srgbClr val="FFFFFF"/>
                </a:solidFill>
              </a14:hiddenFill>
            </a:ext>
          </a:extLst>
        </p:spPr>
      </p:pic>
      <p:pic>
        <p:nvPicPr>
          <p:cNvPr id="2143" name="Picture 12" descr="dataflow&quot; Icon - Download for free – Iconduck">
            <a:extLst>
              <a:ext uri="{FF2B5EF4-FFF2-40B4-BE49-F238E27FC236}">
                <a16:creationId xmlns:a16="http://schemas.microsoft.com/office/drawing/2014/main" id="{66E211B2-4684-755B-2C1E-F8093ED023AC}"/>
              </a:ext>
            </a:extLst>
          </p:cNvPr>
          <p:cNvPicPr>
            <a:picLocks noChangeAspect="1" noChangeArrowheads="1"/>
          </p:cNvPicPr>
          <p:nvPr/>
        </p:nvPicPr>
        <p:blipFill>
          <a:blip r:embed="rId8" cstate="print">
            <a:duotone>
              <a:prstClr val="black"/>
              <a:schemeClr val="accent3">
                <a:tint val="45000"/>
                <a:satMod val="400000"/>
              </a:schemeClr>
            </a:duotone>
            <a:alphaModFix amt="50000"/>
            <a:extLst>
              <a:ext uri="{28A0092B-C50C-407E-A947-70E740481C1C}">
                <a14:useLocalDpi xmlns:a14="http://schemas.microsoft.com/office/drawing/2010/main" val="0"/>
              </a:ext>
            </a:extLst>
          </a:blip>
          <a:srcRect/>
          <a:stretch>
            <a:fillRect/>
          </a:stretch>
        </p:blipFill>
        <p:spPr bwMode="auto">
          <a:xfrm>
            <a:off x="6692529" y="5475411"/>
            <a:ext cx="447302" cy="511202"/>
          </a:xfrm>
          <a:prstGeom prst="rect">
            <a:avLst/>
          </a:prstGeom>
          <a:noFill/>
          <a:extLst>
            <a:ext uri="{909E8E84-426E-40DD-AFC4-6F175D3DCCD1}">
              <a14:hiddenFill xmlns:a14="http://schemas.microsoft.com/office/drawing/2010/main">
                <a:solidFill>
                  <a:srgbClr val="FFFFFF"/>
                </a:solidFill>
              </a14:hiddenFill>
            </a:ext>
          </a:extLst>
        </p:spPr>
      </p:pic>
      <p:pic>
        <p:nvPicPr>
          <p:cNvPr id="2144" name="Picture 2" descr="Semantic - Free arrows icons">
            <a:extLst>
              <a:ext uri="{FF2B5EF4-FFF2-40B4-BE49-F238E27FC236}">
                <a16:creationId xmlns:a16="http://schemas.microsoft.com/office/drawing/2014/main" id="{6D0C2AD0-C27F-5006-6F18-442FF65D32E4}"/>
              </a:ext>
            </a:extLst>
          </p:cNvPr>
          <p:cNvPicPr>
            <a:picLocks noChangeAspect="1" noChangeArrowheads="1"/>
          </p:cNvPicPr>
          <p:nvPr/>
        </p:nvPicPr>
        <p:blipFill>
          <a:blip r:embed="rId3">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024532" y="2815352"/>
            <a:ext cx="1102020" cy="1102020"/>
          </a:xfrm>
          <a:prstGeom prst="rect">
            <a:avLst/>
          </a:prstGeom>
          <a:noFill/>
          <a:extLst>
            <a:ext uri="{909E8E84-426E-40DD-AFC4-6F175D3DCCD1}">
              <a14:hiddenFill xmlns:a14="http://schemas.microsoft.com/office/drawing/2010/main">
                <a:solidFill>
                  <a:srgbClr val="FFFFFF"/>
                </a:solidFill>
              </a14:hiddenFill>
            </a:ext>
          </a:extLst>
        </p:spPr>
      </p:pic>
      <p:pic>
        <p:nvPicPr>
          <p:cNvPr id="2145" name="Picture 2" descr="Semantic - Free arrows icons">
            <a:extLst>
              <a:ext uri="{FF2B5EF4-FFF2-40B4-BE49-F238E27FC236}">
                <a16:creationId xmlns:a16="http://schemas.microsoft.com/office/drawing/2014/main" id="{2D3E4A55-D58F-6B6B-D062-70116A43327F}"/>
              </a:ext>
            </a:extLst>
          </p:cNvPr>
          <p:cNvPicPr>
            <a:picLocks noChangeAspect="1" noChangeArrowheads="1"/>
          </p:cNvPicPr>
          <p:nvPr/>
        </p:nvPicPr>
        <p:blipFill>
          <a:blip r:embed="rId3" cstate="print">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247036" y="5168220"/>
            <a:ext cx="679677" cy="679677"/>
          </a:xfrm>
          <a:prstGeom prst="rect">
            <a:avLst/>
          </a:prstGeom>
          <a:noFill/>
          <a:extLst>
            <a:ext uri="{909E8E84-426E-40DD-AFC4-6F175D3DCCD1}">
              <a14:hiddenFill xmlns:a14="http://schemas.microsoft.com/office/drawing/2010/main">
                <a:solidFill>
                  <a:srgbClr val="FFFFFF"/>
                </a:solidFill>
              </a14:hiddenFill>
            </a:ext>
          </a:extLst>
        </p:spPr>
      </p:pic>
      <p:pic>
        <p:nvPicPr>
          <p:cNvPr id="2146" name="Picture 2" descr="Microsoft Power BI Logo and symbol, meaning, history, PNG, brand">
            <a:extLst>
              <a:ext uri="{FF2B5EF4-FFF2-40B4-BE49-F238E27FC236}">
                <a16:creationId xmlns:a16="http://schemas.microsoft.com/office/drawing/2014/main" id="{5AE72CC6-5A97-A6D0-3E6F-42D3DEBD553C}"/>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131810" y="2608428"/>
            <a:ext cx="724943" cy="400342"/>
          </a:xfrm>
          <a:prstGeom prst="rect">
            <a:avLst/>
          </a:prstGeom>
          <a:noFill/>
          <a:extLst>
            <a:ext uri="{909E8E84-426E-40DD-AFC4-6F175D3DCCD1}">
              <a14:hiddenFill xmlns:a14="http://schemas.microsoft.com/office/drawing/2010/main">
                <a:solidFill>
                  <a:srgbClr val="FFFFFF"/>
                </a:solidFill>
              </a14:hiddenFill>
            </a:ext>
          </a:extLst>
        </p:spPr>
      </p:pic>
      <p:pic>
        <p:nvPicPr>
          <p:cNvPr id="2147" name="Picture 2" descr="Microsoft Power BI Logo and symbol, meaning, history, PNG, brand">
            <a:extLst>
              <a:ext uri="{FF2B5EF4-FFF2-40B4-BE49-F238E27FC236}">
                <a16:creationId xmlns:a16="http://schemas.microsoft.com/office/drawing/2014/main" id="{79208D8B-18A8-8B60-17ED-A3EEEF074AD0}"/>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162635" y="3987115"/>
            <a:ext cx="697197" cy="385019"/>
          </a:xfrm>
          <a:prstGeom prst="rect">
            <a:avLst/>
          </a:prstGeom>
          <a:noFill/>
          <a:extLst>
            <a:ext uri="{909E8E84-426E-40DD-AFC4-6F175D3DCCD1}">
              <a14:hiddenFill xmlns:a14="http://schemas.microsoft.com/office/drawing/2010/main">
                <a:solidFill>
                  <a:srgbClr val="FFFFFF"/>
                </a:solidFill>
              </a14:hiddenFill>
            </a:ext>
          </a:extLst>
        </p:spPr>
      </p:pic>
      <p:pic>
        <p:nvPicPr>
          <p:cNvPr id="2148" name="Picture 2" descr="Microsoft Power BI Logo and symbol, meaning, history, PNG, brand">
            <a:extLst>
              <a:ext uri="{FF2B5EF4-FFF2-40B4-BE49-F238E27FC236}">
                <a16:creationId xmlns:a16="http://schemas.microsoft.com/office/drawing/2014/main" id="{B70E6C6D-5461-E02A-D25E-8EF7743765C5}"/>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266397" y="5347506"/>
            <a:ext cx="679677" cy="375345"/>
          </a:xfrm>
          <a:prstGeom prst="rect">
            <a:avLst/>
          </a:prstGeom>
          <a:noFill/>
          <a:extLst>
            <a:ext uri="{909E8E84-426E-40DD-AFC4-6F175D3DCCD1}">
              <a14:hiddenFill xmlns:a14="http://schemas.microsoft.com/office/drawing/2010/main">
                <a:solidFill>
                  <a:srgbClr val="FFFFFF"/>
                </a:solidFill>
              </a14:hiddenFill>
            </a:ext>
          </a:extLst>
        </p:spPr>
      </p:pic>
      <p:sp>
        <p:nvSpPr>
          <p:cNvPr id="2149" name="TextBox 2148">
            <a:extLst>
              <a:ext uri="{FF2B5EF4-FFF2-40B4-BE49-F238E27FC236}">
                <a16:creationId xmlns:a16="http://schemas.microsoft.com/office/drawing/2014/main" id="{C0669976-F8C6-2E3B-3AD0-93A38E3995DC}"/>
              </a:ext>
            </a:extLst>
          </p:cNvPr>
          <p:cNvSpPr txBox="1"/>
          <p:nvPr/>
        </p:nvSpPr>
        <p:spPr>
          <a:xfrm>
            <a:off x="9550359" y="3084948"/>
            <a:ext cx="2288972"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Aptos" panose="020B0004020202020204" pitchFamily="34" charset="0"/>
              </a:rPr>
              <a:t>Media Data Quality Tracker</a:t>
            </a:r>
          </a:p>
        </p:txBody>
      </p:sp>
      <p:sp>
        <p:nvSpPr>
          <p:cNvPr id="2150" name="TextBox 2149">
            <a:extLst>
              <a:ext uri="{FF2B5EF4-FFF2-40B4-BE49-F238E27FC236}">
                <a16:creationId xmlns:a16="http://schemas.microsoft.com/office/drawing/2014/main" id="{1D799D5E-09D8-3F7A-D7E4-9BFBB7A84756}"/>
              </a:ext>
            </a:extLst>
          </p:cNvPr>
          <p:cNvSpPr txBox="1"/>
          <p:nvPr/>
        </p:nvSpPr>
        <p:spPr>
          <a:xfrm>
            <a:off x="9454705" y="4521584"/>
            <a:ext cx="2288972"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Aptos" panose="020B0004020202020204" pitchFamily="34" charset="0"/>
              </a:rPr>
              <a:t>Meta / Snapchat / TikTok Reports</a:t>
            </a:r>
          </a:p>
        </p:txBody>
      </p:sp>
      <p:sp>
        <p:nvSpPr>
          <p:cNvPr id="2151" name="TextBox 2150">
            <a:extLst>
              <a:ext uri="{FF2B5EF4-FFF2-40B4-BE49-F238E27FC236}">
                <a16:creationId xmlns:a16="http://schemas.microsoft.com/office/drawing/2014/main" id="{8BC26A97-85BB-4085-98A4-A3A30B7C9B06}"/>
              </a:ext>
            </a:extLst>
          </p:cNvPr>
          <p:cNvSpPr txBox="1"/>
          <p:nvPr/>
        </p:nvSpPr>
        <p:spPr>
          <a:xfrm>
            <a:off x="9550359" y="5806297"/>
            <a:ext cx="2288972"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Aptos" panose="020B0004020202020204" pitchFamily="34" charset="0"/>
              </a:rPr>
              <a:t>Media E&amp;E Program Tracker</a:t>
            </a:r>
          </a:p>
        </p:txBody>
      </p:sp>
      <p:pic>
        <p:nvPicPr>
          <p:cNvPr id="2152" name="Picture 12" descr="dataflow&quot; Icon - Download for free – Iconduck">
            <a:extLst>
              <a:ext uri="{FF2B5EF4-FFF2-40B4-BE49-F238E27FC236}">
                <a16:creationId xmlns:a16="http://schemas.microsoft.com/office/drawing/2014/main" id="{2FAEFBCA-4D28-8767-3353-FB97DC939CB4}"/>
              </a:ext>
            </a:extLst>
          </p:cNvPr>
          <p:cNvPicPr>
            <a:picLocks noChangeAspect="1" noChangeArrowheads="1"/>
          </p:cNvPicPr>
          <p:nvPr/>
        </p:nvPicPr>
        <p:blipFill>
          <a:blip r:embed="rId8" cstate="print">
            <a:duotone>
              <a:prstClr val="black"/>
              <a:schemeClr val="accent3">
                <a:tint val="45000"/>
                <a:satMod val="400000"/>
              </a:schemeClr>
            </a:duotone>
            <a:alphaModFix amt="50000"/>
            <a:extLst>
              <a:ext uri="{28A0092B-C50C-407E-A947-70E740481C1C}">
                <a14:useLocalDpi xmlns:a14="http://schemas.microsoft.com/office/drawing/2010/main" val="0"/>
              </a:ext>
            </a:extLst>
          </a:blip>
          <a:srcRect/>
          <a:stretch>
            <a:fillRect/>
          </a:stretch>
        </p:blipFill>
        <p:spPr bwMode="auto">
          <a:xfrm>
            <a:off x="6692530" y="4399717"/>
            <a:ext cx="447301" cy="511201"/>
          </a:xfrm>
          <a:prstGeom prst="rect">
            <a:avLst/>
          </a:prstGeom>
          <a:noFill/>
          <a:extLst>
            <a:ext uri="{909E8E84-426E-40DD-AFC4-6F175D3DCCD1}">
              <a14:hiddenFill xmlns:a14="http://schemas.microsoft.com/office/drawing/2010/main">
                <a:solidFill>
                  <a:srgbClr val="FFFFFF"/>
                </a:solidFill>
              </a14:hiddenFill>
            </a:ext>
          </a:extLst>
        </p:spPr>
      </p:pic>
      <p:cxnSp>
        <p:nvCxnSpPr>
          <p:cNvPr id="2154" name="Connector: Elbow 2153">
            <a:extLst>
              <a:ext uri="{FF2B5EF4-FFF2-40B4-BE49-F238E27FC236}">
                <a16:creationId xmlns:a16="http://schemas.microsoft.com/office/drawing/2014/main" id="{3082F885-D370-CF16-E248-FD4AF7DA4042}"/>
              </a:ext>
            </a:extLst>
          </p:cNvPr>
          <p:cNvCxnSpPr>
            <a:cxnSpLocks/>
            <a:stCxn id="2145" idx="3"/>
            <a:endCxn id="2148" idx="1"/>
          </p:cNvCxnSpPr>
          <p:nvPr/>
        </p:nvCxnSpPr>
        <p:spPr>
          <a:xfrm>
            <a:off x="8926713" y="5508059"/>
            <a:ext cx="1339684" cy="27120"/>
          </a:xfrm>
          <a:prstGeom prst="bentConnector3">
            <a:avLst>
              <a:gd name="adj1" fmla="val 50000"/>
            </a:avLst>
          </a:prstGeom>
          <a:ln w="12700">
            <a:solidFill>
              <a:schemeClr val="bg2">
                <a:alpha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156" name="Straight Arrow Connector 2155">
            <a:extLst>
              <a:ext uri="{FF2B5EF4-FFF2-40B4-BE49-F238E27FC236}">
                <a16:creationId xmlns:a16="http://schemas.microsoft.com/office/drawing/2014/main" id="{46EE98A1-FBC3-C517-EC79-A9B4CE82A04E}"/>
              </a:ext>
            </a:extLst>
          </p:cNvPr>
          <p:cNvCxnSpPr>
            <a:stCxn id="2144" idx="2"/>
            <a:endCxn id="2145" idx="0"/>
          </p:cNvCxnSpPr>
          <p:nvPr/>
        </p:nvCxnSpPr>
        <p:spPr>
          <a:xfrm>
            <a:off x="8575542" y="3917372"/>
            <a:ext cx="11333" cy="1250848"/>
          </a:xfrm>
          <a:prstGeom prst="straightConnector1">
            <a:avLst/>
          </a:prstGeom>
          <a:ln w="28575">
            <a:solidFill>
              <a:srgbClr val="09611F"/>
            </a:solidFill>
            <a:tailEnd type="triangle"/>
          </a:ln>
        </p:spPr>
        <p:style>
          <a:lnRef idx="2">
            <a:schemeClr val="accent1"/>
          </a:lnRef>
          <a:fillRef idx="0">
            <a:schemeClr val="accent1"/>
          </a:fillRef>
          <a:effectRef idx="1">
            <a:schemeClr val="accent1"/>
          </a:effectRef>
          <a:fontRef idx="minor">
            <a:schemeClr val="tx1"/>
          </a:fontRef>
        </p:style>
      </p:cxnSp>
      <p:cxnSp>
        <p:nvCxnSpPr>
          <p:cNvPr id="2159" name="Connector: Elbow 2158">
            <a:extLst>
              <a:ext uri="{FF2B5EF4-FFF2-40B4-BE49-F238E27FC236}">
                <a16:creationId xmlns:a16="http://schemas.microsoft.com/office/drawing/2014/main" id="{F4190F9D-C931-A72E-DEE9-E709C1B505EC}"/>
              </a:ext>
            </a:extLst>
          </p:cNvPr>
          <p:cNvCxnSpPr>
            <a:stCxn id="2144" idx="3"/>
            <a:endCxn id="2146" idx="1"/>
          </p:cNvCxnSpPr>
          <p:nvPr/>
        </p:nvCxnSpPr>
        <p:spPr>
          <a:xfrm flipV="1">
            <a:off x="9126552" y="2808599"/>
            <a:ext cx="1005258" cy="557763"/>
          </a:xfrm>
          <a:prstGeom prst="bentConnector3">
            <a:avLst/>
          </a:prstGeom>
          <a:ln w="12700">
            <a:solidFill>
              <a:schemeClr val="bg2">
                <a:alpha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160" name="Connector: Elbow 2159">
            <a:extLst>
              <a:ext uri="{FF2B5EF4-FFF2-40B4-BE49-F238E27FC236}">
                <a16:creationId xmlns:a16="http://schemas.microsoft.com/office/drawing/2014/main" id="{098EC434-2BD0-29A6-396A-074C7D658333}"/>
              </a:ext>
            </a:extLst>
          </p:cNvPr>
          <p:cNvCxnSpPr>
            <a:cxnSpLocks/>
            <a:stCxn id="2144" idx="3"/>
            <a:endCxn id="2147" idx="1"/>
          </p:cNvCxnSpPr>
          <p:nvPr/>
        </p:nvCxnSpPr>
        <p:spPr>
          <a:xfrm>
            <a:off x="9126552" y="3366362"/>
            <a:ext cx="1036083" cy="813263"/>
          </a:xfrm>
          <a:prstGeom prst="bentConnector3">
            <a:avLst/>
          </a:prstGeom>
          <a:ln w="12700">
            <a:solidFill>
              <a:schemeClr val="bg2">
                <a:alpha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164" name="Connector: Curved 2163">
            <a:extLst>
              <a:ext uri="{FF2B5EF4-FFF2-40B4-BE49-F238E27FC236}">
                <a16:creationId xmlns:a16="http://schemas.microsoft.com/office/drawing/2014/main" id="{DCC783D3-41FC-CF1B-EA0E-EBE42357FBDF}"/>
              </a:ext>
            </a:extLst>
          </p:cNvPr>
          <p:cNvCxnSpPr>
            <a:cxnSpLocks/>
            <a:stCxn id="2142" idx="3"/>
            <a:endCxn id="2144" idx="1"/>
          </p:cNvCxnSpPr>
          <p:nvPr/>
        </p:nvCxnSpPr>
        <p:spPr>
          <a:xfrm>
            <a:off x="7143257" y="3221204"/>
            <a:ext cx="881275" cy="145158"/>
          </a:xfrm>
          <a:prstGeom prst="curvedConnector3">
            <a:avLst/>
          </a:prstGeom>
          <a:ln w="12700">
            <a:solidFill>
              <a:schemeClr val="bg2">
                <a:alpha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165" name="Connector: Curved 2164">
            <a:extLst>
              <a:ext uri="{FF2B5EF4-FFF2-40B4-BE49-F238E27FC236}">
                <a16:creationId xmlns:a16="http://schemas.microsoft.com/office/drawing/2014/main" id="{AAF7A95E-55C4-7B13-22F1-551DF79BB535}"/>
              </a:ext>
            </a:extLst>
          </p:cNvPr>
          <p:cNvCxnSpPr>
            <a:cxnSpLocks/>
            <a:stCxn id="2152" idx="3"/>
            <a:endCxn id="2144" idx="1"/>
          </p:cNvCxnSpPr>
          <p:nvPr/>
        </p:nvCxnSpPr>
        <p:spPr>
          <a:xfrm flipV="1">
            <a:off x="7139831" y="3366362"/>
            <a:ext cx="884701" cy="1288956"/>
          </a:xfrm>
          <a:prstGeom prst="curvedConnector3">
            <a:avLst/>
          </a:prstGeom>
          <a:ln w="12700">
            <a:solidFill>
              <a:schemeClr val="bg2">
                <a:alpha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168" name="Connector: Curved 2167">
            <a:extLst>
              <a:ext uri="{FF2B5EF4-FFF2-40B4-BE49-F238E27FC236}">
                <a16:creationId xmlns:a16="http://schemas.microsoft.com/office/drawing/2014/main" id="{497B5BDC-A700-43D5-FC1F-149158CB0296}"/>
              </a:ext>
            </a:extLst>
          </p:cNvPr>
          <p:cNvCxnSpPr>
            <a:cxnSpLocks/>
            <a:stCxn id="2143" idx="3"/>
            <a:endCxn id="2145" idx="1"/>
          </p:cNvCxnSpPr>
          <p:nvPr/>
        </p:nvCxnSpPr>
        <p:spPr>
          <a:xfrm flipV="1">
            <a:off x="7139831" y="5508059"/>
            <a:ext cx="1107205" cy="222953"/>
          </a:xfrm>
          <a:prstGeom prst="curvedConnector3">
            <a:avLst>
              <a:gd name="adj1" fmla="val 50000"/>
            </a:avLst>
          </a:prstGeom>
          <a:ln w="12700">
            <a:solidFill>
              <a:schemeClr val="bg2">
                <a:alpha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171" name="Connector: Curved 2170">
            <a:extLst>
              <a:ext uri="{FF2B5EF4-FFF2-40B4-BE49-F238E27FC236}">
                <a16:creationId xmlns:a16="http://schemas.microsoft.com/office/drawing/2014/main" id="{924FCDC7-124E-3BD8-0D0E-7303D0A8DF7A}"/>
              </a:ext>
            </a:extLst>
          </p:cNvPr>
          <p:cNvCxnSpPr>
            <a:cxnSpLocks/>
            <a:stCxn id="2052" idx="3"/>
            <a:endCxn id="2142" idx="1"/>
          </p:cNvCxnSpPr>
          <p:nvPr/>
        </p:nvCxnSpPr>
        <p:spPr>
          <a:xfrm>
            <a:off x="5471086" y="2731371"/>
            <a:ext cx="1218017" cy="489833"/>
          </a:xfrm>
          <a:prstGeom prst="curvedConnector3">
            <a:avLst>
              <a:gd name="adj1" fmla="val 50000"/>
            </a:avLst>
          </a:prstGeom>
          <a:ln w="12700">
            <a:solidFill>
              <a:schemeClr val="bg2">
                <a:alpha val="6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174" name="Connector: Curved 2173">
            <a:extLst>
              <a:ext uri="{FF2B5EF4-FFF2-40B4-BE49-F238E27FC236}">
                <a16:creationId xmlns:a16="http://schemas.microsoft.com/office/drawing/2014/main" id="{67C08CE5-7A5F-20E6-9B2B-0581909DBDB9}"/>
              </a:ext>
            </a:extLst>
          </p:cNvPr>
          <p:cNvCxnSpPr>
            <a:cxnSpLocks/>
            <a:stCxn id="2052" idx="3"/>
            <a:endCxn id="2152" idx="1"/>
          </p:cNvCxnSpPr>
          <p:nvPr/>
        </p:nvCxnSpPr>
        <p:spPr>
          <a:xfrm>
            <a:off x="5471086" y="2731371"/>
            <a:ext cx="1221444" cy="1923947"/>
          </a:xfrm>
          <a:prstGeom prst="curvedConnector3">
            <a:avLst>
              <a:gd name="adj1" fmla="val 50000"/>
            </a:avLst>
          </a:prstGeom>
          <a:ln w="12700">
            <a:solidFill>
              <a:schemeClr val="bg2">
                <a:alpha val="6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177" name="Connector: Curved 2176">
            <a:extLst>
              <a:ext uri="{FF2B5EF4-FFF2-40B4-BE49-F238E27FC236}">
                <a16:creationId xmlns:a16="http://schemas.microsoft.com/office/drawing/2014/main" id="{F4727CF2-98FF-60B6-0A6C-6C65274257A0}"/>
              </a:ext>
            </a:extLst>
          </p:cNvPr>
          <p:cNvCxnSpPr>
            <a:cxnSpLocks/>
            <a:stCxn id="2054" idx="3"/>
            <a:endCxn id="2142" idx="1"/>
          </p:cNvCxnSpPr>
          <p:nvPr/>
        </p:nvCxnSpPr>
        <p:spPr>
          <a:xfrm flipV="1">
            <a:off x="5587027" y="3221204"/>
            <a:ext cx="1102076" cy="726811"/>
          </a:xfrm>
          <a:prstGeom prst="curvedConnector3">
            <a:avLst>
              <a:gd name="adj1" fmla="val 50000"/>
            </a:avLst>
          </a:prstGeom>
          <a:ln w="12700">
            <a:solidFill>
              <a:schemeClr val="bg2">
                <a:alpha val="6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180" name="Connector: Curved 2179">
            <a:extLst>
              <a:ext uri="{FF2B5EF4-FFF2-40B4-BE49-F238E27FC236}">
                <a16:creationId xmlns:a16="http://schemas.microsoft.com/office/drawing/2014/main" id="{3CC4D158-F886-19AE-7C07-84AC13CA5184}"/>
              </a:ext>
            </a:extLst>
          </p:cNvPr>
          <p:cNvCxnSpPr>
            <a:cxnSpLocks/>
            <a:stCxn id="2054" idx="3"/>
            <a:endCxn id="2152" idx="1"/>
          </p:cNvCxnSpPr>
          <p:nvPr/>
        </p:nvCxnSpPr>
        <p:spPr>
          <a:xfrm>
            <a:off x="5587027" y="3948015"/>
            <a:ext cx="1105503" cy="707303"/>
          </a:xfrm>
          <a:prstGeom prst="curvedConnector3">
            <a:avLst>
              <a:gd name="adj1" fmla="val 50000"/>
            </a:avLst>
          </a:prstGeom>
          <a:ln w="12700">
            <a:solidFill>
              <a:schemeClr val="bg2">
                <a:alpha val="6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183" name="Connector: Curved 2182">
            <a:extLst>
              <a:ext uri="{FF2B5EF4-FFF2-40B4-BE49-F238E27FC236}">
                <a16:creationId xmlns:a16="http://schemas.microsoft.com/office/drawing/2014/main" id="{5256D63A-71A2-73FD-9B77-C1E34E482425}"/>
              </a:ext>
            </a:extLst>
          </p:cNvPr>
          <p:cNvCxnSpPr>
            <a:cxnSpLocks/>
            <a:stCxn id="2058" idx="3"/>
            <a:endCxn id="2152" idx="1"/>
          </p:cNvCxnSpPr>
          <p:nvPr/>
        </p:nvCxnSpPr>
        <p:spPr>
          <a:xfrm flipV="1">
            <a:off x="5517374" y="4655318"/>
            <a:ext cx="1175156" cy="512902"/>
          </a:xfrm>
          <a:prstGeom prst="curvedConnector3">
            <a:avLst>
              <a:gd name="adj1" fmla="val 50000"/>
            </a:avLst>
          </a:prstGeom>
          <a:ln w="12700">
            <a:solidFill>
              <a:schemeClr val="bg2">
                <a:alpha val="6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186" name="Connector: Curved 2185">
            <a:extLst>
              <a:ext uri="{FF2B5EF4-FFF2-40B4-BE49-F238E27FC236}">
                <a16:creationId xmlns:a16="http://schemas.microsoft.com/office/drawing/2014/main" id="{A328344F-0A4B-D04D-2C35-4CD7D52C589A}"/>
              </a:ext>
            </a:extLst>
          </p:cNvPr>
          <p:cNvCxnSpPr>
            <a:cxnSpLocks/>
            <a:stCxn id="2056" idx="3"/>
            <a:endCxn id="2143" idx="1"/>
          </p:cNvCxnSpPr>
          <p:nvPr/>
        </p:nvCxnSpPr>
        <p:spPr>
          <a:xfrm flipV="1">
            <a:off x="5461809" y="5731012"/>
            <a:ext cx="1230720" cy="465740"/>
          </a:xfrm>
          <a:prstGeom prst="curvedConnector3">
            <a:avLst>
              <a:gd name="adj1" fmla="val 50000"/>
            </a:avLst>
          </a:prstGeom>
          <a:ln w="12700">
            <a:solidFill>
              <a:schemeClr val="bg2">
                <a:alpha val="6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190" name="Connector: Curved 2189">
            <a:extLst>
              <a:ext uri="{FF2B5EF4-FFF2-40B4-BE49-F238E27FC236}">
                <a16:creationId xmlns:a16="http://schemas.microsoft.com/office/drawing/2014/main" id="{FD119B40-8710-E6A7-122E-4A6A102BB861}"/>
              </a:ext>
            </a:extLst>
          </p:cNvPr>
          <p:cNvCxnSpPr>
            <a:cxnSpLocks/>
            <a:stCxn id="2058" idx="3"/>
            <a:endCxn id="2143" idx="1"/>
          </p:cNvCxnSpPr>
          <p:nvPr/>
        </p:nvCxnSpPr>
        <p:spPr>
          <a:xfrm>
            <a:off x="5517374" y="5168220"/>
            <a:ext cx="1175155" cy="562792"/>
          </a:xfrm>
          <a:prstGeom prst="curvedConnector3">
            <a:avLst>
              <a:gd name="adj1" fmla="val 50000"/>
            </a:avLst>
          </a:prstGeom>
          <a:ln w="12700">
            <a:solidFill>
              <a:schemeClr val="bg2">
                <a:alpha val="6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2193" name="TextBox 2192">
            <a:extLst>
              <a:ext uri="{FF2B5EF4-FFF2-40B4-BE49-F238E27FC236}">
                <a16:creationId xmlns:a16="http://schemas.microsoft.com/office/drawing/2014/main" id="{DF58BADE-618B-9BB7-646A-8EF1D9366822}"/>
              </a:ext>
            </a:extLst>
          </p:cNvPr>
          <p:cNvSpPr txBox="1"/>
          <p:nvPr/>
        </p:nvSpPr>
        <p:spPr>
          <a:xfrm>
            <a:off x="7622249" y="3838540"/>
            <a:ext cx="1913903" cy="600164"/>
          </a:xfrm>
          <a:prstGeom prst="rect">
            <a:avLst/>
          </a:prstGeom>
          <a:solidFill>
            <a:srgbClr val="E8FCF4"/>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Aptos" panose="020B0004020202020204" pitchFamily="34" charset="0"/>
              </a:rPr>
              <a:t>Global Media Mode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rPr>
              <a:t>Size: </a:t>
            </a:r>
            <a:r>
              <a:rPr kumimoji="0" lang="en-US" sz="1100" b="1" i="0" u="none" strike="noStrike" kern="1200" cap="none" spc="0" normalizeH="0" baseline="0" noProof="0">
                <a:ln>
                  <a:noFill/>
                </a:ln>
                <a:solidFill>
                  <a:srgbClr val="008000"/>
                </a:solidFill>
                <a:effectLst/>
                <a:uLnTx/>
                <a:uFillTx/>
                <a:latin typeface="Aptos" panose="020B0004020202020204" pitchFamily="34" charset="0"/>
              </a:rPr>
              <a:t>&lt;200 M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rPr>
              <a:t>Refresh Time: </a:t>
            </a:r>
            <a:r>
              <a:rPr kumimoji="0" lang="en-US" sz="1100" b="1" i="0" u="none" strike="noStrike" kern="1200" cap="none" spc="0" normalizeH="0" baseline="0" noProof="0">
                <a:ln>
                  <a:noFill/>
                </a:ln>
                <a:solidFill>
                  <a:srgbClr val="008000"/>
                </a:solidFill>
                <a:effectLst/>
                <a:uLnTx/>
                <a:uFillTx/>
                <a:latin typeface="Aptos" panose="020B0004020202020204" pitchFamily="34" charset="0"/>
              </a:rPr>
              <a:t>&lt;15 mins</a:t>
            </a:r>
          </a:p>
        </p:txBody>
      </p:sp>
      <p:sp>
        <p:nvSpPr>
          <p:cNvPr id="2197" name="TextBox 2196">
            <a:extLst>
              <a:ext uri="{FF2B5EF4-FFF2-40B4-BE49-F238E27FC236}">
                <a16:creationId xmlns:a16="http://schemas.microsoft.com/office/drawing/2014/main" id="{72FEE6AB-8CC4-6770-A69B-AC4602F109CD}"/>
              </a:ext>
            </a:extLst>
          </p:cNvPr>
          <p:cNvSpPr txBox="1"/>
          <p:nvPr/>
        </p:nvSpPr>
        <p:spPr>
          <a:xfrm>
            <a:off x="7643737" y="5756176"/>
            <a:ext cx="1943903"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Aptos" panose="020B0004020202020204" pitchFamily="34" charset="0"/>
              </a:rPr>
              <a:t>Media E&amp;E Model (Composi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rPr>
              <a:t>Size: </a:t>
            </a:r>
            <a:r>
              <a:rPr kumimoji="0" lang="en-US" sz="1100" b="1" i="0" u="none" strike="noStrike" kern="1200" cap="none" spc="0" normalizeH="0" baseline="0" noProof="0">
                <a:ln>
                  <a:noFill/>
                </a:ln>
                <a:solidFill>
                  <a:srgbClr val="008000"/>
                </a:solidFill>
                <a:effectLst/>
                <a:uLnTx/>
                <a:uFillTx/>
                <a:latin typeface="Aptos" panose="020B0004020202020204" pitchFamily="34" charset="0"/>
              </a:rPr>
              <a:t>~30 M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rPr>
              <a:t>Refresh Time: </a:t>
            </a:r>
            <a:r>
              <a:rPr kumimoji="0" lang="en-US" sz="1100" b="1" i="0" u="none" strike="noStrike" kern="1200" cap="none" spc="0" normalizeH="0" baseline="0" noProof="0">
                <a:ln>
                  <a:noFill/>
                </a:ln>
                <a:solidFill>
                  <a:srgbClr val="008000"/>
                </a:solidFill>
                <a:effectLst/>
                <a:uLnTx/>
                <a:uFillTx/>
                <a:latin typeface="Aptos" panose="020B0004020202020204" pitchFamily="34" charset="0"/>
              </a:rPr>
              <a:t>&lt;5 mins</a:t>
            </a:r>
          </a:p>
        </p:txBody>
      </p:sp>
      <p:pic>
        <p:nvPicPr>
          <p:cNvPr id="2203" name="Picture 2" descr="Microsoft Power BI Logo and symbol, meaning, history, PNG, brand">
            <a:extLst>
              <a:ext uri="{FF2B5EF4-FFF2-40B4-BE49-F238E27FC236}">
                <a16:creationId xmlns:a16="http://schemas.microsoft.com/office/drawing/2014/main" id="{0222BE1F-7661-8DB4-B361-CF9FD7EED569}"/>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03249" y="4044816"/>
            <a:ext cx="780677" cy="431121"/>
          </a:xfrm>
          <a:prstGeom prst="rect">
            <a:avLst/>
          </a:prstGeom>
          <a:noFill/>
          <a:extLst>
            <a:ext uri="{909E8E84-426E-40DD-AFC4-6F175D3DCCD1}">
              <a14:hiddenFill xmlns:a14="http://schemas.microsoft.com/office/drawing/2010/main">
                <a:solidFill>
                  <a:srgbClr val="FFFFFF"/>
                </a:solidFill>
              </a14:hiddenFill>
            </a:ext>
          </a:extLst>
        </p:spPr>
      </p:pic>
      <p:pic>
        <p:nvPicPr>
          <p:cNvPr id="2204" name="Picture 2" descr="Microsoft Power BI Logo and symbol, meaning, history, PNG, brand">
            <a:extLst>
              <a:ext uri="{FF2B5EF4-FFF2-40B4-BE49-F238E27FC236}">
                <a16:creationId xmlns:a16="http://schemas.microsoft.com/office/drawing/2014/main" id="{F0D121A7-46A8-2DB2-B669-A0AFD74EB086}"/>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03249" y="5530891"/>
            <a:ext cx="780677" cy="431121"/>
          </a:xfrm>
          <a:prstGeom prst="rect">
            <a:avLst/>
          </a:prstGeom>
          <a:noFill/>
          <a:extLst>
            <a:ext uri="{909E8E84-426E-40DD-AFC4-6F175D3DCCD1}">
              <a14:hiddenFill xmlns:a14="http://schemas.microsoft.com/office/drawing/2010/main">
                <a:solidFill>
                  <a:srgbClr val="FFFFFF"/>
                </a:solidFill>
              </a14:hiddenFill>
            </a:ext>
          </a:extLst>
        </p:spPr>
      </p:pic>
      <p:sp>
        <p:nvSpPr>
          <p:cNvPr id="2287" name="Rectangle: Rounded Corners 2286">
            <a:extLst>
              <a:ext uri="{FF2B5EF4-FFF2-40B4-BE49-F238E27FC236}">
                <a16:creationId xmlns:a16="http://schemas.microsoft.com/office/drawing/2014/main" id="{807FD7B7-A37C-D328-465D-DFBAFF63B111}"/>
              </a:ext>
            </a:extLst>
          </p:cNvPr>
          <p:cNvSpPr/>
          <p:nvPr/>
        </p:nvSpPr>
        <p:spPr>
          <a:xfrm>
            <a:off x="2258464" y="2085568"/>
            <a:ext cx="1509261" cy="262782"/>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Aptos" panose="020B0004020202020204" pitchFamily="34" charset="0"/>
              </a:rPr>
              <a:t>Semantic Layer</a:t>
            </a:r>
          </a:p>
        </p:txBody>
      </p:sp>
      <p:sp>
        <p:nvSpPr>
          <p:cNvPr id="2288" name="Rectangle: Rounded Corners 2287">
            <a:extLst>
              <a:ext uri="{FF2B5EF4-FFF2-40B4-BE49-F238E27FC236}">
                <a16:creationId xmlns:a16="http://schemas.microsoft.com/office/drawing/2014/main" id="{BE615DA9-4889-97A9-BD94-E25D1D990ED2}"/>
              </a:ext>
            </a:extLst>
          </p:cNvPr>
          <p:cNvSpPr/>
          <p:nvPr/>
        </p:nvSpPr>
        <p:spPr>
          <a:xfrm>
            <a:off x="4447530" y="1902879"/>
            <a:ext cx="1509261" cy="262782"/>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Aptos" panose="020B0004020202020204" pitchFamily="34" charset="0"/>
              </a:rPr>
              <a:t>Data Source</a:t>
            </a:r>
          </a:p>
        </p:txBody>
      </p:sp>
      <p:sp>
        <p:nvSpPr>
          <p:cNvPr id="2289" name="Rectangle: Rounded Corners 2288">
            <a:extLst>
              <a:ext uri="{FF2B5EF4-FFF2-40B4-BE49-F238E27FC236}">
                <a16:creationId xmlns:a16="http://schemas.microsoft.com/office/drawing/2014/main" id="{E6968B0A-9954-7540-883F-169B8B8E4B9B}"/>
              </a:ext>
            </a:extLst>
          </p:cNvPr>
          <p:cNvSpPr/>
          <p:nvPr/>
        </p:nvSpPr>
        <p:spPr>
          <a:xfrm>
            <a:off x="6123472" y="2563370"/>
            <a:ext cx="1509261" cy="262782"/>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err="1">
                <a:ln>
                  <a:noFill/>
                </a:ln>
                <a:solidFill>
                  <a:schemeClr val="tx1"/>
                </a:solidFill>
                <a:effectLst/>
                <a:uLnTx/>
                <a:uFillTx/>
                <a:latin typeface="Aptos" panose="020B0004020202020204" pitchFamily="34" charset="0"/>
              </a:rPr>
              <a:t>DataFlow</a:t>
            </a:r>
            <a:endParaRPr kumimoji="0" lang="en-US" sz="1400" b="1" i="0" u="none" strike="noStrike" kern="1200" cap="none" spc="0" normalizeH="0" baseline="0" noProof="0">
              <a:ln>
                <a:noFill/>
              </a:ln>
              <a:solidFill>
                <a:schemeClr val="tx1"/>
              </a:solidFill>
              <a:effectLst/>
              <a:uLnTx/>
              <a:uFillTx/>
              <a:latin typeface="Aptos" panose="020B0004020202020204" pitchFamily="34" charset="0"/>
            </a:endParaRPr>
          </a:p>
        </p:txBody>
      </p:sp>
      <p:sp>
        <p:nvSpPr>
          <p:cNvPr id="2290" name="Rectangle: Rounded Corners 2289">
            <a:extLst>
              <a:ext uri="{FF2B5EF4-FFF2-40B4-BE49-F238E27FC236}">
                <a16:creationId xmlns:a16="http://schemas.microsoft.com/office/drawing/2014/main" id="{A663EFC3-5A55-2884-3F7D-E096E8A2D89F}"/>
              </a:ext>
            </a:extLst>
          </p:cNvPr>
          <p:cNvSpPr/>
          <p:nvPr/>
        </p:nvSpPr>
        <p:spPr>
          <a:xfrm>
            <a:off x="7741275" y="2563857"/>
            <a:ext cx="1509261" cy="262782"/>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Aptos" panose="020B0004020202020204" pitchFamily="34" charset="0"/>
              </a:rPr>
              <a:t>Semantic Layer</a:t>
            </a:r>
          </a:p>
        </p:txBody>
      </p:sp>
      <p:sp>
        <p:nvSpPr>
          <p:cNvPr id="3" name="Title 1">
            <a:extLst>
              <a:ext uri="{FF2B5EF4-FFF2-40B4-BE49-F238E27FC236}">
                <a16:creationId xmlns:a16="http://schemas.microsoft.com/office/drawing/2014/main" id="{E6AE6852-5A19-41E0-16BF-28D2F08F08AF}"/>
              </a:ext>
            </a:extLst>
          </p:cNvPr>
          <p:cNvSpPr txBox="1">
            <a:spLocks/>
          </p:cNvSpPr>
          <p:nvPr/>
        </p:nvSpPr>
        <p:spPr>
          <a:xfrm>
            <a:off x="232675" y="309032"/>
            <a:ext cx="11606656" cy="38660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73152" rIns="0" bIns="0"/>
          <a:lstStyle>
            <a:lvl1pPr marL="0" marR="0" indent="0" algn="l" defTabSz="1218948" rtl="0" eaLnBrk="1" latinLnBrk="0" hangingPunct="1">
              <a:lnSpc>
                <a:spcPct val="80000"/>
              </a:lnSpc>
              <a:spcBef>
                <a:spcPts val="0"/>
              </a:spcBef>
              <a:spcAft>
                <a:spcPts val="0"/>
              </a:spcAft>
              <a:buClrTx/>
              <a:buSzTx/>
              <a:buFontTx/>
              <a:buNone/>
              <a:tabLst/>
              <a:defRPr sz="3500" b="0" i="0" u="none" strike="noStrike" cap="none" spc="0" baseline="0">
                <a:solidFill>
                  <a:schemeClr val="bg1"/>
                </a:solidFill>
                <a:uFillTx/>
                <a:latin typeface="Aptos Light" panose="020B0004020202020204" pitchFamily="34" charset="0"/>
                <a:ea typeface="+mj-ea"/>
                <a:cs typeface="+mj-cs"/>
                <a:sym typeface="IBM Plex Sans Light"/>
              </a:defRPr>
            </a:lvl1pPr>
            <a:lvl2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7"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5"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1"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88"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r>
              <a:rPr lang="en-US" kern="0">
                <a:solidFill>
                  <a:srgbClr val="002060"/>
                </a:solidFill>
                <a:latin typeface="Aptos" panose="020B0004020202020204" pitchFamily="34" charset="0"/>
              </a:rPr>
              <a:t>Global Media Dataset for Coty </a:t>
            </a:r>
          </a:p>
        </p:txBody>
      </p:sp>
    </p:spTree>
    <p:extLst>
      <p:ext uri="{BB962C8B-B14F-4D97-AF65-F5344CB8AC3E}">
        <p14:creationId xmlns:p14="http://schemas.microsoft.com/office/powerpoint/2010/main" val="1655463585"/>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A25918D9-5700-0266-A59D-101705331177}"/>
              </a:ext>
            </a:extLst>
          </p:cNvPr>
          <p:cNvSpPr txBox="1"/>
          <p:nvPr/>
        </p:nvSpPr>
        <p:spPr>
          <a:xfrm>
            <a:off x="7074081" y="336481"/>
            <a:ext cx="4301487" cy="307777"/>
          </a:xfrm>
          <a:prstGeom prst="rect">
            <a:avLst/>
          </a:prstGeom>
          <a:solidFill>
            <a:schemeClr val="bg1"/>
          </a:solidFill>
          <a:ln>
            <a:noFill/>
          </a:ln>
        </p:spPr>
        <p:txBody>
          <a:bodyPr wrap="square" rtlCol="0">
            <a:spAutoFit/>
          </a:bodyPr>
          <a:lstStyle/>
          <a:p>
            <a:pPr algn="ctr"/>
            <a:r>
              <a:rPr lang="en-US" sz="1400" b="1"/>
              <a:t>Media Data Quality Tracker</a:t>
            </a:r>
          </a:p>
        </p:txBody>
      </p:sp>
      <p:sp>
        <p:nvSpPr>
          <p:cNvPr id="5" name="TextBox 4">
            <a:extLst>
              <a:ext uri="{FF2B5EF4-FFF2-40B4-BE49-F238E27FC236}">
                <a16:creationId xmlns:a16="http://schemas.microsoft.com/office/drawing/2014/main" id="{3942E954-7588-16B2-902E-AB01801775CF}"/>
              </a:ext>
            </a:extLst>
          </p:cNvPr>
          <p:cNvSpPr txBox="1"/>
          <p:nvPr/>
        </p:nvSpPr>
        <p:spPr>
          <a:xfrm>
            <a:off x="395716" y="342900"/>
            <a:ext cx="5700284" cy="307777"/>
          </a:xfrm>
          <a:prstGeom prst="rect">
            <a:avLst/>
          </a:prstGeom>
          <a:solidFill>
            <a:schemeClr val="bg1"/>
          </a:solidFill>
          <a:ln>
            <a:noFill/>
          </a:ln>
        </p:spPr>
        <p:txBody>
          <a:bodyPr wrap="square" rtlCol="0">
            <a:spAutoFit/>
          </a:bodyPr>
          <a:lstStyle/>
          <a:p>
            <a:pPr algn="ctr"/>
            <a:r>
              <a:rPr lang="en-US" sz="1400" b="1"/>
              <a:t>Meta / Snapchat / TikTok Reports</a:t>
            </a:r>
          </a:p>
        </p:txBody>
      </p:sp>
      <p:sp>
        <p:nvSpPr>
          <p:cNvPr id="6" name="TextBox 5">
            <a:extLst>
              <a:ext uri="{FF2B5EF4-FFF2-40B4-BE49-F238E27FC236}">
                <a16:creationId xmlns:a16="http://schemas.microsoft.com/office/drawing/2014/main" id="{7EA1E6E7-1142-A086-C8C0-0F92DA316DC8}"/>
              </a:ext>
            </a:extLst>
          </p:cNvPr>
          <p:cNvSpPr txBox="1"/>
          <p:nvPr/>
        </p:nvSpPr>
        <p:spPr>
          <a:xfrm>
            <a:off x="7074081" y="3867252"/>
            <a:ext cx="4301487" cy="307777"/>
          </a:xfrm>
          <a:prstGeom prst="rect">
            <a:avLst/>
          </a:prstGeom>
          <a:solidFill>
            <a:schemeClr val="bg1"/>
          </a:solidFill>
          <a:ln>
            <a:noFill/>
          </a:ln>
        </p:spPr>
        <p:txBody>
          <a:bodyPr wrap="square" rtlCol="0">
            <a:spAutoFit/>
          </a:bodyPr>
          <a:lstStyle/>
          <a:p>
            <a:pPr algn="ctr"/>
            <a:r>
              <a:rPr lang="en-US" sz="1400" b="1"/>
              <a:t>Media E&amp;E Program Tracker</a:t>
            </a:r>
          </a:p>
        </p:txBody>
      </p:sp>
      <p:graphicFrame>
        <p:nvGraphicFramePr>
          <p:cNvPr id="11" name="Object 10">
            <a:extLst>
              <a:ext uri="{FF2B5EF4-FFF2-40B4-BE49-F238E27FC236}">
                <a16:creationId xmlns:a16="http://schemas.microsoft.com/office/drawing/2014/main" id="{F01447C5-61B8-E6B8-3B52-DA41CBE5B3F2}"/>
              </a:ext>
            </a:extLst>
          </p:cNvPr>
          <p:cNvGraphicFramePr>
            <a:graphicFrameLocks noChangeAspect="1"/>
          </p:cNvGraphicFramePr>
          <p:nvPr/>
        </p:nvGraphicFramePr>
        <p:xfrm>
          <a:off x="7237370" y="742230"/>
          <a:ext cx="1969861" cy="2446556"/>
        </p:xfrm>
        <a:graphic>
          <a:graphicData uri="http://schemas.openxmlformats.org/presentationml/2006/ole">
            <mc:AlternateContent xmlns:mc="http://schemas.openxmlformats.org/markup-compatibility/2006">
              <mc:Choice xmlns:v="urn:schemas-microsoft-com:vml" Requires="v">
                <p:oleObj name="Acrobat Document" r:id="rId2" imgW="12192000" imgH="15144684" progId="Acrobat.Document.DC">
                  <p:embed/>
                </p:oleObj>
              </mc:Choice>
              <mc:Fallback>
                <p:oleObj name="Acrobat Document" r:id="rId2" imgW="12192000" imgH="15144684" progId="Acrobat.Document.DC">
                  <p:embed/>
                  <p:pic>
                    <p:nvPicPr>
                      <p:cNvPr id="11" name="Object 10">
                        <a:extLst>
                          <a:ext uri="{FF2B5EF4-FFF2-40B4-BE49-F238E27FC236}">
                            <a16:creationId xmlns:a16="http://schemas.microsoft.com/office/drawing/2014/main" id="{F01447C5-61B8-E6B8-3B52-DA41CBE5B3F2}"/>
                          </a:ext>
                        </a:extLst>
                      </p:cNvPr>
                      <p:cNvPicPr/>
                      <p:nvPr/>
                    </p:nvPicPr>
                    <p:blipFill>
                      <a:blip r:embed="rId3"/>
                      <a:stretch>
                        <a:fillRect/>
                      </a:stretch>
                    </p:blipFill>
                    <p:spPr>
                      <a:xfrm>
                        <a:off x="7237370" y="742230"/>
                        <a:ext cx="1969861" cy="2446556"/>
                      </a:xfrm>
                      <a:prstGeom prst="rect">
                        <a:avLst/>
                      </a:prstGeom>
                    </p:spPr>
                  </p:pic>
                </p:oleObj>
              </mc:Fallback>
            </mc:AlternateContent>
          </a:graphicData>
        </a:graphic>
      </p:graphicFrame>
      <p:graphicFrame>
        <p:nvGraphicFramePr>
          <p:cNvPr id="9" name="Object 8">
            <a:extLst>
              <a:ext uri="{FF2B5EF4-FFF2-40B4-BE49-F238E27FC236}">
                <a16:creationId xmlns:a16="http://schemas.microsoft.com/office/drawing/2014/main" id="{F819EF59-9A59-DD44-3D30-0A935B15CDCD}"/>
              </a:ext>
            </a:extLst>
          </p:cNvPr>
          <p:cNvGraphicFramePr>
            <a:graphicFrameLocks noChangeAspect="1"/>
          </p:cNvGraphicFramePr>
          <p:nvPr/>
        </p:nvGraphicFramePr>
        <p:xfrm>
          <a:off x="395716" y="739254"/>
          <a:ext cx="3623139" cy="4652286"/>
        </p:xfrm>
        <a:graphic>
          <a:graphicData uri="http://schemas.openxmlformats.org/presentationml/2006/ole">
            <mc:AlternateContent xmlns:mc="http://schemas.openxmlformats.org/markup-compatibility/2006">
              <mc:Choice xmlns:v="urn:schemas-microsoft-com:vml" Requires="v">
                <p:oleObj name="Acrobat Document" r:id="rId4" imgW="16763803" imgH="21526192" progId="Acrobat.Document.DC">
                  <p:embed/>
                </p:oleObj>
              </mc:Choice>
              <mc:Fallback>
                <p:oleObj name="Acrobat Document" r:id="rId4" imgW="16763803" imgH="21526192" progId="Acrobat.Document.DC">
                  <p:embed/>
                  <p:pic>
                    <p:nvPicPr>
                      <p:cNvPr id="9" name="Object 8">
                        <a:extLst>
                          <a:ext uri="{FF2B5EF4-FFF2-40B4-BE49-F238E27FC236}">
                            <a16:creationId xmlns:a16="http://schemas.microsoft.com/office/drawing/2014/main" id="{F819EF59-9A59-DD44-3D30-0A935B15CDCD}"/>
                          </a:ext>
                        </a:extLst>
                      </p:cNvPr>
                      <p:cNvPicPr/>
                      <p:nvPr/>
                    </p:nvPicPr>
                    <p:blipFill>
                      <a:blip r:embed="rId5"/>
                      <a:stretch>
                        <a:fillRect/>
                      </a:stretch>
                    </p:blipFill>
                    <p:spPr>
                      <a:xfrm>
                        <a:off x="395716" y="739254"/>
                        <a:ext cx="3623139" cy="4652286"/>
                      </a:xfrm>
                      <a:prstGeom prst="rect">
                        <a:avLst/>
                      </a:prstGeom>
                    </p:spPr>
                  </p:pic>
                </p:oleObj>
              </mc:Fallback>
            </mc:AlternateContent>
          </a:graphicData>
        </a:graphic>
      </p:graphicFrame>
      <p:graphicFrame>
        <p:nvGraphicFramePr>
          <p:cNvPr id="13" name="Object 12">
            <a:extLst>
              <a:ext uri="{FF2B5EF4-FFF2-40B4-BE49-F238E27FC236}">
                <a16:creationId xmlns:a16="http://schemas.microsoft.com/office/drawing/2014/main" id="{982D788A-8FB3-97D1-EC88-EA78630B7499}"/>
              </a:ext>
            </a:extLst>
          </p:cNvPr>
          <p:cNvGraphicFramePr>
            <a:graphicFrameLocks noChangeAspect="1"/>
          </p:cNvGraphicFramePr>
          <p:nvPr/>
        </p:nvGraphicFramePr>
        <p:xfrm>
          <a:off x="2914976" y="1043245"/>
          <a:ext cx="3254549" cy="5375797"/>
        </p:xfrm>
        <a:graphic>
          <a:graphicData uri="http://schemas.openxmlformats.org/presentationml/2006/ole">
            <mc:AlternateContent xmlns:mc="http://schemas.openxmlformats.org/markup-compatibility/2006">
              <mc:Choice xmlns:v="urn:schemas-microsoft-com:vml" Requires="v">
                <p:oleObj name="Acrobat Document" r:id="rId6" imgW="16763803" imgH="31051280" progId="Acrobat.Document.DC">
                  <p:embed/>
                </p:oleObj>
              </mc:Choice>
              <mc:Fallback>
                <p:oleObj name="Acrobat Document" r:id="rId6" imgW="16763803" imgH="31051280" progId="Acrobat.Document.DC">
                  <p:embed/>
                  <p:pic>
                    <p:nvPicPr>
                      <p:cNvPr id="13" name="Object 12">
                        <a:extLst>
                          <a:ext uri="{FF2B5EF4-FFF2-40B4-BE49-F238E27FC236}">
                            <a16:creationId xmlns:a16="http://schemas.microsoft.com/office/drawing/2014/main" id="{982D788A-8FB3-97D1-EC88-EA78630B7499}"/>
                          </a:ext>
                        </a:extLst>
                      </p:cNvPr>
                      <p:cNvPicPr/>
                      <p:nvPr/>
                    </p:nvPicPr>
                    <p:blipFill>
                      <a:blip r:embed="rId7"/>
                      <a:stretch>
                        <a:fillRect/>
                      </a:stretch>
                    </p:blipFill>
                    <p:spPr>
                      <a:xfrm>
                        <a:off x="2914976" y="1043245"/>
                        <a:ext cx="3254549" cy="5375797"/>
                      </a:xfrm>
                      <a:prstGeom prst="rect">
                        <a:avLst/>
                      </a:prstGeom>
                    </p:spPr>
                  </p:pic>
                </p:oleObj>
              </mc:Fallback>
            </mc:AlternateContent>
          </a:graphicData>
        </a:graphic>
      </p:graphicFrame>
      <p:graphicFrame>
        <p:nvGraphicFramePr>
          <p:cNvPr id="14" name="Object 13">
            <a:extLst>
              <a:ext uri="{FF2B5EF4-FFF2-40B4-BE49-F238E27FC236}">
                <a16:creationId xmlns:a16="http://schemas.microsoft.com/office/drawing/2014/main" id="{E2F3EE40-9CAE-C002-B00D-0D302D01AE01}"/>
              </a:ext>
            </a:extLst>
          </p:cNvPr>
          <p:cNvGraphicFramePr>
            <a:graphicFrameLocks noChangeAspect="1"/>
          </p:cNvGraphicFramePr>
          <p:nvPr/>
        </p:nvGraphicFramePr>
        <p:xfrm>
          <a:off x="9046482" y="927971"/>
          <a:ext cx="2165804" cy="2555095"/>
        </p:xfrm>
        <a:graphic>
          <a:graphicData uri="http://schemas.openxmlformats.org/presentationml/2006/ole">
            <mc:AlternateContent xmlns:mc="http://schemas.openxmlformats.org/markup-compatibility/2006">
              <mc:Choice xmlns:v="urn:schemas-microsoft-com:vml" Requires="v">
                <p:oleObj name="Acrobat Document" r:id="rId8" imgW="12192000" imgH="14382376" progId="Acrobat.Document.DC">
                  <p:embed/>
                </p:oleObj>
              </mc:Choice>
              <mc:Fallback>
                <p:oleObj name="Acrobat Document" r:id="rId8" imgW="12192000" imgH="14382376" progId="Acrobat.Document.DC">
                  <p:embed/>
                  <p:pic>
                    <p:nvPicPr>
                      <p:cNvPr id="14" name="Object 13">
                        <a:extLst>
                          <a:ext uri="{FF2B5EF4-FFF2-40B4-BE49-F238E27FC236}">
                            <a16:creationId xmlns:a16="http://schemas.microsoft.com/office/drawing/2014/main" id="{E2F3EE40-9CAE-C002-B00D-0D302D01AE01}"/>
                          </a:ext>
                        </a:extLst>
                      </p:cNvPr>
                      <p:cNvPicPr/>
                      <p:nvPr/>
                    </p:nvPicPr>
                    <p:blipFill>
                      <a:blip r:embed="rId9"/>
                      <a:stretch>
                        <a:fillRect/>
                      </a:stretch>
                    </p:blipFill>
                    <p:spPr>
                      <a:xfrm>
                        <a:off x="9046482" y="927971"/>
                        <a:ext cx="2165804" cy="2555095"/>
                      </a:xfrm>
                      <a:prstGeom prst="rect">
                        <a:avLst/>
                      </a:prstGeom>
                    </p:spPr>
                  </p:pic>
                </p:oleObj>
              </mc:Fallback>
            </mc:AlternateContent>
          </a:graphicData>
        </a:graphic>
      </p:graphicFrame>
      <p:graphicFrame>
        <p:nvGraphicFramePr>
          <p:cNvPr id="15" name="Object 14">
            <a:extLst>
              <a:ext uri="{FF2B5EF4-FFF2-40B4-BE49-F238E27FC236}">
                <a16:creationId xmlns:a16="http://schemas.microsoft.com/office/drawing/2014/main" id="{6523F440-A830-2897-0D14-7C49C68AB51D}"/>
              </a:ext>
            </a:extLst>
          </p:cNvPr>
          <p:cNvGraphicFramePr>
            <a:graphicFrameLocks noChangeAspect="1"/>
          </p:cNvGraphicFramePr>
          <p:nvPr/>
        </p:nvGraphicFramePr>
        <p:xfrm>
          <a:off x="7237371" y="4273721"/>
          <a:ext cx="3072256" cy="1752146"/>
        </p:xfrm>
        <a:graphic>
          <a:graphicData uri="http://schemas.openxmlformats.org/presentationml/2006/ole">
            <mc:AlternateContent xmlns:mc="http://schemas.openxmlformats.org/markup-compatibility/2006">
              <mc:Choice xmlns:v="urn:schemas-microsoft-com:vml" Requires="v">
                <p:oleObj name="Acrobat Document" r:id="rId10" imgW="12192000" imgH="6953140" progId="Acrobat.Document.DC">
                  <p:embed/>
                </p:oleObj>
              </mc:Choice>
              <mc:Fallback>
                <p:oleObj name="Acrobat Document" r:id="rId10" imgW="12192000" imgH="6953140" progId="Acrobat.Document.DC">
                  <p:embed/>
                  <p:pic>
                    <p:nvPicPr>
                      <p:cNvPr id="15" name="Object 14">
                        <a:extLst>
                          <a:ext uri="{FF2B5EF4-FFF2-40B4-BE49-F238E27FC236}">
                            <a16:creationId xmlns:a16="http://schemas.microsoft.com/office/drawing/2014/main" id="{6523F440-A830-2897-0D14-7C49C68AB51D}"/>
                          </a:ext>
                        </a:extLst>
                      </p:cNvPr>
                      <p:cNvPicPr/>
                      <p:nvPr/>
                    </p:nvPicPr>
                    <p:blipFill>
                      <a:blip r:embed="rId11"/>
                      <a:stretch>
                        <a:fillRect/>
                      </a:stretch>
                    </p:blipFill>
                    <p:spPr>
                      <a:xfrm>
                        <a:off x="7237371" y="4273721"/>
                        <a:ext cx="3072256" cy="1752146"/>
                      </a:xfrm>
                      <a:prstGeom prst="rect">
                        <a:avLst/>
                      </a:prstGeom>
                    </p:spPr>
                  </p:pic>
                </p:oleObj>
              </mc:Fallback>
            </mc:AlternateContent>
          </a:graphicData>
        </a:graphic>
      </p:graphicFrame>
      <p:graphicFrame>
        <p:nvGraphicFramePr>
          <p:cNvPr id="16" name="Object 15">
            <a:extLst>
              <a:ext uri="{FF2B5EF4-FFF2-40B4-BE49-F238E27FC236}">
                <a16:creationId xmlns:a16="http://schemas.microsoft.com/office/drawing/2014/main" id="{3DBCB1FE-3D65-5C1F-73AB-F414A9743F0A}"/>
              </a:ext>
            </a:extLst>
          </p:cNvPr>
          <p:cNvGraphicFramePr>
            <a:graphicFrameLocks noChangeAspect="1"/>
          </p:cNvGraphicFramePr>
          <p:nvPr/>
        </p:nvGraphicFramePr>
        <p:xfrm>
          <a:off x="9642770" y="4547815"/>
          <a:ext cx="1569517" cy="2158245"/>
        </p:xfrm>
        <a:graphic>
          <a:graphicData uri="http://schemas.openxmlformats.org/presentationml/2006/ole">
            <mc:AlternateContent xmlns:mc="http://schemas.openxmlformats.org/markup-compatibility/2006">
              <mc:Choice xmlns:v="urn:schemas-microsoft-com:vml" Requires="v">
                <p:oleObj name="Acrobat Document" r:id="rId12" imgW="12192000" imgH="16763648" progId="Acrobat.Document.DC">
                  <p:embed/>
                </p:oleObj>
              </mc:Choice>
              <mc:Fallback>
                <p:oleObj name="Acrobat Document" r:id="rId12" imgW="12192000" imgH="16763648" progId="Acrobat.Document.DC">
                  <p:embed/>
                  <p:pic>
                    <p:nvPicPr>
                      <p:cNvPr id="16" name="Object 15">
                        <a:extLst>
                          <a:ext uri="{FF2B5EF4-FFF2-40B4-BE49-F238E27FC236}">
                            <a16:creationId xmlns:a16="http://schemas.microsoft.com/office/drawing/2014/main" id="{3DBCB1FE-3D65-5C1F-73AB-F414A9743F0A}"/>
                          </a:ext>
                        </a:extLst>
                      </p:cNvPr>
                      <p:cNvPicPr/>
                      <p:nvPr/>
                    </p:nvPicPr>
                    <p:blipFill>
                      <a:blip r:embed="rId13"/>
                      <a:stretch>
                        <a:fillRect/>
                      </a:stretch>
                    </p:blipFill>
                    <p:spPr>
                      <a:xfrm>
                        <a:off x="9642770" y="4547815"/>
                        <a:ext cx="1569517" cy="2158245"/>
                      </a:xfrm>
                      <a:prstGeom prst="rect">
                        <a:avLst/>
                      </a:prstGeom>
                    </p:spPr>
                  </p:pic>
                </p:oleObj>
              </mc:Fallback>
            </mc:AlternateContent>
          </a:graphicData>
        </a:graphic>
      </p:graphicFrame>
    </p:spTree>
    <p:extLst>
      <p:ext uri="{BB962C8B-B14F-4D97-AF65-F5344CB8AC3E}">
        <p14:creationId xmlns:p14="http://schemas.microsoft.com/office/powerpoint/2010/main" val="33144664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FA4586-DD5A-0F2F-9B5E-FB7A1380CEEB}"/>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792033D6-2E16-FE85-5246-624460332C7D}"/>
              </a:ext>
            </a:extLst>
          </p:cNvPr>
          <p:cNvSpPr/>
          <p:nvPr/>
        </p:nvSpPr>
        <p:spPr bwMode="auto">
          <a:xfrm>
            <a:off x="288555" y="1134836"/>
            <a:ext cx="8814624" cy="4514850"/>
          </a:xfrm>
          <a:prstGeom prst="rect">
            <a:avLst/>
          </a:prstGeom>
          <a:solidFill>
            <a:schemeClr val="accent4">
              <a:alpha val="83763"/>
            </a:schemeClr>
          </a:solidFill>
          <a:ln w="19050">
            <a:noFill/>
            <a:prstDash val="dash"/>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IN" sz="1400" b="0" i="0" u="none" strike="noStrike" cap="none" normalizeH="0" baseline="0">
              <a:ln>
                <a:noFill/>
              </a:ln>
              <a:solidFill>
                <a:schemeClr val="bg1"/>
              </a:solidFill>
              <a:effectLst/>
              <a:latin typeface="+mn-lt"/>
            </a:endParaRPr>
          </a:p>
        </p:txBody>
      </p:sp>
      <p:sp>
        <p:nvSpPr>
          <p:cNvPr id="2" name="Title 1">
            <a:extLst>
              <a:ext uri="{FF2B5EF4-FFF2-40B4-BE49-F238E27FC236}">
                <a16:creationId xmlns:a16="http://schemas.microsoft.com/office/drawing/2014/main" id="{80D5B04A-696D-6B2F-DA4E-692E9D5F6D2D}"/>
              </a:ext>
            </a:extLst>
          </p:cNvPr>
          <p:cNvSpPr>
            <a:spLocks noGrp="1"/>
          </p:cNvSpPr>
          <p:nvPr>
            <p:ph type="title"/>
          </p:nvPr>
        </p:nvSpPr>
        <p:spPr/>
        <p:txBody>
          <a:bodyPr/>
          <a:lstStyle/>
          <a:p>
            <a:r>
              <a:rPr lang="en-GB">
                <a:solidFill>
                  <a:srgbClr val="002060"/>
                </a:solidFill>
                <a:latin typeface="Aptos" panose="020B0004020202020204" pitchFamily="34" charset="0"/>
              </a:rPr>
              <a:t>Brillio Key Frameworks / Accelerators</a:t>
            </a:r>
          </a:p>
        </p:txBody>
      </p:sp>
      <p:grpSp>
        <p:nvGrpSpPr>
          <p:cNvPr id="3" name="Group 2">
            <a:extLst>
              <a:ext uri="{FF2B5EF4-FFF2-40B4-BE49-F238E27FC236}">
                <a16:creationId xmlns:a16="http://schemas.microsoft.com/office/drawing/2014/main" id="{F383E18B-8FA1-35C6-97DF-98A19A60F343}"/>
              </a:ext>
            </a:extLst>
          </p:cNvPr>
          <p:cNvGrpSpPr/>
          <p:nvPr/>
        </p:nvGrpSpPr>
        <p:grpSpPr>
          <a:xfrm>
            <a:off x="3343236" y="1279525"/>
            <a:ext cx="2809884" cy="4240048"/>
            <a:chOff x="3428347" y="1653790"/>
            <a:chExt cx="2627859" cy="4240048"/>
          </a:xfrm>
        </p:grpSpPr>
        <p:sp>
          <p:nvSpPr>
            <p:cNvPr id="24" name="Rectangle 23">
              <a:extLst>
                <a:ext uri="{FF2B5EF4-FFF2-40B4-BE49-F238E27FC236}">
                  <a16:creationId xmlns:a16="http://schemas.microsoft.com/office/drawing/2014/main" id="{FF2534E6-77A4-3902-27D3-91C5E784BA75}"/>
                </a:ext>
              </a:extLst>
            </p:cNvPr>
            <p:cNvSpPr/>
            <p:nvPr/>
          </p:nvSpPr>
          <p:spPr>
            <a:xfrm>
              <a:off x="3428347" y="2068694"/>
              <a:ext cx="2627859" cy="3825144"/>
            </a:xfrm>
            <a:prstGeom prst="rect">
              <a:avLst/>
            </a:prstGeom>
            <a:solidFill>
              <a:schemeClr val="accent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12354"/>
                </a:solidFill>
                <a:effectLst/>
                <a:uLnTx/>
                <a:uFillTx/>
                <a:latin typeface="Aptos" panose="020B0004020202020204" pitchFamily="34" charset="0"/>
                <a:ea typeface="Helvetica Neue" panose="02000503000000020004" pitchFamily="2" charset="0"/>
                <a:cs typeface="Helvetica Neue" panose="02000503000000020004" pitchFamily="2" charset="0"/>
              </a:endParaRPr>
            </a:p>
          </p:txBody>
        </p:sp>
        <p:sp>
          <p:nvSpPr>
            <p:cNvPr id="25" name="Parallelogram 24">
              <a:extLst>
                <a:ext uri="{FF2B5EF4-FFF2-40B4-BE49-F238E27FC236}">
                  <a16:creationId xmlns:a16="http://schemas.microsoft.com/office/drawing/2014/main" id="{E3214D9F-0F3D-94F7-00B9-E265E8CD9495}"/>
                </a:ext>
              </a:extLst>
            </p:cNvPr>
            <p:cNvSpPr/>
            <p:nvPr/>
          </p:nvSpPr>
          <p:spPr>
            <a:xfrm>
              <a:off x="3428347" y="1653790"/>
              <a:ext cx="2627859" cy="348942"/>
            </a:xfrm>
            <a:prstGeom prst="parallelogram">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45720" rIns="0" bIns="4572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a:ln>
                    <a:noFill/>
                  </a:ln>
                  <a:solidFill>
                    <a:schemeClr val="tx1"/>
                  </a:solidFill>
                  <a:effectLst/>
                  <a:uLnTx/>
                  <a:uFillTx/>
                  <a:latin typeface="Aptos" panose="020B0004020202020204" pitchFamily="34" charset="0"/>
                  <a:ea typeface="Helvetica Neue" panose="02000503000000020004" pitchFamily="2" charset="0"/>
                  <a:cs typeface="Helvetica Neue" panose="02000503000000020004" pitchFamily="2" charset="0"/>
                </a:rPr>
                <a:t>Data Quality Framework</a:t>
              </a:r>
              <a:endParaRPr kumimoji="0" lang="en-IN" sz="1300" b="1" i="0" u="none" strike="noStrike" kern="1200" cap="none" spc="0" normalizeH="0" baseline="0" noProof="0">
                <a:ln>
                  <a:noFill/>
                </a:ln>
                <a:solidFill>
                  <a:schemeClr val="tx1"/>
                </a:solidFill>
                <a:effectLst/>
                <a:uLnTx/>
                <a:uFillTx/>
                <a:latin typeface="Aptos" panose="020B0004020202020204" pitchFamily="34" charset="0"/>
                <a:ea typeface="Helvetica Neue" panose="02000503000000020004" pitchFamily="2" charset="0"/>
                <a:cs typeface="Helvetica Neue" panose="02000503000000020004" pitchFamily="2" charset="0"/>
              </a:endParaRPr>
            </a:p>
          </p:txBody>
        </p:sp>
      </p:grpSp>
      <p:grpSp>
        <p:nvGrpSpPr>
          <p:cNvPr id="13" name="Group 12">
            <a:extLst>
              <a:ext uri="{FF2B5EF4-FFF2-40B4-BE49-F238E27FC236}">
                <a16:creationId xmlns:a16="http://schemas.microsoft.com/office/drawing/2014/main" id="{B8491E6E-E272-094F-7533-7D780764834F}"/>
              </a:ext>
            </a:extLst>
          </p:cNvPr>
          <p:cNvGrpSpPr/>
          <p:nvPr/>
        </p:nvGrpSpPr>
        <p:grpSpPr>
          <a:xfrm>
            <a:off x="6316074" y="1279525"/>
            <a:ext cx="2703298" cy="4240048"/>
            <a:chOff x="8484032" y="1683055"/>
            <a:chExt cx="2703298" cy="4240048"/>
          </a:xfrm>
        </p:grpSpPr>
        <p:sp>
          <p:nvSpPr>
            <p:cNvPr id="14" name="TextBox 13">
              <a:extLst>
                <a:ext uri="{FF2B5EF4-FFF2-40B4-BE49-F238E27FC236}">
                  <a16:creationId xmlns:a16="http://schemas.microsoft.com/office/drawing/2014/main" id="{78F40AAD-DFEF-47BE-D1A4-B6FA394E2290}"/>
                </a:ext>
              </a:extLst>
            </p:cNvPr>
            <p:cNvSpPr txBox="1"/>
            <p:nvPr/>
          </p:nvSpPr>
          <p:spPr>
            <a:xfrm>
              <a:off x="8647053" y="2254695"/>
              <a:ext cx="2479271" cy="769441"/>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12354"/>
                  </a:solidFill>
                  <a:effectLst/>
                  <a:uLnTx/>
                  <a:uFillTx/>
                  <a:latin typeface="Aptos" panose="020B0004020202020204" pitchFamily="34" charset="0"/>
                  <a:ea typeface="Helvetica Neue" panose="02000503000000020004" pitchFamily="2" charset="0"/>
                  <a:cs typeface="Helvetica Neue" panose="02000503000000020004" pitchFamily="2" charset="0"/>
                </a:rPr>
                <a:t>Python based testing framework that automatically connects to source and target database and validates the data across different layers</a:t>
              </a:r>
            </a:p>
          </p:txBody>
        </p:sp>
        <p:sp>
          <p:nvSpPr>
            <p:cNvPr id="18" name="Rectangle 17">
              <a:extLst>
                <a:ext uri="{FF2B5EF4-FFF2-40B4-BE49-F238E27FC236}">
                  <a16:creationId xmlns:a16="http://schemas.microsoft.com/office/drawing/2014/main" id="{BF36271B-6F66-77D5-1827-BC35DBC674DA}"/>
                </a:ext>
              </a:extLst>
            </p:cNvPr>
            <p:cNvSpPr/>
            <p:nvPr/>
          </p:nvSpPr>
          <p:spPr>
            <a:xfrm>
              <a:off x="8484032" y="2097961"/>
              <a:ext cx="2703297" cy="3825142"/>
            </a:xfrm>
            <a:prstGeom prst="rect">
              <a:avLst/>
            </a:prstGeom>
            <a:solidFill>
              <a:schemeClr val="accent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12354"/>
                </a:solidFill>
                <a:effectLst/>
                <a:uLnTx/>
                <a:uFillTx/>
                <a:latin typeface="Aptos" panose="020B0004020202020204" pitchFamily="34" charset="0"/>
                <a:ea typeface="Helvetica Neue" panose="02000503000000020004" pitchFamily="2" charset="0"/>
                <a:cs typeface="Helvetica Neue" panose="02000503000000020004" pitchFamily="2" charset="0"/>
              </a:endParaRPr>
            </a:p>
          </p:txBody>
        </p:sp>
        <p:sp>
          <p:nvSpPr>
            <p:cNvPr id="19" name="Parallelogram 18">
              <a:extLst>
                <a:ext uri="{FF2B5EF4-FFF2-40B4-BE49-F238E27FC236}">
                  <a16:creationId xmlns:a16="http://schemas.microsoft.com/office/drawing/2014/main" id="{AD310E8B-1202-BC65-389B-47A2914B9B83}"/>
                </a:ext>
              </a:extLst>
            </p:cNvPr>
            <p:cNvSpPr/>
            <p:nvPr/>
          </p:nvSpPr>
          <p:spPr>
            <a:xfrm>
              <a:off x="8484032" y="1683055"/>
              <a:ext cx="2703298" cy="348942"/>
            </a:xfrm>
            <a:prstGeom prst="parallelogram">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45720" rIns="0" bIns="4572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300" b="1" i="0" u="none" strike="noStrike" kern="1200" cap="none" spc="0" normalizeH="0" baseline="0" noProof="0">
                  <a:ln>
                    <a:noFill/>
                  </a:ln>
                  <a:solidFill>
                    <a:schemeClr val="tx1"/>
                  </a:solidFill>
                  <a:effectLst/>
                  <a:uLnTx/>
                  <a:uFillTx/>
                  <a:latin typeface="Aptos" panose="020B0004020202020204" pitchFamily="34" charset="0"/>
                  <a:ea typeface="Helvetica Neue" panose="02000503000000020004" pitchFamily="2" charset="0"/>
                  <a:cs typeface="Helvetica Neue" panose="02000503000000020004" pitchFamily="2" charset="0"/>
                </a:rPr>
                <a:t>Data Validation Framework</a:t>
              </a:r>
            </a:p>
          </p:txBody>
        </p:sp>
      </p:grpSp>
      <p:pic>
        <p:nvPicPr>
          <p:cNvPr id="28" name="Picture 27">
            <a:extLst>
              <a:ext uri="{FF2B5EF4-FFF2-40B4-BE49-F238E27FC236}">
                <a16:creationId xmlns:a16="http://schemas.microsoft.com/office/drawing/2014/main" id="{339A3489-7D9F-DCF0-2BE5-2570B4D4DE98}"/>
              </a:ext>
            </a:extLst>
          </p:cNvPr>
          <p:cNvPicPr>
            <a:picLocks noChangeAspect="1"/>
          </p:cNvPicPr>
          <p:nvPr/>
        </p:nvPicPr>
        <p:blipFill>
          <a:blip r:embed="rId3"/>
          <a:stretch>
            <a:fillRect/>
          </a:stretch>
        </p:blipFill>
        <p:spPr>
          <a:xfrm>
            <a:off x="6735181" y="2789884"/>
            <a:ext cx="1864728" cy="805210"/>
          </a:xfrm>
          <a:prstGeom prst="rect">
            <a:avLst/>
          </a:prstGeom>
        </p:spPr>
      </p:pic>
      <p:grpSp>
        <p:nvGrpSpPr>
          <p:cNvPr id="39" name="Group 38">
            <a:extLst>
              <a:ext uri="{FF2B5EF4-FFF2-40B4-BE49-F238E27FC236}">
                <a16:creationId xmlns:a16="http://schemas.microsoft.com/office/drawing/2014/main" id="{D7571B28-F4EF-36B2-D70C-4740D40B19DC}"/>
              </a:ext>
            </a:extLst>
          </p:cNvPr>
          <p:cNvGrpSpPr/>
          <p:nvPr/>
        </p:nvGrpSpPr>
        <p:grpSpPr>
          <a:xfrm>
            <a:off x="367911" y="1279525"/>
            <a:ext cx="2830789" cy="4240048"/>
            <a:chOff x="263660" y="1653790"/>
            <a:chExt cx="2830789" cy="4240048"/>
          </a:xfrm>
        </p:grpSpPr>
        <p:grpSp>
          <p:nvGrpSpPr>
            <p:cNvPr id="30" name="Group 29">
              <a:extLst>
                <a:ext uri="{FF2B5EF4-FFF2-40B4-BE49-F238E27FC236}">
                  <a16:creationId xmlns:a16="http://schemas.microsoft.com/office/drawing/2014/main" id="{6560339E-9EE7-8895-7DAB-00A7E6940E38}"/>
                </a:ext>
              </a:extLst>
            </p:cNvPr>
            <p:cNvGrpSpPr/>
            <p:nvPr/>
          </p:nvGrpSpPr>
          <p:grpSpPr>
            <a:xfrm>
              <a:off x="263660" y="1653790"/>
              <a:ext cx="2830789" cy="4240048"/>
              <a:chOff x="3428347" y="1653790"/>
              <a:chExt cx="2647410" cy="4240048"/>
            </a:xfrm>
          </p:grpSpPr>
          <p:sp>
            <p:nvSpPr>
              <p:cNvPr id="32" name="Rectangle 31">
                <a:extLst>
                  <a:ext uri="{FF2B5EF4-FFF2-40B4-BE49-F238E27FC236}">
                    <a16:creationId xmlns:a16="http://schemas.microsoft.com/office/drawing/2014/main" id="{804DDC85-74E8-E571-C5CE-7D0915D51A5D}"/>
                  </a:ext>
                </a:extLst>
              </p:cNvPr>
              <p:cNvSpPr/>
              <p:nvPr/>
            </p:nvSpPr>
            <p:spPr>
              <a:xfrm>
                <a:off x="3428347" y="2068694"/>
                <a:ext cx="2627859" cy="3825144"/>
              </a:xfrm>
              <a:prstGeom prst="rect">
                <a:avLst/>
              </a:prstGeom>
              <a:solidFill>
                <a:schemeClr val="accent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12354"/>
                  </a:solidFill>
                  <a:effectLst/>
                  <a:uLnTx/>
                  <a:uFillTx/>
                  <a:latin typeface="Aptos" panose="020B0004020202020204" pitchFamily="34" charset="0"/>
                  <a:ea typeface="Helvetica Neue" panose="02000503000000020004" pitchFamily="2" charset="0"/>
                  <a:cs typeface="Helvetica Neue" panose="02000503000000020004" pitchFamily="2" charset="0"/>
                </a:endParaRPr>
              </a:p>
            </p:txBody>
          </p:sp>
          <p:sp>
            <p:nvSpPr>
              <p:cNvPr id="33" name="Parallelogram 32">
                <a:extLst>
                  <a:ext uri="{FF2B5EF4-FFF2-40B4-BE49-F238E27FC236}">
                    <a16:creationId xmlns:a16="http://schemas.microsoft.com/office/drawing/2014/main" id="{A87F4560-699D-057B-8275-288047A32D9E}"/>
                  </a:ext>
                </a:extLst>
              </p:cNvPr>
              <p:cNvSpPr/>
              <p:nvPr/>
            </p:nvSpPr>
            <p:spPr>
              <a:xfrm>
                <a:off x="3428347" y="1653790"/>
                <a:ext cx="2647410" cy="348942"/>
              </a:xfrm>
              <a:prstGeom prst="parallelogram">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45720" rIns="0" bIns="4572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a:ln>
                      <a:noFill/>
                    </a:ln>
                    <a:solidFill>
                      <a:schemeClr val="tx1"/>
                    </a:solidFill>
                    <a:effectLst/>
                    <a:uLnTx/>
                    <a:uFillTx/>
                    <a:latin typeface="Aptos" panose="020B0004020202020204" pitchFamily="34" charset="0"/>
                    <a:ea typeface="Helvetica Neue" panose="02000503000000020004" pitchFamily="2" charset="0"/>
                    <a:cs typeface="Helvetica Neue" panose="02000503000000020004" pitchFamily="2" charset="0"/>
                  </a:rPr>
                  <a:t>Data Discovery Framework</a:t>
                </a:r>
                <a:endParaRPr kumimoji="0" lang="en-IN" sz="1300" b="1" i="0" u="none" strike="noStrike" kern="1200" cap="none" spc="0" normalizeH="0" baseline="0" noProof="0">
                  <a:ln>
                    <a:noFill/>
                  </a:ln>
                  <a:solidFill>
                    <a:schemeClr val="tx1"/>
                  </a:solidFill>
                  <a:effectLst/>
                  <a:uLnTx/>
                  <a:uFillTx/>
                  <a:latin typeface="Aptos" panose="020B0004020202020204" pitchFamily="34" charset="0"/>
                  <a:ea typeface="Helvetica Neue" panose="02000503000000020004" pitchFamily="2" charset="0"/>
                  <a:cs typeface="Helvetica Neue" panose="02000503000000020004" pitchFamily="2" charset="0"/>
                </a:endParaRPr>
              </a:p>
            </p:txBody>
          </p:sp>
        </p:grpSp>
        <p:sp>
          <p:nvSpPr>
            <p:cNvPr id="34" name="TextBox 33">
              <a:extLst>
                <a:ext uri="{FF2B5EF4-FFF2-40B4-BE49-F238E27FC236}">
                  <a16:creationId xmlns:a16="http://schemas.microsoft.com/office/drawing/2014/main" id="{985A7A5D-7913-4378-EA72-FBE0001F5F58}"/>
                </a:ext>
              </a:extLst>
            </p:cNvPr>
            <p:cNvSpPr txBox="1"/>
            <p:nvPr/>
          </p:nvSpPr>
          <p:spPr>
            <a:xfrm>
              <a:off x="423650" y="2225428"/>
              <a:ext cx="2609708"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12354"/>
                  </a:solidFill>
                  <a:effectLst/>
                  <a:uLnTx/>
                  <a:uFillTx/>
                  <a:latin typeface="Aptos" panose="020B0004020202020204" pitchFamily="34" charset="0"/>
                  <a:ea typeface="Helvetica Neue" panose="02000503000000020004" pitchFamily="2" charset="0"/>
                  <a:cs typeface="Arial" panose="020B0604020202020204" pitchFamily="34" charset="0"/>
                </a:rPr>
                <a:t>Data profiling of different data domains to find object metadata &amp; ensure enriched data </a:t>
              </a:r>
              <a:r>
                <a:rPr lang="en-GB" sz="1100">
                  <a:solidFill>
                    <a:srgbClr val="012354"/>
                  </a:solidFill>
                  <a:latin typeface="Aptos" panose="020B0004020202020204" pitchFamily="34" charset="0"/>
                  <a:ea typeface="Helvetica Neue" panose="02000503000000020004" pitchFamily="2" charset="0"/>
                  <a:cs typeface="Arial" panose="020B0604020202020204" pitchFamily="34" charset="0"/>
                </a:rPr>
                <a:t>operations</a:t>
              </a:r>
              <a:endParaRPr kumimoji="0" lang="en-GB" sz="1100" b="0" i="0" u="none" strike="noStrike" kern="1200" cap="none" spc="0" normalizeH="0" baseline="0" noProof="0">
                <a:ln>
                  <a:noFill/>
                </a:ln>
                <a:solidFill>
                  <a:srgbClr val="012354"/>
                </a:solidFill>
                <a:effectLst/>
                <a:uLnTx/>
                <a:uFillTx/>
                <a:latin typeface="Aptos" panose="020B0004020202020204" pitchFamily="34" charset="0"/>
                <a:ea typeface="Helvetica Neue" panose="02000503000000020004" pitchFamily="2" charset="0"/>
                <a:cs typeface="Arial" panose="020B0604020202020204" pitchFamily="34" charset="0"/>
              </a:endParaRPr>
            </a:p>
          </p:txBody>
        </p:sp>
        <p:sp>
          <p:nvSpPr>
            <p:cNvPr id="35" name="TextBox 34">
              <a:extLst>
                <a:ext uri="{FF2B5EF4-FFF2-40B4-BE49-F238E27FC236}">
                  <a16:creationId xmlns:a16="http://schemas.microsoft.com/office/drawing/2014/main" id="{7BB4489F-31C9-FF05-07E8-0CD607611F20}"/>
                </a:ext>
              </a:extLst>
            </p:cNvPr>
            <p:cNvSpPr txBox="1"/>
            <p:nvPr/>
          </p:nvSpPr>
          <p:spPr>
            <a:xfrm>
              <a:off x="776710" y="4179809"/>
              <a:ext cx="2163519" cy="1195135"/>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12354"/>
                  </a:solidFill>
                  <a:effectLst/>
                  <a:uLnTx/>
                  <a:uFillTx/>
                  <a:latin typeface="Aptos" panose="020B0004020202020204" pitchFamily="34" charset="0"/>
                  <a:ea typeface="Helvetica Neue" panose="02000503000000020004" pitchFamily="2" charset="0"/>
                  <a:cs typeface="Arial" panose="020B0604020202020204" pitchFamily="34" charset="0"/>
                </a:rPr>
                <a:t>Identifies </a:t>
              </a:r>
              <a:r>
                <a:rPr kumimoji="0" lang="en-GB" sz="1100" b="1" i="0" u="none" strike="noStrike" kern="1200" cap="none" spc="0" normalizeH="0" baseline="0" noProof="0">
                  <a:ln>
                    <a:noFill/>
                  </a:ln>
                  <a:solidFill>
                    <a:srgbClr val="012354"/>
                  </a:solidFill>
                  <a:effectLst/>
                  <a:uLnTx/>
                  <a:uFillTx/>
                  <a:latin typeface="Aptos" panose="020B0004020202020204" pitchFamily="34" charset="0"/>
                  <a:ea typeface="Helvetica Neue" panose="02000503000000020004" pitchFamily="2" charset="0"/>
                  <a:cs typeface="Arial" panose="020B0604020202020204" pitchFamily="34" charset="0"/>
                </a:rPr>
                <a:t>data objects/ elements, user access, query relationship, expensive query, and inefficient query performance </a:t>
              </a:r>
              <a:r>
                <a:rPr kumimoji="0" lang="en-GB" sz="1100" b="0" i="0" u="none" strike="noStrike" kern="1200" cap="none" spc="0" normalizeH="0" baseline="0" noProof="0">
                  <a:ln>
                    <a:noFill/>
                  </a:ln>
                  <a:solidFill>
                    <a:srgbClr val="012354"/>
                  </a:solidFill>
                  <a:effectLst/>
                  <a:uLnTx/>
                  <a:uFillTx/>
                  <a:latin typeface="Aptos" panose="020B0004020202020204" pitchFamily="34" charset="0"/>
                  <a:ea typeface="Helvetica Neue" panose="02000503000000020004" pitchFamily="2" charset="0"/>
                  <a:cs typeface="Arial" panose="020B0604020202020204" pitchFamily="34" charset="0"/>
                </a:rPr>
                <a:t>in the current landscape.</a:t>
              </a:r>
            </a:p>
          </p:txBody>
        </p:sp>
        <p:pic>
          <p:nvPicPr>
            <p:cNvPr id="36" name="Graphic 35" descr="Magnifying glass with solid fill">
              <a:extLst>
                <a:ext uri="{FF2B5EF4-FFF2-40B4-BE49-F238E27FC236}">
                  <a16:creationId xmlns:a16="http://schemas.microsoft.com/office/drawing/2014/main" id="{844F4056-6979-2319-F8D5-20C13EC3832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23650" y="4223165"/>
              <a:ext cx="305919" cy="280529"/>
            </a:xfrm>
            <a:prstGeom prst="rect">
              <a:avLst/>
            </a:prstGeom>
          </p:spPr>
        </p:pic>
        <p:pic>
          <p:nvPicPr>
            <p:cNvPr id="38" name="Picture 37">
              <a:extLst>
                <a:ext uri="{FF2B5EF4-FFF2-40B4-BE49-F238E27FC236}">
                  <a16:creationId xmlns:a16="http://schemas.microsoft.com/office/drawing/2014/main" id="{B4D6ACC6-C507-33D0-33B5-FFB11BE62727}"/>
                </a:ext>
              </a:extLst>
            </p:cNvPr>
            <p:cNvPicPr>
              <a:picLocks noChangeAspect="1"/>
            </p:cNvPicPr>
            <p:nvPr/>
          </p:nvPicPr>
          <p:blipFill>
            <a:blip r:embed="rId6"/>
            <a:stretch>
              <a:fillRect/>
            </a:stretch>
          </p:blipFill>
          <p:spPr>
            <a:xfrm>
              <a:off x="779361" y="3105817"/>
              <a:ext cx="1668000" cy="856195"/>
            </a:xfrm>
            <a:prstGeom prst="rect">
              <a:avLst/>
            </a:prstGeom>
            <a:noFill/>
            <a:ln>
              <a:solidFill>
                <a:schemeClr val="bg1">
                  <a:lumMod val="75000"/>
                </a:schemeClr>
              </a:solidFill>
            </a:ln>
            <a:effectLst/>
          </p:spPr>
        </p:pic>
      </p:grpSp>
      <p:sp>
        <p:nvSpPr>
          <p:cNvPr id="40" name="TextBox 39">
            <a:extLst>
              <a:ext uri="{FF2B5EF4-FFF2-40B4-BE49-F238E27FC236}">
                <a16:creationId xmlns:a16="http://schemas.microsoft.com/office/drawing/2014/main" id="{E6815547-5BB3-1F5F-A50C-7D0ED6052299}"/>
              </a:ext>
            </a:extLst>
          </p:cNvPr>
          <p:cNvSpPr txBox="1"/>
          <p:nvPr/>
        </p:nvSpPr>
        <p:spPr>
          <a:xfrm>
            <a:off x="3481606" y="1850483"/>
            <a:ext cx="2773463" cy="430887"/>
          </a:xfrm>
          <a:prstGeom prst="rect">
            <a:avLst/>
          </a:prstGeom>
          <a:noFill/>
        </p:spPr>
        <p:txBody>
          <a:bodyPr wrap="square" rtlCol="0">
            <a:spAutoFit/>
          </a:bodyPr>
          <a:lstStyle>
            <a:defPPr>
              <a:defRPr lang="en-US"/>
            </a:defPPr>
            <a:lvl1pPr algn="ctr">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rgbClr val="012354"/>
                </a:solidFill>
                <a:latin typeface="Aptos" panose="020B0004020202020204" pitchFamily="34" charset="0"/>
                <a:ea typeface="Helvetica Neue" panose="02000503000000020004" pitchFamily="2" charset="0"/>
                <a:cs typeface="Arial" panose="020B0604020202020204" pitchFamily="34" charset="0"/>
              </a:rPr>
              <a:t>Common DQ framework for data validation, quality and enrichment</a:t>
            </a:r>
          </a:p>
        </p:txBody>
      </p:sp>
      <p:sp>
        <p:nvSpPr>
          <p:cNvPr id="48" name="TextBox 47">
            <a:extLst>
              <a:ext uri="{FF2B5EF4-FFF2-40B4-BE49-F238E27FC236}">
                <a16:creationId xmlns:a16="http://schemas.microsoft.com/office/drawing/2014/main" id="{3EE217FE-1D9B-F99C-016D-6D6EBB0065F5}"/>
              </a:ext>
            </a:extLst>
          </p:cNvPr>
          <p:cNvSpPr txBox="1"/>
          <p:nvPr/>
        </p:nvSpPr>
        <p:spPr>
          <a:xfrm>
            <a:off x="6729971" y="3752650"/>
            <a:ext cx="1973477" cy="93871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100" b="1">
                <a:solidFill>
                  <a:srgbClr val="012354"/>
                </a:solidFill>
                <a:latin typeface="Aptos" panose="020B0004020202020204" pitchFamily="34" charset="0"/>
                <a:cs typeface="Arial" panose="020B0604020202020204" pitchFamily="34" charset="0"/>
              </a:rPr>
              <a:t>Rule based validation </a:t>
            </a:r>
            <a:r>
              <a:rPr lang="en-GB" sz="1100">
                <a:solidFill>
                  <a:srgbClr val="012354"/>
                </a:solidFill>
                <a:latin typeface="Aptos" panose="020B0004020202020204" pitchFamily="34" charset="0"/>
                <a:cs typeface="Arial" panose="020B0604020202020204" pitchFamily="34" charset="0"/>
              </a:rPr>
              <a:t>approach has been implemented and error logs and audit table entries are made automatically</a:t>
            </a:r>
          </a:p>
        </p:txBody>
      </p:sp>
      <p:pic>
        <p:nvPicPr>
          <p:cNvPr id="49" name="Graphic 48" descr="Statistics with solid fill">
            <a:extLst>
              <a:ext uri="{FF2B5EF4-FFF2-40B4-BE49-F238E27FC236}">
                <a16:creationId xmlns:a16="http://schemas.microsoft.com/office/drawing/2014/main" id="{8FDAF05D-2766-F20C-F877-6561EFAE92D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441228" y="3798331"/>
            <a:ext cx="285015" cy="285015"/>
          </a:xfrm>
          <a:prstGeom prst="rect">
            <a:avLst/>
          </a:prstGeom>
        </p:spPr>
      </p:pic>
      <p:pic>
        <p:nvPicPr>
          <p:cNvPr id="50" name="Graphic 49" descr="Checkmark with solid fill">
            <a:extLst>
              <a:ext uri="{FF2B5EF4-FFF2-40B4-BE49-F238E27FC236}">
                <a16:creationId xmlns:a16="http://schemas.microsoft.com/office/drawing/2014/main" id="{8CCFEB81-E9E0-DEF5-9221-8318FF91DB6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472147" y="4420257"/>
            <a:ext cx="233842" cy="233842"/>
          </a:xfrm>
          <a:prstGeom prst="rect">
            <a:avLst/>
          </a:prstGeom>
        </p:spPr>
      </p:pic>
      <p:pic>
        <p:nvPicPr>
          <p:cNvPr id="51" name="Picture 50">
            <a:extLst>
              <a:ext uri="{FF2B5EF4-FFF2-40B4-BE49-F238E27FC236}">
                <a16:creationId xmlns:a16="http://schemas.microsoft.com/office/drawing/2014/main" id="{7A028202-D0CE-5449-5D37-23BABB3034AC}"/>
              </a:ext>
            </a:extLst>
          </p:cNvPr>
          <p:cNvPicPr>
            <a:picLocks noChangeAspect="1"/>
          </p:cNvPicPr>
          <p:nvPr/>
        </p:nvPicPr>
        <p:blipFill>
          <a:blip r:embed="rId11"/>
          <a:stretch>
            <a:fillRect/>
          </a:stretch>
        </p:blipFill>
        <p:spPr>
          <a:xfrm>
            <a:off x="3959327" y="2757237"/>
            <a:ext cx="1352398" cy="732014"/>
          </a:xfrm>
          <a:prstGeom prst="rect">
            <a:avLst/>
          </a:prstGeom>
          <a:ln>
            <a:solidFill>
              <a:schemeClr val="bg1">
                <a:lumMod val="75000"/>
              </a:schemeClr>
            </a:solidFill>
          </a:ln>
          <a:effectLst/>
        </p:spPr>
      </p:pic>
      <p:sp>
        <p:nvSpPr>
          <p:cNvPr id="52" name="TextBox 51">
            <a:extLst>
              <a:ext uri="{FF2B5EF4-FFF2-40B4-BE49-F238E27FC236}">
                <a16:creationId xmlns:a16="http://schemas.microsoft.com/office/drawing/2014/main" id="{993B8522-E0DE-396E-99B3-86990C0299FA}"/>
              </a:ext>
            </a:extLst>
          </p:cNvPr>
          <p:cNvSpPr txBox="1"/>
          <p:nvPr/>
        </p:nvSpPr>
        <p:spPr>
          <a:xfrm>
            <a:off x="3753252" y="3752650"/>
            <a:ext cx="2224243" cy="161582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12354"/>
                </a:solidFill>
                <a:effectLst/>
                <a:uLnTx/>
                <a:uFillTx/>
                <a:latin typeface="Aptos" panose="020B0004020202020204" pitchFamily="34" charset="0"/>
                <a:ea typeface="Helvetica Neue" panose="02000503000000020004" pitchFamily="2" charset="0"/>
                <a:cs typeface="Arial" panose="020B0604020202020204" pitchFamily="34" charset="0"/>
              </a:rPr>
              <a:t>Detecting anomalies </a:t>
            </a:r>
            <a:r>
              <a:rPr kumimoji="0" lang="en-GB" sz="1100" b="0" i="0" u="none" strike="noStrike" kern="1200" cap="none" spc="0" normalizeH="0" baseline="0" noProof="0">
                <a:ln>
                  <a:noFill/>
                </a:ln>
                <a:solidFill>
                  <a:srgbClr val="012354"/>
                </a:solidFill>
                <a:effectLst/>
                <a:uLnTx/>
                <a:uFillTx/>
                <a:latin typeface="Aptos" panose="020B0004020202020204" pitchFamily="34" charset="0"/>
                <a:ea typeface="Helvetica Neue" panose="02000503000000020004" pitchFamily="2" charset="0"/>
                <a:cs typeface="Arial" panose="020B0604020202020204" pitchFamily="34" charset="0"/>
              </a:rPr>
              <a:t>of current ETL jobs, data movements, etc.,</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a:solidFill>
                <a:srgbClr val="012354"/>
              </a:solidFill>
              <a:latin typeface="Aptos" panose="020B0004020202020204" pitchFamily="34" charset="0"/>
              <a:ea typeface="Helvetica Neue" panose="02000503000000020004" pitchFamily="2" charset="0"/>
              <a:cs typeface="Arial" panose="020B0604020202020204" pitchFamily="34" charset="0"/>
            </a:endParaRPr>
          </a:p>
          <a:p>
            <a:pPr>
              <a:defRPr/>
            </a:pPr>
            <a:r>
              <a:rPr kumimoji="0" lang="en-GB" sz="1100" b="1" i="0" u="none" strike="noStrike" kern="1200" cap="none" spc="0" normalizeH="0" baseline="0" noProof="0">
                <a:ln>
                  <a:noFill/>
                </a:ln>
                <a:solidFill>
                  <a:srgbClr val="012354"/>
                </a:solidFill>
                <a:effectLst/>
                <a:uLnTx/>
                <a:uFillTx/>
                <a:latin typeface="Aptos" panose="020B0004020202020204" pitchFamily="34" charset="0"/>
                <a:ea typeface="Helvetica Neue" panose="02000503000000020004" pitchFamily="2" charset="0"/>
                <a:cs typeface="Arial" panose="020B0604020202020204" pitchFamily="34" charset="0"/>
              </a:rPr>
              <a:t>Automatic corrective action </a:t>
            </a:r>
            <a:r>
              <a:rPr kumimoji="0" lang="en-GB" sz="1100" b="0" i="0" u="none" strike="noStrike" kern="1200" cap="none" spc="0" normalizeH="0" baseline="0" noProof="0">
                <a:ln>
                  <a:noFill/>
                </a:ln>
                <a:solidFill>
                  <a:srgbClr val="012354"/>
                </a:solidFill>
                <a:effectLst/>
                <a:uLnTx/>
                <a:uFillTx/>
                <a:latin typeface="Aptos" panose="020B0004020202020204" pitchFamily="34" charset="0"/>
                <a:ea typeface="Helvetica Neue" panose="02000503000000020004" pitchFamily="2" charset="0"/>
                <a:cs typeface="Arial" panose="020B0604020202020204" pitchFamily="34" charset="0"/>
              </a:rPr>
              <a:t>suggestions based on SOPs created across Data Management/ Analytics/ Marketing &amp; sales track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012354"/>
              </a:solidFill>
              <a:effectLst/>
              <a:uLnTx/>
              <a:uFillTx/>
              <a:latin typeface="Aptos" panose="020B0004020202020204" pitchFamily="34" charset="0"/>
              <a:ea typeface="Helvetica Neue" panose="02000503000000020004" pitchFamily="2" charset="0"/>
              <a:cs typeface="Arial" panose="020B0604020202020204" pitchFamily="34" charset="0"/>
            </a:endParaRPr>
          </a:p>
        </p:txBody>
      </p:sp>
      <p:grpSp>
        <p:nvGrpSpPr>
          <p:cNvPr id="53" name="Group 52">
            <a:extLst>
              <a:ext uri="{FF2B5EF4-FFF2-40B4-BE49-F238E27FC236}">
                <a16:creationId xmlns:a16="http://schemas.microsoft.com/office/drawing/2014/main" id="{D9B39BA7-31E9-F54C-959B-CA107FAA8E7D}"/>
              </a:ext>
            </a:extLst>
          </p:cNvPr>
          <p:cNvGrpSpPr/>
          <p:nvPr/>
        </p:nvGrpSpPr>
        <p:grpSpPr>
          <a:xfrm>
            <a:off x="9183189" y="1279525"/>
            <a:ext cx="2703297" cy="4240048"/>
            <a:chOff x="8484032" y="1683055"/>
            <a:chExt cx="2703297" cy="4240048"/>
          </a:xfrm>
        </p:grpSpPr>
        <p:sp>
          <p:nvSpPr>
            <p:cNvPr id="54" name="TextBox 53">
              <a:extLst>
                <a:ext uri="{FF2B5EF4-FFF2-40B4-BE49-F238E27FC236}">
                  <a16:creationId xmlns:a16="http://schemas.microsoft.com/office/drawing/2014/main" id="{5E150658-E749-F6AC-8C3E-BC29A5DC50EA}"/>
                </a:ext>
              </a:extLst>
            </p:cNvPr>
            <p:cNvSpPr txBox="1"/>
            <p:nvPr/>
          </p:nvSpPr>
          <p:spPr>
            <a:xfrm>
              <a:off x="8647053" y="2254695"/>
              <a:ext cx="2479271" cy="769441"/>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100" b="0" i="0" u="none" kern="1200" cap="none" spc="0" normalizeH="0" baseline="0" noProof="0" err="1">
                  <a:ln>
                    <a:noFill/>
                  </a:ln>
                  <a:solidFill>
                    <a:srgbClr val="012354"/>
                  </a:solidFill>
                  <a:effectLst/>
                  <a:uLnTx/>
                  <a:uFillTx/>
                  <a:latin typeface="Aptos" panose="020B0004020202020204" pitchFamily="34" charset="0"/>
                  <a:ea typeface="Helvetica Neue" panose="02000503000000020004" pitchFamily="2" charset="0"/>
                  <a:cs typeface="Helvetica Neue" panose="02000503000000020004" pitchFamily="2" charset="0"/>
                </a:rPr>
                <a:t>PySpark</a:t>
              </a:r>
              <a:r>
                <a:rPr kumimoji="0" lang="en-GB" sz="1100" b="0" i="0" u="none" kern="1200" cap="none" spc="0" normalizeH="0" baseline="0" noProof="0">
                  <a:ln>
                    <a:noFill/>
                  </a:ln>
                  <a:solidFill>
                    <a:srgbClr val="012354"/>
                  </a:solidFill>
                  <a:effectLst/>
                  <a:uLnTx/>
                  <a:uFillTx/>
                  <a:latin typeface="Aptos" panose="020B0004020202020204" pitchFamily="34" charset="0"/>
                  <a:ea typeface="Helvetica Neue" panose="02000503000000020004" pitchFamily="2" charset="0"/>
                  <a:cs typeface="Helvetica Neue" panose="02000503000000020004" pitchFamily="2" charset="0"/>
                </a:rPr>
                <a:t> </a:t>
              </a:r>
              <a:r>
                <a:rPr lang="en-GB" sz="1100">
                  <a:solidFill>
                    <a:srgbClr val="012354"/>
                  </a:solidFill>
                  <a:latin typeface="Aptos" panose="020B0004020202020204" pitchFamily="34" charset="0"/>
                  <a:ea typeface="Helvetica Neue" panose="02000503000000020004" pitchFamily="2" charset="0"/>
                  <a:cs typeface="Helvetica Neue" panose="02000503000000020004" pitchFamily="2" charset="0"/>
                </a:rPr>
                <a:t>framework to extract file information and ensure correctness of the information through ML based DQ checks</a:t>
              </a:r>
              <a:endParaRPr kumimoji="0" lang="en-GB" sz="1100" b="0" i="0" u="none" kern="1200" cap="none" spc="0" normalizeH="0" baseline="0" noProof="0">
                <a:ln>
                  <a:noFill/>
                </a:ln>
                <a:solidFill>
                  <a:srgbClr val="012354"/>
                </a:solidFill>
                <a:effectLst/>
                <a:uLnTx/>
                <a:uFillTx/>
                <a:latin typeface="Aptos" panose="020B0004020202020204" pitchFamily="34" charset="0"/>
                <a:ea typeface="Helvetica Neue" panose="02000503000000020004" pitchFamily="2" charset="0"/>
                <a:cs typeface="Helvetica Neue" panose="02000503000000020004" pitchFamily="2" charset="0"/>
              </a:endParaRPr>
            </a:p>
          </p:txBody>
        </p:sp>
        <p:sp>
          <p:nvSpPr>
            <p:cNvPr id="55" name="Rectangle 54">
              <a:extLst>
                <a:ext uri="{FF2B5EF4-FFF2-40B4-BE49-F238E27FC236}">
                  <a16:creationId xmlns:a16="http://schemas.microsoft.com/office/drawing/2014/main" id="{DC68061B-270F-FA2B-338B-B62C62C6ECC1}"/>
                </a:ext>
              </a:extLst>
            </p:cNvPr>
            <p:cNvSpPr/>
            <p:nvPr/>
          </p:nvSpPr>
          <p:spPr>
            <a:xfrm>
              <a:off x="8484032" y="2097961"/>
              <a:ext cx="2703297" cy="3825142"/>
            </a:xfrm>
            <a:prstGeom prst="rect">
              <a:avLst/>
            </a:prstGeom>
            <a:solidFill>
              <a:schemeClr val="accent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kern="1200" cap="none" spc="0" normalizeH="0" baseline="0" noProof="0">
                <a:ln>
                  <a:noFill/>
                </a:ln>
                <a:solidFill>
                  <a:srgbClr val="012354"/>
                </a:solidFill>
                <a:effectLst/>
                <a:uLnTx/>
                <a:uFillTx/>
                <a:latin typeface="Aptos" panose="020B0004020202020204" pitchFamily="34" charset="0"/>
                <a:ea typeface="Helvetica Neue" panose="02000503000000020004" pitchFamily="2" charset="0"/>
                <a:cs typeface="Helvetica Neue" panose="02000503000000020004" pitchFamily="2" charset="0"/>
              </a:endParaRPr>
            </a:p>
          </p:txBody>
        </p:sp>
        <p:sp>
          <p:nvSpPr>
            <p:cNvPr id="56" name="Parallelogram 55">
              <a:extLst>
                <a:ext uri="{FF2B5EF4-FFF2-40B4-BE49-F238E27FC236}">
                  <a16:creationId xmlns:a16="http://schemas.microsoft.com/office/drawing/2014/main" id="{A0AD8046-BF2B-C047-21F7-EAD9111C04B5}"/>
                </a:ext>
              </a:extLst>
            </p:cNvPr>
            <p:cNvSpPr/>
            <p:nvPr/>
          </p:nvSpPr>
          <p:spPr>
            <a:xfrm>
              <a:off x="8484032" y="1683055"/>
              <a:ext cx="2703297" cy="348942"/>
            </a:xfrm>
            <a:prstGeom prst="parallelogram">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45720" rIns="0" bIns="4572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300" b="1" i="0" u="none" kern="1200" cap="none" spc="0" normalizeH="0" baseline="0" noProof="0">
                  <a:ln>
                    <a:noFill/>
                  </a:ln>
                  <a:solidFill>
                    <a:schemeClr val="tx1"/>
                  </a:solidFill>
                  <a:effectLst/>
                  <a:uLnTx/>
                  <a:uFillTx/>
                  <a:latin typeface="Aptos" panose="020B0004020202020204" pitchFamily="34" charset="0"/>
                  <a:ea typeface="Helvetica Neue" panose="02000503000000020004" pitchFamily="2" charset="0"/>
                  <a:cs typeface="Helvetica Neue" panose="02000503000000020004" pitchFamily="2" charset="0"/>
                </a:rPr>
                <a:t>File Ingestion Framework</a:t>
              </a:r>
            </a:p>
          </p:txBody>
        </p:sp>
      </p:grpSp>
      <p:sp>
        <p:nvSpPr>
          <p:cNvPr id="58" name="TextBox 57">
            <a:extLst>
              <a:ext uri="{FF2B5EF4-FFF2-40B4-BE49-F238E27FC236}">
                <a16:creationId xmlns:a16="http://schemas.microsoft.com/office/drawing/2014/main" id="{37C98DBF-C617-0078-77EB-1012A096882F}"/>
              </a:ext>
            </a:extLst>
          </p:cNvPr>
          <p:cNvSpPr txBox="1"/>
          <p:nvPr/>
        </p:nvSpPr>
        <p:spPr>
          <a:xfrm>
            <a:off x="9655783" y="3798331"/>
            <a:ext cx="1973477" cy="769441"/>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100" b="1">
                <a:solidFill>
                  <a:srgbClr val="012354"/>
                </a:solidFill>
                <a:latin typeface="Aptos" panose="020B0004020202020204" pitchFamily="34" charset="0"/>
                <a:cs typeface="Arial" panose="020B0604020202020204" pitchFamily="34" charset="0"/>
              </a:rPr>
              <a:t>ML based DQ checks </a:t>
            </a:r>
            <a:r>
              <a:rPr lang="en-GB" sz="1100">
                <a:solidFill>
                  <a:srgbClr val="012354"/>
                </a:solidFill>
                <a:latin typeface="Aptos" panose="020B0004020202020204" pitchFamily="34" charset="0"/>
                <a:cs typeface="Arial" panose="020B0604020202020204" pitchFamily="34" charset="0"/>
              </a:rPr>
              <a:t>for file processing and ascertaining the right information through python-based code</a:t>
            </a:r>
          </a:p>
        </p:txBody>
      </p:sp>
      <p:pic>
        <p:nvPicPr>
          <p:cNvPr id="60" name="Graphic 59" descr="Shuffle with solid fill">
            <a:extLst>
              <a:ext uri="{FF2B5EF4-FFF2-40B4-BE49-F238E27FC236}">
                <a16:creationId xmlns:a16="http://schemas.microsoft.com/office/drawing/2014/main" id="{EE32521E-9ADA-6128-43BC-B094DF9A901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390060" y="3764739"/>
            <a:ext cx="245496" cy="245496"/>
          </a:xfrm>
          <a:prstGeom prst="rect">
            <a:avLst/>
          </a:prstGeom>
        </p:spPr>
      </p:pic>
      <p:pic>
        <p:nvPicPr>
          <p:cNvPr id="61" name="Graphic 60" descr="Document with solid fill">
            <a:extLst>
              <a:ext uri="{FF2B5EF4-FFF2-40B4-BE49-F238E27FC236}">
                <a16:creationId xmlns:a16="http://schemas.microsoft.com/office/drawing/2014/main" id="{2DA50103-55A9-156E-5972-8C535B15DCB8}"/>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289062" y="3841495"/>
            <a:ext cx="280529" cy="280529"/>
          </a:xfrm>
          <a:prstGeom prst="rect">
            <a:avLst/>
          </a:prstGeom>
        </p:spPr>
      </p:pic>
      <p:pic>
        <p:nvPicPr>
          <p:cNvPr id="7168" name="Picture 7167">
            <a:extLst>
              <a:ext uri="{FF2B5EF4-FFF2-40B4-BE49-F238E27FC236}">
                <a16:creationId xmlns:a16="http://schemas.microsoft.com/office/drawing/2014/main" id="{E5F5F3AC-AA79-D939-9AF7-B0ED8EAD1766}"/>
              </a:ext>
            </a:extLst>
          </p:cNvPr>
          <p:cNvPicPr>
            <a:picLocks noChangeAspect="1"/>
          </p:cNvPicPr>
          <p:nvPr/>
        </p:nvPicPr>
        <p:blipFill>
          <a:blip r:embed="rId16"/>
          <a:stretch>
            <a:fillRect/>
          </a:stretch>
        </p:blipFill>
        <p:spPr>
          <a:xfrm>
            <a:off x="9702086" y="2670435"/>
            <a:ext cx="1624275" cy="915677"/>
          </a:xfrm>
          <a:prstGeom prst="rect">
            <a:avLst/>
          </a:prstGeom>
        </p:spPr>
      </p:pic>
      <p:sp>
        <p:nvSpPr>
          <p:cNvPr id="10" name="TextBox 9">
            <a:extLst>
              <a:ext uri="{FF2B5EF4-FFF2-40B4-BE49-F238E27FC236}">
                <a16:creationId xmlns:a16="http://schemas.microsoft.com/office/drawing/2014/main" id="{FA2B1CF6-6F62-707A-CFFD-FD7B8DCCC0DD}"/>
              </a:ext>
            </a:extLst>
          </p:cNvPr>
          <p:cNvSpPr txBox="1"/>
          <p:nvPr/>
        </p:nvSpPr>
        <p:spPr>
          <a:xfrm>
            <a:off x="1694280" y="6124713"/>
            <a:ext cx="10317535" cy="348942"/>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rtlCol="0" anchor="ctr">
            <a:noAutofit/>
          </a:bodyPr>
          <a:lstStyle/>
          <a:p>
            <a:pPr algn="l" defTabSz="2438400">
              <a:spcBef>
                <a:spcPts val="2900"/>
              </a:spcBef>
              <a:buSzPct val="100000"/>
            </a:pPr>
            <a:r>
              <a:rPr lang="en-US" sz="1200" kern="0">
                <a:solidFill>
                  <a:srgbClr val="000000"/>
                </a:solidFill>
                <a:ea typeface="+mj-ea"/>
                <a:cs typeface="+mj-cs"/>
                <a:sym typeface="IBM Plex Sans Light"/>
              </a:rPr>
              <a:t>The accelerators that will be used during the engagement. File ingestion framework may be useful and repurposed once the requirements are more detailed. </a:t>
            </a:r>
            <a:endParaRPr lang="en-IN" sz="1200" kern="0">
              <a:solidFill>
                <a:srgbClr val="000000"/>
              </a:solidFill>
              <a:ea typeface="+mj-ea"/>
              <a:cs typeface="+mj-cs"/>
              <a:sym typeface="IBM Plex Sans Light"/>
            </a:endParaRPr>
          </a:p>
        </p:txBody>
      </p:sp>
      <p:sp>
        <p:nvSpPr>
          <p:cNvPr id="4" name="Rectangle 3">
            <a:extLst>
              <a:ext uri="{FF2B5EF4-FFF2-40B4-BE49-F238E27FC236}">
                <a16:creationId xmlns:a16="http://schemas.microsoft.com/office/drawing/2014/main" id="{A7423149-6F83-3A11-1592-EC6D5C3FF76A}"/>
              </a:ext>
            </a:extLst>
          </p:cNvPr>
          <p:cNvSpPr/>
          <p:nvPr/>
        </p:nvSpPr>
        <p:spPr bwMode="auto">
          <a:xfrm flipV="1">
            <a:off x="308068" y="6138391"/>
            <a:ext cx="1244970" cy="284016"/>
          </a:xfrm>
          <a:prstGeom prst="rect">
            <a:avLst/>
          </a:prstGeom>
          <a:solidFill>
            <a:schemeClr val="accent4">
              <a:alpha val="83763"/>
            </a:schemeClr>
          </a:solidFill>
          <a:ln w="19050">
            <a:noFill/>
            <a:prstDash val="dash"/>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IN" sz="1400" b="0" i="0" u="none" strike="noStrike" cap="none" normalizeH="0" baseline="0">
              <a:ln>
                <a:noFill/>
              </a:ln>
              <a:solidFill>
                <a:schemeClr val="bg1"/>
              </a:solidFill>
              <a:effectLst/>
              <a:latin typeface="+mn-lt"/>
            </a:endParaRPr>
          </a:p>
        </p:txBody>
      </p:sp>
      <p:sp>
        <p:nvSpPr>
          <p:cNvPr id="11" name="Rectangle 10">
            <a:extLst>
              <a:ext uri="{FF2B5EF4-FFF2-40B4-BE49-F238E27FC236}">
                <a16:creationId xmlns:a16="http://schemas.microsoft.com/office/drawing/2014/main" id="{B9C2C0E7-0C29-86FC-BF54-588FBFECEA1E}"/>
              </a:ext>
            </a:extLst>
          </p:cNvPr>
          <p:cNvSpPr/>
          <p:nvPr/>
        </p:nvSpPr>
        <p:spPr>
          <a:xfrm>
            <a:off x="308067" y="5715648"/>
            <a:ext cx="8814623" cy="270949"/>
          </a:xfrm>
          <a:prstGeom prst="rect">
            <a:avLst/>
          </a:prstGeom>
          <a:solidFill>
            <a:srgbClr val="DBF9E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pPr algn="ctr"/>
            <a:r>
              <a:rPr lang="en-US" sz="1200" b="1">
                <a:solidFill>
                  <a:schemeClr val="bg1"/>
                </a:solidFill>
                <a:latin typeface="Aptos SemiBold" panose="020B0004020202020204" pitchFamily="34" charset="0"/>
              </a:rPr>
              <a:t>~20% effort savings during implementation</a:t>
            </a:r>
            <a:endParaRPr lang="en-IN" sz="1200" b="1">
              <a:solidFill>
                <a:schemeClr val="bg1"/>
              </a:solidFill>
              <a:latin typeface="Aptos SemiBold" panose="020B0004020202020204" pitchFamily="34" charset="0"/>
            </a:endParaRPr>
          </a:p>
        </p:txBody>
      </p:sp>
    </p:spTree>
    <p:extLst>
      <p:ext uri="{BB962C8B-B14F-4D97-AF65-F5344CB8AC3E}">
        <p14:creationId xmlns:p14="http://schemas.microsoft.com/office/powerpoint/2010/main" val="302161401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14FBAC-2855-0252-F002-A1FDF46DDFD6}"/>
            </a:ext>
          </a:extLst>
        </p:cNvPr>
        <p:cNvGrpSpPr/>
        <p:nvPr/>
      </p:nvGrpSpPr>
      <p:grpSpPr>
        <a:xfrm>
          <a:off x="0" y="0"/>
          <a:ext cx="0" cy="0"/>
          <a:chOff x="0" y="0"/>
          <a:chExt cx="0" cy="0"/>
        </a:xfrm>
      </p:grpSpPr>
      <p:sp>
        <p:nvSpPr>
          <p:cNvPr id="5" name="Graphic 12">
            <a:extLst>
              <a:ext uri="{FF2B5EF4-FFF2-40B4-BE49-F238E27FC236}">
                <a16:creationId xmlns:a16="http://schemas.microsoft.com/office/drawing/2014/main" id="{60D68622-CE92-2980-84A0-A880C3A2D88F}"/>
              </a:ext>
            </a:extLst>
          </p:cNvPr>
          <p:cNvSpPr/>
          <p:nvPr/>
        </p:nvSpPr>
        <p:spPr>
          <a:xfrm>
            <a:off x="5146520" y="0"/>
            <a:ext cx="7083354" cy="6858000"/>
          </a:xfrm>
          <a:custGeom>
            <a:avLst/>
            <a:gdLst>
              <a:gd name="connsiteX0" fmla="*/ 7083355 w 7083354"/>
              <a:gd name="connsiteY0" fmla="*/ 6858000 h 6858000"/>
              <a:gd name="connsiteX1" fmla="*/ 551850 w 7083354"/>
              <a:gd name="connsiteY1" fmla="*/ 6858000 h 6858000"/>
              <a:gd name="connsiteX2" fmla="*/ 423157 w 7083354"/>
              <a:gd name="connsiteY2" fmla="*/ 4811395 h 6858000"/>
              <a:gd name="connsiteX3" fmla="*/ 4471599 w 7083354"/>
              <a:gd name="connsiteY3" fmla="*/ 0 h 6858000"/>
              <a:gd name="connsiteX4" fmla="*/ 7083355 w 708335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3354" h="6858000">
                <a:moveTo>
                  <a:pt x="7083355" y="6858000"/>
                </a:moveTo>
                <a:lnTo>
                  <a:pt x="551850" y="6858000"/>
                </a:lnTo>
                <a:cubicBezTo>
                  <a:pt x="-212161" y="6355610"/>
                  <a:pt x="-112677" y="5450629"/>
                  <a:pt x="423157" y="4811395"/>
                </a:cubicBezTo>
                <a:lnTo>
                  <a:pt x="4471599" y="0"/>
                </a:lnTo>
                <a:lnTo>
                  <a:pt x="7083355" y="0"/>
                </a:lnTo>
              </a:path>
            </a:pathLst>
          </a:custGeom>
          <a:solidFill>
            <a:schemeClr val="bg1">
              <a:lumMod val="25000"/>
              <a:lumOff val="75000"/>
              <a:alpha val="19000"/>
            </a:schemeClr>
          </a:solidFill>
          <a:ln w="10583" cap="flat">
            <a:noFill/>
            <a:prstDash val="solid"/>
            <a:miter/>
          </a:ln>
        </p:spPr>
        <p:txBody>
          <a:bodyPr rtlCol="0" anchor="ctr"/>
          <a:lstStyle/>
          <a:p>
            <a:endParaRPr lang="en-US"/>
          </a:p>
        </p:txBody>
      </p:sp>
      <p:sp>
        <p:nvSpPr>
          <p:cNvPr id="14" name="Graphic 5">
            <a:extLst>
              <a:ext uri="{FF2B5EF4-FFF2-40B4-BE49-F238E27FC236}">
                <a16:creationId xmlns:a16="http://schemas.microsoft.com/office/drawing/2014/main" id="{4D9DB604-E2FD-E14C-5EFB-57C42DAB818D}"/>
              </a:ext>
            </a:extLst>
          </p:cNvPr>
          <p:cNvSpPr/>
          <p:nvPr/>
        </p:nvSpPr>
        <p:spPr>
          <a:xfrm>
            <a:off x="7695096" y="9063"/>
            <a:ext cx="7072843" cy="6854700"/>
          </a:xfrm>
          <a:custGeom>
            <a:avLst/>
            <a:gdLst>
              <a:gd name="connsiteX0" fmla="*/ 422520 w 7072842"/>
              <a:gd name="connsiteY0" fmla="*/ 4804219 h 6847772"/>
              <a:gd name="connsiteX1" fmla="*/ 4464987 w 7072842"/>
              <a:gd name="connsiteY1" fmla="*/ 0 h 6847772"/>
              <a:gd name="connsiteX2" fmla="*/ 7072843 w 7072842"/>
              <a:gd name="connsiteY2" fmla="*/ 0 h 6847772"/>
              <a:gd name="connsiteX3" fmla="*/ 2827236 w 7072842"/>
              <a:gd name="connsiteY3" fmla="*/ 5023934 h 6847772"/>
              <a:gd name="connsiteX4" fmla="*/ 2814860 w 7072842"/>
              <a:gd name="connsiteY4" fmla="*/ 6847773 h 6847772"/>
              <a:gd name="connsiteX5" fmla="*/ 551057 w 7072842"/>
              <a:gd name="connsiteY5" fmla="*/ 6847773 h 6847772"/>
              <a:gd name="connsiteX6" fmla="*/ 422520 w 7072842"/>
              <a:gd name="connsiteY6" fmla="*/ 4804219 h 6847772"/>
              <a:gd name="connsiteX0" fmla="*/ 422520 w 7072843"/>
              <a:gd name="connsiteY0" fmla="*/ 4804219 h 6854700"/>
              <a:gd name="connsiteX1" fmla="*/ 4464987 w 7072843"/>
              <a:gd name="connsiteY1" fmla="*/ 0 h 6854700"/>
              <a:gd name="connsiteX2" fmla="*/ 7072843 w 7072843"/>
              <a:gd name="connsiteY2" fmla="*/ 0 h 6854700"/>
              <a:gd name="connsiteX3" fmla="*/ 2827236 w 7072843"/>
              <a:gd name="connsiteY3" fmla="*/ 5023934 h 6854700"/>
              <a:gd name="connsiteX4" fmla="*/ 2825251 w 7072843"/>
              <a:gd name="connsiteY4" fmla="*/ 6854700 h 6854700"/>
              <a:gd name="connsiteX5" fmla="*/ 551057 w 7072843"/>
              <a:gd name="connsiteY5" fmla="*/ 6847773 h 6854700"/>
              <a:gd name="connsiteX6" fmla="*/ 422520 w 7072843"/>
              <a:gd name="connsiteY6" fmla="*/ 4804219 h 6854700"/>
              <a:gd name="connsiteX0" fmla="*/ 422520 w 7072843"/>
              <a:gd name="connsiteY0" fmla="*/ 4804219 h 6854700"/>
              <a:gd name="connsiteX1" fmla="*/ 4464987 w 7072843"/>
              <a:gd name="connsiteY1" fmla="*/ 0 h 6854700"/>
              <a:gd name="connsiteX2" fmla="*/ 7072843 w 7072843"/>
              <a:gd name="connsiteY2" fmla="*/ 0 h 6854700"/>
              <a:gd name="connsiteX3" fmla="*/ 2827236 w 7072843"/>
              <a:gd name="connsiteY3" fmla="*/ 5023934 h 6854700"/>
              <a:gd name="connsiteX4" fmla="*/ 2825251 w 7072843"/>
              <a:gd name="connsiteY4" fmla="*/ 6854700 h 6854700"/>
              <a:gd name="connsiteX5" fmla="*/ 551057 w 7072843"/>
              <a:gd name="connsiteY5" fmla="*/ 6847773 h 6854700"/>
              <a:gd name="connsiteX6" fmla="*/ 422520 w 7072843"/>
              <a:gd name="connsiteY6" fmla="*/ 4804219 h 6854700"/>
              <a:gd name="connsiteX0" fmla="*/ 422520 w 7072843"/>
              <a:gd name="connsiteY0" fmla="*/ 4804219 h 6854700"/>
              <a:gd name="connsiteX1" fmla="*/ 4464987 w 7072843"/>
              <a:gd name="connsiteY1" fmla="*/ 0 h 6854700"/>
              <a:gd name="connsiteX2" fmla="*/ 7072843 w 7072843"/>
              <a:gd name="connsiteY2" fmla="*/ 0 h 6854700"/>
              <a:gd name="connsiteX3" fmla="*/ 2827236 w 7072843"/>
              <a:gd name="connsiteY3" fmla="*/ 5023934 h 6854700"/>
              <a:gd name="connsiteX4" fmla="*/ 2825251 w 7072843"/>
              <a:gd name="connsiteY4" fmla="*/ 6854700 h 6854700"/>
              <a:gd name="connsiteX5" fmla="*/ 551057 w 7072843"/>
              <a:gd name="connsiteY5" fmla="*/ 6847773 h 6854700"/>
              <a:gd name="connsiteX6" fmla="*/ 422520 w 7072843"/>
              <a:gd name="connsiteY6" fmla="*/ 4804219 h 6854700"/>
              <a:gd name="connsiteX0" fmla="*/ 422520 w 7072843"/>
              <a:gd name="connsiteY0" fmla="*/ 4804219 h 6854700"/>
              <a:gd name="connsiteX1" fmla="*/ 4464987 w 7072843"/>
              <a:gd name="connsiteY1" fmla="*/ 0 h 6854700"/>
              <a:gd name="connsiteX2" fmla="*/ 7072843 w 7072843"/>
              <a:gd name="connsiteY2" fmla="*/ 0 h 6854700"/>
              <a:gd name="connsiteX3" fmla="*/ 2827236 w 7072843"/>
              <a:gd name="connsiteY3" fmla="*/ 5023934 h 6854700"/>
              <a:gd name="connsiteX4" fmla="*/ 2825251 w 7072843"/>
              <a:gd name="connsiteY4" fmla="*/ 6854700 h 6854700"/>
              <a:gd name="connsiteX5" fmla="*/ 551057 w 7072843"/>
              <a:gd name="connsiteY5" fmla="*/ 6847773 h 6854700"/>
              <a:gd name="connsiteX6" fmla="*/ 422520 w 7072843"/>
              <a:gd name="connsiteY6" fmla="*/ 4804219 h 6854700"/>
              <a:gd name="connsiteX0" fmla="*/ 422520 w 7072843"/>
              <a:gd name="connsiteY0" fmla="*/ 4804219 h 6854700"/>
              <a:gd name="connsiteX1" fmla="*/ 4464987 w 7072843"/>
              <a:gd name="connsiteY1" fmla="*/ 0 h 6854700"/>
              <a:gd name="connsiteX2" fmla="*/ 7072843 w 7072843"/>
              <a:gd name="connsiteY2" fmla="*/ 0 h 6854700"/>
              <a:gd name="connsiteX3" fmla="*/ 2827236 w 7072843"/>
              <a:gd name="connsiteY3" fmla="*/ 5023934 h 6854700"/>
              <a:gd name="connsiteX4" fmla="*/ 2825251 w 7072843"/>
              <a:gd name="connsiteY4" fmla="*/ 6854700 h 6854700"/>
              <a:gd name="connsiteX5" fmla="*/ 551057 w 7072843"/>
              <a:gd name="connsiteY5" fmla="*/ 6847773 h 6854700"/>
              <a:gd name="connsiteX6" fmla="*/ 422520 w 7072843"/>
              <a:gd name="connsiteY6" fmla="*/ 4804219 h 6854700"/>
              <a:gd name="connsiteX0" fmla="*/ 422520 w 7072843"/>
              <a:gd name="connsiteY0" fmla="*/ 4804219 h 6854700"/>
              <a:gd name="connsiteX1" fmla="*/ 4464987 w 7072843"/>
              <a:gd name="connsiteY1" fmla="*/ 0 h 6854700"/>
              <a:gd name="connsiteX2" fmla="*/ 7072843 w 7072843"/>
              <a:gd name="connsiteY2" fmla="*/ 0 h 6854700"/>
              <a:gd name="connsiteX3" fmla="*/ 2827236 w 7072843"/>
              <a:gd name="connsiteY3" fmla="*/ 5023934 h 6854700"/>
              <a:gd name="connsiteX4" fmla="*/ 2825251 w 7072843"/>
              <a:gd name="connsiteY4" fmla="*/ 6854700 h 6854700"/>
              <a:gd name="connsiteX5" fmla="*/ 551057 w 7072843"/>
              <a:gd name="connsiteY5" fmla="*/ 6847773 h 6854700"/>
              <a:gd name="connsiteX6" fmla="*/ 422520 w 7072843"/>
              <a:gd name="connsiteY6" fmla="*/ 4804219 h 6854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72843" h="6854700">
                <a:moveTo>
                  <a:pt x="422520" y="4804219"/>
                </a:moveTo>
                <a:lnTo>
                  <a:pt x="4464987" y="0"/>
                </a:lnTo>
                <a:lnTo>
                  <a:pt x="7072843" y="0"/>
                </a:lnTo>
                <a:lnTo>
                  <a:pt x="2827236" y="5023934"/>
                </a:lnTo>
                <a:cubicBezTo>
                  <a:pt x="2405702" y="5562918"/>
                  <a:pt x="2292307" y="6311373"/>
                  <a:pt x="2825251" y="6854700"/>
                </a:cubicBezTo>
                <a:lnTo>
                  <a:pt x="551057" y="6847773"/>
                </a:lnTo>
                <a:cubicBezTo>
                  <a:pt x="-211856" y="6346116"/>
                  <a:pt x="-112505" y="5442503"/>
                  <a:pt x="422520" y="4804219"/>
                </a:cubicBezTo>
                <a:close/>
              </a:path>
            </a:pathLst>
          </a:custGeom>
          <a:solidFill>
            <a:schemeClr val="bg1">
              <a:lumMod val="10000"/>
              <a:lumOff val="90000"/>
              <a:alpha val="54000"/>
            </a:schemeClr>
          </a:solidFill>
          <a:ln w="14404" cap="flat">
            <a:noFill/>
            <a:prstDash val="solid"/>
            <a:miter/>
          </a:ln>
        </p:spPr>
        <p:txBody>
          <a:bodyPr rtlCol="0" anchor="ctr"/>
          <a:lstStyle/>
          <a:p>
            <a:endParaRPr lang="en-US"/>
          </a:p>
        </p:txBody>
      </p:sp>
      <p:sp>
        <p:nvSpPr>
          <p:cNvPr id="3" name="Title 4">
            <a:extLst>
              <a:ext uri="{FF2B5EF4-FFF2-40B4-BE49-F238E27FC236}">
                <a16:creationId xmlns:a16="http://schemas.microsoft.com/office/drawing/2014/main" id="{B3BAA018-4B95-860C-524F-9FCAC9C67C30}"/>
              </a:ext>
            </a:extLst>
          </p:cNvPr>
          <p:cNvSpPr txBox="1">
            <a:spLocks/>
          </p:cNvSpPr>
          <p:nvPr/>
        </p:nvSpPr>
        <p:spPr>
          <a:xfrm>
            <a:off x="890844" y="2559553"/>
            <a:ext cx="6032383" cy="1648630"/>
          </a:xfrm>
          <a:prstGeom prst="rect">
            <a:avLst/>
          </a:prstGeom>
        </p:spPr>
        <p:txBody>
          <a:bodyPr>
            <a:noAutofit/>
          </a:bodyPr>
          <a:lstStyle>
            <a:lvl1pPr marL="0" marR="0" indent="0" algn="l" defTabSz="1462796" rtl="0" eaLnBrk="1" latinLnBrk="0" hangingPunct="1">
              <a:lnSpc>
                <a:spcPct val="80000"/>
              </a:lnSpc>
              <a:spcBef>
                <a:spcPts val="0"/>
              </a:spcBef>
              <a:spcAft>
                <a:spcPts val="0"/>
              </a:spcAft>
              <a:buClrTx/>
              <a:buSzTx/>
              <a:buFontTx/>
              <a:buNone/>
              <a:tabLst/>
              <a:defRPr sz="3800" b="0" i="0" u="none" strike="noStrike" cap="none" spc="0" baseline="0">
                <a:solidFill>
                  <a:schemeClr val="bg1"/>
                </a:solidFill>
                <a:uFillTx/>
                <a:latin typeface="Aptos" panose="020B0004020202020204" pitchFamily="34" charset="0"/>
                <a:ea typeface="+mj-ea"/>
                <a:cs typeface="+mj-cs"/>
                <a:sym typeface="IBM Plex Sans Light"/>
              </a:defRPr>
            </a:lvl1pPr>
            <a:lvl2pPr marL="0" marR="0" indent="0"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2pPr>
            <a:lvl3pPr marL="0" marR="0" indent="0"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3pPr>
            <a:lvl4pPr marL="0" marR="0" indent="0"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4pPr>
            <a:lvl5pPr marL="0" marR="0" indent="0"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5pPr>
            <a:lvl6pPr marL="0" marR="0" indent="217505"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6pPr>
            <a:lvl7pPr marL="0" marR="0" indent="435011"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7pPr>
            <a:lvl8pPr marL="0" marR="0" indent="652515"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8pPr>
            <a:lvl9pPr marL="0" marR="0" indent="870021"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9pPr>
          </a:lstStyle>
          <a:p>
            <a:pPr defTabSz="1218948">
              <a:lnSpc>
                <a:spcPct val="90000"/>
              </a:lnSpc>
              <a:defRPr/>
            </a:pPr>
            <a:r>
              <a:rPr lang="en-US" sz="5000" kern="0" spc="100">
                <a:solidFill>
                  <a:schemeClr val="tx2"/>
                </a:solidFill>
                <a:ea typeface="Helvetica Neue UltraLight" panose="02000206000000020004" pitchFamily="2" charset="0"/>
                <a:cs typeface="Helvetica Neue Medium" panose="02000503000000020004" pitchFamily="2" charset="0"/>
              </a:rPr>
              <a:t>Our  nderstandin</a:t>
            </a:r>
          </a:p>
        </p:txBody>
      </p:sp>
      <p:sp>
        <p:nvSpPr>
          <p:cNvPr id="11" name="Text Placeholder 3">
            <a:extLst>
              <a:ext uri="{FF2B5EF4-FFF2-40B4-BE49-F238E27FC236}">
                <a16:creationId xmlns:a16="http://schemas.microsoft.com/office/drawing/2014/main" id="{C7D32A6F-6245-CE5E-BB32-C422CE1A2AB5}"/>
              </a:ext>
            </a:extLst>
          </p:cNvPr>
          <p:cNvSpPr txBox="1">
            <a:spLocks/>
          </p:cNvSpPr>
          <p:nvPr/>
        </p:nvSpPr>
        <p:spPr>
          <a:xfrm>
            <a:off x="288889" y="6458629"/>
            <a:ext cx="4088233" cy="150303"/>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Outfit Light" pitchFamily="2" charset="0"/>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48">
              <a:defRPr/>
            </a:pPr>
            <a:r>
              <a:rPr lang="en-US" sz="917" kern="0">
                <a:solidFill>
                  <a:schemeClr val="bg2"/>
                </a:solidFill>
                <a:latin typeface="Aptos Light" panose="020B0004020202020204" pitchFamily="34" charset="0"/>
              </a:rPr>
              <a:t>Confidential</a:t>
            </a:r>
            <a:r>
              <a:rPr lang="en-US" sz="917" kern="0">
                <a:solidFill>
                  <a:schemeClr val="bg2"/>
                </a:solidFill>
                <a:latin typeface="Aptos" panose="020B0004020202020204" pitchFamily="34" charset="0"/>
              </a:rPr>
              <a:t>  /  </a:t>
            </a:r>
            <a:r>
              <a:rPr lang="en-US" sz="917" kern="0">
                <a:solidFill>
                  <a:schemeClr val="bg2"/>
                </a:solidFill>
                <a:latin typeface="Aptos Light" panose="020B0004020202020204" pitchFamily="34" charset="0"/>
              </a:rPr>
              <a:t>Brillio</a:t>
            </a:r>
          </a:p>
        </p:txBody>
      </p:sp>
      <p:sp>
        <p:nvSpPr>
          <p:cNvPr id="4" name="TextBox 3">
            <a:extLst>
              <a:ext uri="{FF2B5EF4-FFF2-40B4-BE49-F238E27FC236}">
                <a16:creationId xmlns:a16="http://schemas.microsoft.com/office/drawing/2014/main" id="{6FD66E7F-BDB7-EBDF-E412-4E282B1784C4}"/>
              </a:ext>
            </a:extLst>
          </p:cNvPr>
          <p:cNvSpPr txBox="1"/>
          <p:nvPr/>
        </p:nvSpPr>
        <p:spPr>
          <a:xfrm>
            <a:off x="941294" y="3496235"/>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370373" indent="-372276" defTabSz="2031919">
              <a:spcBef>
                <a:spcPts val="2417"/>
              </a:spcBef>
              <a:buSzPct val="100000"/>
              <a:buFontTx/>
              <a:buChar char="–"/>
              <a:defRPr/>
            </a:pPr>
            <a:endParaRPr lang="en-US" sz="1500" kern="0">
              <a:solidFill>
                <a:srgbClr val="000000"/>
              </a:solidFill>
              <a:latin typeface="Aptos" panose="02110004020202020204"/>
              <a:sym typeface="IBM Plex Sans Light"/>
            </a:endParaRPr>
          </a:p>
        </p:txBody>
      </p:sp>
      <p:sp>
        <p:nvSpPr>
          <p:cNvPr id="7" name="TextBox 6">
            <a:extLst>
              <a:ext uri="{FF2B5EF4-FFF2-40B4-BE49-F238E27FC236}">
                <a16:creationId xmlns:a16="http://schemas.microsoft.com/office/drawing/2014/main" id="{03DCEEAF-D616-B38F-4138-036AD274B7AC}"/>
              </a:ext>
            </a:extLst>
          </p:cNvPr>
          <p:cNvSpPr txBox="1"/>
          <p:nvPr/>
        </p:nvSpPr>
        <p:spPr>
          <a:xfrm>
            <a:off x="941294" y="3204135"/>
            <a:ext cx="0" cy="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rtlCol="0">
            <a:noAutofit/>
          </a:bodyPr>
          <a:lstStyle/>
          <a:p>
            <a:pPr marL="370373" indent="-372276" defTabSz="2031919">
              <a:spcBef>
                <a:spcPts val="2417"/>
              </a:spcBef>
              <a:buSzPct val="100000"/>
              <a:buFontTx/>
              <a:buChar char="–"/>
              <a:defRPr/>
            </a:pPr>
            <a:endParaRPr lang="en-US" sz="1500" kern="0">
              <a:solidFill>
                <a:srgbClr val="000000"/>
              </a:solidFill>
              <a:latin typeface="Aptos" panose="02110004020202020204"/>
              <a:sym typeface="IBM Plex Sans Light"/>
            </a:endParaRPr>
          </a:p>
        </p:txBody>
      </p:sp>
      <p:sp>
        <p:nvSpPr>
          <p:cNvPr id="9" name="Rectangle 8">
            <a:extLst>
              <a:ext uri="{FF2B5EF4-FFF2-40B4-BE49-F238E27FC236}">
                <a16:creationId xmlns:a16="http://schemas.microsoft.com/office/drawing/2014/main" id="{5D3E9F44-4E3E-122B-D5E9-F5083A9805EC}"/>
              </a:ext>
            </a:extLst>
          </p:cNvPr>
          <p:cNvSpPr/>
          <p:nvPr/>
        </p:nvSpPr>
        <p:spPr bwMode="auto">
          <a:xfrm rot="5400000">
            <a:off x="1576003" y="1838266"/>
            <a:ext cx="38099" cy="1198778"/>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76200" tIns="76200" rIns="76200" bIns="76200" numCol="1" rtlCol="0" anchor="t" anchorCtr="0" compatLnSpc="1">
            <a:prstTxWarp prst="textNoShape">
              <a:avLst/>
            </a:prstTxWarp>
          </a:bodyPr>
          <a:lstStyle/>
          <a:p>
            <a:pPr defTabSz="761970" fontAlgn="base">
              <a:spcBef>
                <a:spcPct val="0"/>
              </a:spcBef>
              <a:spcAft>
                <a:spcPct val="0"/>
              </a:spcAft>
              <a:defRPr/>
            </a:pPr>
            <a:endParaRPr lang="en-US" sz="1167">
              <a:solidFill>
                <a:schemeClr val="tx2"/>
              </a:solidFill>
              <a:latin typeface="Aptos" panose="02110004020202020204"/>
            </a:endParaRPr>
          </a:p>
        </p:txBody>
      </p:sp>
      <p:sp>
        <p:nvSpPr>
          <p:cNvPr id="8" name="Text Placeholder 3">
            <a:extLst>
              <a:ext uri="{FF2B5EF4-FFF2-40B4-BE49-F238E27FC236}">
                <a16:creationId xmlns:a16="http://schemas.microsoft.com/office/drawing/2014/main" id="{24C510F3-273B-9802-5FFD-7FF43AE4BFC4}"/>
              </a:ext>
            </a:extLst>
          </p:cNvPr>
          <p:cNvSpPr txBox="1">
            <a:spLocks/>
          </p:cNvSpPr>
          <p:nvPr/>
        </p:nvSpPr>
        <p:spPr>
          <a:xfrm>
            <a:off x="11438259" y="6458629"/>
            <a:ext cx="462473" cy="150303"/>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Outfit Light" pitchFamily="2" charset="0"/>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r" defTabSz="1218948">
              <a:defRPr/>
            </a:pPr>
            <a:fld id="{64F0821C-65D3-DD4D-8DB2-745946DB9115}" type="slidenum">
              <a:rPr lang="en-US" sz="917" kern="0">
                <a:latin typeface="Aptos" panose="020B0004020202020204" pitchFamily="34" charset="0"/>
              </a:rPr>
              <a:pPr algn="r" defTabSz="1218948">
                <a:defRPr/>
              </a:pPr>
              <a:t>18</a:t>
            </a:fld>
            <a:endParaRPr lang="en-US" sz="917" kern="0">
              <a:latin typeface="Aptos" panose="020B0004020202020204" pitchFamily="34" charset="0"/>
            </a:endParaRPr>
          </a:p>
        </p:txBody>
      </p:sp>
      <p:pic>
        <p:nvPicPr>
          <p:cNvPr id="12" name="Graphic 11">
            <a:extLst>
              <a:ext uri="{FF2B5EF4-FFF2-40B4-BE49-F238E27FC236}">
                <a16:creationId xmlns:a16="http://schemas.microsoft.com/office/drawing/2014/main" id="{9F36719C-5EA1-17C7-10A0-AAEB941442BA}"/>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543540" y="6495499"/>
            <a:ext cx="167269" cy="81501"/>
          </a:xfrm>
          <a:prstGeom prst="rect">
            <a:avLst/>
          </a:prstGeom>
        </p:spPr>
      </p:pic>
      <p:sp>
        <p:nvSpPr>
          <p:cNvPr id="19" name="Title 4">
            <a:extLst>
              <a:ext uri="{FF2B5EF4-FFF2-40B4-BE49-F238E27FC236}">
                <a16:creationId xmlns:a16="http://schemas.microsoft.com/office/drawing/2014/main" id="{D758764B-F356-8BBC-D471-4110644955C7}"/>
              </a:ext>
            </a:extLst>
          </p:cNvPr>
          <p:cNvSpPr txBox="1">
            <a:spLocks/>
          </p:cNvSpPr>
          <p:nvPr/>
        </p:nvSpPr>
        <p:spPr>
          <a:xfrm>
            <a:off x="1043244" y="2711953"/>
            <a:ext cx="6032383" cy="1648630"/>
          </a:xfrm>
          <a:prstGeom prst="rect">
            <a:avLst/>
          </a:prstGeom>
        </p:spPr>
        <p:txBody>
          <a:bodyPr>
            <a:noAutofit/>
          </a:bodyPr>
          <a:lstStyle>
            <a:lvl1pPr marL="0" marR="0" indent="0" algn="l" defTabSz="1462796" rtl="0" eaLnBrk="1" latinLnBrk="0" hangingPunct="1">
              <a:lnSpc>
                <a:spcPct val="80000"/>
              </a:lnSpc>
              <a:spcBef>
                <a:spcPts val="0"/>
              </a:spcBef>
              <a:spcAft>
                <a:spcPts val="0"/>
              </a:spcAft>
              <a:buClrTx/>
              <a:buSzTx/>
              <a:buFontTx/>
              <a:buNone/>
              <a:tabLst/>
              <a:defRPr sz="3800" b="0" i="0" u="none" strike="noStrike" cap="none" spc="0" baseline="0">
                <a:solidFill>
                  <a:schemeClr val="bg1"/>
                </a:solidFill>
                <a:uFillTx/>
                <a:latin typeface="Aptos" panose="020B0004020202020204" pitchFamily="34" charset="0"/>
                <a:ea typeface="+mj-ea"/>
                <a:cs typeface="+mj-cs"/>
                <a:sym typeface="IBM Plex Sans Light"/>
              </a:defRPr>
            </a:lvl1pPr>
            <a:lvl2pPr marL="0" marR="0" indent="0"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2pPr>
            <a:lvl3pPr marL="0" marR="0" indent="0"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3pPr>
            <a:lvl4pPr marL="0" marR="0" indent="0"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4pPr>
            <a:lvl5pPr marL="0" marR="0" indent="0"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5pPr>
            <a:lvl6pPr marL="0" marR="0" indent="217505"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6pPr>
            <a:lvl7pPr marL="0" marR="0" indent="435011"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7pPr>
            <a:lvl8pPr marL="0" marR="0" indent="652515"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8pPr>
            <a:lvl9pPr marL="0" marR="0" indent="870021"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9pPr>
          </a:lstStyle>
          <a:p>
            <a:pPr defTabSz="1218948">
              <a:lnSpc>
                <a:spcPct val="90000"/>
              </a:lnSpc>
              <a:defRPr/>
            </a:pPr>
            <a:r>
              <a:rPr lang="en-US" sz="5000" kern="0" spc="100">
                <a:ea typeface="Helvetica Neue UltraLight" panose="02000206000000020004" pitchFamily="2" charset="0"/>
                <a:cs typeface="Helvetica Neue Medium" panose="02000503000000020004" pitchFamily="2" charset="0"/>
              </a:rPr>
              <a:t>SAP capabilities</a:t>
            </a:r>
            <a:endParaRPr lang="en-US" sz="6000" kern="0" spc="100">
              <a:ea typeface="Helvetica Neue UltraLight" panose="02000206000000020004" pitchFamily="2" charset="0"/>
              <a:cs typeface="Helvetica Neue Medium" panose="02000503000000020004" pitchFamily="2" charset="0"/>
            </a:endParaRPr>
          </a:p>
        </p:txBody>
      </p:sp>
      <p:sp>
        <p:nvSpPr>
          <p:cNvPr id="20" name="Rectangle 19">
            <a:extLst>
              <a:ext uri="{FF2B5EF4-FFF2-40B4-BE49-F238E27FC236}">
                <a16:creationId xmlns:a16="http://schemas.microsoft.com/office/drawing/2014/main" id="{6ABCE927-24F0-DFE2-B78B-420DCF916A9D}"/>
              </a:ext>
            </a:extLst>
          </p:cNvPr>
          <p:cNvSpPr/>
          <p:nvPr/>
        </p:nvSpPr>
        <p:spPr bwMode="auto">
          <a:xfrm rot="5400000">
            <a:off x="1728403" y="1990666"/>
            <a:ext cx="38099" cy="1198778"/>
          </a:xfrm>
          <a:prstGeom prst="rect">
            <a:avLst/>
          </a:prstGeom>
          <a:solidFill>
            <a:schemeClr val="tx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76200" tIns="76200" rIns="76200" bIns="76200" numCol="1" rtlCol="0" anchor="t" anchorCtr="0" compatLnSpc="1">
            <a:prstTxWarp prst="textNoShape">
              <a:avLst/>
            </a:prstTxWarp>
          </a:bodyPr>
          <a:lstStyle/>
          <a:p>
            <a:pPr defTabSz="761970" fontAlgn="base">
              <a:spcBef>
                <a:spcPct val="0"/>
              </a:spcBef>
              <a:spcAft>
                <a:spcPct val="0"/>
              </a:spcAft>
              <a:defRPr/>
            </a:pPr>
            <a:endParaRPr lang="en-US" sz="1167">
              <a:solidFill>
                <a:schemeClr val="bg2"/>
              </a:solidFill>
              <a:latin typeface="Aptos" panose="02110004020202020204"/>
            </a:endParaRPr>
          </a:p>
        </p:txBody>
      </p:sp>
    </p:spTree>
    <p:extLst>
      <p:ext uri="{BB962C8B-B14F-4D97-AF65-F5344CB8AC3E}">
        <p14:creationId xmlns:p14="http://schemas.microsoft.com/office/powerpoint/2010/main" val="264097655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F3537D-5883-C0B0-8F1C-E50DC3B0346E}"/>
            </a:ext>
          </a:extLst>
        </p:cNvPr>
        <p:cNvGrpSpPr/>
        <p:nvPr/>
      </p:nvGrpSpPr>
      <p:grpSpPr>
        <a:xfrm>
          <a:off x="0" y="0"/>
          <a:ext cx="0" cy="0"/>
          <a:chOff x="0" y="0"/>
          <a:chExt cx="0" cy="0"/>
        </a:xfrm>
      </p:grpSpPr>
      <p:sp>
        <p:nvSpPr>
          <p:cNvPr id="15" name="Title 1">
            <a:extLst>
              <a:ext uri="{FF2B5EF4-FFF2-40B4-BE49-F238E27FC236}">
                <a16:creationId xmlns:a16="http://schemas.microsoft.com/office/drawing/2014/main" id="{A0D6A673-C657-7326-F867-5A9963749503}"/>
              </a:ext>
            </a:extLst>
          </p:cNvPr>
          <p:cNvSpPr txBox="1">
            <a:spLocks/>
          </p:cNvSpPr>
          <p:nvPr/>
        </p:nvSpPr>
        <p:spPr>
          <a:xfrm>
            <a:off x="288555" y="299392"/>
            <a:ext cx="11606656" cy="386603"/>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73152" rIns="0" bIns="0"/>
          <a:lstStyle>
            <a:lvl1pPr marL="0" marR="0" indent="0" algn="l" defTabSz="1218948" rtl="0" eaLnBrk="1" latinLnBrk="0" hangingPunct="1">
              <a:lnSpc>
                <a:spcPct val="80000"/>
              </a:lnSpc>
              <a:spcBef>
                <a:spcPts val="0"/>
              </a:spcBef>
              <a:spcAft>
                <a:spcPts val="0"/>
              </a:spcAft>
              <a:buClrTx/>
              <a:buSzTx/>
              <a:buFontTx/>
              <a:buNone/>
              <a:tabLst/>
              <a:defRPr sz="3500" b="0" i="0" u="none" strike="noStrike" cap="none" spc="0" baseline="0">
                <a:solidFill>
                  <a:schemeClr val="bg1"/>
                </a:solidFill>
                <a:uFillTx/>
                <a:latin typeface="Aptos Light" panose="020B0004020202020204" pitchFamily="34" charset="0"/>
                <a:ea typeface="+mj-ea"/>
                <a:cs typeface="+mj-cs"/>
                <a:sym typeface="IBM Plex Sans Light"/>
              </a:defRPr>
            </a:lvl1pPr>
            <a:lvl2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7"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5"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1"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88"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3500" b="0" i="0" u="none" strike="noStrike" kern="1200" cap="none" spc="0" normalizeH="0" baseline="0" noProof="0">
                <a:ln>
                  <a:noFill/>
                </a:ln>
                <a:solidFill>
                  <a:srgbClr val="002060"/>
                </a:solidFill>
                <a:effectLst/>
                <a:uLnTx/>
                <a:uFillTx/>
                <a:latin typeface="Aptos" panose="020B0004020202020204" pitchFamily="34" charset="0"/>
              </a:rPr>
              <a:t>Brillio - SAP Partnership</a:t>
            </a:r>
          </a:p>
        </p:txBody>
      </p:sp>
      <p:sp>
        <p:nvSpPr>
          <p:cNvPr id="20" name="Text Placeholder 19">
            <a:extLst>
              <a:ext uri="{FF2B5EF4-FFF2-40B4-BE49-F238E27FC236}">
                <a16:creationId xmlns:a16="http://schemas.microsoft.com/office/drawing/2014/main" id="{BE292D61-326C-71CF-AD07-619AC2C76B0C}"/>
              </a:ext>
            </a:extLst>
          </p:cNvPr>
          <p:cNvSpPr>
            <a:spLocks noGrp="1"/>
          </p:cNvSpPr>
          <p:nvPr>
            <p:ph type="body" sz="quarter" idx="11"/>
          </p:nvPr>
        </p:nvSpPr>
        <p:spPr>
          <a:xfrm>
            <a:off x="330674" y="2234474"/>
            <a:ext cx="3673748" cy="3823316"/>
          </a:xfrm>
          <a:solidFill>
            <a:srgbClr val="F4F7F9"/>
          </a:solidFill>
        </p:spPr>
        <p:txBody>
          <a:bodyPr lIns="144000" tIns="108000" rIns="180000"/>
          <a:lstStyle/>
          <a:p>
            <a:pPr>
              <a:spcAft>
                <a:spcPts val="600"/>
              </a:spcAft>
            </a:pPr>
            <a:r>
              <a:rPr lang="en-US" b="1">
                <a:solidFill>
                  <a:schemeClr val="bg1"/>
                </a:solidFill>
                <a:latin typeface="Aptos" panose="020B0004020202020204" pitchFamily="34" charset="0"/>
              </a:rPr>
              <a:t>Capabilities</a:t>
            </a:r>
          </a:p>
          <a:p>
            <a:pPr marL="457200" indent="-457200">
              <a:buFont typeface="Arial" panose="020B0604020202020204" pitchFamily="34" charset="0"/>
              <a:buChar char="•"/>
            </a:pPr>
            <a:r>
              <a:rPr lang="en-US" sz="1400">
                <a:solidFill>
                  <a:schemeClr val="bg1"/>
                </a:solidFill>
                <a:latin typeface="Aptos" panose="020B0004020202020204" pitchFamily="34" charset="0"/>
              </a:rPr>
              <a:t>S4 HANA Private &amp; Public Cloud, BTP, SAP Commerce Cloud </a:t>
            </a:r>
          </a:p>
          <a:p>
            <a:pPr marL="457200" indent="-457200">
              <a:buFont typeface="Arial" panose="020B0604020202020204" pitchFamily="34" charset="0"/>
              <a:buChar char="•"/>
            </a:pPr>
            <a:r>
              <a:rPr lang="en-US" sz="1400">
                <a:solidFill>
                  <a:schemeClr val="bg1"/>
                </a:solidFill>
                <a:latin typeface="Aptos" panose="020B0004020202020204" pitchFamily="34" charset="0"/>
              </a:rPr>
              <a:t>Managing SAP workloads on Multi Cloud Environment</a:t>
            </a:r>
          </a:p>
          <a:p>
            <a:pPr marL="457200" indent="-457200">
              <a:buFont typeface="Arial" panose="020B0604020202020204" pitchFamily="34" charset="0"/>
              <a:buChar char="•"/>
            </a:pPr>
            <a:r>
              <a:rPr lang="en-US" sz="1400">
                <a:solidFill>
                  <a:schemeClr val="bg1"/>
                </a:solidFill>
                <a:latin typeface="Aptos" panose="020B0004020202020204" pitchFamily="34" charset="0"/>
              </a:rPr>
              <a:t>Assessment &amp; evaluation of Commerce solutions</a:t>
            </a:r>
          </a:p>
          <a:p>
            <a:pPr marL="457200" indent="-457200">
              <a:buFont typeface="Arial" panose="020B0604020202020204" pitchFamily="34" charset="0"/>
              <a:buChar char="•"/>
            </a:pPr>
            <a:r>
              <a:rPr lang="en-US" sz="1400">
                <a:solidFill>
                  <a:schemeClr val="bg1"/>
                </a:solidFill>
                <a:latin typeface="Aptos" panose="020B0004020202020204" pitchFamily="34" charset="0"/>
              </a:rPr>
              <a:t>Provisioning of infrastructure and Cloud Tailored Services to SAP customers </a:t>
            </a:r>
          </a:p>
          <a:p>
            <a:pPr marL="457200" indent="-457200">
              <a:buFont typeface="Arial" panose="020B0604020202020204" pitchFamily="34" charset="0"/>
              <a:buChar char="•"/>
            </a:pPr>
            <a:r>
              <a:rPr lang="en-US" sz="1400">
                <a:solidFill>
                  <a:schemeClr val="bg1"/>
                </a:solidFill>
                <a:latin typeface="Aptos" panose="020B0004020202020204" pitchFamily="34" charset="0"/>
              </a:rPr>
              <a:t>Fully Managed Services for Solution running on HANA, Cloud, Commerce platforms &amp; solutions</a:t>
            </a:r>
          </a:p>
          <a:p>
            <a:pPr>
              <a:spcAft>
                <a:spcPts val="600"/>
              </a:spcAft>
            </a:pPr>
            <a:endParaRPr lang="en-US" b="1">
              <a:solidFill>
                <a:schemeClr val="bg1"/>
              </a:solidFill>
              <a:latin typeface="Aptos" panose="020B0004020202020204" pitchFamily="34" charset="0"/>
            </a:endParaRPr>
          </a:p>
        </p:txBody>
      </p:sp>
      <p:sp>
        <p:nvSpPr>
          <p:cNvPr id="23" name="Text Placeholder 19">
            <a:extLst>
              <a:ext uri="{FF2B5EF4-FFF2-40B4-BE49-F238E27FC236}">
                <a16:creationId xmlns:a16="http://schemas.microsoft.com/office/drawing/2014/main" id="{21E8184C-D7FF-2BE3-8A25-35EB9C62E30F}"/>
              </a:ext>
            </a:extLst>
          </p:cNvPr>
          <p:cNvSpPr txBox="1">
            <a:spLocks/>
          </p:cNvSpPr>
          <p:nvPr/>
        </p:nvSpPr>
        <p:spPr>
          <a:xfrm>
            <a:off x="4297092" y="2234474"/>
            <a:ext cx="3673748" cy="3823316"/>
          </a:xfrm>
          <a:prstGeom prst="rect">
            <a:avLst/>
          </a:prstGeom>
          <a:solidFill>
            <a:srgbClr val="FFF1EC"/>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44000" tIns="108000" rIns="180000" bIns="0"/>
          <a:lstStyle>
            <a:lvl1pPr marL="0" marR="0" indent="0" algn="l" defTabSz="1218948" rtl="0" eaLnBrk="1" latinLnBrk="0" hangingPunct="1">
              <a:lnSpc>
                <a:spcPct val="110000"/>
              </a:lnSpc>
              <a:spcBef>
                <a:spcPts val="0"/>
              </a:spcBef>
              <a:spcAft>
                <a:spcPts val="0"/>
              </a:spcAft>
              <a:buClrTx/>
              <a:buSzTx/>
              <a:buFontTx/>
              <a:buNone/>
              <a:tabLst/>
              <a:defRPr sz="1500" b="0" i="0" u="none" strike="noStrike" cap="none" spc="0" baseline="0">
                <a:solidFill>
                  <a:schemeClr val="bg2"/>
                </a:solidFill>
                <a:uFillTx/>
                <a:latin typeface="Aptos Light" panose="020B0004020202020204" pitchFamily="34" charset="0"/>
                <a:ea typeface="+mj-ea"/>
                <a:cs typeface="+mj-cs"/>
                <a:sym typeface="IBM Plex Sans Light"/>
              </a:defRPr>
            </a:lvl1pPr>
            <a:lvl2pPr marL="91421" marR="0" indent="-91421" algn="l" defTabSz="1218948" rtl="0" eaLnBrk="1" latinLnBrk="0" hangingPunct="1">
              <a:lnSpc>
                <a:spcPct val="110000"/>
              </a:lnSpc>
              <a:spcBef>
                <a:spcPts val="0"/>
              </a:spcBef>
              <a:spcAft>
                <a:spcPts val="0"/>
              </a:spcAft>
              <a:buClr>
                <a:schemeClr val="accent1"/>
              </a:buClr>
              <a:buSzPct val="100000"/>
              <a:buFont typeface="Arial" panose="020B0604020202020204" pitchFamily="34" charset="0"/>
              <a:buChar char="•"/>
              <a:tabLst/>
              <a:defRPr sz="1500" b="0" i="0" u="none" strike="noStrike" cap="none" spc="0" baseline="0">
                <a:solidFill>
                  <a:schemeClr val="bg2"/>
                </a:solidFill>
                <a:uFillTx/>
                <a:latin typeface="Aptos Light" panose="020B0004020202020204" pitchFamily="34" charset="0"/>
                <a:ea typeface="+mj-ea"/>
                <a:cs typeface="+mj-cs"/>
                <a:sym typeface="IBM Plex Sans Light"/>
              </a:defRPr>
            </a:lvl2pPr>
            <a:lvl3pPr marL="182842" marR="0" indent="-91421" algn="l" defTabSz="1218948" rtl="0" eaLnBrk="1" latinLnBrk="0" hangingPunct="1">
              <a:lnSpc>
                <a:spcPct val="110000"/>
              </a:lnSpc>
              <a:spcBef>
                <a:spcPts val="0"/>
              </a:spcBef>
              <a:spcAft>
                <a:spcPts val="0"/>
              </a:spcAft>
              <a:buClr>
                <a:schemeClr val="accent1"/>
              </a:buClr>
              <a:buSzPct val="100000"/>
              <a:buFont typeface="System Font Regular"/>
              <a:buChar char="-"/>
              <a:tabLst/>
              <a:defRPr sz="1500" b="0" i="0" u="none" strike="noStrike" cap="none" spc="0" baseline="0">
                <a:solidFill>
                  <a:schemeClr val="bg2"/>
                </a:solidFill>
                <a:uFillTx/>
                <a:latin typeface="Aptos Light" panose="020B0004020202020204" pitchFamily="34" charset="0"/>
                <a:ea typeface="+mj-ea"/>
                <a:cs typeface="+mj-cs"/>
                <a:sym typeface="IBM Plex Sans Light"/>
              </a:defRPr>
            </a:lvl3pPr>
            <a:lvl4pPr marL="274263" marR="0" indent="-91421" algn="l" defTabSz="1218948" rtl="0" eaLnBrk="1" latinLnBrk="0" hangingPunct="1">
              <a:lnSpc>
                <a:spcPct val="110000"/>
              </a:lnSpc>
              <a:spcBef>
                <a:spcPts val="0"/>
              </a:spcBef>
              <a:spcAft>
                <a:spcPts val="0"/>
              </a:spcAft>
              <a:buClr>
                <a:schemeClr val="bg2"/>
              </a:buClr>
              <a:buSzPct val="100000"/>
              <a:buFont typeface="Arial" panose="020B0604020202020204" pitchFamily="34" charset="0"/>
              <a:buChar char="•"/>
              <a:tabLst/>
              <a:defRPr sz="1500" b="0" i="0" u="none" strike="noStrike" cap="none" spc="0" baseline="0">
                <a:solidFill>
                  <a:schemeClr val="bg2"/>
                </a:solidFill>
                <a:uFillTx/>
                <a:latin typeface="Aptos Light" panose="020B0004020202020204" pitchFamily="34" charset="0"/>
                <a:ea typeface="+mj-ea"/>
                <a:cs typeface="+mj-cs"/>
                <a:sym typeface="IBM Plex Sans Light"/>
              </a:defRPr>
            </a:lvl4pPr>
            <a:lvl5pPr marL="571382" marR="0" indent="-228553" algn="l" defTabSz="1218948" rtl="0" eaLnBrk="1" latinLnBrk="0" hangingPunct="1">
              <a:lnSpc>
                <a:spcPct val="110000"/>
              </a:lnSpc>
              <a:spcBef>
                <a:spcPts val="0"/>
              </a:spcBef>
              <a:spcAft>
                <a:spcPts val="0"/>
              </a:spcAft>
              <a:buClrTx/>
              <a:buSzPct val="100000"/>
              <a:buFont typeface="Arial" panose="020B0604020202020204" pitchFamily="34" charset="0"/>
              <a:buChar char="•"/>
              <a:tabLst/>
              <a:defRPr sz="1000" b="0" i="0" u="none" strike="noStrike" cap="none" spc="0" baseline="0">
                <a:solidFill>
                  <a:schemeClr val="tx1"/>
                </a:solidFill>
                <a:uFillTx/>
                <a:latin typeface="IBM Plex Sans" panose="020B0503050203000203" pitchFamily="34" charset="0"/>
                <a:ea typeface="+mj-ea"/>
                <a:cs typeface="+mj-cs"/>
                <a:sym typeface="IBM Plex Sans Light"/>
              </a:defRPr>
            </a:lvl5pPr>
            <a:lvl6pPr marL="921340" marR="0" indent="-194464" algn="l" defTabSz="1218948"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588" marR="0" indent="-194464" algn="l" defTabSz="1218948"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34" marR="0" indent="-194464" algn="l" defTabSz="1218948"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081" marR="0" indent="-194464" algn="l" defTabSz="1218948"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a:spcAft>
                <a:spcPts val="600"/>
              </a:spcAft>
            </a:pPr>
            <a:r>
              <a:rPr lang="en-US" b="1" kern="0">
                <a:solidFill>
                  <a:schemeClr val="bg1"/>
                </a:solidFill>
                <a:latin typeface="Aptos" panose="020B0004020202020204" pitchFamily="34" charset="0"/>
              </a:rPr>
              <a:t>Implementations</a:t>
            </a:r>
          </a:p>
          <a:p>
            <a:pPr marL="457200" indent="-457200">
              <a:buFont typeface="Arial" panose="020B0604020202020204" pitchFamily="34" charset="0"/>
              <a:buChar char="•"/>
            </a:pPr>
            <a:r>
              <a:rPr lang="en-US" sz="1400">
                <a:solidFill>
                  <a:srgbClr val="002060"/>
                </a:solidFill>
                <a:latin typeface="Aptos" panose="020B0004020202020204" pitchFamily="34" charset="0"/>
              </a:rPr>
              <a:t>Migration and Modernization of SAP on Cloud: Brillio leads businesses in migrating and modernizing SAP systems on cloud environments, helping to improve operational efficiency and reduce TCO</a:t>
            </a:r>
          </a:p>
          <a:p>
            <a:pPr marL="457200" indent="-457200">
              <a:buFont typeface="Arial" panose="020B0604020202020204" pitchFamily="34" charset="0"/>
              <a:buChar char="•"/>
            </a:pPr>
            <a:r>
              <a:rPr lang="en-US" sz="1400">
                <a:solidFill>
                  <a:srgbClr val="002060"/>
                </a:solidFill>
                <a:latin typeface="Aptos" panose="020B0004020202020204" pitchFamily="34" charset="0"/>
              </a:rPr>
              <a:t>Implementation of SAP BTP, Commerce Cloud and Marketing Cloud to create robust, scalable environments. </a:t>
            </a:r>
          </a:p>
          <a:p>
            <a:pPr>
              <a:spcAft>
                <a:spcPts val="600"/>
              </a:spcAft>
            </a:pPr>
            <a:endParaRPr lang="en-US" b="1" kern="0">
              <a:solidFill>
                <a:schemeClr val="bg1"/>
              </a:solidFill>
              <a:latin typeface="Aptos" panose="020B0004020202020204" pitchFamily="34" charset="0"/>
            </a:endParaRPr>
          </a:p>
        </p:txBody>
      </p:sp>
      <p:sp>
        <p:nvSpPr>
          <p:cNvPr id="25" name="Text Placeholder 19">
            <a:extLst>
              <a:ext uri="{FF2B5EF4-FFF2-40B4-BE49-F238E27FC236}">
                <a16:creationId xmlns:a16="http://schemas.microsoft.com/office/drawing/2014/main" id="{7D6FFB96-6746-A4D3-BBC3-D840CEA27ADE}"/>
              </a:ext>
            </a:extLst>
          </p:cNvPr>
          <p:cNvSpPr txBox="1">
            <a:spLocks/>
          </p:cNvSpPr>
          <p:nvPr/>
        </p:nvSpPr>
        <p:spPr>
          <a:xfrm>
            <a:off x="8259492" y="2234474"/>
            <a:ext cx="3673748" cy="3823316"/>
          </a:xfrm>
          <a:prstGeom prst="rect">
            <a:avLst/>
          </a:prstGeom>
          <a:solidFill>
            <a:srgbClr val="E8FCF4"/>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44000" tIns="108000" rIns="180000" bIns="0"/>
          <a:lstStyle>
            <a:lvl1pPr marL="0" marR="0" indent="0" algn="l" defTabSz="1218948" rtl="0" eaLnBrk="1" latinLnBrk="0" hangingPunct="1">
              <a:lnSpc>
                <a:spcPct val="110000"/>
              </a:lnSpc>
              <a:spcBef>
                <a:spcPts val="0"/>
              </a:spcBef>
              <a:spcAft>
                <a:spcPts val="0"/>
              </a:spcAft>
              <a:buClrTx/>
              <a:buSzTx/>
              <a:buFontTx/>
              <a:buNone/>
              <a:tabLst/>
              <a:defRPr sz="1500" b="0" i="0" u="none" strike="noStrike" cap="none" spc="0" baseline="0">
                <a:solidFill>
                  <a:schemeClr val="bg2"/>
                </a:solidFill>
                <a:uFillTx/>
                <a:latin typeface="Aptos Light" panose="020B0004020202020204" pitchFamily="34" charset="0"/>
                <a:ea typeface="+mj-ea"/>
                <a:cs typeface="+mj-cs"/>
                <a:sym typeface="IBM Plex Sans Light"/>
              </a:defRPr>
            </a:lvl1pPr>
            <a:lvl2pPr marL="91421" marR="0" indent="-91421" algn="l" defTabSz="1218948" rtl="0" eaLnBrk="1" latinLnBrk="0" hangingPunct="1">
              <a:lnSpc>
                <a:spcPct val="110000"/>
              </a:lnSpc>
              <a:spcBef>
                <a:spcPts val="0"/>
              </a:spcBef>
              <a:spcAft>
                <a:spcPts val="0"/>
              </a:spcAft>
              <a:buClr>
                <a:schemeClr val="accent1"/>
              </a:buClr>
              <a:buSzPct val="100000"/>
              <a:buFont typeface="Arial" panose="020B0604020202020204" pitchFamily="34" charset="0"/>
              <a:buChar char="•"/>
              <a:tabLst/>
              <a:defRPr sz="1500" b="0" i="0" u="none" strike="noStrike" cap="none" spc="0" baseline="0">
                <a:solidFill>
                  <a:schemeClr val="bg2"/>
                </a:solidFill>
                <a:uFillTx/>
                <a:latin typeface="Aptos Light" panose="020B0004020202020204" pitchFamily="34" charset="0"/>
                <a:ea typeface="+mj-ea"/>
                <a:cs typeface="+mj-cs"/>
                <a:sym typeface="IBM Plex Sans Light"/>
              </a:defRPr>
            </a:lvl2pPr>
            <a:lvl3pPr marL="182842" marR="0" indent="-91421" algn="l" defTabSz="1218948" rtl="0" eaLnBrk="1" latinLnBrk="0" hangingPunct="1">
              <a:lnSpc>
                <a:spcPct val="110000"/>
              </a:lnSpc>
              <a:spcBef>
                <a:spcPts val="0"/>
              </a:spcBef>
              <a:spcAft>
                <a:spcPts val="0"/>
              </a:spcAft>
              <a:buClr>
                <a:schemeClr val="accent1"/>
              </a:buClr>
              <a:buSzPct val="100000"/>
              <a:buFont typeface="System Font Regular"/>
              <a:buChar char="-"/>
              <a:tabLst/>
              <a:defRPr sz="1500" b="0" i="0" u="none" strike="noStrike" cap="none" spc="0" baseline="0">
                <a:solidFill>
                  <a:schemeClr val="bg2"/>
                </a:solidFill>
                <a:uFillTx/>
                <a:latin typeface="Aptos Light" panose="020B0004020202020204" pitchFamily="34" charset="0"/>
                <a:ea typeface="+mj-ea"/>
                <a:cs typeface="+mj-cs"/>
                <a:sym typeface="IBM Plex Sans Light"/>
              </a:defRPr>
            </a:lvl3pPr>
            <a:lvl4pPr marL="274263" marR="0" indent="-91421" algn="l" defTabSz="1218948" rtl="0" eaLnBrk="1" latinLnBrk="0" hangingPunct="1">
              <a:lnSpc>
                <a:spcPct val="110000"/>
              </a:lnSpc>
              <a:spcBef>
                <a:spcPts val="0"/>
              </a:spcBef>
              <a:spcAft>
                <a:spcPts val="0"/>
              </a:spcAft>
              <a:buClr>
                <a:schemeClr val="bg2"/>
              </a:buClr>
              <a:buSzPct val="100000"/>
              <a:buFont typeface="Arial" panose="020B0604020202020204" pitchFamily="34" charset="0"/>
              <a:buChar char="•"/>
              <a:tabLst/>
              <a:defRPr sz="1500" b="0" i="0" u="none" strike="noStrike" cap="none" spc="0" baseline="0">
                <a:solidFill>
                  <a:schemeClr val="bg2"/>
                </a:solidFill>
                <a:uFillTx/>
                <a:latin typeface="Aptos Light" panose="020B0004020202020204" pitchFamily="34" charset="0"/>
                <a:ea typeface="+mj-ea"/>
                <a:cs typeface="+mj-cs"/>
                <a:sym typeface="IBM Plex Sans Light"/>
              </a:defRPr>
            </a:lvl4pPr>
            <a:lvl5pPr marL="571382" marR="0" indent="-228553" algn="l" defTabSz="1218948" rtl="0" eaLnBrk="1" latinLnBrk="0" hangingPunct="1">
              <a:lnSpc>
                <a:spcPct val="110000"/>
              </a:lnSpc>
              <a:spcBef>
                <a:spcPts val="0"/>
              </a:spcBef>
              <a:spcAft>
                <a:spcPts val="0"/>
              </a:spcAft>
              <a:buClrTx/>
              <a:buSzPct val="100000"/>
              <a:buFont typeface="Arial" panose="020B0604020202020204" pitchFamily="34" charset="0"/>
              <a:buChar char="•"/>
              <a:tabLst/>
              <a:defRPr sz="1000" b="0" i="0" u="none" strike="noStrike" cap="none" spc="0" baseline="0">
                <a:solidFill>
                  <a:schemeClr val="tx1"/>
                </a:solidFill>
                <a:uFillTx/>
                <a:latin typeface="IBM Plex Sans" panose="020B0503050203000203" pitchFamily="34" charset="0"/>
                <a:ea typeface="+mj-ea"/>
                <a:cs typeface="+mj-cs"/>
                <a:sym typeface="IBM Plex Sans Light"/>
              </a:defRPr>
            </a:lvl5pPr>
            <a:lvl6pPr marL="921340" marR="0" indent="-194464" algn="l" defTabSz="1218948"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588" marR="0" indent="-194464" algn="l" defTabSz="1218948"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34" marR="0" indent="-194464" algn="l" defTabSz="1218948"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081" marR="0" indent="-194464" algn="l" defTabSz="1218948"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a:spcAft>
                <a:spcPts val="600"/>
              </a:spcAft>
            </a:pPr>
            <a:r>
              <a:rPr lang="en-US" b="1" kern="0">
                <a:solidFill>
                  <a:schemeClr val="bg1"/>
                </a:solidFill>
                <a:latin typeface="Aptos" panose="020B0004020202020204" pitchFamily="34" charset="0"/>
              </a:rPr>
              <a:t>SAP </a:t>
            </a:r>
            <a:r>
              <a:rPr lang="en-US" b="1" kern="0" err="1">
                <a:solidFill>
                  <a:schemeClr val="bg1"/>
                </a:solidFill>
                <a:latin typeface="Aptos" panose="020B0004020202020204" pitchFamily="34" charset="0"/>
              </a:rPr>
              <a:t>CoE</a:t>
            </a:r>
            <a:endParaRPr lang="en-US" b="1" kern="0">
              <a:solidFill>
                <a:schemeClr val="bg1"/>
              </a:solidFill>
              <a:latin typeface="Aptos" panose="020B0004020202020204" pitchFamily="34" charset="0"/>
            </a:endParaRPr>
          </a:p>
          <a:p>
            <a:pPr marL="285750" indent="-285750">
              <a:buFont typeface="Arial" panose="020B0604020202020204" pitchFamily="34" charset="0"/>
              <a:buChar char="•"/>
            </a:pPr>
            <a:r>
              <a:rPr lang="en-US" sz="1400">
                <a:solidFill>
                  <a:srgbClr val="002060"/>
                </a:solidFill>
                <a:latin typeface="Aptos" panose="020B0004020202020204" pitchFamily="34" charset="0"/>
              </a:rPr>
              <a:t>Innovative Solutions, Accelerators, Frameworks: Brillio’s SAP Center of Excellence (</a:t>
            </a:r>
            <a:r>
              <a:rPr lang="en-US" sz="1400" err="1">
                <a:solidFill>
                  <a:srgbClr val="002060"/>
                </a:solidFill>
                <a:latin typeface="Aptos" panose="020B0004020202020204" pitchFamily="34" charset="0"/>
              </a:rPr>
              <a:t>CoE</a:t>
            </a:r>
            <a:r>
              <a:rPr lang="en-US" sz="1400">
                <a:solidFill>
                  <a:srgbClr val="002060"/>
                </a:solidFill>
                <a:latin typeface="Aptos" panose="020B0004020202020204" pitchFamily="34" charset="0"/>
              </a:rPr>
              <a:t>) develops innovative accelerators, frameworks, and reusable components to streamline SAP implementations and reduce time-to-market.</a:t>
            </a:r>
          </a:p>
          <a:p>
            <a:pPr marL="285750" indent="-285750">
              <a:buFont typeface="Arial" panose="020B0604020202020204" pitchFamily="34" charset="0"/>
              <a:buChar char="•"/>
            </a:pPr>
            <a:r>
              <a:rPr lang="en-US" sz="1400">
                <a:solidFill>
                  <a:srgbClr val="002060"/>
                </a:solidFill>
                <a:latin typeface="Aptos" panose="020B0004020202020204" pitchFamily="34" charset="0"/>
              </a:rPr>
              <a:t>Reusable Components: Our SAP </a:t>
            </a:r>
            <a:r>
              <a:rPr lang="en-US" sz="1400" err="1">
                <a:solidFill>
                  <a:srgbClr val="002060"/>
                </a:solidFill>
                <a:latin typeface="Aptos" panose="020B0004020202020204" pitchFamily="34" charset="0"/>
              </a:rPr>
              <a:t>CoE</a:t>
            </a:r>
            <a:r>
              <a:rPr lang="en-US" sz="1400">
                <a:solidFill>
                  <a:srgbClr val="002060"/>
                </a:solidFill>
                <a:latin typeface="Aptos" panose="020B0004020202020204" pitchFamily="34" charset="0"/>
              </a:rPr>
              <a:t> offers reusable components to improve development speed and ensure quality across projects</a:t>
            </a:r>
          </a:p>
          <a:p>
            <a:pPr>
              <a:spcAft>
                <a:spcPts val="600"/>
              </a:spcAft>
            </a:pPr>
            <a:endParaRPr lang="en-US" b="1" kern="0">
              <a:solidFill>
                <a:schemeClr val="bg1"/>
              </a:solidFill>
              <a:latin typeface="Aptos" panose="020B0004020202020204" pitchFamily="34" charset="0"/>
            </a:endParaRPr>
          </a:p>
        </p:txBody>
      </p:sp>
      <p:sp>
        <p:nvSpPr>
          <p:cNvPr id="2" name="Content Placeholder 5">
            <a:extLst>
              <a:ext uri="{FF2B5EF4-FFF2-40B4-BE49-F238E27FC236}">
                <a16:creationId xmlns:a16="http://schemas.microsoft.com/office/drawing/2014/main" id="{97EBDC62-43E2-E02C-2A64-56E1557843AE}"/>
              </a:ext>
            </a:extLst>
          </p:cNvPr>
          <p:cNvSpPr txBox="1">
            <a:spLocks/>
          </p:cNvSpPr>
          <p:nvPr/>
        </p:nvSpPr>
        <p:spPr>
          <a:xfrm>
            <a:off x="258760" y="1411241"/>
            <a:ext cx="11236554" cy="823233"/>
          </a:xfrm>
          <a:prstGeom prst="rect">
            <a:avLst/>
          </a:prstGeom>
        </p:spPr>
        <p:txBody>
          <a:bodyPr/>
          <a:lstStyle>
            <a:lvl1pPr marL="228594" indent="-228594" algn="l" defTabSz="914377" rtl="0" eaLnBrk="1" latinLnBrk="0" hangingPunct="1">
              <a:lnSpc>
                <a:spcPct val="100000"/>
              </a:lnSpc>
              <a:spcBef>
                <a:spcPts val="0"/>
              </a:spcBef>
              <a:spcAft>
                <a:spcPts val="600"/>
              </a:spcAft>
              <a:buFont typeface="Arial" panose="020B0604020202020204" pitchFamily="34" charset="0"/>
              <a:buChar char="•"/>
              <a:defRPr sz="1600" b="0" i="0" kern="1200" baseline="0">
                <a:solidFill>
                  <a:schemeClr val="tx2"/>
                </a:solidFill>
                <a:latin typeface="Arial" panose="020B0604020202020204" pitchFamily="34" charset="0"/>
                <a:ea typeface="+mn-ea"/>
                <a:cs typeface="Arial" panose="020B0604020202020204" pitchFamily="34" charset="0"/>
              </a:defRPr>
            </a:lvl1pPr>
            <a:lvl2pPr marL="463284" indent="-228594" algn="l" defTabSz="914377" rtl="0" eaLnBrk="1" latinLnBrk="0" hangingPunct="1">
              <a:lnSpc>
                <a:spcPct val="100000"/>
              </a:lnSpc>
              <a:spcBef>
                <a:spcPts val="0"/>
              </a:spcBef>
              <a:spcAft>
                <a:spcPts val="600"/>
              </a:spcAft>
              <a:buFont typeface="Arial" panose="020B0604020202020204" pitchFamily="34" charset="0"/>
              <a:buChar char="•"/>
              <a:defRPr sz="1600" b="0" i="0" kern="1200" baseline="0">
                <a:solidFill>
                  <a:schemeClr val="tx2"/>
                </a:solidFill>
                <a:latin typeface="Arial" panose="020B0604020202020204" pitchFamily="34" charset="0"/>
                <a:ea typeface="+mn-ea"/>
                <a:cs typeface="Arial" panose="020B0604020202020204" pitchFamily="34" charset="0"/>
              </a:defRPr>
            </a:lvl2pPr>
            <a:lvl3pPr marL="682735" indent="-228594" algn="l" defTabSz="914377" rtl="0" eaLnBrk="1" latinLnBrk="0" hangingPunct="1">
              <a:lnSpc>
                <a:spcPct val="100000"/>
              </a:lnSpc>
              <a:spcBef>
                <a:spcPts val="0"/>
              </a:spcBef>
              <a:spcAft>
                <a:spcPts val="600"/>
              </a:spcAft>
              <a:buFont typeface="Arial" panose="020B0604020202020204" pitchFamily="34" charset="0"/>
              <a:buChar char="•"/>
              <a:defRPr sz="1600" b="0" i="0" kern="1200" baseline="0">
                <a:solidFill>
                  <a:schemeClr val="tx2"/>
                </a:solidFill>
                <a:latin typeface="Arial" panose="020B0604020202020204" pitchFamily="34" charset="0"/>
                <a:ea typeface="+mn-ea"/>
                <a:cs typeface="Arial" panose="020B0604020202020204" pitchFamily="34" charset="0"/>
              </a:defRPr>
            </a:lvl3pPr>
            <a:lvl4pPr marL="914377" indent="-228594" algn="l" defTabSz="914377" rtl="0" eaLnBrk="1" latinLnBrk="0" hangingPunct="1">
              <a:lnSpc>
                <a:spcPct val="100000"/>
              </a:lnSpc>
              <a:spcBef>
                <a:spcPts val="0"/>
              </a:spcBef>
              <a:spcAft>
                <a:spcPts val="600"/>
              </a:spcAft>
              <a:buFont typeface="Arial" panose="020B0604020202020204" pitchFamily="34" charset="0"/>
              <a:buChar char="•"/>
              <a:defRPr sz="1600" b="0" i="0" kern="1200" baseline="0">
                <a:solidFill>
                  <a:schemeClr val="tx2"/>
                </a:solidFill>
                <a:latin typeface="Arial" panose="020B0604020202020204" pitchFamily="34" charset="0"/>
                <a:ea typeface="+mn-ea"/>
                <a:cs typeface="Arial" panose="020B0604020202020204" pitchFamily="34" charset="0"/>
              </a:defRPr>
            </a:lvl4pPr>
            <a:lvl5pPr marL="1146019" indent="-228594" algn="l" defTabSz="914377" rtl="0" eaLnBrk="1" latinLnBrk="0" hangingPunct="1">
              <a:lnSpc>
                <a:spcPct val="100000"/>
              </a:lnSpc>
              <a:spcBef>
                <a:spcPts val="0"/>
              </a:spcBef>
              <a:spcAft>
                <a:spcPts val="600"/>
              </a:spcAft>
              <a:buFont typeface="Arial" panose="020B0604020202020204" pitchFamily="34" charset="0"/>
              <a:buChar char="•"/>
              <a:defRPr sz="1600" b="0" i="0" kern="1200" baseline="0">
                <a:solidFill>
                  <a:schemeClr val="tx2"/>
                </a:solidFill>
                <a:latin typeface="Arial" panose="020B0604020202020204" pitchFamily="34" charset="0"/>
                <a:ea typeface="+mn-ea"/>
                <a:cs typeface="Arial" panose="020B0604020202020204" pitchFamily="34" charset="0"/>
              </a:defRPr>
            </a:lvl5pPr>
            <a:lvl6pPr marL="1146019" indent="-228594" algn="l" defTabSz="914377" rtl="0" eaLnBrk="1" latinLnBrk="0" hangingPunct="1">
              <a:lnSpc>
                <a:spcPct val="100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6pPr>
            <a:lvl7pPr marL="1146019" indent="-228594" algn="l" defTabSz="914377" rtl="0" eaLnBrk="1" latinLnBrk="0" hangingPunct="1">
              <a:lnSpc>
                <a:spcPct val="100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7pPr>
            <a:lvl8pPr marL="1146019" indent="-228594" algn="l" defTabSz="914377" rtl="0" eaLnBrk="1" latinLnBrk="0" hangingPunct="1">
              <a:lnSpc>
                <a:spcPct val="100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8pPr>
            <a:lvl9pPr marL="1146019" indent="-228594" algn="l" defTabSz="914377" rtl="0" eaLnBrk="1" latinLnBrk="0" hangingPunct="1">
              <a:lnSpc>
                <a:spcPct val="100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600"/>
              </a:spcAft>
              <a:buClrTx/>
              <a:buSzTx/>
              <a:buNone/>
              <a:tabLst/>
              <a:defRPr/>
            </a:pPr>
            <a:r>
              <a:rPr kumimoji="0" lang="en-US" sz="1400" b="0" i="0" u="none" strike="noStrike" kern="1200" cap="none" spc="0" normalizeH="0" baseline="0" noProof="0">
                <a:ln>
                  <a:noFill/>
                </a:ln>
                <a:solidFill>
                  <a:srgbClr val="002060"/>
                </a:solidFill>
                <a:effectLst/>
                <a:uLnTx/>
                <a:uFillTx/>
                <a:latin typeface="Aptos" panose="020B0004020202020204" pitchFamily="34" charset="0"/>
              </a:rPr>
              <a:t>Brillio is an </a:t>
            </a:r>
            <a:r>
              <a:rPr kumimoji="0" lang="en-US" sz="1400" b="1" i="0" u="none" strike="noStrike" kern="1200" cap="none" spc="0" normalizeH="0" baseline="0" noProof="0">
                <a:ln>
                  <a:noFill/>
                </a:ln>
                <a:solidFill>
                  <a:srgbClr val="002060"/>
                </a:solidFill>
                <a:effectLst/>
                <a:uLnTx/>
                <a:uFillTx/>
                <a:latin typeface="Aptos" panose="020B0004020202020204" pitchFamily="34" charset="0"/>
                <a:ea typeface="Helvetica Neue" panose="02000503000000020004" pitchFamily="2" charset="0"/>
              </a:rPr>
              <a:t>SAP silver partner </a:t>
            </a:r>
            <a:r>
              <a:rPr kumimoji="0" lang="en-US" sz="1400" b="0" i="0" u="none" strike="noStrike" kern="1200" cap="none" spc="0" normalizeH="0" baseline="0" noProof="0">
                <a:ln>
                  <a:noFill/>
                </a:ln>
                <a:solidFill>
                  <a:srgbClr val="002060"/>
                </a:solidFill>
                <a:effectLst/>
                <a:uLnTx/>
                <a:uFillTx/>
                <a:latin typeface="Aptos" panose="020B0004020202020204" pitchFamily="34" charset="0"/>
              </a:rPr>
              <a:t>with 20+ project experience and our SAP Center of Excellence enables us to strategize, implement complex SAP cross-platform solutions,</a:t>
            </a:r>
            <a:r>
              <a:rPr kumimoji="0" lang="en-US" sz="1400" b="1" i="0" u="none" strike="noStrike" kern="1200" cap="none" spc="0" normalizeH="0" baseline="0" noProof="0">
                <a:ln>
                  <a:noFill/>
                </a:ln>
                <a:solidFill>
                  <a:srgbClr val="002060"/>
                </a:solidFill>
                <a:effectLst/>
                <a:uLnTx/>
                <a:uFillTx/>
                <a:latin typeface="Aptos" panose="020B0004020202020204" pitchFamily="34" charset="0"/>
              </a:rPr>
              <a:t> development of multi-tenant, SaaS based Data Custodian portal that will be deployed on Public Cloud Platform.</a:t>
            </a:r>
          </a:p>
        </p:txBody>
      </p:sp>
      <p:pic>
        <p:nvPicPr>
          <p:cNvPr id="3" name="Picture 2" descr="A logo for a company&#10;&#10;Description automatically generated">
            <a:extLst>
              <a:ext uri="{FF2B5EF4-FFF2-40B4-BE49-F238E27FC236}">
                <a16:creationId xmlns:a16="http://schemas.microsoft.com/office/drawing/2014/main" id="{3D0DE470-D20B-91E3-EDC6-3AE4FE880C1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037482" y="342900"/>
            <a:ext cx="857729" cy="503679"/>
          </a:xfrm>
          <a:prstGeom prst="rect">
            <a:avLst/>
          </a:prstGeom>
        </p:spPr>
      </p:pic>
    </p:spTree>
    <p:extLst>
      <p:ext uri="{BB962C8B-B14F-4D97-AF65-F5344CB8AC3E}">
        <p14:creationId xmlns:p14="http://schemas.microsoft.com/office/powerpoint/2010/main" val="1838352972"/>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C00C92-57FF-B072-0075-AD51111CE08C}"/>
            </a:ext>
          </a:extLst>
        </p:cNvPr>
        <p:cNvGrpSpPr/>
        <p:nvPr/>
      </p:nvGrpSpPr>
      <p:grpSpPr>
        <a:xfrm>
          <a:off x="0" y="0"/>
          <a:ext cx="0" cy="0"/>
          <a:chOff x="0" y="0"/>
          <a:chExt cx="0" cy="0"/>
        </a:xfrm>
      </p:grpSpPr>
      <p:sp>
        <p:nvSpPr>
          <p:cNvPr id="9" name="Graphic 5">
            <a:extLst>
              <a:ext uri="{FF2B5EF4-FFF2-40B4-BE49-F238E27FC236}">
                <a16:creationId xmlns:a16="http://schemas.microsoft.com/office/drawing/2014/main" id="{6BC28DEE-D3DF-C912-030F-F2F595B9F485}"/>
              </a:ext>
            </a:extLst>
          </p:cNvPr>
          <p:cNvSpPr/>
          <p:nvPr/>
        </p:nvSpPr>
        <p:spPr>
          <a:xfrm>
            <a:off x="7695096" y="9063"/>
            <a:ext cx="7072843" cy="6854700"/>
          </a:xfrm>
          <a:custGeom>
            <a:avLst/>
            <a:gdLst>
              <a:gd name="connsiteX0" fmla="*/ 422520 w 7072842"/>
              <a:gd name="connsiteY0" fmla="*/ 4804219 h 6847772"/>
              <a:gd name="connsiteX1" fmla="*/ 4464987 w 7072842"/>
              <a:gd name="connsiteY1" fmla="*/ 0 h 6847772"/>
              <a:gd name="connsiteX2" fmla="*/ 7072843 w 7072842"/>
              <a:gd name="connsiteY2" fmla="*/ 0 h 6847772"/>
              <a:gd name="connsiteX3" fmla="*/ 2827236 w 7072842"/>
              <a:gd name="connsiteY3" fmla="*/ 5023934 h 6847772"/>
              <a:gd name="connsiteX4" fmla="*/ 2814860 w 7072842"/>
              <a:gd name="connsiteY4" fmla="*/ 6847773 h 6847772"/>
              <a:gd name="connsiteX5" fmla="*/ 551057 w 7072842"/>
              <a:gd name="connsiteY5" fmla="*/ 6847773 h 6847772"/>
              <a:gd name="connsiteX6" fmla="*/ 422520 w 7072842"/>
              <a:gd name="connsiteY6" fmla="*/ 4804219 h 6847772"/>
              <a:gd name="connsiteX0" fmla="*/ 422520 w 7072843"/>
              <a:gd name="connsiteY0" fmla="*/ 4804219 h 6854700"/>
              <a:gd name="connsiteX1" fmla="*/ 4464987 w 7072843"/>
              <a:gd name="connsiteY1" fmla="*/ 0 h 6854700"/>
              <a:gd name="connsiteX2" fmla="*/ 7072843 w 7072843"/>
              <a:gd name="connsiteY2" fmla="*/ 0 h 6854700"/>
              <a:gd name="connsiteX3" fmla="*/ 2827236 w 7072843"/>
              <a:gd name="connsiteY3" fmla="*/ 5023934 h 6854700"/>
              <a:gd name="connsiteX4" fmla="*/ 2825251 w 7072843"/>
              <a:gd name="connsiteY4" fmla="*/ 6854700 h 6854700"/>
              <a:gd name="connsiteX5" fmla="*/ 551057 w 7072843"/>
              <a:gd name="connsiteY5" fmla="*/ 6847773 h 6854700"/>
              <a:gd name="connsiteX6" fmla="*/ 422520 w 7072843"/>
              <a:gd name="connsiteY6" fmla="*/ 4804219 h 6854700"/>
              <a:gd name="connsiteX0" fmla="*/ 422520 w 7072843"/>
              <a:gd name="connsiteY0" fmla="*/ 4804219 h 6854700"/>
              <a:gd name="connsiteX1" fmla="*/ 4464987 w 7072843"/>
              <a:gd name="connsiteY1" fmla="*/ 0 h 6854700"/>
              <a:gd name="connsiteX2" fmla="*/ 7072843 w 7072843"/>
              <a:gd name="connsiteY2" fmla="*/ 0 h 6854700"/>
              <a:gd name="connsiteX3" fmla="*/ 2827236 w 7072843"/>
              <a:gd name="connsiteY3" fmla="*/ 5023934 h 6854700"/>
              <a:gd name="connsiteX4" fmla="*/ 2825251 w 7072843"/>
              <a:gd name="connsiteY4" fmla="*/ 6854700 h 6854700"/>
              <a:gd name="connsiteX5" fmla="*/ 551057 w 7072843"/>
              <a:gd name="connsiteY5" fmla="*/ 6847773 h 6854700"/>
              <a:gd name="connsiteX6" fmla="*/ 422520 w 7072843"/>
              <a:gd name="connsiteY6" fmla="*/ 4804219 h 6854700"/>
              <a:gd name="connsiteX0" fmla="*/ 422520 w 7072843"/>
              <a:gd name="connsiteY0" fmla="*/ 4804219 h 6854700"/>
              <a:gd name="connsiteX1" fmla="*/ 4464987 w 7072843"/>
              <a:gd name="connsiteY1" fmla="*/ 0 h 6854700"/>
              <a:gd name="connsiteX2" fmla="*/ 7072843 w 7072843"/>
              <a:gd name="connsiteY2" fmla="*/ 0 h 6854700"/>
              <a:gd name="connsiteX3" fmla="*/ 2827236 w 7072843"/>
              <a:gd name="connsiteY3" fmla="*/ 5023934 h 6854700"/>
              <a:gd name="connsiteX4" fmla="*/ 2825251 w 7072843"/>
              <a:gd name="connsiteY4" fmla="*/ 6854700 h 6854700"/>
              <a:gd name="connsiteX5" fmla="*/ 551057 w 7072843"/>
              <a:gd name="connsiteY5" fmla="*/ 6847773 h 6854700"/>
              <a:gd name="connsiteX6" fmla="*/ 422520 w 7072843"/>
              <a:gd name="connsiteY6" fmla="*/ 4804219 h 6854700"/>
              <a:gd name="connsiteX0" fmla="*/ 422520 w 7072843"/>
              <a:gd name="connsiteY0" fmla="*/ 4804219 h 6854700"/>
              <a:gd name="connsiteX1" fmla="*/ 4464987 w 7072843"/>
              <a:gd name="connsiteY1" fmla="*/ 0 h 6854700"/>
              <a:gd name="connsiteX2" fmla="*/ 7072843 w 7072843"/>
              <a:gd name="connsiteY2" fmla="*/ 0 h 6854700"/>
              <a:gd name="connsiteX3" fmla="*/ 2827236 w 7072843"/>
              <a:gd name="connsiteY3" fmla="*/ 5023934 h 6854700"/>
              <a:gd name="connsiteX4" fmla="*/ 2825251 w 7072843"/>
              <a:gd name="connsiteY4" fmla="*/ 6854700 h 6854700"/>
              <a:gd name="connsiteX5" fmla="*/ 551057 w 7072843"/>
              <a:gd name="connsiteY5" fmla="*/ 6847773 h 6854700"/>
              <a:gd name="connsiteX6" fmla="*/ 422520 w 7072843"/>
              <a:gd name="connsiteY6" fmla="*/ 4804219 h 6854700"/>
              <a:gd name="connsiteX0" fmla="*/ 422520 w 7072843"/>
              <a:gd name="connsiteY0" fmla="*/ 4804219 h 6854700"/>
              <a:gd name="connsiteX1" fmla="*/ 4464987 w 7072843"/>
              <a:gd name="connsiteY1" fmla="*/ 0 h 6854700"/>
              <a:gd name="connsiteX2" fmla="*/ 7072843 w 7072843"/>
              <a:gd name="connsiteY2" fmla="*/ 0 h 6854700"/>
              <a:gd name="connsiteX3" fmla="*/ 2827236 w 7072843"/>
              <a:gd name="connsiteY3" fmla="*/ 5023934 h 6854700"/>
              <a:gd name="connsiteX4" fmla="*/ 2825251 w 7072843"/>
              <a:gd name="connsiteY4" fmla="*/ 6854700 h 6854700"/>
              <a:gd name="connsiteX5" fmla="*/ 551057 w 7072843"/>
              <a:gd name="connsiteY5" fmla="*/ 6847773 h 6854700"/>
              <a:gd name="connsiteX6" fmla="*/ 422520 w 7072843"/>
              <a:gd name="connsiteY6" fmla="*/ 4804219 h 6854700"/>
              <a:gd name="connsiteX0" fmla="*/ 422520 w 7072843"/>
              <a:gd name="connsiteY0" fmla="*/ 4804219 h 6854700"/>
              <a:gd name="connsiteX1" fmla="*/ 4464987 w 7072843"/>
              <a:gd name="connsiteY1" fmla="*/ 0 h 6854700"/>
              <a:gd name="connsiteX2" fmla="*/ 7072843 w 7072843"/>
              <a:gd name="connsiteY2" fmla="*/ 0 h 6854700"/>
              <a:gd name="connsiteX3" fmla="*/ 2827236 w 7072843"/>
              <a:gd name="connsiteY3" fmla="*/ 5023934 h 6854700"/>
              <a:gd name="connsiteX4" fmla="*/ 2825251 w 7072843"/>
              <a:gd name="connsiteY4" fmla="*/ 6854700 h 6854700"/>
              <a:gd name="connsiteX5" fmla="*/ 551057 w 7072843"/>
              <a:gd name="connsiteY5" fmla="*/ 6847773 h 6854700"/>
              <a:gd name="connsiteX6" fmla="*/ 422520 w 7072843"/>
              <a:gd name="connsiteY6" fmla="*/ 4804219 h 6854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72843" h="6854700">
                <a:moveTo>
                  <a:pt x="422520" y="4804219"/>
                </a:moveTo>
                <a:lnTo>
                  <a:pt x="4464987" y="0"/>
                </a:lnTo>
                <a:lnTo>
                  <a:pt x="7072843" y="0"/>
                </a:lnTo>
                <a:lnTo>
                  <a:pt x="2827236" y="5023934"/>
                </a:lnTo>
                <a:cubicBezTo>
                  <a:pt x="2405702" y="5562918"/>
                  <a:pt x="2292307" y="6311373"/>
                  <a:pt x="2825251" y="6854700"/>
                </a:cubicBezTo>
                <a:lnTo>
                  <a:pt x="551057" y="6847773"/>
                </a:lnTo>
                <a:cubicBezTo>
                  <a:pt x="-211856" y="6346116"/>
                  <a:pt x="-112505" y="5442503"/>
                  <a:pt x="422520" y="4804219"/>
                </a:cubicBezTo>
                <a:close/>
              </a:path>
            </a:pathLst>
          </a:custGeom>
          <a:solidFill>
            <a:srgbClr val="D4E7FF">
              <a:alpha val="54000"/>
            </a:srgbClr>
          </a:solidFill>
          <a:ln w="14404"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92FBD75A-5EA9-E701-F35B-D63C32F0C4AA}"/>
              </a:ext>
            </a:extLst>
          </p:cNvPr>
          <p:cNvSpPr txBox="1">
            <a:spLocks/>
          </p:cNvSpPr>
          <p:nvPr/>
        </p:nvSpPr>
        <p:spPr>
          <a:xfrm>
            <a:off x="281948" y="-39674"/>
            <a:ext cx="3618283" cy="870982"/>
          </a:xfrm>
          <a:prstGeom prst="rect">
            <a:avLst/>
          </a:prstGeom>
          <a:effectLst/>
        </p:spPr>
        <p:txBody>
          <a:bodyPr vert="horz" wrap="square" lIns="0" tIns="191999" rIns="0" bIns="0" rtlCol="0" anchor="ctr"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4400">
                <a:latin typeface="Aptos" panose="020B0004020202020204" pitchFamily="34" charset="0"/>
                <a:ea typeface="Helvetica Neue Light" panose="02000403000000020004" pitchFamily="2" charset="0"/>
              </a:rPr>
              <a:t>Agenda</a:t>
            </a:r>
          </a:p>
        </p:txBody>
      </p:sp>
      <p:sp>
        <p:nvSpPr>
          <p:cNvPr id="3" name="Rectangle 2">
            <a:extLst>
              <a:ext uri="{FF2B5EF4-FFF2-40B4-BE49-F238E27FC236}">
                <a16:creationId xmlns:a16="http://schemas.microsoft.com/office/drawing/2014/main" id="{48BA4181-6908-D503-D93C-19EAC9E3E86C}"/>
              </a:ext>
            </a:extLst>
          </p:cNvPr>
          <p:cNvSpPr/>
          <p:nvPr/>
        </p:nvSpPr>
        <p:spPr bwMode="auto">
          <a:xfrm>
            <a:off x="2337101" y="2275840"/>
            <a:ext cx="9000" cy="2700000"/>
          </a:xfrm>
          <a:prstGeom prst="rect">
            <a:avLst/>
          </a:prstGeom>
          <a:solidFill>
            <a:schemeClr val="accent1">
              <a:lumMod val="40000"/>
              <a:lumOff val="60000"/>
            </a:schemeClr>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76200" tIns="76200" rIns="76200" bIns="76200" numCol="1" rtlCol="0" anchor="t" anchorCtr="0" compatLnSpc="1">
            <a:prstTxWarp prst="textNoShape">
              <a:avLst/>
            </a:prstTxWarp>
          </a:bodyPr>
          <a:lstStyle/>
          <a:p>
            <a:pPr defTabSz="761970" fontAlgn="base">
              <a:spcBef>
                <a:spcPct val="0"/>
              </a:spcBef>
              <a:spcAft>
                <a:spcPct val="0"/>
              </a:spcAft>
            </a:pPr>
            <a:endParaRPr lang="en-US" sz="1167">
              <a:solidFill>
                <a:schemeClr val="bg1"/>
              </a:solidFill>
            </a:endParaRPr>
          </a:p>
        </p:txBody>
      </p:sp>
      <p:sp>
        <p:nvSpPr>
          <p:cNvPr id="7" name="TextBox 6">
            <a:extLst>
              <a:ext uri="{FF2B5EF4-FFF2-40B4-BE49-F238E27FC236}">
                <a16:creationId xmlns:a16="http://schemas.microsoft.com/office/drawing/2014/main" id="{69FF7FAD-28EF-4189-AFA5-65FE2D171B59}"/>
              </a:ext>
            </a:extLst>
          </p:cNvPr>
          <p:cNvSpPr txBox="1"/>
          <p:nvPr/>
        </p:nvSpPr>
        <p:spPr>
          <a:xfrm>
            <a:off x="1597051" y="2174240"/>
            <a:ext cx="558800" cy="102592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algn="r" defTabSz="2031919">
              <a:spcBef>
                <a:spcPts val="2417"/>
              </a:spcBef>
              <a:buSzPct val="100000"/>
            </a:pPr>
            <a:r>
              <a:rPr lang="en-US" sz="6666" kern="0">
                <a:solidFill>
                  <a:schemeClr val="tx2"/>
                </a:solidFill>
                <a:ea typeface="+mj-ea"/>
                <a:cs typeface="+mj-cs"/>
                <a:sym typeface="IBM Plex Sans Light"/>
              </a:rPr>
              <a:t>1</a:t>
            </a:r>
          </a:p>
        </p:txBody>
      </p:sp>
      <p:sp>
        <p:nvSpPr>
          <p:cNvPr id="8" name="TextBox 7">
            <a:extLst>
              <a:ext uri="{FF2B5EF4-FFF2-40B4-BE49-F238E27FC236}">
                <a16:creationId xmlns:a16="http://schemas.microsoft.com/office/drawing/2014/main" id="{1D945261-F3C3-B16E-61B6-A202C5D3E186}"/>
              </a:ext>
            </a:extLst>
          </p:cNvPr>
          <p:cNvSpPr txBox="1"/>
          <p:nvPr/>
        </p:nvSpPr>
        <p:spPr>
          <a:xfrm>
            <a:off x="645405" y="3757946"/>
            <a:ext cx="1473200" cy="18413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algn="r" defTabSz="2031919">
              <a:spcBef>
                <a:spcPts val="2417"/>
              </a:spcBef>
              <a:buSzPct val="100000"/>
            </a:pPr>
            <a:r>
              <a:rPr lang="en-US" sz="1667" kern="0">
                <a:solidFill>
                  <a:schemeClr val="tx2"/>
                </a:solidFill>
                <a:ea typeface="+mj-ea"/>
                <a:cs typeface="+mj-cs"/>
                <a:sym typeface="IBM Plex Sans Light"/>
              </a:rPr>
              <a:t>Our Understanding</a:t>
            </a:r>
          </a:p>
        </p:txBody>
      </p:sp>
      <p:sp>
        <p:nvSpPr>
          <p:cNvPr id="41" name="Rectangle 40">
            <a:extLst>
              <a:ext uri="{FF2B5EF4-FFF2-40B4-BE49-F238E27FC236}">
                <a16:creationId xmlns:a16="http://schemas.microsoft.com/office/drawing/2014/main" id="{E377AD59-4B5F-2B31-81A5-F0AB10C85DAF}"/>
              </a:ext>
            </a:extLst>
          </p:cNvPr>
          <p:cNvSpPr/>
          <p:nvPr/>
        </p:nvSpPr>
        <p:spPr bwMode="auto">
          <a:xfrm>
            <a:off x="4360686" y="2275840"/>
            <a:ext cx="9000" cy="2700000"/>
          </a:xfrm>
          <a:prstGeom prst="rect">
            <a:avLst/>
          </a:prstGeom>
          <a:solidFill>
            <a:schemeClr val="accent1">
              <a:lumMod val="40000"/>
              <a:lumOff val="60000"/>
            </a:schemeClr>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76200" tIns="76200" rIns="76200" bIns="76200" numCol="1" rtlCol="0" anchor="t" anchorCtr="0" compatLnSpc="1">
            <a:prstTxWarp prst="textNoShape">
              <a:avLst/>
            </a:prstTxWarp>
          </a:bodyPr>
          <a:lstStyle/>
          <a:p>
            <a:pPr defTabSz="761970" fontAlgn="base">
              <a:spcBef>
                <a:spcPct val="0"/>
              </a:spcBef>
              <a:spcAft>
                <a:spcPct val="0"/>
              </a:spcAft>
            </a:pPr>
            <a:endParaRPr lang="en-US" sz="1167">
              <a:solidFill>
                <a:schemeClr val="bg1"/>
              </a:solidFill>
            </a:endParaRPr>
          </a:p>
        </p:txBody>
      </p:sp>
      <p:sp>
        <p:nvSpPr>
          <p:cNvPr id="42" name="TextBox 41">
            <a:extLst>
              <a:ext uri="{FF2B5EF4-FFF2-40B4-BE49-F238E27FC236}">
                <a16:creationId xmlns:a16="http://schemas.microsoft.com/office/drawing/2014/main" id="{DD315037-ABCC-BCAE-091C-727D636C003B}"/>
              </a:ext>
            </a:extLst>
          </p:cNvPr>
          <p:cNvSpPr txBox="1"/>
          <p:nvPr/>
        </p:nvSpPr>
        <p:spPr>
          <a:xfrm>
            <a:off x="3620636" y="2174240"/>
            <a:ext cx="558800" cy="102592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algn="r" defTabSz="2031919">
              <a:spcBef>
                <a:spcPts val="2417"/>
              </a:spcBef>
              <a:buSzPct val="100000"/>
            </a:pPr>
            <a:r>
              <a:rPr lang="en-US" sz="6666" kern="0">
                <a:solidFill>
                  <a:schemeClr val="tx2"/>
                </a:solidFill>
                <a:ea typeface="+mj-ea"/>
                <a:cs typeface="+mj-cs"/>
                <a:sym typeface="IBM Plex Sans Light"/>
              </a:rPr>
              <a:t>2</a:t>
            </a:r>
          </a:p>
        </p:txBody>
      </p:sp>
      <p:sp>
        <p:nvSpPr>
          <p:cNvPr id="43" name="TextBox 42">
            <a:extLst>
              <a:ext uri="{FF2B5EF4-FFF2-40B4-BE49-F238E27FC236}">
                <a16:creationId xmlns:a16="http://schemas.microsoft.com/office/drawing/2014/main" id="{63E4EF0C-716A-6415-5340-570F154745F7}"/>
              </a:ext>
            </a:extLst>
          </p:cNvPr>
          <p:cNvSpPr txBox="1"/>
          <p:nvPr/>
        </p:nvSpPr>
        <p:spPr>
          <a:xfrm>
            <a:off x="4732317" y="3758222"/>
            <a:ext cx="1473200" cy="54255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algn="r" defTabSz="2031919">
              <a:spcBef>
                <a:spcPts val="2417"/>
              </a:spcBef>
              <a:buSzPct val="100000"/>
            </a:pPr>
            <a:r>
              <a:rPr lang="en-US" sz="1667" kern="0">
                <a:solidFill>
                  <a:schemeClr val="tx2"/>
                </a:solidFill>
                <a:ea typeface="+mj-ea"/>
                <a:cs typeface="+mj-cs"/>
                <a:sym typeface="IBM Plex Sans Light"/>
              </a:rPr>
              <a:t>UX Design</a:t>
            </a:r>
          </a:p>
        </p:txBody>
      </p:sp>
      <p:sp>
        <p:nvSpPr>
          <p:cNvPr id="47" name="Rectangle 46">
            <a:extLst>
              <a:ext uri="{FF2B5EF4-FFF2-40B4-BE49-F238E27FC236}">
                <a16:creationId xmlns:a16="http://schemas.microsoft.com/office/drawing/2014/main" id="{AAF40037-0999-524F-99F7-295CCE17B1FF}"/>
              </a:ext>
            </a:extLst>
          </p:cNvPr>
          <p:cNvSpPr/>
          <p:nvPr/>
        </p:nvSpPr>
        <p:spPr bwMode="auto">
          <a:xfrm>
            <a:off x="6393931" y="2275840"/>
            <a:ext cx="9000" cy="2700000"/>
          </a:xfrm>
          <a:prstGeom prst="rect">
            <a:avLst/>
          </a:prstGeom>
          <a:solidFill>
            <a:schemeClr val="accent1">
              <a:lumMod val="40000"/>
              <a:lumOff val="60000"/>
            </a:schemeClr>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76200" tIns="76200" rIns="76200" bIns="76200" numCol="1" rtlCol="0" anchor="t" anchorCtr="0" compatLnSpc="1">
            <a:prstTxWarp prst="textNoShape">
              <a:avLst/>
            </a:prstTxWarp>
          </a:bodyPr>
          <a:lstStyle/>
          <a:p>
            <a:pPr defTabSz="761970" fontAlgn="base">
              <a:spcBef>
                <a:spcPct val="0"/>
              </a:spcBef>
              <a:spcAft>
                <a:spcPct val="0"/>
              </a:spcAft>
            </a:pPr>
            <a:endParaRPr lang="en-US" sz="1167">
              <a:solidFill>
                <a:schemeClr val="bg1"/>
              </a:solidFill>
            </a:endParaRPr>
          </a:p>
        </p:txBody>
      </p:sp>
      <p:sp>
        <p:nvSpPr>
          <p:cNvPr id="48" name="TextBox 47">
            <a:extLst>
              <a:ext uri="{FF2B5EF4-FFF2-40B4-BE49-F238E27FC236}">
                <a16:creationId xmlns:a16="http://schemas.microsoft.com/office/drawing/2014/main" id="{498D38FF-499A-517F-4E28-021F094889B2}"/>
              </a:ext>
            </a:extLst>
          </p:cNvPr>
          <p:cNvSpPr txBox="1"/>
          <p:nvPr/>
        </p:nvSpPr>
        <p:spPr>
          <a:xfrm>
            <a:off x="5653881" y="2174240"/>
            <a:ext cx="558800" cy="102592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algn="r" defTabSz="2031919">
              <a:spcBef>
                <a:spcPts val="2417"/>
              </a:spcBef>
              <a:buSzPct val="100000"/>
            </a:pPr>
            <a:r>
              <a:rPr lang="en-US" sz="6666" kern="0">
                <a:solidFill>
                  <a:schemeClr val="tx2"/>
                </a:solidFill>
                <a:ea typeface="+mj-ea"/>
                <a:cs typeface="+mj-cs"/>
                <a:sym typeface="IBM Plex Sans Light"/>
              </a:rPr>
              <a:t>3</a:t>
            </a:r>
          </a:p>
        </p:txBody>
      </p:sp>
      <p:sp>
        <p:nvSpPr>
          <p:cNvPr id="49" name="TextBox 48">
            <a:extLst>
              <a:ext uri="{FF2B5EF4-FFF2-40B4-BE49-F238E27FC236}">
                <a16:creationId xmlns:a16="http://schemas.microsoft.com/office/drawing/2014/main" id="{9FE71238-FC4B-1124-C524-96D44E637B35}"/>
              </a:ext>
            </a:extLst>
          </p:cNvPr>
          <p:cNvSpPr txBox="1"/>
          <p:nvPr/>
        </p:nvSpPr>
        <p:spPr>
          <a:xfrm>
            <a:off x="2773286" y="3761231"/>
            <a:ext cx="1473200" cy="18413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algn="r" defTabSz="2031919">
              <a:spcBef>
                <a:spcPts val="2417"/>
              </a:spcBef>
              <a:buSzPct val="100000"/>
            </a:pPr>
            <a:r>
              <a:rPr lang="en-US" sz="1667" kern="0">
                <a:solidFill>
                  <a:schemeClr val="tx2"/>
                </a:solidFill>
                <a:ea typeface="+mj-ea"/>
                <a:cs typeface="+mj-cs"/>
                <a:sym typeface="IBM Plex Sans Light"/>
              </a:rPr>
              <a:t>Solution Approach</a:t>
            </a:r>
          </a:p>
        </p:txBody>
      </p:sp>
      <p:sp>
        <p:nvSpPr>
          <p:cNvPr id="53" name="Rectangle 52">
            <a:extLst>
              <a:ext uri="{FF2B5EF4-FFF2-40B4-BE49-F238E27FC236}">
                <a16:creationId xmlns:a16="http://schemas.microsoft.com/office/drawing/2014/main" id="{14346B25-6221-775A-DBAF-1F8AF687783F}"/>
              </a:ext>
            </a:extLst>
          </p:cNvPr>
          <p:cNvSpPr/>
          <p:nvPr/>
        </p:nvSpPr>
        <p:spPr bwMode="auto">
          <a:xfrm>
            <a:off x="8448792" y="2275840"/>
            <a:ext cx="9000" cy="2700000"/>
          </a:xfrm>
          <a:prstGeom prst="rect">
            <a:avLst/>
          </a:prstGeom>
          <a:solidFill>
            <a:schemeClr val="accent1">
              <a:lumMod val="40000"/>
              <a:lumOff val="60000"/>
            </a:schemeClr>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76200" tIns="76200" rIns="76200" bIns="76200" numCol="1" rtlCol="0" anchor="t" anchorCtr="0" compatLnSpc="1">
            <a:prstTxWarp prst="textNoShape">
              <a:avLst/>
            </a:prstTxWarp>
          </a:bodyPr>
          <a:lstStyle/>
          <a:p>
            <a:pPr defTabSz="761970" fontAlgn="base">
              <a:spcBef>
                <a:spcPct val="0"/>
              </a:spcBef>
              <a:spcAft>
                <a:spcPct val="0"/>
              </a:spcAft>
            </a:pPr>
            <a:endParaRPr lang="en-US" sz="1167">
              <a:solidFill>
                <a:schemeClr val="bg1"/>
              </a:solidFill>
            </a:endParaRPr>
          </a:p>
        </p:txBody>
      </p:sp>
      <p:sp>
        <p:nvSpPr>
          <p:cNvPr id="54" name="TextBox 53">
            <a:extLst>
              <a:ext uri="{FF2B5EF4-FFF2-40B4-BE49-F238E27FC236}">
                <a16:creationId xmlns:a16="http://schemas.microsoft.com/office/drawing/2014/main" id="{326668AB-25BE-728B-7AB2-13FDD53F2B45}"/>
              </a:ext>
            </a:extLst>
          </p:cNvPr>
          <p:cNvSpPr txBox="1"/>
          <p:nvPr/>
        </p:nvSpPr>
        <p:spPr>
          <a:xfrm>
            <a:off x="7708742" y="2174240"/>
            <a:ext cx="558800" cy="102592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algn="r" defTabSz="2031919">
              <a:spcBef>
                <a:spcPts val="2417"/>
              </a:spcBef>
              <a:buSzPct val="100000"/>
            </a:pPr>
            <a:r>
              <a:rPr lang="en-US" sz="6666" kern="0">
                <a:solidFill>
                  <a:schemeClr val="tx2"/>
                </a:solidFill>
                <a:ea typeface="+mj-ea"/>
                <a:cs typeface="+mj-cs"/>
                <a:sym typeface="IBM Plex Sans Light"/>
              </a:rPr>
              <a:t>4</a:t>
            </a:r>
          </a:p>
        </p:txBody>
      </p:sp>
      <p:sp>
        <p:nvSpPr>
          <p:cNvPr id="55" name="TextBox 54">
            <a:extLst>
              <a:ext uri="{FF2B5EF4-FFF2-40B4-BE49-F238E27FC236}">
                <a16:creationId xmlns:a16="http://schemas.microsoft.com/office/drawing/2014/main" id="{61956FCE-65FC-A7B8-AC88-3B3AE3DCD992}"/>
              </a:ext>
            </a:extLst>
          </p:cNvPr>
          <p:cNvSpPr txBox="1"/>
          <p:nvPr/>
        </p:nvSpPr>
        <p:spPr>
          <a:xfrm>
            <a:off x="6400300" y="3757946"/>
            <a:ext cx="1820091" cy="24653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algn="r" defTabSz="2031919">
              <a:spcBef>
                <a:spcPts val="2417"/>
              </a:spcBef>
              <a:buSzPct val="100000"/>
            </a:pPr>
            <a:r>
              <a:rPr lang="en-US" sz="1667" kern="0">
                <a:solidFill>
                  <a:schemeClr val="tx2"/>
                </a:solidFill>
                <a:ea typeface="+mj-ea"/>
                <a:cs typeface="+mj-cs"/>
                <a:sym typeface="IBM Plex Sans Light"/>
              </a:rPr>
              <a:t>Execution Approach</a:t>
            </a:r>
          </a:p>
        </p:txBody>
      </p:sp>
      <p:sp>
        <p:nvSpPr>
          <p:cNvPr id="4" name="Text Placeholder 3">
            <a:extLst>
              <a:ext uri="{FF2B5EF4-FFF2-40B4-BE49-F238E27FC236}">
                <a16:creationId xmlns:a16="http://schemas.microsoft.com/office/drawing/2014/main" id="{71429F71-95E4-94C3-6F9A-46E85293A580}"/>
              </a:ext>
            </a:extLst>
          </p:cNvPr>
          <p:cNvSpPr txBox="1">
            <a:spLocks/>
          </p:cNvSpPr>
          <p:nvPr/>
        </p:nvSpPr>
        <p:spPr>
          <a:xfrm>
            <a:off x="288889" y="6458629"/>
            <a:ext cx="4088233" cy="150303"/>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Outfit Light" pitchFamily="2" charset="0"/>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48">
              <a:defRPr/>
            </a:pPr>
            <a:r>
              <a:rPr lang="en-US" sz="917" kern="0">
                <a:latin typeface="Aptos Light" panose="020B0004020202020204" pitchFamily="34" charset="0"/>
              </a:rPr>
              <a:t>Confidential</a:t>
            </a:r>
            <a:r>
              <a:rPr lang="en-US" sz="917" kern="0">
                <a:latin typeface="Aptos" panose="020B0004020202020204" pitchFamily="34" charset="0"/>
              </a:rPr>
              <a:t>  </a:t>
            </a:r>
            <a:r>
              <a:rPr lang="en-US" sz="917" kern="0">
                <a:solidFill>
                  <a:srgbClr val="00A0E3"/>
                </a:solidFill>
                <a:latin typeface="Aptos" panose="020B0004020202020204" pitchFamily="34" charset="0"/>
              </a:rPr>
              <a:t>/ </a:t>
            </a:r>
            <a:r>
              <a:rPr lang="en-US" sz="917" kern="0">
                <a:latin typeface="Aptos" panose="020B0004020202020204" pitchFamily="34" charset="0"/>
              </a:rPr>
              <a:t> </a:t>
            </a:r>
            <a:r>
              <a:rPr lang="en-US" sz="917" kern="0">
                <a:latin typeface="Aptos Light" panose="020B0004020202020204" pitchFamily="34" charset="0"/>
              </a:rPr>
              <a:t>Brillio</a:t>
            </a:r>
          </a:p>
        </p:txBody>
      </p:sp>
      <p:sp>
        <p:nvSpPr>
          <p:cNvPr id="25" name="Rectangle 24">
            <a:extLst>
              <a:ext uri="{FF2B5EF4-FFF2-40B4-BE49-F238E27FC236}">
                <a16:creationId xmlns:a16="http://schemas.microsoft.com/office/drawing/2014/main" id="{52779325-7050-3FA6-21EF-E3E82D532189}"/>
              </a:ext>
            </a:extLst>
          </p:cNvPr>
          <p:cNvSpPr/>
          <p:nvPr/>
        </p:nvSpPr>
        <p:spPr bwMode="auto">
          <a:xfrm>
            <a:off x="10499468" y="2275840"/>
            <a:ext cx="9000" cy="2700000"/>
          </a:xfrm>
          <a:prstGeom prst="rect">
            <a:avLst/>
          </a:prstGeom>
          <a:solidFill>
            <a:schemeClr val="accent1"/>
          </a:solidFill>
          <a:ln w="19050">
            <a:solidFill>
              <a:schemeClr val="tx2">
                <a:lumMod val="10000"/>
                <a:lumOff val="90000"/>
              </a:scheme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76200" tIns="76200" rIns="76200" bIns="76200" numCol="1" rtlCol="0" anchor="t" anchorCtr="0" compatLnSpc="1">
            <a:prstTxWarp prst="textNoShape">
              <a:avLst/>
            </a:prstTxWarp>
          </a:bodyPr>
          <a:lstStyle/>
          <a:p>
            <a:pPr defTabSz="761970" fontAlgn="base">
              <a:spcBef>
                <a:spcPct val="0"/>
              </a:spcBef>
              <a:spcAft>
                <a:spcPct val="0"/>
              </a:spcAft>
            </a:pPr>
            <a:endParaRPr lang="en-US" sz="1167">
              <a:solidFill>
                <a:schemeClr val="bg1"/>
              </a:solidFill>
            </a:endParaRPr>
          </a:p>
        </p:txBody>
      </p:sp>
      <p:sp>
        <p:nvSpPr>
          <p:cNvPr id="26" name="TextBox 25">
            <a:extLst>
              <a:ext uri="{FF2B5EF4-FFF2-40B4-BE49-F238E27FC236}">
                <a16:creationId xmlns:a16="http://schemas.microsoft.com/office/drawing/2014/main" id="{24D3AD8E-DDA5-F4A4-305C-BB061515DE2C}"/>
              </a:ext>
            </a:extLst>
          </p:cNvPr>
          <p:cNvSpPr txBox="1"/>
          <p:nvPr/>
        </p:nvSpPr>
        <p:spPr>
          <a:xfrm>
            <a:off x="9759418" y="2174240"/>
            <a:ext cx="558800" cy="102592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algn="r" defTabSz="2031919">
              <a:spcBef>
                <a:spcPts val="2417"/>
              </a:spcBef>
              <a:buSzPct val="100000"/>
            </a:pPr>
            <a:r>
              <a:rPr lang="en-US" sz="6666" kern="0">
                <a:solidFill>
                  <a:schemeClr val="tx2"/>
                </a:solidFill>
                <a:ea typeface="+mj-ea"/>
                <a:cs typeface="+mj-cs"/>
                <a:sym typeface="IBM Plex Sans Light"/>
              </a:rPr>
              <a:t>5</a:t>
            </a:r>
          </a:p>
        </p:txBody>
      </p:sp>
      <p:sp>
        <p:nvSpPr>
          <p:cNvPr id="27" name="TextBox 26">
            <a:extLst>
              <a:ext uri="{FF2B5EF4-FFF2-40B4-BE49-F238E27FC236}">
                <a16:creationId xmlns:a16="http://schemas.microsoft.com/office/drawing/2014/main" id="{7C4A340A-4456-9F48-ED37-1726F9335D04}"/>
              </a:ext>
            </a:extLst>
          </p:cNvPr>
          <p:cNvSpPr txBox="1"/>
          <p:nvPr/>
        </p:nvSpPr>
        <p:spPr>
          <a:xfrm>
            <a:off x="8484595" y="3757946"/>
            <a:ext cx="1820091" cy="24653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algn="r" defTabSz="2031919">
              <a:spcBef>
                <a:spcPts val="2417"/>
              </a:spcBef>
              <a:buSzPct val="100000"/>
            </a:pPr>
            <a:r>
              <a:rPr lang="en-US" sz="1667" kern="0">
                <a:solidFill>
                  <a:schemeClr val="tx2"/>
                </a:solidFill>
                <a:ea typeface="+mj-ea"/>
                <a:cs typeface="+mj-cs"/>
                <a:sym typeface="IBM Plex Sans Light"/>
              </a:rPr>
              <a:t>Team Structure &amp; Commercials</a:t>
            </a:r>
          </a:p>
        </p:txBody>
      </p:sp>
      <p:sp>
        <p:nvSpPr>
          <p:cNvPr id="11" name="Text Placeholder 3">
            <a:extLst>
              <a:ext uri="{FF2B5EF4-FFF2-40B4-BE49-F238E27FC236}">
                <a16:creationId xmlns:a16="http://schemas.microsoft.com/office/drawing/2014/main" id="{E1D12904-963B-F563-F943-1497AF795BBB}"/>
              </a:ext>
            </a:extLst>
          </p:cNvPr>
          <p:cNvSpPr txBox="1">
            <a:spLocks/>
          </p:cNvSpPr>
          <p:nvPr/>
        </p:nvSpPr>
        <p:spPr>
          <a:xfrm>
            <a:off x="11733463" y="6458629"/>
            <a:ext cx="167269" cy="150303"/>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Outfit Light" pitchFamily="2" charset="0"/>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r" defTabSz="1218948">
              <a:defRPr/>
            </a:pPr>
            <a:fld id="{64F0821C-65D3-DD4D-8DB2-745946DB9115}" type="slidenum">
              <a:rPr lang="en-US" sz="917" kern="0">
                <a:latin typeface="Aptos" panose="020B0004020202020204" pitchFamily="34" charset="0"/>
              </a:rPr>
              <a:pPr algn="r" defTabSz="1218948">
                <a:defRPr/>
              </a:pPr>
              <a:t>2</a:t>
            </a:fld>
            <a:endParaRPr lang="en-US" sz="917" kern="0">
              <a:latin typeface="Aptos" panose="020B0004020202020204" pitchFamily="34" charset="0"/>
            </a:endParaRPr>
          </a:p>
        </p:txBody>
      </p:sp>
      <p:pic>
        <p:nvPicPr>
          <p:cNvPr id="12" name="Graphic 11">
            <a:extLst>
              <a:ext uri="{FF2B5EF4-FFF2-40B4-BE49-F238E27FC236}">
                <a16:creationId xmlns:a16="http://schemas.microsoft.com/office/drawing/2014/main" id="{894102BB-44C3-7C78-CDB4-2767F92B6E83}"/>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543540" y="6495499"/>
            <a:ext cx="167269" cy="81501"/>
          </a:xfrm>
          <a:prstGeom prst="rect">
            <a:avLst/>
          </a:prstGeom>
        </p:spPr>
      </p:pic>
    </p:spTree>
    <p:extLst>
      <p:ext uri="{BB962C8B-B14F-4D97-AF65-F5344CB8AC3E}">
        <p14:creationId xmlns:p14="http://schemas.microsoft.com/office/powerpoint/2010/main" val="197331910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 name="Rectangle: Rounded Corners 172">
            <a:extLst>
              <a:ext uri="{FF2B5EF4-FFF2-40B4-BE49-F238E27FC236}">
                <a16:creationId xmlns:a16="http://schemas.microsoft.com/office/drawing/2014/main" id="{822883E0-D036-1409-143B-F49990506465}"/>
              </a:ext>
            </a:extLst>
          </p:cNvPr>
          <p:cNvSpPr/>
          <p:nvPr/>
        </p:nvSpPr>
        <p:spPr>
          <a:xfrm>
            <a:off x="2270175" y="1059148"/>
            <a:ext cx="7715613" cy="789546"/>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latin typeface="Aptos" panose="020B0004020202020204" pitchFamily="34" charset="0"/>
            </a:endParaRPr>
          </a:p>
        </p:txBody>
      </p:sp>
      <p:sp>
        <p:nvSpPr>
          <p:cNvPr id="3" name="Slide Number Placeholder 2">
            <a:extLst>
              <a:ext uri="{FF2B5EF4-FFF2-40B4-BE49-F238E27FC236}">
                <a16:creationId xmlns:a16="http://schemas.microsoft.com/office/drawing/2014/main" id="{0CD61271-691F-AAE2-97C9-EE3FCD7B26CF}"/>
              </a:ext>
            </a:extLst>
          </p:cNvPr>
          <p:cNvSpPr>
            <a:spLocks noGrp="1"/>
          </p:cNvSpPr>
          <p:nvPr>
            <p:ph type="sldNum" sz="quarter" idx="4"/>
          </p:nvPr>
        </p:nvSpPr>
        <p:spPr>
          <a:xfrm>
            <a:off x="9856790" y="6212312"/>
            <a:ext cx="1969450" cy="259715"/>
          </a:xfrm>
          <a:prstGeom prst="rect">
            <a:avLst/>
          </a:prstGeom>
        </p:spPr>
        <p:txBody>
          <a:bodyPr vert="horz" lIns="0" tIns="0" rIns="0" bIns="0" rtlCol="0" anchor="b"/>
          <a:lstStyle>
            <a:defPPr>
              <a:defRPr lang="en-GB"/>
            </a:defPPr>
            <a:lvl1pPr marL="0" algn="r" defTabSz="914400" rtl="0" eaLnBrk="1" latinLnBrk="0" hangingPunct="1">
              <a:defRPr lang="en-US" sz="1000" b="0" i="0" kern="1200" smtClean="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609585" rtl="0" eaLnBrk="1" fontAlgn="auto" latinLnBrk="0" hangingPunct="1">
              <a:lnSpc>
                <a:spcPct val="100000"/>
              </a:lnSpc>
              <a:spcBef>
                <a:spcPts val="0"/>
              </a:spcBef>
              <a:spcAft>
                <a:spcPts val="0"/>
              </a:spcAft>
              <a:buClrTx/>
              <a:buSzTx/>
              <a:buFontTx/>
              <a:buNone/>
              <a:tabLst/>
              <a:defRPr/>
            </a:pPr>
            <a:r>
              <a:rPr lang="en-US">
                <a:latin typeface="Aptos" panose="020B0004020202020204" pitchFamily="34" charset="0"/>
              </a:rPr>
              <a:t>©</a:t>
            </a:r>
            <a:fld id="{C00855AC-0D86-7A4F-A082-2F47E9676EA3}" type="datetimeyyyy">
              <a:rPr lang="en-US" smtClean="0">
                <a:latin typeface="Aptos" panose="020B0004020202020204"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2025</a:t>
            </a:fld>
            <a:r>
              <a:rPr>
                <a:latin typeface="Aptos" panose="020B0004020202020204" pitchFamily="34" charset="0"/>
              </a:rPr>
              <a:t> Brillio  |  </a:t>
            </a:r>
            <a:fld id="{F1FE5E21-FD07-B44E-90A3-0254BFCDB49A}" type="slidenum">
              <a:rPr smtClean="0">
                <a:latin typeface="Aptos" panose="020B0004020202020204"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20</a:t>
            </a:fld>
            <a:endParaRPr kumimoji="0" lang="en-US" sz="1000" b="0" i="0" u="none" strike="noStrike" kern="1200" cap="none" spc="0" normalizeH="0" baseline="0" noProof="0">
              <a:ln>
                <a:noFill/>
              </a:ln>
              <a:solidFill>
                <a:srgbClr val="201646"/>
              </a:solidFill>
              <a:effectLst/>
              <a:uLnTx/>
              <a:uFillTx/>
              <a:latin typeface="Aptos" panose="020B0004020202020204" pitchFamily="34" charset="0"/>
            </a:endParaRPr>
          </a:p>
        </p:txBody>
      </p:sp>
      <p:grpSp>
        <p:nvGrpSpPr>
          <p:cNvPr id="28" name="Group 27">
            <a:extLst>
              <a:ext uri="{FF2B5EF4-FFF2-40B4-BE49-F238E27FC236}">
                <a16:creationId xmlns:a16="http://schemas.microsoft.com/office/drawing/2014/main" id="{25C0DA5F-0941-4E60-C83E-0C55CAD066B5}"/>
              </a:ext>
            </a:extLst>
          </p:cNvPr>
          <p:cNvGrpSpPr/>
          <p:nvPr/>
        </p:nvGrpSpPr>
        <p:grpSpPr>
          <a:xfrm>
            <a:off x="6181648" y="2081677"/>
            <a:ext cx="1823701" cy="4219343"/>
            <a:chOff x="870423" y="2298723"/>
            <a:chExt cx="1823701" cy="4219343"/>
          </a:xfrm>
        </p:grpSpPr>
        <p:grpSp>
          <p:nvGrpSpPr>
            <p:cNvPr id="30" name="Google Shape;723;p24">
              <a:extLst>
                <a:ext uri="{FF2B5EF4-FFF2-40B4-BE49-F238E27FC236}">
                  <a16:creationId xmlns:a16="http://schemas.microsoft.com/office/drawing/2014/main" id="{9787F053-6F96-C13D-D2C6-61DD8A1FFF63}"/>
                </a:ext>
              </a:extLst>
            </p:cNvPr>
            <p:cNvGrpSpPr/>
            <p:nvPr/>
          </p:nvGrpSpPr>
          <p:grpSpPr>
            <a:xfrm>
              <a:off x="870424" y="2298723"/>
              <a:ext cx="1823700" cy="4219343"/>
              <a:chOff x="478538" y="1479325"/>
              <a:chExt cx="1823700" cy="4219343"/>
            </a:xfrm>
          </p:grpSpPr>
          <p:sp>
            <p:nvSpPr>
              <p:cNvPr id="34" name="Google Shape;727;p24">
                <a:extLst>
                  <a:ext uri="{FF2B5EF4-FFF2-40B4-BE49-F238E27FC236}">
                    <a16:creationId xmlns:a16="http://schemas.microsoft.com/office/drawing/2014/main" id="{8A669DC8-7689-1CFC-DC73-E3DFC7D1EF96}"/>
                  </a:ext>
                </a:extLst>
              </p:cNvPr>
              <p:cNvSpPr/>
              <p:nvPr/>
            </p:nvSpPr>
            <p:spPr>
              <a:xfrm rot="10800000">
                <a:off x="480488" y="1797846"/>
                <a:ext cx="1819800" cy="3900822"/>
              </a:xfrm>
              <a:prstGeom prst="roundRect">
                <a:avLst>
                  <a:gd name="adj" fmla="val 9056"/>
                </a:avLst>
              </a:prstGeom>
              <a:solidFill>
                <a:schemeClr val="accent2">
                  <a:lumMod val="20000"/>
                  <a:lumOff val="80000"/>
                </a:schemeClr>
              </a:solidFill>
              <a:ln w="9525" cap="flat" cmpd="sng">
                <a:no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ptos" panose="020B0004020202020204" pitchFamily="34" charset="0"/>
                  <a:cs typeface="Arial"/>
                  <a:sym typeface="Arial"/>
                </a:endParaRPr>
              </a:p>
            </p:txBody>
          </p:sp>
          <p:sp>
            <p:nvSpPr>
              <p:cNvPr id="37" name="Google Shape;726;p24">
                <a:extLst>
                  <a:ext uri="{FF2B5EF4-FFF2-40B4-BE49-F238E27FC236}">
                    <a16:creationId xmlns:a16="http://schemas.microsoft.com/office/drawing/2014/main" id="{6F382132-6318-84E0-AABB-945EDF1DE262}"/>
                  </a:ext>
                </a:extLst>
              </p:cNvPr>
              <p:cNvSpPr/>
              <p:nvPr/>
            </p:nvSpPr>
            <p:spPr>
              <a:xfrm>
                <a:off x="478538" y="1797846"/>
                <a:ext cx="1823700" cy="1151860"/>
              </a:xfrm>
              <a:prstGeom prst="round2SameRect">
                <a:avLst>
                  <a:gd name="adj1" fmla="val 15504"/>
                  <a:gd name="adj2" fmla="val 0"/>
                </a:avLst>
              </a:prstGeom>
              <a:solidFill>
                <a:schemeClr val="accent2">
                  <a:lumMod val="60000"/>
                  <a:lumOff val="4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ptos" panose="020B0004020202020204" pitchFamily="34" charset="0"/>
                  <a:cs typeface="Arial"/>
                  <a:sym typeface="Arial"/>
                </a:endParaRPr>
              </a:p>
            </p:txBody>
          </p:sp>
          <p:sp>
            <p:nvSpPr>
              <p:cNvPr id="35" name="Google Shape;728;p24">
                <a:extLst>
                  <a:ext uri="{FF2B5EF4-FFF2-40B4-BE49-F238E27FC236}">
                    <a16:creationId xmlns:a16="http://schemas.microsoft.com/office/drawing/2014/main" id="{F684E41D-823A-1F38-6381-DCEEF3B2BA06}"/>
                  </a:ext>
                </a:extLst>
              </p:cNvPr>
              <p:cNvSpPr/>
              <p:nvPr/>
            </p:nvSpPr>
            <p:spPr>
              <a:xfrm>
                <a:off x="1094588" y="1479325"/>
                <a:ext cx="591600" cy="591600"/>
              </a:xfrm>
              <a:prstGeom prst="ellipse">
                <a:avLst/>
              </a:prstGeom>
              <a:solidFill>
                <a:schemeClr val="bg1"/>
              </a:solidFill>
              <a:ln w="9525" cap="flat" cmpd="sng">
                <a:no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2200" b="1" i="0" u="none" strike="noStrike" kern="0" cap="none" spc="0" normalizeH="0" baseline="0" noProof="0">
                  <a:ln>
                    <a:noFill/>
                  </a:ln>
                  <a:solidFill>
                    <a:srgbClr val="04738C"/>
                  </a:solidFill>
                  <a:effectLst/>
                  <a:uLnTx/>
                  <a:uFillTx/>
                  <a:latin typeface="Aptos" panose="020B0004020202020204" pitchFamily="34" charset="0"/>
                  <a:ea typeface="Fira Sans"/>
                  <a:cs typeface="Fira Sans"/>
                  <a:sym typeface="Fira Sans"/>
                </a:endParaRPr>
              </a:p>
            </p:txBody>
          </p:sp>
        </p:grpSp>
        <p:sp>
          <p:nvSpPr>
            <p:cNvPr id="31" name="Google Shape;730;p24">
              <a:extLst>
                <a:ext uri="{FF2B5EF4-FFF2-40B4-BE49-F238E27FC236}">
                  <a16:creationId xmlns:a16="http://schemas.microsoft.com/office/drawing/2014/main" id="{FED5E1DB-356B-4563-BCBA-82882D19FDBF}"/>
                </a:ext>
              </a:extLst>
            </p:cNvPr>
            <p:cNvSpPr txBox="1"/>
            <p:nvPr/>
          </p:nvSpPr>
          <p:spPr>
            <a:xfrm>
              <a:off x="870423" y="3841908"/>
              <a:ext cx="1819801" cy="2657033"/>
            </a:xfrm>
            <a:prstGeom prst="rect">
              <a:avLst/>
            </a:prstGeom>
            <a:noFill/>
            <a:ln>
              <a:noFill/>
            </a:ln>
          </p:spPr>
          <p:txBody>
            <a:bodyPr spcFirstLastPara="1" wrap="square" lIns="91425" tIns="91425" rIns="91425" bIns="91425" anchor="t" anchorCtr="0">
              <a:noAutofit/>
            </a:bodyPr>
            <a:lstStyle/>
            <a:p>
              <a:pPr marL="171450" marR="0" lvl="0" indent="-171450" algn="l" defTabSz="609585"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100" b="1">
                  <a:solidFill>
                    <a:schemeClr val="bg1"/>
                  </a:solidFill>
                  <a:latin typeface="Aptos" panose="020B0004020202020204" pitchFamily="34" charset="0"/>
                </a:rPr>
                <a:t>Integration services</a:t>
              </a:r>
              <a:r>
                <a:rPr lang="en-US" sz="1100">
                  <a:solidFill>
                    <a:schemeClr val="bg1"/>
                  </a:solidFill>
                  <a:latin typeface="Aptos" panose="020B0004020202020204" pitchFamily="34" charset="0"/>
                </a:rPr>
                <a:t> using </a:t>
              </a:r>
              <a:r>
                <a:rPr lang="en-US" sz="1100" b="1">
                  <a:solidFill>
                    <a:schemeClr val="bg1"/>
                  </a:solidFill>
                  <a:latin typeface="Aptos" panose="020B0004020202020204" pitchFamily="34" charset="0"/>
                </a:rPr>
                <a:t>SAP BTP </a:t>
              </a:r>
              <a:r>
                <a:rPr lang="en-US" sz="1100">
                  <a:solidFill>
                    <a:schemeClr val="bg1"/>
                  </a:solidFill>
                  <a:latin typeface="Aptos" panose="020B0004020202020204" pitchFamily="34" charset="0"/>
                </a:rPr>
                <a:t>to connect with external applications and third-party solutions</a:t>
              </a:r>
            </a:p>
            <a:p>
              <a:pPr marL="171450" marR="0" lvl="0" indent="-171450" algn="l" defTabSz="609585"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100" b="1">
                  <a:solidFill>
                    <a:schemeClr val="bg1"/>
                  </a:solidFill>
                  <a:latin typeface="Aptos" panose="020B0004020202020204" pitchFamily="34" charset="0"/>
                </a:rPr>
                <a:t>Custom extensions</a:t>
              </a:r>
              <a:r>
                <a:rPr lang="en-US" sz="1100">
                  <a:solidFill>
                    <a:schemeClr val="bg1"/>
                  </a:solidFill>
                  <a:latin typeface="Aptos" panose="020B0004020202020204" pitchFamily="34" charset="0"/>
                </a:rPr>
                <a:t> and applications using SAP BTP</a:t>
              </a:r>
            </a:p>
            <a:p>
              <a:pPr marL="171450" marR="0" lvl="0" indent="-171450" algn="l" defTabSz="609585"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100">
                  <a:solidFill>
                    <a:schemeClr val="bg1"/>
                  </a:solidFill>
                  <a:latin typeface="Aptos" panose="020B0004020202020204" pitchFamily="34" charset="0"/>
                </a:rPr>
                <a:t>Integrating intelligent technologies like </a:t>
              </a:r>
              <a:r>
                <a:rPr lang="en-US" sz="1100" b="1">
                  <a:solidFill>
                    <a:schemeClr val="bg1"/>
                  </a:solidFill>
                  <a:latin typeface="Aptos" panose="020B0004020202020204" pitchFamily="34" charset="0"/>
                </a:rPr>
                <a:t>AI/ML, RPA </a:t>
              </a:r>
              <a:r>
                <a:rPr lang="en-US" sz="1100">
                  <a:solidFill>
                    <a:schemeClr val="bg1"/>
                  </a:solidFill>
                  <a:latin typeface="Aptos" panose="020B0004020202020204" pitchFamily="34" charset="0"/>
                </a:rPr>
                <a:t>into business processes</a:t>
              </a:r>
            </a:p>
            <a:p>
              <a:pPr marL="171450" marR="0" lvl="0" indent="-171450" algn="l" defTabSz="609585"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100">
                  <a:solidFill>
                    <a:schemeClr val="bg1"/>
                  </a:solidFill>
                  <a:latin typeface="Aptos" panose="020B0004020202020204" pitchFamily="34" charset="0"/>
                </a:rPr>
                <a:t>Advanced </a:t>
              </a:r>
              <a:r>
                <a:rPr lang="en-US" sz="1100" b="1">
                  <a:solidFill>
                    <a:schemeClr val="bg1"/>
                  </a:solidFill>
                  <a:latin typeface="Aptos" panose="020B0004020202020204" pitchFamily="34" charset="0"/>
                </a:rPr>
                <a:t>data analytics</a:t>
              </a:r>
              <a:r>
                <a:rPr lang="en-US" sz="1100">
                  <a:solidFill>
                    <a:schemeClr val="bg1"/>
                  </a:solidFill>
                  <a:latin typeface="Aptos" panose="020B0004020202020204" pitchFamily="34" charset="0"/>
                </a:rPr>
                <a:t> solutions integrating SAC</a:t>
              </a:r>
            </a:p>
          </p:txBody>
        </p:sp>
        <p:sp>
          <p:nvSpPr>
            <p:cNvPr id="32" name="Google Shape;731;p24">
              <a:extLst>
                <a:ext uri="{FF2B5EF4-FFF2-40B4-BE49-F238E27FC236}">
                  <a16:creationId xmlns:a16="http://schemas.microsoft.com/office/drawing/2014/main" id="{D3E4237E-CA3F-12AF-5596-5B13F678351B}"/>
                </a:ext>
              </a:extLst>
            </p:cNvPr>
            <p:cNvSpPr txBox="1"/>
            <p:nvPr/>
          </p:nvSpPr>
          <p:spPr>
            <a:xfrm>
              <a:off x="1024024" y="3080317"/>
              <a:ext cx="1516500" cy="429600"/>
            </a:xfrm>
            <a:prstGeom prst="rect">
              <a:avLst/>
            </a:prstGeom>
            <a:noFill/>
            <a:ln>
              <a:noFill/>
            </a:ln>
          </p:spPr>
          <p:txBody>
            <a:bodyPr spcFirstLastPara="1" wrap="square" lIns="91425" tIns="91425" rIns="91425" bIns="91425" anchor="ctr" anchorCtr="0">
              <a:noAutofit/>
            </a:bodyPr>
            <a:lstStyle/>
            <a:p>
              <a:pPr marL="0" marR="0" lvl="0" indent="0" algn="ctr" defTabSz="609585" rtl="0" eaLnBrk="1" fontAlgn="auto" latinLnBrk="0" hangingPunct="1">
                <a:lnSpc>
                  <a:spcPct val="100000"/>
                </a:lnSpc>
                <a:spcBef>
                  <a:spcPts val="0"/>
                </a:spcBef>
                <a:spcAft>
                  <a:spcPts val="0"/>
                </a:spcAft>
                <a:buClr>
                  <a:srgbClr val="000000"/>
                </a:buClr>
                <a:buSzTx/>
                <a:buFont typeface="Arial"/>
                <a:buNone/>
                <a:tabLst/>
                <a:defRPr/>
              </a:pPr>
              <a:r>
                <a:rPr lang="en" sz="1400" kern="0">
                  <a:solidFill>
                    <a:schemeClr val="bg1"/>
                  </a:solidFill>
                  <a:latin typeface="Aptos" panose="020B0004020202020204" pitchFamily="34" charset="0"/>
                  <a:ea typeface="Fira Sans Extra Condensed Medium"/>
                  <a:cs typeface="Fira Sans Extra Condensed Medium"/>
                  <a:sym typeface="Fira Sans Extra Condensed Medium"/>
                </a:rPr>
                <a:t>Business Technology</a:t>
              </a:r>
              <a:endParaRPr kumimoji="0" sz="1400" b="0" i="0" u="none" strike="noStrike" kern="0" cap="none" spc="0" normalizeH="0" baseline="0" noProof="0">
                <a:ln>
                  <a:noFill/>
                </a:ln>
                <a:solidFill>
                  <a:schemeClr val="bg1"/>
                </a:solidFill>
                <a:effectLst/>
                <a:uLnTx/>
                <a:uFillTx/>
                <a:latin typeface="Aptos" panose="020B0004020202020204" pitchFamily="34" charset="0"/>
                <a:ea typeface="Fira Sans Extra Condensed Medium"/>
                <a:cs typeface="Fira Sans Extra Condensed Medium"/>
                <a:sym typeface="Fira Sans Extra Condensed Medium"/>
              </a:endParaRPr>
            </a:p>
          </p:txBody>
        </p:sp>
      </p:grpSp>
      <p:grpSp>
        <p:nvGrpSpPr>
          <p:cNvPr id="58" name="Group 57">
            <a:extLst>
              <a:ext uri="{FF2B5EF4-FFF2-40B4-BE49-F238E27FC236}">
                <a16:creationId xmlns:a16="http://schemas.microsoft.com/office/drawing/2014/main" id="{776289A1-F9C3-9D0B-DC34-CF451FBDD6E5}"/>
              </a:ext>
            </a:extLst>
          </p:cNvPr>
          <p:cNvGrpSpPr/>
          <p:nvPr/>
        </p:nvGrpSpPr>
        <p:grpSpPr>
          <a:xfrm>
            <a:off x="2305611" y="2081677"/>
            <a:ext cx="1823701" cy="4517234"/>
            <a:chOff x="1122266" y="1391886"/>
            <a:chExt cx="1823701" cy="4517234"/>
          </a:xfrm>
        </p:grpSpPr>
        <p:grpSp>
          <p:nvGrpSpPr>
            <p:cNvPr id="5" name="Group 4">
              <a:extLst>
                <a:ext uri="{FF2B5EF4-FFF2-40B4-BE49-F238E27FC236}">
                  <a16:creationId xmlns:a16="http://schemas.microsoft.com/office/drawing/2014/main" id="{55FB1DA4-0922-6E2E-D2E9-D8D03DE44786}"/>
                </a:ext>
              </a:extLst>
            </p:cNvPr>
            <p:cNvGrpSpPr/>
            <p:nvPr/>
          </p:nvGrpSpPr>
          <p:grpSpPr>
            <a:xfrm>
              <a:off x="1122266" y="1391886"/>
              <a:ext cx="1823701" cy="4517234"/>
              <a:chOff x="870423" y="2298723"/>
              <a:chExt cx="1823701" cy="4517234"/>
            </a:xfrm>
          </p:grpSpPr>
          <p:grpSp>
            <p:nvGrpSpPr>
              <p:cNvPr id="48" name="Google Shape;723;p24">
                <a:extLst>
                  <a:ext uri="{FF2B5EF4-FFF2-40B4-BE49-F238E27FC236}">
                    <a16:creationId xmlns:a16="http://schemas.microsoft.com/office/drawing/2014/main" id="{740BFB9D-1B12-CFD6-3A31-C47DD1A83373}"/>
                  </a:ext>
                </a:extLst>
              </p:cNvPr>
              <p:cNvGrpSpPr/>
              <p:nvPr/>
            </p:nvGrpSpPr>
            <p:grpSpPr>
              <a:xfrm>
                <a:off x="870424" y="2298723"/>
                <a:ext cx="1823700" cy="4219345"/>
                <a:chOff x="478538" y="1479325"/>
                <a:chExt cx="1823700" cy="4219345"/>
              </a:xfrm>
            </p:grpSpPr>
            <p:sp>
              <p:nvSpPr>
                <p:cNvPr id="52" name="Google Shape;727;p24">
                  <a:extLst>
                    <a:ext uri="{FF2B5EF4-FFF2-40B4-BE49-F238E27FC236}">
                      <a16:creationId xmlns:a16="http://schemas.microsoft.com/office/drawing/2014/main" id="{2880E9F6-AA76-B2D3-80FC-A51C24282A57}"/>
                    </a:ext>
                  </a:extLst>
                </p:cNvPr>
                <p:cNvSpPr/>
                <p:nvPr/>
              </p:nvSpPr>
              <p:spPr>
                <a:xfrm rot="10800000">
                  <a:off x="480488" y="1797845"/>
                  <a:ext cx="1819800" cy="3900825"/>
                </a:xfrm>
                <a:prstGeom prst="roundRect">
                  <a:avLst>
                    <a:gd name="adj" fmla="val 9056"/>
                  </a:avLst>
                </a:prstGeom>
                <a:solidFill>
                  <a:srgbClr val="EFF3F4"/>
                </a:solidFill>
                <a:ln w="9525" cap="flat" cmpd="sng">
                  <a:no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ptos" panose="020B0004020202020204" pitchFamily="34" charset="0"/>
                    <a:cs typeface="Arial"/>
                    <a:sym typeface="Arial"/>
                  </a:endParaRPr>
                </a:p>
              </p:txBody>
            </p:sp>
            <p:sp>
              <p:nvSpPr>
                <p:cNvPr id="55" name="Google Shape;726;p24">
                  <a:extLst>
                    <a:ext uri="{FF2B5EF4-FFF2-40B4-BE49-F238E27FC236}">
                      <a16:creationId xmlns:a16="http://schemas.microsoft.com/office/drawing/2014/main" id="{1DFB8EB5-5FDE-EBAE-4044-5DF2DD46233C}"/>
                    </a:ext>
                  </a:extLst>
                </p:cNvPr>
                <p:cNvSpPr/>
                <p:nvPr/>
              </p:nvSpPr>
              <p:spPr>
                <a:xfrm>
                  <a:off x="478538" y="1797846"/>
                  <a:ext cx="1823700" cy="1155692"/>
                </a:xfrm>
                <a:prstGeom prst="round2SameRect">
                  <a:avLst>
                    <a:gd name="adj1" fmla="val 15634"/>
                    <a:gd name="adj2" fmla="val 0"/>
                  </a:avLst>
                </a:prstGeom>
                <a:solidFill>
                  <a:schemeClr val="accent2">
                    <a:lumMod val="60000"/>
                    <a:lumOff val="4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ptos" panose="020B0004020202020204" pitchFamily="34" charset="0"/>
                    <a:cs typeface="Arial"/>
                    <a:sym typeface="Arial"/>
                  </a:endParaRPr>
                </a:p>
              </p:txBody>
            </p:sp>
            <p:sp>
              <p:nvSpPr>
                <p:cNvPr id="53" name="Google Shape;728;p24">
                  <a:extLst>
                    <a:ext uri="{FF2B5EF4-FFF2-40B4-BE49-F238E27FC236}">
                      <a16:creationId xmlns:a16="http://schemas.microsoft.com/office/drawing/2014/main" id="{4EE1218B-BC9C-34AC-8057-1FF63148E021}"/>
                    </a:ext>
                  </a:extLst>
                </p:cNvPr>
                <p:cNvSpPr/>
                <p:nvPr/>
              </p:nvSpPr>
              <p:spPr>
                <a:xfrm>
                  <a:off x="1094588" y="1479325"/>
                  <a:ext cx="591600" cy="591600"/>
                </a:xfrm>
                <a:prstGeom prst="ellipse">
                  <a:avLst/>
                </a:prstGeom>
                <a:solidFill>
                  <a:schemeClr val="bg1"/>
                </a:solidFill>
                <a:ln w="9525" cap="flat" cmpd="sng">
                  <a:no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2200" b="1" i="0" u="none" strike="noStrike" kern="0" cap="none" spc="0" normalizeH="0" baseline="0" noProof="0">
                    <a:ln>
                      <a:noFill/>
                    </a:ln>
                    <a:solidFill>
                      <a:srgbClr val="04738C"/>
                    </a:solidFill>
                    <a:effectLst/>
                    <a:uLnTx/>
                    <a:uFillTx/>
                    <a:latin typeface="Aptos" panose="020B0004020202020204" pitchFamily="34" charset="0"/>
                    <a:ea typeface="Fira Sans"/>
                    <a:cs typeface="Fira Sans"/>
                    <a:sym typeface="Fira Sans"/>
                  </a:endParaRPr>
                </a:p>
              </p:txBody>
            </p:sp>
          </p:grpSp>
          <p:sp>
            <p:nvSpPr>
              <p:cNvPr id="49" name="Google Shape;730;p24">
                <a:extLst>
                  <a:ext uri="{FF2B5EF4-FFF2-40B4-BE49-F238E27FC236}">
                    <a16:creationId xmlns:a16="http://schemas.microsoft.com/office/drawing/2014/main" id="{068CA0EE-147C-D0D7-F210-6020AD3EDE64}"/>
                  </a:ext>
                </a:extLst>
              </p:cNvPr>
              <p:cNvSpPr txBox="1"/>
              <p:nvPr/>
            </p:nvSpPr>
            <p:spPr>
              <a:xfrm>
                <a:off x="870423" y="3841908"/>
                <a:ext cx="1819801" cy="2974049"/>
              </a:xfrm>
              <a:prstGeom prst="rect">
                <a:avLst/>
              </a:prstGeom>
              <a:noFill/>
              <a:ln>
                <a:noFill/>
              </a:ln>
            </p:spPr>
            <p:txBody>
              <a:bodyPr spcFirstLastPara="1" wrap="square" lIns="91425" tIns="91425" rIns="91425" bIns="91425" anchor="t" anchorCtr="0">
                <a:noAutofit/>
              </a:bodyPr>
              <a:lstStyle/>
              <a:p>
                <a:pPr marL="171450" marR="0" lvl="0" indent="-171450" algn="l" defTabSz="609585"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100" b="0" i="0" u="none" strike="noStrike" kern="0" cap="none" spc="0" normalizeH="0" baseline="0" noProof="0">
                    <a:ln>
                      <a:noFill/>
                    </a:ln>
                    <a:solidFill>
                      <a:schemeClr val="bg1"/>
                    </a:solidFill>
                    <a:effectLst/>
                    <a:uLnTx/>
                    <a:uFillTx/>
                    <a:latin typeface="Aptos" panose="020B0004020202020204" pitchFamily="34" charset="0"/>
                    <a:ea typeface="Fira Sans"/>
                    <a:cs typeface="Fira Sans"/>
                    <a:sym typeface="Fira Sans"/>
                  </a:rPr>
                  <a:t>Enablement of </a:t>
                </a:r>
                <a:r>
                  <a:rPr lang="en-US" sz="1100" b="1">
                    <a:solidFill>
                      <a:schemeClr val="bg1"/>
                    </a:solidFill>
                    <a:latin typeface="Aptos" panose="020B0004020202020204" pitchFamily="34" charset="0"/>
                  </a:rPr>
                  <a:t>brownfield </a:t>
                </a:r>
                <a:r>
                  <a:rPr lang="en-US" sz="1100">
                    <a:solidFill>
                      <a:schemeClr val="bg1"/>
                    </a:solidFill>
                    <a:latin typeface="Aptos" panose="020B0004020202020204" pitchFamily="34" charset="0"/>
                  </a:rPr>
                  <a:t>and</a:t>
                </a:r>
                <a:r>
                  <a:rPr lang="en-US" sz="1100" b="1">
                    <a:solidFill>
                      <a:schemeClr val="bg1"/>
                    </a:solidFill>
                    <a:latin typeface="Aptos" panose="020B0004020202020204" pitchFamily="34" charset="0"/>
                  </a:rPr>
                  <a:t> greenfield</a:t>
                </a:r>
                <a:r>
                  <a:rPr lang="en-US" sz="1100">
                    <a:solidFill>
                      <a:schemeClr val="bg1"/>
                    </a:solidFill>
                    <a:latin typeface="Aptos" panose="020B0004020202020204" pitchFamily="34" charset="0"/>
                  </a:rPr>
                  <a:t> implementations for </a:t>
                </a:r>
                <a:r>
                  <a:rPr lang="en-US" sz="1100" b="1">
                    <a:solidFill>
                      <a:schemeClr val="bg1"/>
                    </a:solidFill>
                    <a:latin typeface="Aptos" panose="020B0004020202020204" pitchFamily="34" charset="0"/>
                  </a:rPr>
                  <a:t>SAP S/4HANA</a:t>
                </a:r>
                <a:r>
                  <a:rPr lang="en-US" sz="1100">
                    <a:solidFill>
                      <a:schemeClr val="bg1"/>
                    </a:solidFill>
                    <a:latin typeface="Aptos" panose="020B0004020202020204" pitchFamily="34" charset="0"/>
                  </a:rPr>
                  <a:t> migrations</a:t>
                </a:r>
              </a:p>
              <a:p>
                <a:pPr marL="171450" marR="0" lvl="0" indent="-171450" algn="l" defTabSz="609585"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100">
                    <a:solidFill>
                      <a:schemeClr val="bg1"/>
                    </a:solidFill>
                    <a:latin typeface="Aptos" panose="020B0004020202020204" pitchFamily="34" charset="0"/>
                  </a:rPr>
                  <a:t>Integration of  </a:t>
                </a:r>
                <a:r>
                  <a:rPr lang="en-US" sz="1100" b="1">
                    <a:solidFill>
                      <a:schemeClr val="bg1"/>
                    </a:solidFill>
                    <a:latin typeface="Aptos" panose="020B0004020202020204" pitchFamily="34" charset="0"/>
                  </a:rPr>
                  <a:t>S/4HANA</a:t>
                </a:r>
                <a:r>
                  <a:rPr lang="en-US" sz="1100">
                    <a:solidFill>
                      <a:schemeClr val="bg1"/>
                    </a:solidFill>
                    <a:latin typeface="Aptos" panose="020B0004020202020204" pitchFamily="34" charset="0"/>
                  </a:rPr>
                  <a:t> with other systems -</a:t>
                </a:r>
                <a:r>
                  <a:rPr lang="en-US" sz="1100" b="1">
                    <a:solidFill>
                      <a:schemeClr val="bg1"/>
                    </a:solidFill>
                    <a:latin typeface="Aptos" panose="020B0004020202020204" pitchFamily="34" charset="0"/>
                  </a:rPr>
                  <a:t>SAP BTP</a:t>
                </a:r>
              </a:p>
              <a:p>
                <a:pPr marL="171450" marR="0" lvl="0" indent="-171450" algn="l" defTabSz="609585"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100">
                    <a:solidFill>
                      <a:schemeClr val="bg1"/>
                    </a:solidFill>
                    <a:latin typeface="Aptos" panose="020B0004020202020204" pitchFamily="34" charset="0"/>
                  </a:rPr>
                  <a:t>Optimization of financial operations through </a:t>
                </a:r>
                <a:r>
                  <a:rPr lang="en-US" sz="1100" b="1">
                    <a:solidFill>
                      <a:schemeClr val="bg1"/>
                    </a:solidFill>
                    <a:latin typeface="Aptos" panose="020B0004020202020204" pitchFamily="34" charset="0"/>
                  </a:rPr>
                  <a:t>SAP S/4HANA Finance &amp; </a:t>
                </a:r>
                <a:r>
                  <a:rPr lang="en-US" sz="1050" b="1">
                    <a:solidFill>
                      <a:schemeClr val="bg1"/>
                    </a:solidFill>
                    <a:latin typeface="Aptos" panose="020B0004020202020204" pitchFamily="34" charset="0"/>
                  </a:rPr>
                  <a:t>Development, Workflows &amp; Reports</a:t>
                </a:r>
                <a:endParaRPr kumimoji="0" lang="en-US" sz="1100" b="0" i="0" u="none" strike="noStrike" kern="0" cap="none" spc="0" normalizeH="0" baseline="0" noProof="0">
                  <a:ln>
                    <a:noFill/>
                  </a:ln>
                  <a:solidFill>
                    <a:schemeClr val="bg1"/>
                  </a:solidFill>
                  <a:effectLst/>
                  <a:uLnTx/>
                  <a:uFillTx/>
                  <a:latin typeface="Aptos" panose="020B0004020202020204" pitchFamily="34" charset="0"/>
                  <a:ea typeface="Fira Sans"/>
                  <a:cs typeface="Fira Sans"/>
                  <a:sym typeface="Fira Sans"/>
                </a:endParaRPr>
              </a:p>
            </p:txBody>
          </p:sp>
          <p:sp>
            <p:nvSpPr>
              <p:cNvPr id="50" name="Google Shape;731;p24">
                <a:extLst>
                  <a:ext uri="{FF2B5EF4-FFF2-40B4-BE49-F238E27FC236}">
                    <a16:creationId xmlns:a16="http://schemas.microsoft.com/office/drawing/2014/main" id="{EF111D07-74FD-F326-7FE7-E09A674C473F}"/>
                  </a:ext>
                </a:extLst>
              </p:cNvPr>
              <p:cNvSpPr txBox="1"/>
              <p:nvPr/>
            </p:nvSpPr>
            <p:spPr>
              <a:xfrm>
                <a:off x="1024024" y="3080317"/>
                <a:ext cx="1516500" cy="429600"/>
              </a:xfrm>
              <a:prstGeom prst="rect">
                <a:avLst/>
              </a:prstGeom>
              <a:noFill/>
              <a:ln>
                <a:noFill/>
              </a:ln>
            </p:spPr>
            <p:txBody>
              <a:bodyPr spcFirstLastPara="1" wrap="square" lIns="91425" tIns="91425" rIns="91425" bIns="91425" anchor="ctr" anchorCtr="0">
                <a:noAutofit/>
              </a:bodyPr>
              <a:lstStyle/>
              <a:p>
                <a:pPr marL="0" marR="0" lvl="0" indent="0" algn="ctr" defTabSz="609585" rtl="0" eaLnBrk="1" fontAlgn="auto" latinLnBrk="0" hangingPunct="1">
                  <a:lnSpc>
                    <a:spcPct val="100000"/>
                  </a:lnSpc>
                  <a:spcBef>
                    <a:spcPts val="0"/>
                  </a:spcBef>
                  <a:spcAft>
                    <a:spcPts val="0"/>
                  </a:spcAft>
                  <a:buClr>
                    <a:srgbClr val="000000"/>
                  </a:buClr>
                  <a:buSzTx/>
                  <a:buFont typeface="Arial"/>
                  <a:buNone/>
                  <a:tabLst/>
                  <a:defRPr/>
                </a:pPr>
                <a:r>
                  <a:rPr kumimoji="0" lang="en" sz="1400" b="0" i="0" u="none" strike="noStrike" kern="0" cap="none" spc="0" normalizeH="0" baseline="0" noProof="0">
                    <a:ln>
                      <a:noFill/>
                    </a:ln>
                    <a:solidFill>
                      <a:schemeClr val="bg1"/>
                    </a:solidFill>
                    <a:effectLst/>
                    <a:uLnTx/>
                    <a:uFillTx/>
                    <a:latin typeface="Aptos" panose="020B0004020202020204" pitchFamily="34" charset="0"/>
                    <a:ea typeface="Fira Sans Extra Condensed Medium"/>
                    <a:cs typeface="Fira Sans Extra Condensed Medium"/>
                    <a:sym typeface="Fira Sans Extra Condensed Medium"/>
                  </a:rPr>
                  <a:t>S/4Hana</a:t>
                </a:r>
                <a:endParaRPr kumimoji="0" sz="1400" b="0" i="0" u="none" strike="noStrike" kern="0" cap="none" spc="0" normalizeH="0" baseline="0" noProof="0">
                  <a:ln>
                    <a:noFill/>
                  </a:ln>
                  <a:solidFill>
                    <a:schemeClr val="bg1"/>
                  </a:solidFill>
                  <a:effectLst/>
                  <a:uLnTx/>
                  <a:uFillTx/>
                  <a:latin typeface="Aptos" panose="020B0004020202020204" pitchFamily="34" charset="0"/>
                  <a:ea typeface="Fira Sans Extra Condensed Medium"/>
                  <a:cs typeface="Fira Sans Extra Condensed Medium"/>
                  <a:sym typeface="Fira Sans Extra Condensed Medium"/>
                </a:endParaRPr>
              </a:p>
            </p:txBody>
          </p:sp>
        </p:grpSp>
        <p:pic>
          <p:nvPicPr>
            <p:cNvPr id="57" name="Picture 56" descr="A green and black logo&#10;&#10;Description automatically generated with low confidence">
              <a:extLst>
                <a:ext uri="{FF2B5EF4-FFF2-40B4-BE49-F238E27FC236}">
                  <a16:creationId xmlns:a16="http://schemas.microsoft.com/office/drawing/2014/main" id="{59320C79-98AE-0DDE-C70F-EF70ADD7D8E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81715" y="1535434"/>
              <a:ext cx="304503" cy="304503"/>
            </a:xfrm>
            <a:prstGeom prst="rect">
              <a:avLst/>
            </a:prstGeom>
          </p:spPr>
        </p:pic>
      </p:grpSp>
      <p:pic>
        <p:nvPicPr>
          <p:cNvPr id="70" name="Picture 69" descr="A logo for a company&#10;&#10;Description automatically generated">
            <a:extLst>
              <a:ext uri="{FF2B5EF4-FFF2-40B4-BE49-F238E27FC236}">
                <a16:creationId xmlns:a16="http://schemas.microsoft.com/office/drawing/2014/main" id="{DA5B086A-8185-FB49-A985-B86A13EBC16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051834" y="350799"/>
            <a:ext cx="854416" cy="501733"/>
          </a:xfrm>
          <a:prstGeom prst="rect">
            <a:avLst/>
          </a:prstGeom>
        </p:spPr>
      </p:pic>
      <p:sp>
        <p:nvSpPr>
          <p:cNvPr id="175" name="Rectangle 174">
            <a:extLst>
              <a:ext uri="{FF2B5EF4-FFF2-40B4-BE49-F238E27FC236}">
                <a16:creationId xmlns:a16="http://schemas.microsoft.com/office/drawing/2014/main" id="{69247387-EDCD-D210-BBD6-F812FFF7484C}"/>
              </a:ext>
            </a:extLst>
          </p:cNvPr>
          <p:cNvSpPr/>
          <p:nvPr/>
        </p:nvSpPr>
        <p:spPr>
          <a:xfrm>
            <a:off x="3125953" y="1152970"/>
            <a:ext cx="1088705" cy="5367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IN" sz="3200" b="0" i="0" u="none" strike="noStrike" kern="1200" cap="none" spc="0" normalizeH="0" baseline="0" noProof="0">
                <a:ln>
                  <a:noFill/>
                </a:ln>
                <a:solidFill>
                  <a:srgbClr val="002060"/>
                </a:solidFill>
                <a:effectLst/>
                <a:uLnTx/>
                <a:uFillTx/>
                <a:latin typeface="Aptos" panose="020B0004020202020204" pitchFamily="34" charset="0"/>
                <a:ea typeface="Helvetica Neue Thin" panose="020B0403020202020204" pitchFamily="34" charset="0"/>
                <a:cs typeface="Helvetica Neue" panose="02000503000000020004" pitchFamily="2" charset="0"/>
              </a:rPr>
              <a:t>50+</a:t>
            </a:r>
          </a:p>
        </p:txBody>
      </p:sp>
      <p:sp>
        <p:nvSpPr>
          <p:cNvPr id="176" name="Rectangle 175">
            <a:extLst>
              <a:ext uri="{FF2B5EF4-FFF2-40B4-BE49-F238E27FC236}">
                <a16:creationId xmlns:a16="http://schemas.microsoft.com/office/drawing/2014/main" id="{0C9AE19A-0358-3262-2F80-2E83EB3FA7F0}"/>
              </a:ext>
            </a:extLst>
          </p:cNvPr>
          <p:cNvSpPr/>
          <p:nvPr/>
        </p:nvSpPr>
        <p:spPr>
          <a:xfrm>
            <a:off x="3125953" y="1663853"/>
            <a:ext cx="780349" cy="2729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a:ln>
                  <a:noFill/>
                </a:ln>
                <a:solidFill>
                  <a:srgbClr val="201646"/>
                </a:solidFill>
                <a:effectLst/>
                <a:uLnTx/>
                <a:uFillTx/>
                <a:latin typeface="Aptos" panose="020B0004020202020204" pitchFamily="34" charset="0"/>
                <a:ea typeface="Helvetica Neue Light" panose="02000403000000020004" pitchFamily="2" charset="0"/>
                <a:cs typeface="Helvetica Neue" panose="02000503000000020004" pitchFamily="2" charset="0"/>
              </a:rPr>
              <a:t>SAP talent</a:t>
            </a:r>
          </a:p>
        </p:txBody>
      </p:sp>
      <p:pic>
        <p:nvPicPr>
          <p:cNvPr id="177" name="Picture 176">
            <a:extLst>
              <a:ext uri="{FF2B5EF4-FFF2-40B4-BE49-F238E27FC236}">
                <a16:creationId xmlns:a16="http://schemas.microsoft.com/office/drawing/2014/main" id="{AC28631E-59A1-FC52-4941-483B6013645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703393" y="1296339"/>
            <a:ext cx="319122" cy="330066"/>
          </a:xfrm>
          <a:prstGeom prst="rect">
            <a:avLst/>
          </a:prstGeom>
        </p:spPr>
      </p:pic>
      <p:grpSp>
        <p:nvGrpSpPr>
          <p:cNvPr id="178" name="Group 177">
            <a:extLst>
              <a:ext uri="{FF2B5EF4-FFF2-40B4-BE49-F238E27FC236}">
                <a16:creationId xmlns:a16="http://schemas.microsoft.com/office/drawing/2014/main" id="{8DD35AA6-49BB-BA46-4249-5AA7835FE018}"/>
              </a:ext>
            </a:extLst>
          </p:cNvPr>
          <p:cNvGrpSpPr/>
          <p:nvPr/>
        </p:nvGrpSpPr>
        <p:grpSpPr>
          <a:xfrm>
            <a:off x="4975867" y="1195388"/>
            <a:ext cx="1496986" cy="660128"/>
            <a:chOff x="2259963" y="1967869"/>
            <a:chExt cx="1594426" cy="660128"/>
          </a:xfrm>
        </p:grpSpPr>
        <p:sp>
          <p:nvSpPr>
            <p:cNvPr id="179" name="Rectangle 178">
              <a:extLst>
                <a:ext uri="{FF2B5EF4-FFF2-40B4-BE49-F238E27FC236}">
                  <a16:creationId xmlns:a16="http://schemas.microsoft.com/office/drawing/2014/main" id="{5453BC08-B91E-D2EB-6784-50D14970169F}"/>
                </a:ext>
              </a:extLst>
            </p:cNvPr>
            <p:cNvSpPr/>
            <p:nvPr/>
          </p:nvSpPr>
          <p:spPr>
            <a:xfrm>
              <a:off x="2683010" y="1967869"/>
              <a:ext cx="1171379" cy="453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IN" sz="3200" b="0" i="0" u="none" strike="noStrike" kern="1200" cap="none" spc="0" normalizeH="0" baseline="0" noProof="0">
                  <a:ln>
                    <a:noFill/>
                  </a:ln>
                  <a:solidFill>
                    <a:srgbClr val="002060"/>
                  </a:solidFill>
                  <a:effectLst/>
                  <a:uLnTx/>
                  <a:uFillTx/>
                  <a:latin typeface="Aptos" panose="020B0004020202020204" pitchFamily="34" charset="0"/>
                  <a:ea typeface="Helvetica Neue Thin" panose="020B0403020202020204" pitchFamily="34" charset="0"/>
                  <a:cs typeface="Helvetica Neue" panose="02000503000000020004" pitchFamily="2" charset="0"/>
                </a:rPr>
                <a:t>20+</a:t>
              </a:r>
            </a:p>
          </p:txBody>
        </p:sp>
        <p:sp>
          <p:nvSpPr>
            <p:cNvPr id="180" name="Rectangle 179">
              <a:extLst>
                <a:ext uri="{FF2B5EF4-FFF2-40B4-BE49-F238E27FC236}">
                  <a16:creationId xmlns:a16="http://schemas.microsoft.com/office/drawing/2014/main" id="{32B12FF6-C9E1-B907-245B-0045DB675490}"/>
                </a:ext>
              </a:extLst>
            </p:cNvPr>
            <p:cNvSpPr/>
            <p:nvPr/>
          </p:nvSpPr>
          <p:spPr>
            <a:xfrm>
              <a:off x="2259963" y="2424365"/>
              <a:ext cx="1339055" cy="2036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a:ln>
                    <a:noFill/>
                  </a:ln>
                  <a:solidFill>
                    <a:srgbClr val="201646"/>
                  </a:solidFill>
                  <a:effectLst/>
                  <a:uLnTx/>
                  <a:uFillTx/>
                  <a:latin typeface="Aptos" panose="020B0004020202020204" pitchFamily="34" charset="0"/>
                  <a:ea typeface="Helvetica Neue Light" panose="02000403000000020004" pitchFamily="2" charset="0"/>
                  <a:cs typeface="Helvetica Neue" panose="02000503000000020004" pitchFamily="2" charset="0"/>
                </a:rPr>
                <a:t>Certified associates</a:t>
              </a:r>
            </a:p>
          </p:txBody>
        </p:sp>
        <p:pic>
          <p:nvPicPr>
            <p:cNvPr id="181" name="Picture 180">
              <a:extLst>
                <a:ext uri="{FF2B5EF4-FFF2-40B4-BE49-F238E27FC236}">
                  <a16:creationId xmlns:a16="http://schemas.microsoft.com/office/drawing/2014/main" id="{9476C4DC-2B77-554C-A98A-151247925658}"/>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281161" y="2055865"/>
              <a:ext cx="329184" cy="296266"/>
            </a:xfrm>
            <a:prstGeom prst="rect">
              <a:avLst/>
            </a:prstGeom>
          </p:spPr>
        </p:pic>
      </p:grpSp>
      <p:pic>
        <p:nvPicPr>
          <p:cNvPr id="186" name="Picture 2" descr="Unlock the Power of SAP Commerce Cloud ...">
            <a:extLst>
              <a:ext uri="{FF2B5EF4-FFF2-40B4-BE49-F238E27FC236}">
                <a16:creationId xmlns:a16="http://schemas.microsoft.com/office/drawing/2014/main" id="{64D61650-FA0C-E3BD-DA7A-AC1C67A264EF}"/>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626589" y="1210375"/>
            <a:ext cx="864400" cy="450266"/>
          </a:xfrm>
          <a:prstGeom prst="rect">
            <a:avLst/>
          </a:prstGeom>
          <a:noFill/>
          <a:extLst>
            <a:ext uri="{909E8E84-426E-40DD-AFC4-6F175D3DCCD1}">
              <a14:hiddenFill xmlns:a14="http://schemas.microsoft.com/office/drawing/2010/main">
                <a:solidFill>
                  <a:srgbClr val="FFFFFF"/>
                </a:solidFill>
              </a14:hiddenFill>
            </a:ext>
          </a:extLst>
        </p:spPr>
      </p:pic>
      <p:sp>
        <p:nvSpPr>
          <p:cNvPr id="187" name="Rectangle 186">
            <a:extLst>
              <a:ext uri="{FF2B5EF4-FFF2-40B4-BE49-F238E27FC236}">
                <a16:creationId xmlns:a16="http://schemas.microsoft.com/office/drawing/2014/main" id="{963B682D-3F9E-6EC8-B0CF-9916B55193DF}"/>
              </a:ext>
            </a:extLst>
          </p:cNvPr>
          <p:cNvSpPr/>
          <p:nvPr/>
        </p:nvSpPr>
        <p:spPr>
          <a:xfrm>
            <a:off x="8384927" y="1673115"/>
            <a:ext cx="1403725" cy="2729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a:ln>
                  <a:noFill/>
                </a:ln>
                <a:solidFill>
                  <a:srgbClr val="201646"/>
                </a:solidFill>
                <a:effectLst/>
                <a:uLnTx/>
                <a:uFillTx/>
                <a:latin typeface="Aptos" panose="020B0004020202020204" pitchFamily="34" charset="0"/>
                <a:ea typeface="Helvetica Neue Light" panose="02000403000000020004" pitchFamily="2" charset="0"/>
                <a:cs typeface="Helvetica Neue" panose="02000503000000020004" pitchFamily="2" charset="0"/>
              </a:rPr>
              <a:t>Service Authorization</a:t>
            </a:r>
          </a:p>
        </p:txBody>
      </p:sp>
      <p:grpSp>
        <p:nvGrpSpPr>
          <p:cNvPr id="195" name="Group 194">
            <a:extLst>
              <a:ext uri="{FF2B5EF4-FFF2-40B4-BE49-F238E27FC236}">
                <a16:creationId xmlns:a16="http://schemas.microsoft.com/office/drawing/2014/main" id="{C95A2EE7-C3C5-BFDB-0841-1FB688F00504}"/>
              </a:ext>
            </a:extLst>
          </p:cNvPr>
          <p:cNvGrpSpPr/>
          <p:nvPr/>
        </p:nvGrpSpPr>
        <p:grpSpPr>
          <a:xfrm>
            <a:off x="10093943" y="1029593"/>
            <a:ext cx="1844481" cy="2557487"/>
            <a:chOff x="10242220" y="662315"/>
            <a:chExt cx="1844481" cy="2557487"/>
          </a:xfrm>
        </p:grpSpPr>
        <p:grpSp>
          <p:nvGrpSpPr>
            <p:cNvPr id="141" name="Group 140">
              <a:extLst>
                <a:ext uri="{FF2B5EF4-FFF2-40B4-BE49-F238E27FC236}">
                  <a16:creationId xmlns:a16="http://schemas.microsoft.com/office/drawing/2014/main" id="{DC696DB3-E1AF-930A-F8CB-BA04CE0BCF4A}"/>
                </a:ext>
              </a:extLst>
            </p:cNvPr>
            <p:cNvGrpSpPr/>
            <p:nvPr/>
          </p:nvGrpSpPr>
          <p:grpSpPr>
            <a:xfrm>
              <a:off x="10242220" y="662315"/>
              <a:ext cx="1844481" cy="2557487"/>
              <a:chOff x="870423" y="2298723"/>
              <a:chExt cx="1844481" cy="2557487"/>
            </a:xfrm>
          </p:grpSpPr>
          <p:grpSp>
            <p:nvGrpSpPr>
              <p:cNvPr id="143" name="Google Shape;723;p24">
                <a:extLst>
                  <a:ext uri="{FF2B5EF4-FFF2-40B4-BE49-F238E27FC236}">
                    <a16:creationId xmlns:a16="http://schemas.microsoft.com/office/drawing/2014/main" id="{037A50CC-2C88-90AD-719C-4187C00C03DA}"/>
                  </a:ext>
                </a:extLst>
              </p:cNvPr>
              <p:cNvGrpSpPr/>
              <p:nvPr/>
            </p:nvGrpSpPr>
            <p:grpSpPr>
              <a:xfrm>
                <a:off x="870423" y="2298723"/>
                <a:ext cx="1826929" cy="2557487"/>
                <a:chOff x="478537" y="1479325"/>
                <a:chExt cx="1826929" cy="2557487"/>
              </a:xfrm>
            </p:grpSpPr>
            <p:sp>
              <p:nvSpPr>
                <p:cNvPr id="147" name="Google Shape;727;p24">
                  <a:extLst>
                    <a:ext uri="{FF2B5EF4-FFF2-40B4-BE49-F238E27FC236}">
                      <a16:creationId xmlns:a16="http://schemas.microsoft.com/office/drawing/2014/main" id="{E18EB816-FBBE-EA0E-D2CE-083CD9C6BC6D}"/>
                    </a:ext>
                  </a:extLst>
                </p:cNvPr>
                <p:cNvSpPr/>
                <p:nvPr/>
              </p:nvSpPr>
              <p:spPr>
                <a:xfrm rot="10800000">
                  <a:off x="480488" y="1797846"/>
                  <a:ext cx="1819800" cy="2238966"/>
                </a:xfrm>
                <a:prstGeom prst="roundRect">
                  <a:avLst>
                    <a:gd name="adj" fmla="val 9056"/>
                  </a:avLst>
                </a:prstGeom>
                <a:solidFill>
                  <a:schemeClr val="accent2">
                    <a:lumMod val="20000"/>
                    <a:lumOff val="80000"/>
                  </a:schemeClr>
                </a:solidFill>
                <a:ln w="9525" cap="flat" cmpd="sng">
                  <a:no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ptos" panose="020B0004020202020204" pitchFamily="34" charset="0"/>
                    <a:cs typeface="Arial"/>
                    <a:sym typeface="Arial"/>
                  </a:endParaRPr>
                </a:p>
              </p:txBody>
            </p:sp>
            <p:sp>
              <p:nvSpPr>
                <p:cNvPr id="150" name="Google Shape;726;p24">
                  <a:extLst>
                    <a:ext uri="{FF2B5EF4-FFF2-40B4-BE49-F238E27FC236}">
                      <a16:creationId xmlns:a16="http://schemas.microsoft.com/office/drawing/2014/main" id="{742B3A9E-89F6-3F81-E8E7-459E468F76FD}"/>
                    </a:ext>
                  </a:extLst>
                </p:cNvPr>
                <p:cNvSpPr/>
                <p:nvPr/>
              </p:nvSpPr>
              <p:spPr>
                <a:xfrm>
                  <a:off x="478537" y="1796397"/>
                  <a:ext cx="1826929" cy="739005"/>
                </a:xfrm>
                <a:prstGeom prst="round2SameRect">
                  <a:avLst>
                    <a:gd name="adj1" fmla="val 25638"/>
                    <a:gd name="adj2" fmla="val 0"/>
                  </a:avLst>
                </a:prstGeom>
                <a:solidFill>
                  <a:schemeClr val="accent2">
                    <a:lumMod val="60000"/>
                    <a:lumOff val="4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ptos" panose="020B0004020202020204" pitchFamily="34" charset="0"/>
                    <a:cs typeface="Arial"/>
                    <a:sym typeface="Arial"/>
                  </a:endParaRPr>
                </a:p>
              </p:txBody>
            </p:sp>
            <p:sp>
              <p:nvSpPr>
                <p:cNvPr id="148" name="Google Shape;728;p24">
                  <a:extLst>
                    <a:ext uri="{FF2B5EF4-FFF2-40B4-BE49-F238E27FC236}">
                      <a16:creationId xmlns:a16="http://schemas.microsoft.com/office/drawing/2014/main" id="{E3B677EB-DF6F-5126-BAC1-755B23172BE2}"/>
                    </a:ext>
                  </a:extLst>
                </p:cNvPr>
                <p:cNvSpPr/>
                <p:nvPr/>
              </p:nvSpPr>
              <p:spPr>
                <a:xfrm>
                  <a:off x="1094588" y="1479325"/>
                  <a:ext cx="591600" cy="591600"/>
                </a:xfrm>
                <a:prstGeom prst="ellipse">
                  <a:avLst/>
                </a:prstGeom>
                <a:solidFill>
                  <a:schemeClr val="bg1"/>
                </a:solidFill>
                <a:ln w="9525" cap="flat" cmpd="sng">
                  <a:solidFill>
                    <a:srgbClr val="201646"/>
                  </a:solid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2200" b="1" i="0" u="none" strike="noStrike" kern="0" cap="none" spc="0" normalizeH="0" baseline="0" noProof="0">
                    <a:ln>
                      <a:noFill/>
                    </a:ln>
                    <a:solidFill>
                      <a:srgbClr val="04738C"/>
                    </a:solidFill>
                    <a:effectLst/>
                    <a:uLnTx/>
                    <a:uFillTx/>
                    <a:latin typeface="Aptos" panose="020B0004020202020204" pitchFamily="34" charset="0"/>
                    <a:ea typeface="Fira Sans"/>
                    <a:cs typeface="Fira Sans"/>
                    <a:sym typeface="Fira Sans"/>
                  </a:endParaRPr>
                </a:p>
              </p:txBody>
            </p:sp>
          </p:grpSp>
          <p:sp>
            <p:nvSpPr>
              <p:cNvPr id="144" name="Google Shape;730;p24">
                <a:extLst>
                  <a:ext uri="{FF2B5EF4-FFF2-40B4-BE49-F238E27FC236}">
                    <a16:creationId xmlns:a16="http://schemas.microsoft.com/office/drawing/2014/main" id="{F5E5F4CC-C896-677F-B556-2C1D6F4CEFF4}"/>
                  </a:ext>
                </a:extLst>
              </p:cNvPr>
              <p:cNvSpPr txBox="1"/>
              <p:nvPr/>
            </p:nvSpPr>
            <p:spPr>
              <a:xfrm>
                <a:off x="895103" y="3388449"/>
                <a:ext cx="1819801" cy="1411094"/>
              </a:xfrm>
              <a:prstGeom prst="rect">
                <a:avLst/>
              </a:prstGeom>
              <a:noFill/>
              <a:ln>
                <a:noFill/>
              </a:ln>
            </p:spPr>
            <p:txBody>
              <a:bodyPr spcFirstLastPara="1" wrap="square" lIns="91425" tIns="91425" rIns="91425" bIns="91425" anchor="t" anchorCtr="0">
                <a:noAutofit/>
              </a:bodyPr>
              <a:lstStyle/>
              <a:p>
                <a:pPr marL="171450" marR="0" lvl="0" indent="-171450" algn="l" defTabSz="609585"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100">
                    <a:solidFill>
                      <a:schemeClr val="bg1"/>
                    </a:solidFill>
                    <a:latin typeface="Aptos" panose="020B0004020202020204" pitchFamily="34" charset="0"/>
                  </a:rPr>
                  <a:t>Enabler of </a:t>
                </a:r>
                <a:r>
                  <a:rPr lang="en-US" sz="1100" b="1">
                    <a:solidFill>
                      <a:schemeClr val="bg1"/>
                    </a:solidFill>
                    <a:latin typeface="Aptos" panose="020B0004020202020204" pitchFamily="34" charset="0"/>
                  </a:rPr>
                  <a:t>Rise with SAP</a:t>
                </a:r>
                <a:r>
                  <a:rPr lang="en-US" sz="1100">
                    <a:solidFill>
                      <a:schemeClr val="bg1"/>
                    </a:solidFill>
                    <a:latin typeface="Aptos" panose="020B0004020202020204" pitchFamily="34" charset="0"/>
                  </a:rPr>
                  <a:t>, focusing on transforming enterprises through </a:t>
                </a:r>
                <a:r>
                  <a:rPr lang="en-US" sz="1100" b="1">
                    <a:solidFill>
                      <a:schemeClr val="bg1"/>
                    </a:solidFill>
                    <a:latin typeface="Aptos" panose="020B0004020202020204" pitchFamily="34" charset="0"/>
                  </a:rPr>
                  <a:t>brownfield, greenfield</a:t>
                </a:r>
                <a:r>
                  <a:rPr lang="en-US" sz="1100">
                    <a:solidFill>
                      <a:schemeClr val="bg1"/>
                    </a:solidFill>
                    <a:latin typeface="Aptos" panose="020B0004020202020204" pitchFamily="34" charset="0"/>
                  </a:rPr>
                  <a:t>, and </a:t>
                </a:r>
                <a:r>
                  <a:rPr lang="en-US" sz="1100" b="1">
                    <a:solidFill>
                      <a:schemeClr val="bg1"/>
                    </a:solidFill>
                    <a:latin typeface="Aptos" panose="020B0004020202020204" pitchFamily="34" charset="0"/>
                  </a:rPr>
                  <a:t>Bluefield</a:t>
                </a:r>
                <a:r>
                  <a:rPr lang="en-US" sz="1100">
                    <a:solidFill>
                      <a:schemeClr val="bg1"/>
                    </a:solidFill>
                    <a:latin typeface="Aptos" panose="020B0004020202020204" pitchFamily="34" charset="0"/>
                  </a:rPr>
                  <a:t> approaches</a:t>
                </a:r>
              </a:p>
            </p:txBody>
          </p:sp>
          <p:sp>
            <p:nvSpPr>
              <p:cNvPr id="145" name="Google Shape;731;p24">
                <a:extLst>
                  <a:ext uri="{FF2B5EF4-FFF2-40B4-BE49-F238E27FC236}">
                    <a16:creationId xmlns:a16="http://schemas.microsoft.com/office/drawing/2014/main" id="{565A6B7F-BD2C-A737-8588-B2A1EAE76476}"/>
                  </a:ext>
                </a:extLst>
              </p:cNvPr>
              <p:cNvSpPr txBox="1"/>
              <p:nvPr/>
            </p:nvSpPr>
            <p:spPr>
              <a:xfrm>
                <a:off x="1046754" y="2845271"/>
                <a:ext cx="1516500" cy="429600"/>
              </a:xfrm>
              <a:prstGeom prst="rect">
                <a:avLst/>
              </a:prstGeom>
              <a:noFill/>
              <a:ln>
                <a:noFill/>
              </a:ln>
            </p:spPr>
            <p:txBody>
              <a:bodyPr spcFirstLastPara="1" wrap="square" lIns="91425" tIns="91425" rIns="91425" bIns="91425" anchor="ctr" anchorCtr="0">
                <a:noAutofit/>
              </a:bodyPr>
              <a:lstStyle/>
              <a:p>
                <a:pPr marL="0" marR="0" lvl="0" indent="0" algn="ctr" defTabSz="609585" rtl="0" eaLnBrk="1" fontAlgn="auto" latinLnBrk="0" hangingPunct="1">
                  <a:lnSpc>
                    <a:spcPct val="100000"/>
                  </a:lnSpc>
                  <a:spcBef>
                    <a:spcPts val="0"/>
                  </a:spcBef>
                  <a:spcAft>
                    <a:spcPts val="0"/>
                  </a:spcAft>
                  <a:buClr>
                    <a:srgbClr val="000000"/>
                  </a:buClr>
                  <a:buSzTx/>
                  <a:buFont typeface="Arial"/>
                  <a:buNone/>
                  <a:tabLst/>
                  <a:defRPr/>
                </a:pPr>
                <a:r>
                  <a:rPr kumimoji="0" lang="en" sz="1400" b="0" i="0" u="none" strike="noStrike" kern="0" cap="none" spc="0" normalizeH="0" baseline="0" noProof="0">
                    <a:ln>
                      <a:noFill/>
                    </a:ln>
                    <a:solidFill>
                      <a:schemeClr val="bg1"/>
                    </a:solidFill>
                    <a:effectLst/>
                    <a:uLnTx/>
                    <a:uFillTx/>
                    <a:latin typeface="Aptos" panose="020B0004020202020204" pitchFamily="34" charset="0"/>
                    <a:ea typeface="Fira Sans Extra Condensed Medium"/>
                    <a:cs typeface="Fira Sans Extra Condensed Medium"/>
                    <a:sym typeface="Fira Sans Extra Condensed Medium"/>
                  </a:rPr>
                  <a:t>Rise with SAP</a:t>
                </a:r>
                <a:endParaRPr kumimoji="0" sz="1400" b="0" i="0" u="none" strike="noStrike" kern="0" cap="none" spc="0" normalizeH="0" baseline="0" noProof="0">
                  <a:ln>
                    <a:noFill/>
                  </a:ln>
                  <a:solidFill>
                    <a:schemeClr val="bg1"/>
                  </a:solidFill>
                  <a:effectLst/>
                  <a:uLnTx/>
                  <a:uFillTx/>
                  <a:latin typeface="Aptos" panose="020B0004020202020204" pitchFamily="34" charset="0"/>
                  <a:ea typeface="Fira Sans Extra Condensed Medium"/>
                  <a:cs typeface="Fira Sans Extra Condensed Medium"/>
                  <a:sym typeface="Fira Sans Extra Condensed Medium"/>
                </a:endParaRPr>
              </a:p>
            </p:txBody>
          </p:sp>
        </p:grpSp>
        <p:pic>
          <p:nvPicPr>
            <p:cNvPr id="194" name="Graphic 193" descr="Map compass outline">
              <a:extLst>
                <a:ext uri="{FF2B5EF4-FFF2-40B4-BE49-F238E27FC236}">
                  <a16:creationId xmlns:a16="http://schemas.microsoft.com/office/drawing/2014/main" id="{4410BA55-AD48-A146-66D7-0640A9EFDE5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984251" y="775960"/>
              <a:ext cx="352610" cy="352610"/>
            </a:xfrm>
            <a:prstGeom prst="rect">
              <a:avLst/>
            </a:prstGeom>
          </p:spPr>
        </p:pic>
      </p:grpSp>
      <p:grpSp>
        <p:nvGrpSpPr>
          <p:cNvPr id="201" name="Group 200">
            <a:extLst>
              <a:ext uri="{FF2B5EF4-FFF2-40B4-BE49-F238E27FC236}">
                <a16:creationId xmlns:a16="http://schemas.microsoft.com/office/drawing/2014/main" id="{5EF74A41-D379-03CD-3985-8036CA68C517}"/>
              </a:ext>
            </a:extLst>
          </p:cNvPr>
          <p:cNvGrpSpPr/>
          <p:nvPr/>
        </p:nvGrpSpPr>
        <p:grpSpPr>
          <a:xfrm>
            <a:off x="4238896" y="2077847"/>
            <a:ext cx="1823701" cy="4219344"/>
            <a:chOff x="4186546" y="1691248"/>
            <a:chExt cx="1823701" cy="4219344"/>
          </a:xfrm>
        </p:grpSpPr>
        <p:grpSp>
          <p:nvGrpSpPr>
            <p:cNvPr id="38" name="Group 37">
              <a:extLst>
                <a:ext uri="{FF2B5EF4-FFF2-40B4-BE49-F238E27FC236}">
                  <a16:creationId xmlns:a16="http://schemas.microsoft.com/office/drawing/2014/main" id="{5AD04546-B2FF-319B-D00B-391207299BF6}"/>
                </a:ext>
              </a:extLst>
            </p:cNvPr>
            <p:cNvGrpSpPr/>
            <p:nvPr/>
          </p:nvGrpSpPr>
          <p:grpSpPr>
            <a:xfrm>
              <a:off x="4186546" y="1691248"/>
              <a:ext cx="1823701" cy="4219344"/>
              <a:chOff x="870423" y="2298723"/>
              <a:chExt cx="1823701" cy="4219344"/>
            </a:xfrm>
          </p:grpSpPr>
          <p:grpSp>
            <p:nvGrpSpPr>
              <p:cNvPr id="40" name="Google Shape;723;p24">
                <a:extLst>
                  <a:ext uri="{FF2B5EF4-FFF2-40B4-BE49-F238E27FC236}">
                    <a16:creationId xmlns:a16="http://schemas.microsoft.com/office/drawing/2014/main" id="{98EA9DA4-1C66-6AE1-8298-DD920FEDE537}"/>
                  </a:ext>
                </a:extLst>
              </p:cNvPr>
              <p:cNvGrpSpPr/>
              <p:nvPr/>
            </p:nvGrpSpPr>
            <p:grpSpPr>
              <a:xfrm>
                <a:off x="870424" y="2298723"/>
                <a:ext cx="1823700" cy="4219344"/>
                <a:chOff x="478538" y="1479325"/>
                <a:chExt cx="1823700" cy="4219344"/>
              </a:xfrm>
            </p:grpSpPr>
            <p:sp>
              <p:nvSpPr>
                <p:cNvPr id="44" name="Google Shape;727;p24">
                  <a:extLst>
                    <a:ext uri="{FF2B5EF4-FFF2-40B4-BE49-F238E27FC236}">
                      <a16:creationId xmlns:a16="http://schemas.microsoft.com/office/drawing/2014/main" id="{34B7226C-A56A-FF43-6AE5-526887116856}"/>
                    </a:ext>
                  </a:extLst>
                </p:cNvPr>
                <p:cNvSpPr/>
                <p:nvPr/>
              </p:nvSpPr>
              <p:spPr>
                <a:xfrm rot="10800000">
                  <a:off x="480488" y="1797846"/>
                  <a:ext cx="1819800" cy="3900823"/>
                </a:xfrm>
                <a:prstGeom prst="roundRect">
                  <a:avLst>
                    <a:gd name="adj" fmla="val 9056"/>
                  </a:avLst>
                </a:prstGeom>
                <a:solidFill>
                  <a:schemeClr val="accent2">
                    <a:lumMod val="20000"/>
                    <a:lumOff val="80000"/>
                  </a:schemeClr>
                </a:solidFill>
                <a:ln w="9525" cap="flat" cmpd="sng">
                  <a:no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ptos" panose="020B0004020202020204" pitchFamily="34" charset="0"/>
                    <a:cs typeface="Arial"/>
                    <a:sym typeface="Arial"/>
                  </a:endParaRPr>
                </a:p>
              </p:txBody>
            </p:sp>
            <p:sp>
              <p:nvSpPr>
                <p:cNvPr id="47" name="Google Shape;726;p24">
                  <a:extLst>
                    <a:ext uri="{FF2B5EF4-FFF2-40B4-BE49-F238E27FC236}">
                      <a16:creationId xmlns:a16="http://schemas.microsoft.com/office/drawing/2014/main" id="{F2E721F7-55F0-EF58-F275-EF5FA23F8D04}"/>
                    </a:ext>
                  </a:extLst>
                </p:cNvPr>
                <p:cNvSpPr/>
                <p:nvPr/>
              </p:nvSpPr>
              <p:spPr>
                <a:xfrm>
                  <a:off x="478538" y="1797845"/>
                  <a:ext cx="1823700" cy="1155691"/>
                </a:xfrm>
                <a:prstGeom prst="round2SameRect">
                  <a:avLst>
                    <a:gd name="adj1" fmla="val 14435"/>
                    <a:gd name="adj2" fmla="val 0"/>
                  </a:avLst>
                </a:prstGeom>
                <a:solidFill>
                  <a:schemeClr val="accent2">
                    <a:lumMod val="60000"/>
                    <a:lumOff val="4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ptos" panose="020B0004020202020204" pitchFamily="34" charset="0"/>
                    <a:cs typeface="Arial"/>
                    <a:sym typeface="Arial"/>
                  </a:endParaRPr>
                </a:p>
              </p:txBody>
            </p:sp>
            <p:sp>
              <p:nvSpPr>
                <p:cNvPr id="45" name="Google Shape;728;p24">
                  <a:extLst>
                    <a:ext uri="{FF2B5EF4-FFF2-40B4-BE49-F238E27FC236}">
                      <a16:creationId xmlns:a16="http://schemas.microsoft.com/office/drawing/2014/main" id="{896F00FE-933D-8429-C792-844D9451D887}"/>
                    </a:ext>
                  </a:extLst>
                </p:cNvPr>
                <p:cNvSpPr/>
                <p:nvPr/>
              </p:nvSpPr>
              <p:spPr>
                <a:xfrm>
                  <a:off x="1094588" y="1479325"/>
                  <a:ext cx="591600" cy="591600"/>
                </a:xfrm>
                <a:prstGeom prst="ellipse">
                  <a:avLst/>
                </a:prstGeom>
                <a:solidFill>
                  <a:schemeClr val="bg1"/>
                </a:solidFill>
                <a:ln w="9525" cap="flat" cmpd="sng">
                  <a:no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2200" b="1" i="0" u="none" strike="noStrike" kern="0" cap="none" spc="0" normalizeH="0" baseline="0" noProof="0">
                    <a:ln>
                      <a:noFill/>
                    </a:ln>
                    <a:solidFill>
                      <a:srgbClr val="04738C"/>
                    </a:solidFill>
                    <a:effectLst/>
                    <a:uLnTx/>
                    <a:uFillTx/>
                    <a:latin typeface="Aptos" panose="020B0004020202020204" pitchFamily="34" charset="0"/>
                    <a:ea typeface="Fira Sans"/>
                    <a:cs typeface="Fira Sans"/>
                    <a:sym typeface="Fira Sans"/>
                  </a:endParaRPr>
                </a:p>
              </p:txBody>
            </p:sp>
          </p:grpSp>
          <p:sp>
            <p:nvSpPr>
              <p:cNvPr id="41" name="Google Shape;730;p24">
                <a:extLst>
                  <a:ext uri="{FF2B5EF4-FFF2-40B4-BE49-F238E27FC236}">
                    <a16:creationId xmlns:a16="http://schemas.microsoft.com/office/drawing/2014/main" id="{4B1342AF-C226-3803-0ECB-7D6DEF0E987B}"/>
                  </a:ext>
                </a:extLst>
              </p:cNvPr>
              <p:cNvSpPr txBox="1"/>
              <p:nvPr/>
            </p:nvSpPr>
            <p:spPr>
              <a:xfrm>
                <a:off x="870423" y="3841908"/>
                <a:ext cx="1819801" cy="2584685"/>
              </a:xfrm>
              <a:prstGeom prst="rect">
                <a:avLst/>
              </a:prstGeom>
              <a:noFill/>
              <a:ln>
                <a:noFill/>
              </a:ln>
            </p:spPr>
            <p:txBody>
              <a:bodyPr spcFirstLastPara="1" wrap="square" lIns="91425" tIns="91425" rIns="91425" bIns="91425" anchor="t" anchorCtr="0">
                <a:noAutofit/>
              </a:bodyPr>
              <a:lstStyle/>
              <a:p>
                <a:pPr marL="171450" marR="0" lvl="0" indent="-171450" algn="l" defTabSz="609585"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100" b="1" i="0" u="none" strike="noStrike" kern="0" cap="none" spc="0" normalizeH="0" baseline="0" noProof="0">
                    <a:ln>
                      <a:noFill/>
                    </a:ln>
                    <a:solidFill>
                      <a:schemeClr val="bg1"/>
                    </a:solidFill>
                    <a:effectLst/>
                    <a:uLnTx/>
                    <a:uFillTx/>
                    <a:latin typeface="Aptos" panose="020B0004020202020204" pitchFamily="34" charset="0"/>
                    <a:ea typeface="Fira Sans"/>
                    <a:cs typeface="Fira Sans"/>
                    <a:sym typeface="Fira Sans"/>
                  </a:rPr>
                  <a:t>SAP Cloud ALM, Solution Manager: </a:t>
                </a:r>
                <a:r>
                  <a:rPr kumimoji="0" lang="en-US" sz="1100" b="0" i="0" u="none" strike="noStrike" kern="0" cap="none" spc="0" normalizeH="0" baseline="0" noProof="0">
                    <a:ln>
                      <a:noFill/>
                    </a:ln>
                    <a:solidFill>
                      <a:schemeClr val="bg1"/>
                    </a:solidFill>
                    <a:effectLst/>
                    <a:uLnTx/>
                    <a:uFillTx/>
                    <a:latin typeface="Aptos" panose="020B0004020202020204" pitchFamily="34" charset="0"/>
                    <a:ea typeface="Fira Sans"/>
                    <a:cs typeface="Fira Sans"/>
                    <a:sym typeface="Fira Sans"/>
                  </a:rPr>
                  <a:t>Manage entire lifecycle of applications</a:t>
                </a:r>
              </a:p>
              <a:p>
                <a:pPr marL="171450" marR="0" lvl="0" indent="-171450" algn="l" defTabSz="609585"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100" b="1" kern="0">
                    <a:solidFill>
                      <a:schemeClr val="bg1"/>
                    </a:solidFill>
                    <a:latin typeface="Aptos" panose="020B0004020202020204" pitchFamily="34" charset="0"/>
                    <a:ea typeface="Fira Sans"/>
                    <a:cs typeface="Fira Sans"/>
                    <a:sym typeface="Fira Sans"/>
                  </a:rPr>
                  <a:t>SAP GRC: </a:t>
                </a:r>
                <a:r>
                  <a:rPr lang="en-US" sz="1100">
                    <a:solidFill>
                      <a:schemeClr val="bg1"/>
                    </a:solidFill>
                    <a:latin typeface="Aptos" panose="020B0004020202020204" pitchFamily="34" charset="0"/>
                  </a:rPr>
                  <a:t>manage risk, audit, and compliance </a:t>
                </a:r>
              </a:p>
              <a:p>
                <a:pPr marL="171450" marR="0" lvl="0" indent="-171450" algn="l" defTabSz="609585"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100" b="1">
                    <a:solidFill>
                      <a:schemeClr val="bg1"/>
                    </a:solidFill>
                    <a:latin typeface="Aptos" panose="020B0004020202020204" pitchFamily="34" charset="0"/>
                  </a:rPr>
                  <a:t>SAP Basis &amp; HANA Administration: </a:t>
                </a:r>
                <a:r>
                  <a:rPr lang="en-US" sz="1100">
                    <a:solidFill>
                      <a:schemeClr val="bg1"/>
                    </a:solidFill>
                    <a:latin typeface="Aptos" panose="020B0004020202020204" pitchFamily="34" charset="0"/>
                  </a:rPr>
                  <a:t>administration of SAP landscapes</a:t>
                </a:r>
                <a:endParaRPr lang="en-US" sz="1100" kern="0">
                  <a:solidFill>
                    <a:schemeClr val="bg1"/>
                  </a:solidFill>
                  <a:latin typeface="Aptos" panose="020B0004020202020204" pitchFamily="34" charset="0"/>
                  <a:sym typeface="Fira Sans"/>
                </a:endParaRPr>
              </a:p>
              <a:p>
                <a:pPr marL="171450" marR="0" lvl="0" indent="-171450" algn="l" defTabSz="609585"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100" b="1" i="0" u="none" strike="noStrike" kern="0" cap="none" spc="0" normalizeH="0" baseline="0" noProof="0">
                    <a:ln>
                      <a:noFill/>
                    </a:ln>
                    <a:solidFill>
                      <a:schemeClr val="bg1"/>
                    </a:solidFill>
                    <a:effectLst/>
                    <a:uLnTx/>
                    <a:uFillTx/>
                    <a:latin typeface="Aptos" panose="020B0004020202020204" pitchFamily="34" charset="0"/>
                    <a:ea typeface="Fira Sans"/>
                    <a:cs typeface="Fira Sans"/>
                    <a:sym typeface="Fira Sans"/>
                  </a:rPr>
                  <a:t>SAP Security</a:t>
                </a:r>
                <a:r>
                  <a:rPr kumimoji="0" lang="en-US" sz="1100" b="0" i="0" u="none" strike="noStrike" kern="0" cap="none" spc="0" normalizeH="0" baseline="0" noProof="0">
                    <a:ln>
                      <a:noFill/>
                    </a:ln>
                    <a:solidFill>
                      <a:schemeClr val="bg1"/>
                    </a:solidFill>
                    <a:effectLst/>
                    <a:uLnTx/>
                    <a:uFillTx/>
                    <a:latin typeface="Aptos" panose="020B0004020202020204" pitchFamily="34" charset="0"/>
                    <a:ea typeface="Fira Sans"/>
                    <a:cs typeface="Fira Sans"/>
                    <a:sym typeface="Fira Sans"/>
                  </a:rPr>
                  <a:t>: Integrate </a:t>
                </a:r>
                <a:r>
                  <a:rPr lang="en-US" sz="1100">
                    <a:solidFill>
                      <a:schemeClr val="bg1"/>
                    </a:solidFill>
                    <a:latin typeface="Aptos" panose="020B0004020202020204" pitchFamily="34" charset="0"/>
                  </a:rPr>
                  <a:t>security measures and </a:t>
                </a:r>
                <a:r>
                  <a:rPr lang="en-US" sz="1100" b="1">
                    <a:solidFill>
                      <a:schemeClr val="bg1"/>
                    </a:solidFill>
                    <a:latin typeface="Aptos" panose="020B0004020202020204" pitchFamily="34" charset="0"/>
                  </a:rPr>
                  <a:t>GRC</a:t>
                </a:r>
                <a:r>
                  <a:rPr lang="en-US" sz="1100">
                    <a:solidFill>
                      <a:schemeClr val="bg1"/>
                    </a:solidFill>
                    <a:latin typeface="Aptos" panose="020B0004020202020204" pitchFamily="34" charset="0"/>
                  </a:rPr>
                  <a:t> integration</a:t>
                </a:r>
                <a:r>
                  <a:rPr kumimoji="0" lang="en-US" sz="1100" b="0" i="0" u="none" strike="noStrike" kern="0" cap="none" spc="0" normalizeH="0" baseline="0" noProof="0">
                    <a:ln>
                      <a:noFill/>
                    </a:ln>
                    <a:solidFill>
                      <a:schemeClr val="bg1"/>
                    </a:solidFill>
                    <a:effectLst/>
                    <a:uLnTx/>
                    <a:uFillTx/>
                    <a:latin typeface="Aptos" panose="020B0004020202020204" pitchFamily="34" charset="0"/>
                    <a:ea typeface="Fira Sans"/>
                    <a:cs typeface="Fira Sans"/>
                    <a:sym typeface="Fira Sans"/>
                  </a:rPr>
                  <a:t> </a:t>
                </a:r>
              </a:p>
            </p:txBody>
          </p:sp>
          <p:sp>
            <p:nvSpPr>
              <p:cNvPr id="42" name="Google Shape;731;p24">
                <a:extLst>
                  <a:ext uri="{FF2B5EF4-FFF2-40B4-BE49-F238E27FC236}">
                    <a16:creationId xmlns:a16="http://schemas.microsoft.com/office/drawing/2014/main" id="{30039BA6-F988-98AF-257F-B9A76BA8A158}"/>
                  </a:ext>
                </a:extLst>
              </p:cNvPr>
              <p:cNvSpPr txBox="1"/>
              <p:nvPr/>
            </p:nvSpPr>
            <p:spPr>
              <a:xfrm>
                <a:off x="1024024" y="3080317"/>
                <a:ext cx="1516500" cy="429600"/>
              </a:xfrm>
              <a:prstGeom prst="rect">
                <a:avLst/>
              </a:prstGeom>
              <a:noFill/>
              <a:ln>
                <a:noFill/>
              </a:ln>
            </p:spPr>
            <p:txBody>
              <a:bodyPr spcFirstLastPara="1" wrap="square" lIns="91425" tIns="91425" rIns="91425" bIns="91425" anchor="ctr" anchorCtr="0">
                <a:noAutofit/>
              </a:bodyPr>
              <a:lstStyle/>
              <a:p>
                <a:pPr marL="0" marR="0" lvl="0" indent="0" algn="ctr" defTabSz="609585" rtl="0" eaLnBrk="1" fontAlgn="auto" latinLnBrk="0" hangingPunct="1">
                  <a:lnSpc>
                    <a:spcPct val="100000"/>
                  </a:lnSpc>
                  <a:spcBef>
                    <a:spcPts val="0"/>
                  </a:spcBef>
                  <a:spcAft>
                    <a:spcPts val="0"/>
                  </a:spcAft>
                  <a:buClr>
                    <a:srgbClr val="000000"/>
                  </a:buClr>
                  <a:buSzTx/>
                  <a:buFont typeface="Arial"/>
                  <a:buNone/>
                  <a:tabLst/>
                  <a:defRPr/>
                </a:pPr>
                <a:r>
                  <a:rPr kumimoji="0" lang="en" sz="1400" b="0" i="0" u="none" strike="noStrike" kern="0" cap="none" spc="0" normalizeH="0" baseline="0" noProof="0">
                    <a:ln>
                      <a:noFill/>
                    </a:ln>
                    <a:solidFill>
                      <a:schemeClr val="bg1"/>
                    </a:solidFill>
                    <a:effectLst/>
                    <a:uLnTx/>
                    <a:uFillTx/>
                    <a:latin typeface="Aptos" panose="020B0004020202020204" pitchFamily="34" charset="0"/>
                    <a:ea typeface="Fira Sans Extra Condensed Medium"/>
                    <a:cs typeface="Fira Sans Extra Condensed Medium"/>
                    <a:sym typeface="Fira Sans Extra Condensed Medium"/>
                  </a:rPr>
                  <a:t>SAP Technologies</a:t>
                </a:r>
                <a:endParaRPr kumimoji="0" sz="1400" b="0" i="0" u="none" strike="noStrike" kern="0" cap="none" spc="0" normalizeH="0" baseline="0" noProof="0">
                  <a:ln>
                    <a:noFill/>
                  </a:ln>
                  <a:solidFill>
                    <a:schemeClr val="bg1"/>
                  </a:solidFill>
                  <a:effectLst/>
                  <a:uLnTx/>
                  <a:uFillTx/>
                  <a:latin typeface="Aptos" panose="020B0004020202020204" pitchFamily="34" charset="0"/>
                  <a:ea typeface="Fira Sans Extra Condensed Medium"/>
                  <a:cs typeface="Fira Sans Extra Condensed Medium"/>
                  <a:sym typeface="Fira Sans Extra Condensed Medium"/>
                </a:endParaRPr>
              </a:p>
            </p:txBody>
          </p:sp>
        </p:grpSp>
        <p:pic>
          <p:nvPicPr>
            <p:cNvPr id="200" name="Graphic 199" descr="Blockchain outline">
              <a:extLst>
                <a:ext uri="{FF2B5EF4-FFF2-40B4-BE49-F238E27FC236}">
                  <a16:creationId xmlns:a16="http://schemas.microsoft.com/office/drawing/2014/main" id="{1970F0BE-9901-8184-F354-F57ECFA02FB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920271" y="1792862"/>
              <a:ext cx="355554" cy="355554"/>
            </a:xfrm>
            <a:prstGeom prst="rect">
              <a:avLst/>
            </a:prstGeom>
          </p:spPr>
        </p:pic>
      </p:grpSp>
      <p:grpSp>
        <p:nvGrpSpPr>
          <p:cNvPr id="206" name="Group 205">
            <a:extLst>
              <a:ext uri="{FF2B5EF4-FFF2-40B4-BE49-F238E27FC236}">
                <a16:creationId xmlns:a16="http://schemas.microsoft.com/office/drawing/2014/main" id="{EEF9E127-1789-0391-996D-B14C44F1E9DB}"/>
              </a:ext>
            </a:extLst>
          </p:cNvPr>
          <p:cNvGrpSpPr/>
          <p:nvPr/>
        </p:nvGrpSpPr>
        <p:grpSpPr>
          <a:xfrm>
            <a:off x="6902629" y="1164607"/>
            <a:ext cx="1212210" cy="709129"/>
            <a:chOff x="7772654" y="122776"/>
            <a:chExt cx="1212210" cy="709129"/>
          </a:xfrm>
        </p:grpSpPr>
        <p:grpSp>
          <p:nvGrpSpPr>
            <p:cNvPr id="182" name="Group 181">
              <a:extLst>
                <a:ext uri="{FF2B5EF4-FFF2-40B4-BE49-F238E27FC236}">
                  <a16:creationId xmlns:a16="http://schemas.microsoft.com/office/drawing/2014/main" id="{D8530F6A-461F-9073-2A1E-15C10A72E2B9}"/>
                </a:ext>
              </a:extLst>
            </p:cNvPr>
            <p:cNvGrpSpPr/>
            <p:nvPr/>
          </p:nvGrpSpPr>
          <p:grpSpPr>
            <a:xfrm>
              <a:off x="7924778" y="122776"/>
              <a:ext cx="1060086" cy="709129"/>
              <a:chOff x="620946" y="1888545"/>
              <a:chExt cx="926561" cy="599261"/>
            </a:xfrm>
          </p:grpSpPr>
          <p:sp>
            <p:nvSpPr>
              <p:cNvPr id="183" name="Rectangle 182">
                <a:extLst>
                  <a:ext uri="{FF2B5EF4-FFF2-40B4-BE49-F238E27FC236}">
                    <a16:creationId xmlns:a16="http://schemas.microsoft.com/office/drawing/2014/main" id="{3B8C086C-F080-8274-C926-1B7F6E317609}"/>
                  </a:ext>
                </a:extLst>
              </p:cNvPr>
              <p:cNvSpPr/>
              <p:nvPr/>
            </p:nvSpPr>
            <p:spPr>
              <a:xfrm>
                <a:off x="775704" y="1888545"/>
                <a:ext cx="771803" cy="453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IN" sz="3200" b="0" i="0" u="none" strike="noStrike" kern="1200" cap="none" spc="0" normalizeH="0" baseline="0" noProof="0">
                    <a:ln>
                      <a:noFill/>
                    </a:ln>
                    <a:solidFill>
                      <a:srgbClr val="002060"/>
                    </a:solidFill>
                    <a:effectLst/>
                    <a:uLnTx/>
                    <a:uFillTx/>
                    <a:latin typeface="Aptos" panose="020B0004020202020204" pitchFamily="34" charset="0"/>
                    <a:ea typeface="Helvetica Neue Thin" panose="020B0403020202020204" pitchFamily="34" charset="0"/>
                    <a:cs typeface="Helvetica Neue" panose="02000503000000020004" pitchFamily="2" charset="0"/>
                  </a:rPr>
                  <a:t>10+</a:t>
                </a:r>
              </a:p>
            </p:txBody>
          </p:sp>
          <p:sp>
            <p:nvSpPr>
              <p:cNvPr id="184" name="Rectangle 183">
                <a:extLst>
                  <a:ext uri="{FF2B5EF4-FFF2-40B4-BE49-F238E27FC236}">
                    <a16:creationId xmlns:a16="http://schemas.microsoft.com/office/drawing/2014/main" id="{E9743254-1AD2-42D6-98B6-61FB8ACEFE25}"/>
                  </a:ext>
                </a:extLst>
              </p:cNvPr>
              <p:cNvSpPr/>
              <p:nvPr/>
            </p:nvSpPr>
            <p:spPr>
              <a:xfrm>
                <a:off x="620946" y="2303767"/>
                <a:ext cx="771803" cy="1840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a:ln>
                      <a:noFill/>
                    </a:ln>
                    <a:solidFill>
                      <a:srgbClr val="201646"/>
                    </a:solidFill>
                    <a:effectLst/>
                    <a:uLnTx/>
                    <a:uFillTx/>
                    <a:latin typeface="Aptos" panose="020B0004020202020204" pitchFamily="34" charset="0"/>
                    <a:ea typeface="Helvetica Neue Light" panose="02000403000000020004" pitchFamily="2" charset="0"/>
                    <a:cs typeface="Helvetica Neue" panose="02000503000000020004" pitchFamily="2" charset="0"/>
                  </a:rPr>
                  <a:t>Key Clients</a:t>
                </a:r>
              </a:p>
            </p:txBody>
          </p:sp>
        </p:grpSp>
        <p:pic>
          <p:nvPicPr>
            <p:cNvPr id="203" name="Graphic 202" descr="User with solid fill">
              <a:extLst>
                <a:ext uri="{FF2B5EF4-FFF2-40B4-BE49-F238E27FC236}">
                  <a16:creationId xmlns:a16="http://schemas.microsoft.com/office/drawing/2014/main" id="{99B96F01-A018-8FA0-70AB-0E7016439C8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772654" y="208544"/>
              <a:ext cx="329184" cy="329184"/>
            </a:xfrm>
            <a:prstGeom prst="rect">
              <a:avLst/>
            </a:prstGeom>
          </p:spPr>
        </p:pic>
      </p:grpSp>
      <p:grpSp>
        <p:nvGrpSpPr>
          <p:cNvPr id="207" name="Group 206">
            <a:extLst>
              <a:ext uri="{FF2B5EF4-FFF2-40B4-BE49-F238E27FC236}">
                <a16:creationId xmlns:a16="http://schemas.microsoft.com/office/drawing/2014/main" id="{E3E07C9C-29D1-1A06-BC5B-24DB989D708E}"/>
              </a:ext>
            </a:extLst>
          </p:cNvPr>
          <p:cNvGrpSpPr/>
          <p:nvPr/>
        </p:nvGrpSpPr>
        <p:grpSpPr>
          <a:xfrm>
            <a:off x="8100406" y="2081677"/>
            <a:ext cx="1823701" cy="4219344"/>
            <a:chOff x="8067512" y="1695078"/>
            <a:chExt cx="1823701" cy="4219344"/>
          </a:xfrm>
        </p:grpSpPr>
        <p:grpSp>
          <p:nvGrpSpPr>
            <p:cNvPr id="108" name="Group 107">
              <a:extLst>
                <a:ext uri="{FF2B5EF4-FFF2-40B4-BE49-F238E27FC236}">
                  <a16:creationId xmlns:a16="http://schemas.microsoft.com/office/drawing/2014/main" id="{EBC0764A-ACBE-0447-E8CD-732198A5D2FD}"/>
                </a:ext>
              </a:extLst>
            </p:cNvPr>
            <p:cNvGrpSpPr/>
            <p:nvPr/>
          </p:nvGrpSpPr>
          <p:grpSpPr>
            <a:xfrm>
              <a:off x="8067512" y="1695078"/>
              <a:ext cx="1823701" cy="4219344"/>
              <a:chOff x="870423" y="2298723"/>
              <a:chExt cx="1823701" cy="4219344"/>
            </a:xfrm>
          </p:grpSpPr>
          <p:grpSp>
            <p:nvGrpSpPr>
              <p:cNvPr id="110" name="Google Shape;723;p24">
                <a:extLst>
                  <a:ext uri="{FF2B5EF4-FFF2-40B4-BE49-F238E27FC236}">
                    <a16:creationId xmlns:a16="http://schemas.microsoft.com/office/drawing/2014/main" id="{D39A3E89-C7D6-B8F3-A5B1-D3701DED6A58}"/>
                  </a:ext>
                </a:extLst>
              </p:cNvPr>
              <p:cNvGrpSpPr/>
              <p:nvPr/>
            </p:nvGrpSpPr>
            <p:grpSpPr>
              <a:xfrm>
                <a:off x="870424" y="2298723"/>
                <a:ext cx="1823700" cy="4219344"/>
                <a:chOff x="478538" y="1479325"/>
                <a:chExt cx="1823700" cy="4219344"/>
              </a:xfrm>
            </p:grpSpPr>
            <p:sp>
              <p:nvSpPr>
                <p:cNvPr id="114" name="Google Shape;727;p24">
                  <a:extLst>
                    <a:ext uri="{FF2B5EF4-FFF2-40B4-BE49-F238E27FC236}">
                      <a16:creationId xmlns:a16="http://schemas.microsoft.com/office/drawing/2014/main" id="{9405043D-5387-20CB-8435-96B21CE47A48}"/>
                    </a:ext>
                  </a:extLst>
                </p:cNvPr>
                <p:cNvSpPr/>
                <p:nvPr/>
              </p:nvSpPr>
              <p:spPr>
                <a:xfrm rot="10800000">
                  <a:off x="480488" y="1797846"/>
                  <a:ext cx="1819800" cy="3900823"/>
                </a:xfrm>
                <a:prstGeom prst="roundRect">
                  <a:avLst>
                    <a:gd name="adj" fmla="val 9056"/>
                  </a:avLst>
                </a:prstGeom>
                <a:solidFill>
                  <a:schemeClr val="accent2">
                    <a:lumMod val="20000"/>
                    <a:lumOff val="80000"/>
                  </a:schemeClr>
                </a:solidFill>
                <a:ln w="9525" cap="flat" cmpd="sng">
                  <a:no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ptos" panose="020B0004020202020204" pitchFamily="34" charset="0"/>
                    <a:cs typeface="Arial"/>
                    <a:sym typeface="Arial"/>
                  </a:endParaRPr>
                </a:p>
              </p:txBody>
            </p:sp>
            <p:sp>
              <p:nvSpPr>
                <p:cNvPr id="117" name="Google Shape;726;p24">
                  <a:extLst>
                    <a:ext uri="{FF2B5EF4-FFF2-40B4-BE49-F238E27FC236}">
                      <a16:creationId xmlns:a16="http://schemas.microsoft.com/office/drawing/2014/main" id="{729CF69A-2D59-2DB8-EA31-0FAFEEDD4D1E}"/>
                    </a:ext>
                  </a:extLst>
                </p:cNvPr>
                <p:cNvSpPr/>
                <p:nvPr/>
              </p:nvSpPr>
              <p:spPr>
                <a:xfrm>
                  <a:off x="478538" y="1797846"/>
                  <a:ext cx="1823700" cy="1151860"/>
                </a:xfrm>
                <a:prstGeom prst="round2SameRect">
                  <a:avLst>
                    <a:gd name="adj1" fmla="val 15504"/>
                    <a:gd name="adj2" fmla="val 0"/>
                  </a:avLst>
                </a:prstGeom>
                <a:solidFill>
                  <a:schemeClr val="accent2">
                    <a:lumMod val="60000"/>
                    <a:lumOff val="4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ptos" panose="020B0004020202020204" pitchFamily="34" charset="0"/>
                    <a:cs typeface="Arial"/>
                    <a:sym typeface="Arial"/>
                  </a:endParaRPr>
                </a:p>
              </p:txBody>
            </p:sp>
            <p:sp>
              <p:nvSpPr>
                <p:cNvPr id="115" name="Google Shape;728;p24">
                  <a:extLst>
                    <a:ext uri="{FF2B5EF4-FFF2-40B4-BE49-F238E27FC236}">
                      <a16:creationId xmlns:a16="http://schemas.microsoft.com/office/drawing/2014/main" id="{714848AC-56A4-170B-BEB5-3BAF68E6FEB5}"/>
                    </a:ext>
                  </a:extLst>
                </p:cNvPr>
                <p:cNvSpPr/>
                <p:nvPr/>
              </p:nvSpPr>
              <p:spPr>
                <a:xfrm>
                  <a:off x="1094588" y="1479325"/>
                  <a:ext cx="591600" cy="591600"/>
                </a:xfrm>
                <a:prstGeom prst="ellipse">
                  <a:avLst/>
                </a:prstGeom>
                <a:solidFill>
                  <a:schemeClr val="bg1"/>
                </a:solidFill>
                <a:ln w="9525" cap="flat" cmpd="sng">
                  <a:no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2200" b="1" i="0" u="none" strike="noStrike" kern="0" cap="none" spc="0" normalizeH="0" baseline="0" noProof="0">
                    <a:ln>
                      <a:noFill/>
                    </a:ln>
                    <a:solidFill>
                      <a:srgbClr val="04738C"/>
                    </a:solidFill>
                    <a:effectLst/>
                    <a:uLnTx/>
                    <a:uFillTx/>
                    <a:latin typeface="Aptos" panose="020B0004020202020204" pitchFamily="34" charset="0"/>
                    <a:ea typeface="Fira Sans"/>
                    <a:cs typeface="Fira Sans"/>
                    <a:sym typeface="Fira Sans"/>
                  </a:endParaRPr>
                </a:p>
              </p:txBody>
            </p:sp>
          </p:grpSp>
          <p:sp>
            <p:nvSpPr>
              <p:cNvPr id="111" name="Google Shape;730;p24">
                <a:extLst>
                  <a:ext uri="{FF2B5EF4-FFF2-40B4-BE49-F238E27FC236}">
                    <a16:creationId xmlns:a16="http://schemas.microsoft.com/office/drawing/2014/main" id="{EAE8956C-485A-0947-2FFC-33494BF1CAB5}"/>
                  </a:ext>
                </a:extLst>
              </p:cNvPr>
              <p:cNvSpPr txBox="1"/>
              <p:nvPr/>
            </p:nvSpPr>
            <p:spPr>
              <a:xfrm>
                <a:off x="870423" y="3841908"/>
                <a:ext cx="1819801" cy="2298987"/>
              </a:xfrm>
              <a:prstGeom prst="rect">
                <a:avLst/>
              </a:prstGeom>
              <a:noFill/>
              <a:ln>
                <a:noFill/>
              </a:ln>
            </p:spPr>
            <p:txBody>
              <a:bodyPr spcFirstLastPara="1" wrap="square" lIns="91425" tIns="91425" rIns="91425" bIns="91425" anchor="t" anchorCtr="0">
                <a:noAutofit/>
              </a:bodyPr>
              <a:lstStyle/>
              <a:p>
                <a:pPr marL="171450" marR="0" lvl="0" indent="-171450" algn="l" defTabSz="609585"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100" b="1">
                    <a:solidFill>
                      <a:schemeClr val="bg1"/>
                    </a:solidFill>
                    <a:latin typeface="Aptos" panose="020B0004020202020204" pitchFamily="34" charset="0"/>
                  </a:rPr>
                  <a:t>SAP Commerce Cloud: </a:t>
                </a:r>
                <a:r>
                  <a:rPr lang="en-US" sz="1100">
                    <a:solidFill>
                      <a:schemeClr val="bg1"/>
                    </a:solidFill>
                    <a:latin typeface="Aptos" panose="020B0004020202020204" pitchFamily="34" charset="0"/>
                  </a:rPr>
                  <a:t>Deliver personalized shopping experiences across digital channels.</a:t>
                </a:r>
              </a:p>
              <a:p>
                <a:pPr marL="171450" marR="0" lvl="0" indent="-171450" algn="l" defTabSz="609585"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100" b="1" i="0" u="none" strike="noStrike" kern="0" cap="none" spc="0" normalizeH="0" baseline="0" noProof="0">
                    <a:ln>
                      <a:noFill/>
                    </a:ln>
                    <a:solidFill>
                      <a:schemeClr val="bg1"/>
                    </a:solidFill>
                    <a:effectLst/>
                    <a:uLnTx/>
                    <a:uFillTx/>
                    <a:latin typeface="Aptos" panose="020B0004020202020204" pitchFamily="34" charset="0"/>
                    <a:ea typeface="Fira Sans"/>
                    <a:cs typeface="Fira Sans"/>
                    <a:sym typeface="Fira Sans"/>
                  </a:rPr>
                  <a:t>SAP Fiori: </a:t>
                </a:r>
                <a:r>
                  <a:rPr kumimoji="0" lang="en-US" sz="1100" b="0" i="0" u="none" strike="noStrike" kern="0" cap="none" spc="0" normalizeH="0" baseline="0" noProof="0">
                    <a:ln>
                      <a:noFill/>
                    </a:ln>
                    <a:solidFill>
                      <a:schemeClr val="bg1"/>
                    </a:solidFill>
                    <a:effectLst/>
                    <a:uLnTx/>
                    <a:uFillTx/>
                    <a:latin typeface="Aptos" panose="020B0004020202020204" pitchFamily="34" charset="0"/>
                    <a:ea typeface="Fira Sans"/>
                    <a:cs typeface="Fira Sans"/>
                    <a:sym typeface="Fira Sans"/>
                  </a:rPr>
                  <a:t>Enhancing user experience</a:t>
                </a:r>
              </a:p>
              <a:p>
                <a:pPr marL="171450" marR="0" lvl="0" indent="-171450" algn="l" defTabSz="609585"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lang="en-US" sz="1100" kern="0">
                  <a:solidFill>
                    <a:schemeClr val="bg1"/>
                  </a:solidFill>
                  <a:latin typeface="Aptos" panose="020B0004020202020204" pitchFamily="34" charset="0"/>
                  <a:ea typeface="Fira Sans"/>
                  <a:cs typeface="Fira Sans"/>
                  <a:sym typeface="Fira Sans"/>
                </a:endParaRPr>
              </a:p>
            </p:txBody>
          </p:sp>
          <p:sp>
            <p:nvSpPr>
              <p:cNvPr id="112" name="Google Shape;731;p24">
                <a:extLst>
                  <a:ext uri="{FF2B5EF4-FFF2-40B4-BE49-F238E27FC236}">
                    <a16:creationId xmlns:a16="http://schemas.microsoft.com/office/drawing/2014/main" id="{2DAE7C81-0552-A115-A62D-B94A7BD24126}"/>
                  </a:ext>
                </a:extLst>
              </p:cNvPr>
              <p:cNvSpPr txBox="1"/>
              <p:nvPr/>
            </p:nvSpPr>
            <p:spPr>
              <a:xfrm>
                <a:off x="1024024" y="3080317"/>
                <a:ext cx="1516500" cy="429600"/>
              </a:xfrm>
              <a:prstGeom prst="rect">
                <a:avLst/>
              </a:prstGeom>
              <a:noFill/>
              <a:ln>
                <a:noFill/>
              </a:ln>
            </p:spPr>
            <p:txBody>
              <a:bodyPr spcFirstLastPara="1" wrap="square" lIns="91425" tIns="91425" rIns="91425" bIns="91425" anchor="ctr" anchorCtr="0">
                <a:noAutofit/>
              </a:bodyPr>
              <a:lstStyle/>
              <a:p>
                <a:pPr marL="0" marR="0" lvl="0" indent="0" algn="ctr" defTabSz="609585" rtl="0" eaLnBrk="1" fontAlgn="auto" latinLnBrk="0" hangingPunct="1">
                  <a:lnSpc>
                    <a:spcPct val="100000"/>
                  </a:lnSpc>
                  <a:spcBef>
                    <a:spcPts val="0"/>
                  </a:spcBef>
                  <a:spcAft>
                    <a:spcPts val="0"/>
                  </a:spcAft>
                  <a:buClr>
                    <a:srgbClr val="000000"/>
                  </a:buClr>
                  <a:buSzTx/>
                  <a:buFont typeface="Arial"/>
                  <a:buNone/>
                  <a:tabLst/>
                  <a:defRPr/>
                </a:pPr>
                <a:r>
                  <a:rPr kumimoji="0" lang="en" sz="1400" b="0" i="0" u="none" strike="noStrike" kern="0" cap="none" spc="0" normalizeH="0" baseline="0" noProof="0">
                    <a:ln>
                      <a:noFill/>
                    </a:ln>
                    <a:solidFill>
                      <a:schemeClr val="bg1"/>
                    </a:solidFill>
                    <a:effectLst/>
                    <a:uLnTx/>
                    <a:uFillTx/>
                    <a:latin typeface="Aptos" panose="020B0004020202020204" pitchFamily="34" charset="0"/>
                    <a:ea typeface="Fira Sans Extra Condensed Medium"/>
                    <a:cs typeface="Fira Sans Extra Condensed Medium"/>
                    <a:sym typeface="Fira Sans Extra Condensed Medium"/>
                  </a:rPr>
                  <a:t>CX Management</a:t>
                </a:r>
                <a:endParaRPr kumimoji="0" sz="1400" b="0" i="0" u="none" strike="noStrike" kern="0" cap="none" spc="0" normalizeH="0" baseline="0" noProof="0">
                  <a:ln>
                    <a:noFill/>
                  </a:ln>
                  <a:solidFill>
                    <a:schemeClr val="bg1"/>
                  </a:solidFill>
                  <a:effectLst/>
                  <a:uLnTx/>
                  <a:uFillTx/>
                  <a:latin typeface="Aptos" panose="020B0004020202020204" pitchFamily="34" charset="0"/>
                  <a:ea typeface="Fira Sans Extra Condensed Medium"/>
                  <a:cs typeface="Fira Sans Extra Condensed Medium"/>
                  <a:sym typeface="Fira Sans Extra Condensed Medium"/>
                </a:endParaRPr>
              </a:p>
            </p:txBody>
          </p:sp>
        </p:grpSp>
        <p:pic>
          <p:nvPicPr>
            <p:cNvPr id="205" name="Graphic 204" descr="Cycle with people outline">
              <a:extLst>
                <a:ext uri="{FF2B5EF4-FFF2-40B4-BE49-F238E27FC236}">
                  <a16:creationId xmlns:a16="http://schemas.microsoft.com/office/drawing/2014/main" id="{3EAEE6D5-8562-4F92-02DB-AFF703FCA5C5}"/>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758534" y="1737935"/>
              <a:ext cx="452660" cy="452660"/>
            </a:xfrm>
            <a:prstGeom prst="rect">
              <a:avLst/>
            </a:prstGeom>
          </p:spPr>
        </p:pic>
      </p:grpSp>
      <p:pic>
        <p:nvPicPr>
          <p:cNvPr id="211" name="Graphic 210" descr="Processor with solid fill">
            <a:extLst>
              <a:ext uri="{FF2B5EF4-FFF2-40B4-BE49-F238E27FC236}">
                <a16:creationId xmlns:a16="http://schemas.microsoft.com/office/drawing/2014/main" id="{E4E01898-DDD3-CC60-12A8-A64A6974E28F}"/>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6917869" y="2200141"/>
            <a:ext cx="348891" cy="348891"/>
          </a:xfrm>
          <a:prstGeom prst="rect">
            <a:avLst/>
          </a:prstGeom>
        </p:spPr>
      </p:pic>
      <p:sp>
        <p:nvSpPr>
          <p:cNvPr id="4" name="Title 1">
            <a:extLst>
              <a:ext uri="{FF2B5EF4-FFF2-40B4-BE49-F238E27FC236}">
                <a16:creationId xmlns:a16="http://schemas.microsoft.com/office/drawing/2014/main" id="{8B6121C8-0C90-D211-2E21-EBA7340BE663}"/>
              </a:ext>
            </a:extLst>
          </p:cNvPr>
          <p:cNvSpPr txBox="1">
            <a:spLocks/>
          </p:cNvSpPr>
          <p:nvPr/>
        </p:nvSpPr>
        <p:spPr>
          <a:xfrm>
            <a:off x="342900" y="281754"/>
            <a:ext cx="11460480" cy="91440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73152" rIns="0" bIns="0"/>
          <a:lstStyle>
            <a:lvl1pPr marL="0" marR="0" indent="0" algn="l" defTabSz="1218948" rtl="0" eaLnBrk="1" latinLnBrk="0" hangingPunct="1">
              <a:lnSpc>
                <a:spcPct val="80000"/>
              </a:lnSpc>
              <a:spcBef>
                <a:spcPts val="0"/>
              </a:spcBef>
              <a:spcAft>
                <a:spcPts val="0"/>
              </a:spcAft>
              <a:buClrTx/>
              <a:buSzTx/>
              <a:buFontTx/>
              <a:buNone/>
              <a:tabLst/>
              <a:defRPr sz="3500" b="0" i="0" u="none" strike="noStrike" cap="none" spc="0" baseline="0">
                <a:solidFill>
                  <a:schemeClr val="bg2"/>
                </a:solidFill>
                <a:uFillTx/>
                <a:latin typeface="Aptos Light" panose="020B0004020202020204" pitchFamily="34" charset="0"/>
                <a:ea typeface="+mj-ea"/>
                <a:cs typeface="+mj-cs"/>
                <a:sym typeface="IBM Plex Sans Light"/>
              </a:defRPr>
            </a:lvl1pPr>
            <a:lvl2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7"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5"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1"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88"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r>
              <a:rPr lang="en-US" kern="0">
                <a:solidFill>
                  <a:srgbClr val="002060"/>
                </a:solidFill>
                <a:latin typeface="Aptos" panose="020B0004020202020204" pitchFamily="34" charset="0"/>
              </a:rPr>
              <a:t>Brillio-SAP Capabilities Overview</a:t>
            </a:r>
            <a:endParaRPr lang="en-IN" sz="1600" kern="0">
              <a:solidFill>
                <a:srgbClr val="00B050"/>
              </a:solidFill>
              <a:latin typeface="Aptos" panose="020B0004020202020204" pitchFamily="34" charset="0"/>
            </a:endParaRPr>
          </a:p>
        </p:txBody>
      </p:sp>
      <p:grpSp>
        <p:nvGrpSpPr>
          <p:cNvPr id="6" name="Group 5">
            <a:extLst>
              <a:ext uri="{FF2B5EF4-FFF2-40B4-BE49-F238E27FC236}">
                <a16:creationId xmlns:a16="http://schemas.microsoft.com/office/drawing/2014/main" id="{4180AE7B-39D3-B252-6F37-00BE60DA650B}"/>
              </a:ext>
            </a:extLst>
          </p:cNvPr>
          <p:cNvGrpSpPr/>
          <p:nvPr/>
        </p:nvGrpSpPr>
        <p:grpSpPr>
          <a:xfrm>
            <a:off x="10093943" y="3733037"/>
            <a:ext cx="1844481" cy="2557487"/>
            <a:chOff x="870423" y="2298723"/>
            <a:chExt cx="1844481" cy="2557487"/>
          </a:xfrm>
        </p:grpSpPr>
        <p:grpSp>
          <p:nvGrpSpPr>
            <p:cNvPr id="8" name="Google Shape;723;p24">
              <a:extLst>
                <a:ext uri="{FF2B5EF4-FFF2-40B4-BE49-F238E27FC236}">
                  <a16:creationId xmlns:a16="http://schemas.microsoft.com/office/drawing/2014/main" id="{76F3E284-DC9F-D21F-AE59-1C5BBCA8C786}"/>
                </a:ext>
              </a:extLst>
            </p:cNvPr>
            <p:cNvGrpSpPr/>
            <p:nvPr/>
          </p:nvGrpSpPr>
          <p:grpSpPr>
            <a:xfrm>
              <a:off x="870423" y="2298723"/>
              <a:ext cx="1826929" cy="2557487"/>
              <a:chOff x="478537" y="1479325"/>
              <a:chExt cx="1826929" cy="2557487"/>
            </a:xfrm>
          </p:grpSpPr>
          <p:sp>
            <p:nvSpPr>
              <p:cNvPr id="11" name="Google Shape;727;p24">
                <a:extLst>
                  <a:ext uri="{FF2B5EF4-FFF2-40B4-BE49-F238E27FC236}">
                    <a16:creationId xmlns:a16="http://schemas.microsoft.com/office/drawing/2014/main" id="{A6779506-851C-8751-53CC-6126E0E41898}"/>
                  </a:ext>
                </a:extLst>
              </p:cNvPr>
              <p:cNvSpPr/>
              <p:nvPr/>
            </p:nvSpPr>
            <p:spPr>
              <a:xfrm rot="10800000">
                <a:off x="480488" y="1797846"/>
                <a:ext cx="1819800" cy="2238966"/>
              </a:xfrm>
              <a:prstGeom prst="roundRect">
                <a:avLst>
                  <a:gd name="adj" fmla="val 9056"/>
                </a:avLst>
              </a:prstGeom>
              <a:solidFill>
                <a:schemeClr val="accent2">
                  <a:lumMod val="20000"/>
                  <a:lumOff val="80000"/>
                </a:schemeClr>
              </a:solidFill>
              <a:ln w="9525" cap="flat" cmpd="sng">
                <a:no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ptos" panose="020B0004020202020204" pitchFamily="34" charset="0"/>
                  <a:cs typeface="Arial"/>
                  <a:sym typeface="Arial"/>
                </a:endParaRPr>
              </a:p>
            </p:txBody>
          </p:sp>
          <p:sp>
            <p:nvSpPr>
              <p:cNvPr id="12" name="Google Shape;726;p24">
                <a:extLst>
                  <a:ext uri="{FF2B5EF4-FFF2-40B4-BE49-F238E27FC236}">
                    <a16:creationId xmlns:a16="http://schemas.microsoft.com/office/drawing/2014/main" id="{2C4D560C-BE2C-E094-97B7-F4CF17182A29}"/>
                  </a:ext>
                </a:extLst>
              </p:cNvPr>
              <p:cNvSpPr/>
              <p:nvPr/>
            </p:nvSpPr>
            <p:spPr>
              <a:xfrm>
                <a:off x="478537" y="1796397"/>
                <a:ext cx="1826929" cy="739005"/>
              </a:xfrm>
              <a:prstGeom prst="round2SameRect">
                <a:avLst>
                  <a:gd name="adj1" fmla="val 25638"/>
                  <a:gd name="adj2" fmla="val 0"/>
                </a:avLst>
              </a:prstGeom>
              <a:solidFill>
                <a:schemeClr val="accent2">
                  <a:lumMod val="60000"/>
                  <a:lumOff val="4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ptos" panose="020B0004020202020204" pitchFamily="34" charset="0"/>
                  <a:cs typeface="Arial"/>
                  <a:sym typeface="Arial"/>
                </a:endParaRPr>
              </a:p>
            </p:txBody>
          </p:sp>
          <p:sp>
            <p:nvSpPr>
              <p:cNvPr id="13" name="Google Shape;728;p24">
                <a:extLst>
                  <a:ext uri="{FF2B5EF4-FFF2-40B4-BE49-F238E27FC236}">
                    <a16:creationId xmlns:a16="http://schemas.microsoft.com/office/drawing/2014/main" id="{1989C69F-014E-A029-98ED-E9FA2D0B8B5E}"/>
                  </a:ext>
                </a:extLst>
              </p:cNvPr>
              <p:cNvSpPr/>
              <p:nvPr/>
            </p:nvSpPr>
            <p:spPr>
              <a:xfrm>
                <a:off x="1094588" y="1479325"/>
                <a:ext cx="591600" cy="591600"/>
              </a:xfrm>
              <a:prstGeom prst="ellipse">
                <a:avLst/>
              </a:prstGeom>
              <a:solidFill>
                <a:schemeClr val="bg1"/>
              </a:solidFill>
              <a:ln w="9525" cap="flat" cmpd="sng">
                <a:solidFill>
                  <a:srgbClr val="201646"/>
                </a:solid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2200" b="1" i="0" u="none" strike="noStrike" kern="0" cap="none" spc="0" normalizeH="0" baseline="0" noProof="0">
                  <a:ln>
                    <a:noFill/>
                  </a:ln>
                  <a:solidFill>
                    <a:srgbClr val="04738C"/>
                  </a:solidFill>
                  <a:effectLst/>
                  <a:uLnTx/>
                  <a:uFillTx/>
                  <a:latin typeface="Aptos" panose="020B0004020202020204" pitchFamily="34" charset="0"/>
                  <a:ea typeface="Fira Sans"/>
                  <a:cs typeface="Fira Sans"/>
                  <a:sym typeface="Fira Sans"/>
                </a:endParaRPr>
              </a:p>
            </p:txBody>
          </p:sp>
        </p:grpSp>
        <p:sp>
          <p:nvSpPr>
            <p:cNvPr id="9" name="Google Shape;730;p24">
              <a:extLst>
                <a:ext uri="{FF2B5EF4-FFF2-40B4-BE49-F238E27FC236}">
                  <a16:creationId xmlns:a16="http://schemas.microsoft.com/office/drawing/2014/main" id="{91CF9B04-27E1-AEF7-3AE5-53239AE3B07B}"/>
                </a:ext>
              </a:extLst>
            </p:cNvPr>
            <p:cNvSpPr txBox="1"/>
            <p:nvPr/>
          </p:nvSpPr>
          <p:spPr>
            <a:xfrm>
              <a:off x="895103" y="3388449"/>
              <a:ext cx="1819801" cy="1411094"/>
            </a:xfrm>
            <a:prstGeom prst="rect">
              <a:avLst/>
            </a:prstGeom>
            <a:noFill/>
            <a:ln>
              <a:noFill/>
            </a:ln>
          </p:spPr>
          <p:txBody>
            <a:bodyPr spcFirstLastPara="1" wrap="square" lIns="91425" tIns="91425" rIns="91425" bIns="91425" anchor="t" anchorCtr="0">
              <a:noAutofit/>
            </a:bodyPr>
            <a:lstStyle/>
            <a:p>
              <a:pPr marL="171450" marR="0" lvl="0" indent="-171450" algn="l" defTabSz="609585"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100">
                  <a:solidFill>
                    <a:schemeClr val="bg1"/>
                  </a:solidFill>
                  <a:latin typeface="Aptos" panose="020B0004020202020204" pitchFamily="34" charset="0"/>
                </a:rPr>
                <a:t>Support and maintenance of </a:t>
              </a:r>
              <a:r>
                <a:rPr lang="en-US" sz="1100" b="1">
                  <a:solidFill>
                    <a:schemeClr val="bg1"/>
                  </a:solidFill>
                  <a:latin typeface="Aptos" panose="020B0004020202020204" pitchFamily="34" charset="0"/>
                </a:rPr>
                <a:t>SAP</a:t>
              </a:r>
              <a:r>
                <a:rPr lang="en-US" sz="1100">
                  <a:solidFill>
                    <a:schemeClr val="bg1"/>
                  </a:solidFill>
                  <a:latin typeface="Aptos" panose="020B0004020202020204" pitchFamily="34" charset="0"/>
                </a:rPr>
                <a:t> </a:t>
              </a:r>
              <a:r>
                <a:rPr lang="en-US" sz="1100" b="1">
                  <a:solidFill>
                    <a:schemeClr val="bg1"/>
                  </a:solidFill>
                  <a:latin typeface="Aptos" panose="020B0004020202020204" pitchFamily="34" charset="0"/>
                </a:rPr>
                <a:t>systems</a:t>
              </a:r>
              <a:r>
                <a:rPr lang="en-US" sz="1100">
                  <a:solidFill>
                    <a:schemeClr val="bg1"/>
                  </a:solidFill>
                  <a:latin typeface="Aptos" panose="020B0004020202020204" pitchFamily="34" charset="0"/>
                </a:rPr>
                <a:t>, including </a:t>
              </a:r>
              <a:r>
                <a:rPr lang="en-US" sz="1100" b="1">
                  <a:solidFill>
                    <a:schemeClr val="bg1"/>
                  </a:solidFill>
                  <a:latin typeface="Aptos" panose="020B0004020202020204" pitchFamily="34" charset="0"/>
                </a:rPr>
                <a:t>24/7 </a:t>
              </a:r>
              <a:r>
                <a:rPr lang="en-US" sz="1100">
                  <a:solidFill>
                    <a:schemeClr val="bg1"/>
                  </a:solidFill>
                  <a:latin typeface="Aptos" panose="020B0004020202020204" pitchFamily="34" charset="0"/>
                </a:rPr>
                <a:t>support for SAP Applications</a:t>
              </a:r>
            </a:p>
          </p:txBody>
        </p:sp>
        <p:sp>
          <p:nvSpPr>
            <p:cNvPr id="10" name="Google Shape;731;p24">
              <a:extLst>
                <a:ext uri="{FF2B5EF4-FFF2-40B4-BE49-F238E27FC236}">
                  <a16:creationId xmlns:a16="http://schemas.microsoft.com/office/drawing/2014/main" id="{683DE5B6-D67A-6171-9EF1-C7E0D5E50403}"/>
                </a:ext>
              </a:extLst>
            </p:cNvPr>
            <p:cNvSpPr txBox="1"/>
            <p:nvPr/>
          </p:nvSpPr>
          <p:spPr>
            <a:xfrm>
              <a:off x="1046754" y="2845271"/>
              <a:ext cx="1516500" cy="429600"/>
            </a:xfrm>
            <a:prstGeom prst="rect">
              <a:avLst/>
            </a:prstGeom>
            <a:noFill/>
            <a:ln>
              <a:noFill/>
            </a:ln>
          </p:spPr>
          <p:txBody>
            <a:bodyPr spcFirstLastPara="1" wrap="square" lIns="91425" tIns="91425" rIns="91425" bIns="91425" anchor="ctr" anchorCtr="0">
              <a:noAutofit/>
            </a:bodyPr>
            <a:lstStyle/>
            <a:p>
              <a:pPr marL="0" marR="0" lvl="0" indent="0" algn="ctr" defTabSz="609585" rtl="0" eaLnBrk="1" fontAlgn="auto" latinLnBrk="0" hangingPunct="1">
                <a:lnSpc>
                  <a:spcPct val="100000"/>
                </a:lnSpc>
                <a:spcBef>
                  <a:spcPts val="0"/>
                </a:spcBef>
                <a:spcAft>
                  <a:spcPts val="0"/>
                </a:spcAft>
                <a:buClr>
                  <a:srgbClr val="000000"/>
                </a:buClr>
                <a:buSzTx/>
                <a:buFont typeface="Arial"/>
                <a:buNone/>
                <a:tabLst/>
                <a:defRPr/>
              </a:pPr>
              <a:r>
                <a:rPr kumimoji="0" lang="en" sz="1400" b="0" i="0" u="none" strike="noStrike" kern="0" cap="none" spc="0" normalizeH="0" baseline="0" noProof="0">
                  <a:ln>
                    <a:noFill/>
                  </a:ln>
                  <a:solidFill>
                    <a:schemeClr val="bg1"/>
                  </a:solidFill>
                  <a:effectLst/>
                  <a:uLnTx/>
                  <a:uFillTx/>
                  <a:latin typeface="Aptos" panose="020B0004020202020204" pitchFamily="34" charset="0"/>
                  <a:ea typeface="Fira Sans Extra Condensed Medium"/>
                  <a:cs typeface="Fira Sans Extra Condensed Medium"/>
                  <a:sym typeface="Fira Sans Extra Condensed Medium"/>
                </a:rPr>
                <a:t>AMS Services</a:t>
              </a:r>
              <a:endParaRPr kumimoji="0" sz="1400" b="0" i="0" u="none" strike="noStrike" kern="0" cap="none" spc="0" normalizeH="0" baseline="0" noProof="0">
                <a:ln>
                  <a:noFill/>
                </a:ln>
                <a:solidFill>
                  <a:schemeClr val="bg1"/>
                </a:solidFill>
                <a:effectLst/>
                <a:uLnTx/>
                <a:uFillTx/>
                <a:latin typeface="Aptos" panose="020B0004020202020204" pitchFamily="34" charset="0"/>
                <a:ea typeface="Fira Sans Extra Condensed Medium"/>
                <a:cs typeface="Fira Sans Extra Condensed Medium"/>
                <a:sym typeface="Fira Sans Extra Condensed Medium"/>
              </a:endParaRPr>
            </a:p>
          </p:txBody>
        </p:sp>
      </p:grpSp>
      <p:pic>
        <p:nvPicPr>
          <p:cNvPr id="14" name="Picture 13" descr="A picture containing graphics, font, line, colorfulness&#10;&#10;Description automatically generated">
            <a:extLst>
              <a:ext uri="{FF2B5EF4-FFF2-40B4-BE49-F238E27FC236}">
                <a16:creationId xmlns:a16="http://schemas.microsoft.com/office/drawing/2014/main" id="{6B5271B4-0BE8-9997-E163-1350FFF1E97F}"/>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866959" y="3895253"/>
            <a:ext cx="277743" cy="277743"/>
          </a:xfrm>
          <a:prstGeom prst="rect">
            <a:avLst/>
          </a:prstGeom>
          <a:solidFill>
            <a:schemeClr val="bg1"/>
          </a:solidFill>
        </p:spPr>
      </p:pic>
      <p:grpSp>
        <p:nvGrpSpPr>
          <p:cNvPr id="15" name="Group 14">
            <a:extLst>
              <a:ext uri="{FF2B5EF4-FFF2-40B4-BE49-F238E27FC236}">
                <a16:creationId xmlns:a16="http://schemas.microsoft.com/office/drawing/2014/main" id="{C7BE1590-B68E-E7E6-7251-A1A8AC8AE659}"/>
              </a:ext>
            </a:extLst>
          </p:cNvPr>
          <p:cNvGrpSpPr/>
          <p:nvPr/>
        </p:nvGrpSpPr>
        <p:grpSpPr>
          <a:xfrm>
            <a:off x="335346" y="3733037"/>
            <a:ext cx="1844481" cy="2557487"/>
            <a:chOff x="870423" y="2298723"/>
            <a:chExt cx="1844481" cy="2557487"/>
          </a:xfrm>
        </p:grpSpPr>
        <p:grpSp>
          <p:nvGrpSpPr>
            <p:cNvPr id="16" name="Google Shape;723;p24">
              <a:extLst>
                <a:ext uri="{FF2B5EF4-FFF2-40B4-BE49-F238E27FC236}">
                  <a16:creationId xmlns:a16="http://schemas.microsoft.com/office/drawing/2014/main" id="{5C15C871-BB35-9F21-9420-1E31103A9862}"/>
                </a:ext>
              </a:extLst>
            </p:cNvPr>
            <p:cNvGrpSpPr/>
            <p:nvPr/>
          </p:nvGrpSpPr>
          <p:grpSpPr>
            <a:xfrm>
              <a:off x="870423" y="2298723"/>
              <a:ext cx="1826929" cy="2557487"/>
              <a:chOff x="478537" y="1479325"/>
              <a:chExt cx="1826929" cy="2557487"/>
            </a:xfrm>
          </p:grpSpPr>
          <p:sp>
            <p:nvSpPr>
              <p:cNvPr id="19" name="Google Shape;727;p24">
                <a:extLst>
                  <a:ext uri="{FF2B5EF4-FFF2-40B4-BE49-F238E27FC236}">
                    <a16:creationId xmlns:a16="http://schemas.microsoft.com/office/drawing/2014/main" id="{28D19500-7DD8-3FEC-22E2-DFA8AFFEB6FE}"/>
                  </a:ext>
                </a:extLst>
              </p:cNvPr>
              <p:cNvSpPr/>
              <p:nvPr/>
            </p:nvSpPr>
            <p:spPr>
              <a:xfrm rot="10800000">
                <a:off x="480488" y="1797846"/>
                <a:ext cx="1819800" cy="2238966"/>
              </a:xfrm>
              <a:prstGeom prst="roundRect">
                <a:avLst>
                  <a:gd name="adj" fmla="val 9056"/>
                </a:avLst>
              </a:prstGeom>
              <a:solidFill>
                <a:schemeClr val="accent2">
                  <a:lumMod val="20000"/>
                  <a:lumOff val="80000"/>
                </a:schemeClr>
              </a:solidFill>
              <a:ln w="9525" cap="flat" cmpd="sng">
                <a:no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ptos" panose="020B0004020202020204" pitchFamily="34" charset="0"/>
                  <a:cs typeface="Arial"/>
                  <a:sym typeface="Arial"/>
                </a:endParaRPr>
              </a:p>
            </p:txBody>
          </p:sp>
          <p:sp>
            <p:nvSpPr>
              <p:cNvPr id="20" name="Google Shape;726;p24">
                <a:extLst>
                  <a:ext uri="{FF2B5EF4-FFF2-40B4-BE49-F238E27FC236}">
                    <a16:creationId xmlns:a16="http://schemas.microsoft.com/office/drawing/2014/main" id="{12D9EB70-DFC5-1FCC-2D1A-624604FB1DBC}"/>
                  </a:ext>
                </a:extLst>
              </p:cNvPr>
              <p:cNvSpPr/>
              <p:nvPr/>
            </p:nvSpPr>
            <p:spPr>
              <a:xfrm>
                <a:off x="478537" y="1796397"/>
                <a:ext cx="1826929" cy="741657"/>
              </a:xfrm>
              <a:prstGeom prst="round2SameRect">
                <a:avLst>
                  <a:gd name="adj1" fmla="val 25638"/>
                  <a:gd name="adj2" fmla="val 0"/>
                </a:avLst>
              </a:prstGeom>
              <a:solidFill>
                <a:schemeClr val="accent2">
                  <a:lumMod val="60000"/>
                  <a:lumOff val="4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ptos" panose="020B0004020202020204" pitchFamily="34" charset="0"/>
                  <a:cs typeface="Arial"/>
                  <a:sym typeface="Arial"/>
                </a:endParaRPr>
              </a:p>
            </p:txBody>
          </p:sp>
          <p:sp>
            <p:nvSpPr>
              <p:cNvPr id="21" name="Google Shape;728;p24">
                <a:extLst>
                  <a:ext uri="{FF2B5EF4-FFF2-40B4-BE49-F238E27FC236}">
                    <a16:creationId xmlns:a16="http://schemas.microsoft.com/office/drawing/2014/main" id="{05E62D24-23A3-D43D-6377-BDC62431A819}"/>
                  </a:ext>
                </a:extLst>
              </p:cNvPr>
              <p:cNvSpPr/>
              <p:nvPr/>
            </p:nvSpPr>
            <p:spPr>
              <a:xfrm>
                <a:off x="1094588" y="1479325"/>
                <a:ext cx="591600" cy="591600"/>
              </a:xfrm>
              <a:prstGeom prst="ellipse">
                <a:avLst/>
              </a:prstGeom>
              <a:solidFill>
                <a:schemeClr val="bg1"/>
              </a:solidFill>
              <a:ln w="9525" cap="flat" cmpd="sng">
                <a:solidFill>
                  <a:srgbClr val="201646"/>
                </a:solid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2200" b="1" i="0" u="none" strike="noStrike" kern="0" cap="none" spc="0" normalizeH="0" baseline="0" noProof="0">
                  <a:ln>
                    <a:noFill/>
                  </a:ln>
                  <a:solidFill>
                    <a:srgbClr val="04738C"/>
                  </a:solidFill>
                  <a:effectLst/>
                  <a:uLnTx/>
                  <a:uFillTx/>
                  <a:latin typeface="Aptos" panose="020B0004020202020204" pitchFamily="34" charset="0"/>
                  <a:ea typeface="Fira Sans"/>
                  <a:cs typeface="Fira Sans"/>
                  <a:sym typeface="Fira Sans"/>
                </a:endParaRPr>
              </a:p>
            </p:txBody>
          </p:sp>
        </p:grpSp>
        <p:sp>
          <p:nvSpPr>
            <p:cNvPr id="17" name="Google Shape;730;p24">
              <a:extLst>
                <a:ext uri="{FF2B5EF4-FFF2-40B4-BE49-F238E27FC236}">
                  <a16:creationId xmlns:a16="http://schemas.microsoft.com/office/drawing/2014/main" id="{6D4DF0EB-EEF0-A453-F975-D7590A7A8DB6}"/>
                </a:ext>
              </a:extLst>
            </p:cNvPr>
            <p:cNvSpPr txBox="1"/>
            <p:nvPr/>
          </p:nvSpPr>
          <p:spPr>
            <a:xfrm>
              <a:off x="895103" y="3388449"/>
              <a:ext cx="1819801" cy="1411094"/>
            </a:xfrm>
            <a:prstGeom prst="rect">
              <a:avLst/>
            </a:prstGeom>
            <a:noFill/>
            <a:ln>
              <a:noFill/>
            </a:ln>
          </p:spPr>
          <p:txBody>
            <a:bodyPr spcFirstLastPara="1" wrap="square" lIns="91425" tIns="91425" rIns="91425" bIns="91425" anchor="t" anchorCtr="0">
              <a:noAutofit/>
            </a:bodyPr>
            <a:lstStyle/>
            <a:p>
              <a:pPr marL="171450" marR="0" lvl="0" indent="-171450" algn="l" defTabSz="609585"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100">
                  <a:solidFill>
                    <a:schemeClr val="bg1"/>
                  </a:solidFill>
                  <a:latin typeface="Aptos" panose="020B0004020202020204" pitchFamily="34" charset="0"/>
                </a:rPr>
                <a:t>Brillio leverages </a:t>
              </a:r>
              <a:r>
                <a:rPr lang="en-US" sz="1100" b="1">
                  <a:solidFill>
                    <a:schemeClr val="bg1"/>
                  </a:solidFill>
                  <a:latin typeface="Aptos" panose="020B0004020202020204" pitchFamily="34" charset="0"/>
                </a:rPr>
                <a:t>SAP Cloud ALM</a:t>
              </a:r>
              <a:r>
                <a:rPr lang="en-US" sz="1100">
                  <a:solidFill>
                    <a:schemeClr val="bg1"/>
                  </a:solidFill>
                  <a:latin typeface="Aptos" panose="020B0004020202020204" pitchFamily="34" charset="0"/>
                </a:rPr>
                <a:t> to manage the entire lifecycle of SAP applications.</a:t>
              </a:r>
              <a:endParaRPr lang="en-US" sz="1100">
                <a:solidFill>
                  <a:schemeClr val="bg1"/>
                </a:solidFill>
                <a:highlight>
                  <a:srgbClr val="FFFF00"/>
                </a:highlight>
                <a:latin typeface="Aptos" panose="020B0004020202020204" pitchFamily="34" charset="0"/>
              </a:endParaRPr>
            </a:p>
          </p:txBody>
        </p:sp>
        <p:sp>
          <p:nvSpPr>
            <p:cNvPr id="18" name="Google Shape;731;p24">
              <a:extLst>
                <a:ext uri="{FF2B5EF4-FFF2-40B4-BE49-F238E27FC236}">
                  <a16:creationId xmlns:a16="http://schemas.microsoft.com/office/drawing/2014/main" id="{34005E50-D3D8-B666-FA34-876F50E3CD6C}"/>
                </a:ext>
              </a:extLst>
            </p:cNvPr>
            <p:cNvSpPr txBox="1"/>
            <p:nvPr/>
          </p:nvSpPr>
          <p:spPr>
            <a:xfrm>
              <a:off x="1046754" y="2886836"/>
              <a:ext cx="1516500" cy="429600"/>
            </a:xfrm>
            <a:prstGeom prst="rect">
              <a:avLst/>
            </a:prstGeom>
            <a:noFill/>
            <a:ln>
              <a:noFill/>
            </a:ln>
          </p:spPr>
          <p:txBody>
            <a:bodyPr spcFirstLastPara="1" wrap="square" lIns="91425" tIns="91425" rIns="91425" bIns="91425" anchor="ctr" anchorCtr="0">
              <a:noAutofit/>
            </a:bodyPr>
            <a:lstStyle/>
            <a:p>
              <a:pPr marL="0" marR="0" lvl="0" indent="0" algn="ctr" defTabSz="609585" rtl="0" eaLnBrk="1" fontAlgn="auto" latinLnBrk="0" hangingPunct="1">
                <a:lnSpc>
                  <a:spcPct val="100000"/>
                </a:lnSpc>
                <a:spcBef>
                  <a:spcPts val="0"/>
                </a:spcBef>
                <a:spcAft>
                  <a:spcPts val="0"/>
                </a:spcAft>
                <a:buClr>
                  <a:srgbClr val="000000"/>
                </a:buClr>
                <a:buSzTx/>
                <a:buFont typeface="Arial"/>
                <a:buNone/>
                <a:tabLst/>
                <a:defRPr/>
              </a:pPr>
              <a:r>
                <a:rPr kumimoji="0" lang="en" sz="1400" b="0" i="0" u="none" strike="noStrike" kern="0" cap="none" spc="0" normalizeH="0" baseline="0" noProof="0">
                  <a:ln>
                    <a:noFill/>
                  </a:ln>
                  <a:solidFill>
                    <a:schemeClr val="bg2">
                      <a:lumMod val="95000"/>
                      <a:lumOff val="5000"/>
                    </a:schemeClr>
                  </a:solidFill>
                  <a:effectLst/>
                  <a:uLnTx/>
                  <a:uFillTx/>
                  <a:latin typeface="Aptos" panose="020B0004020202020204" pitchFamily="34" charset="0"/>
                  <a:ea typeface="Fira Sans Extra Condensed Medium"/>
                  <a:cs typeface="Fira Sans Extra Condensed Medium"/>
                  <a:sym typeface="Fira Sans Extra Condensed Medium"/>
                </a:rPr>
                <a:t>Cloud Lifecycle Management</a:t>
              </a:r>
              <a:endParaRPr kumimoji="0" sz="1400" b="0" i="0" u="none" strike="noStrike" kern="0" cap="none" spc="0" normalizeH="0" baseline="0" noProof="0">
                <a:ln>
                  <a:noFill/>
                </a:ln>
                <a:solidFill>
                  <a:schemeClr val="bg2">
                    <a:lumMod val="95000"/>
                    <a:lumOff val="5000"/>
                  </a:schemeClr>
                </a:solidFill>
                <a:effectLst/>
                <a:uLnTx/>
                <a:uFillTx/>
                <a:latin typeface="Aptos" panose="020B0004020202020204" pitchFamily="34" charset="0"/>
                <a:ea typeface="Fira Sans Extra Condensed Medium"/>
                <a:cs typeface="Fira Sans Extra Condensed Medium"/>
                <a:sym typeface="Fira Sans Extra Condensed Medium"/>
              </a:endParaRPr>
            </a:p>
          </p:txBody>
        </p:sp>
      </p:grpSp>
      <p:pic>
        <p:nvPicPr>
          <p:cNvPr id="23" name="Graphic 22" descr="Lecturer outline">
            <a:extLst>
              <a:ext uri="{FF2B5EF4-FFF2-40B4-BE49-F238E27FC236}">
                <a16:creationId xmlns:a16="http://schemas.microsoft.com/office/drawing/2014/main" id="{9A56BD84-9A9C-1931-4667-B414A831671C}"/>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057323" y="3825207"/>
            <a:ext cx="385154" cy="385154"/>
          </a:xfrm>
          <a:prstGeom prst="rect">
            <a:avLst/>
          </a:prstGeom>
        </p:spPr>
      </p:pic>
      <p:grpSp>
        <p:nvGrpSpPr>
          <p:cNvPr id="24" name="Group 23">
            <a:extLst>
              <a:ext uri="{FF2B5EF4-FFF2-40B4-BE49-F238E27FC236}">
                <a16:creationId xmlns:a16="http://schemas.microsoft.com/office/drawing/2014/main" id="{B682B4D2-D1C0-BD0E-AA98-77C425A381D8}"/>
              </a:ext>
            </a:extLst>
          </p:cNvPr>
          <p:cNvGrpSpPr/>
          <p:nvPr/>
        </p:nvGrpSpPr>
        <p:grpSpPr>
          <a:xfrm>
            <a:off x="328508" y="1064761"/>
            <a:ext cx="1844481" cy="2557487"/>
            <a:chOff x="870423" y="2298723"/>
            <a:chExt cx="1844481" cy="2557487"/>
          </a:xfrm>
        </p:grpSpPr>
        <p:grpSp>
          <p:nvGrpSpPr>
            <p:cNvPr id="25" name="Google Shape;723;p24">
              <a:extLst>
                <a:ext uri="{FF2B5EF4-FFF2-40B4-BE49-F238E27FC236}">
                  <a16:creationId xmlns:a16="http://schemas.microsoft.com/office/drawing/2014/main" id="{BB6194E3-2A43-F3CC-7334-B3D245244822}"/>
                </a:ext>
              </a:extLst>
            </p:cNvPr>
            <p:cNvGrpSpPr/>
            <p:nvPr/>
          </p:nvGrpSpPr>
          <p:grpSpPr>
            <a:xfrm>
              <a:off x="870423" y="2298723"/>
              <a:ext cx="1826929" cy="2557487"/>
              <a:chOff x="478537" y="1479325"/>
              <a:chExt cx="1826929" cy="2557487"/>
            </a:xfrm>
          </p:grpSpPr>
          <p:sp>
            <p:nvSpPr>
              <p:cNvPr id="29" name="Google Shape;727;p24">
                <a:extLst>
                  <a:ext uri="{FF2B5EF4-FFF2-40B4-BE49-F238E27FC236}">
                    <a16:creationId xmlns:a16="http://schemas.microsoft.com/office/drawing/2014/main" id="{79AC914E-D571-EA6C-7E09-C2CD59346E3D}"/>
                  </a:ext>
                </a:extLst>
              </p:cNvPr>
              <p:cNvSpPr/>
              <p:nvPr/>
            </p:nvSpPr>
            <p:spPr>
              <a:xfrm rot="10800000">
                <a:off x="480488" y="1797846"/>
                <a:ext cx="1819800" cy="2238966"/>
              </a:xfrm>
              <a:prstGeom prst="roundRect">
                <a:avLst>
                  <a:gd name="adj" fmla="val 9056"/>
                </a:avLst>
              </a:prstGeom>
              <a:solidFill>
                <a:schemeClr val="accent2">
                  <a:lumMod val="20000"/>
                  <a:lumOff val="80000"/>
                </a:schemeClr>
              </a:solidFill>
              <a:ln w="9525" cap="flat" cmpd="sng">
                <a:no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ptos" panose="020B0004020202020204" pitchFamily="34" charset="0"/>
                  <a:cs typeface="Arial"/>
                  <a:sym typeface="Arial"/>
                </a:endParaRPr>
              </a:p>
            </p:txBody>
          </p:sp>
          <p:sp>
            <p:nvSpPr>
              <p:cNvPr id="39" name="Google Shape;726;p24">
                <a:extLst>
                  <a:ext uri="{FF2B5EF4-FFF2-40B4-BE49-F238E27FC236}">
                    <a16:creationId xmlns:a16="http://schemas.microsoft.com/office/drawing/2014/main" id="{5AC74453-8063-2144-C1F0-BF47EEA4C024}"/>
                  </a:ext>
                </a:extLst>
              </p:cNvPr>
              <p:cNvSpPr/>
              <p:nvPr/>
            </p:nvSpPr>
            <p:spPr>
              <a:xfrm>
                <a:off x="478537" y="1796397"/>
                <a:ext cx="1826929" cy="741657"/>
              </a:xfrm>
              <a:prstGeom prst="round2SameRect">
                <a:avLst>
                  <a:gd name="adj1" fmla="val 25638"/>
                  <a:gd name="adj2" fmla="val 0"/>
                </a:avLst>
              </a:prstGeom>
              <a:solidFill>
                <a:schemeClr val="accent2">
                  <a:lumMod val="60000"/>
                  <a:lumOff val="40000"/>
                </a:scheme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ptos" panose="020B0004020202020204" pitchFamily="34" charset="0"/>
                  <a:cs typeface="Arial"/>
                  <a:sym typeface="Arial"/>
                </a:endParaRPr>
              </a:p>
            </p:txBody>
          </p:sp>
          <p:sp>
            <p:nvSpPr>
              <p:cNvPr id="56" name="Google Shape;728;p24">
                <a:extLst>
                  <a:ext uri="{FF2B5EF4-FFF2-40B4-BE49-F238E27FC236}">
                    <a16:creationId xmlns:a16="http://schemas.microsoft.com/office/drawing/2014/main" id="{EBBEDE21-47FE-439A-9489-6F88783C4639}"/>
                  </a:ext>
                </a:extLst>
              </p:cNvPr>
              <p:cNvSpPr/>
              <p:nvPr/>
            </p:nvSpPr>
            <p:spPr>
              <a:xfrm>
                <a:off x="1094588" y="1479325"/>
                <a:ext cx="591600" cy="591600"/>
              </a:xfrm>
              <a:prstGeom prst="ellipse">
                <a:avLst/>
              </a:prstGeom>
              <a:solidFill>
                <a:schemeClr val="bg1"/>
              </a:solidFill>
              <a:ln w="9525" cap="flat" cmpd="sng">
                <a:solidFill>
                  <a:srgbClr val="201646"/>
                </a:solid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2200" b="1" i="0" u="none" strike="noStrike" kern="0" cap="none" spc="0" normalizeH="0" baseline="0" noProof="0">
                  <a:ln>
                    <a:noFill/>
                  </a:ln>
                  <a:solidFill>
                    <a:srgbClr val="04738C"/>
                  </a:solidFill>
                  <a:effectLst/>
                  <a:uLnTx/>
                  <a:uFillTx/>
                  <a:latin typeface="Aptos" panose="020B0004020202020204" pitchFamily="34" charset="0"/>
                  <a:ea typeface="Fira Sans"/>
                  <a:cs typeface="Fira Sans"/>
                  <a:sym typeface="Fira Sans"/>
                </a:endParaRPr>
              </a:p>
            </p:txBody>
          </p:sp>
        </p:grpSp>
        <p:sp>
          <p:nvSpPr>
            <p:cNvPr id="26" name="Google Shape;730;p24">
              <a:extLst>
                <a:ext uri="{FF2B5EF4-FFF2-40B4-BE49-F238E27FC236}">
                  <a16:creationId xmlns:a16="http://schemas.microsoft.com/office/drawing/2014/main" id="{333E32FE-16FD-2ED3-4B14-A748B7FDBA2F}"/>
                </a:ext>
              </a:extLst>
            </p:cNvPr>
            <p:cNvSpPr txBox="1"/>
            <p:nvPr/>
          </p:nvSpPr>
          <p:spPr>
            <a:xfrm>
              <a:off x="895103" y="3388449"/>
              <a:ext cx="1819801" cy="1411094"/>
            </a:xfrm>
            <a:prstGeom prst="rect">
              <a:avLst/>
            </a:prstGeom>
            <a:noFill/>
            <a:ln>
              <a:noFill/>
            </a:ln>
          </p:spPr>
          <p:txBody>
            <a:bodyPr spcFirstLastPara="1" wrap="square" lIns="91425" tIns="91425" rIns="91425" bIns="91425" anchor="t" anchorCtr="0">
              <a:noAutofit/>
            </a:bodyPr>
            <a:lstStyle/>
            <a:p>
              <a:pPr marL="171450" marR="0" lvl="0" indent="-171450" algn="l" defTabSz="609585"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100">
                  <a:solidFill>
                    <a:schemeClr val="bg1"/>
                  </a:solidFill>
                  <a:latin typeface="Aptos" panose="020B0004020202020204" pitchFamily="34" charset="0"/>
                </a:rPr>
                <a:t>Migrating </a:t>
              </a:r>
              <a:r>
                <a:rPr lang="en-US" sz="1100" b="1">
                  <a:solidFill>
                    <a:schemeClr val="bg1"/>
                  </a:solidFill>
                  <a:latin typeface="Aptos" panose="020B0004020202020204" pitchFamily="34" charset="0"/>
                </a:rPr>
                <a:t>SAP systems</a:t>
              </a:r>
              <a:r>
                <a:rPr lang="en-US" sz="1100">
                  <a:solidFill>
                    <a:schemeClr val="bg1"/>
                  </a:solidFill>
                  <a:latin typeface="Aptos" panose="020B0004020202020204" pitchFamily="34" charset="0"/>
                </a:rPr>
                <a:t> to cloud environments, leveraging </a:t>
              </a:r>
              <a:r>
                <a:rPr lang="en-US" sz="1100" b="1">
                  <a:solidFill>
                    <a:schemeClr val="bg1"/>
                  </a:solidFill>
                  <a:latin typeface="Aptos" panose="020B0004020202020204" pitchFamily="34" charset="0"/>
                </a:rPr>
                <a:t>multi-cloud strategies</a:t>
              </a:r>
              <a:r>
                <a:rPr lang="en-US" sz="1100">
                  <a:solidFill>
                    <a:schemeClr val="bg1"/>
                  </a:solidFill>
                  <a:latin typeface="Aptos" panose="020B0004020202020204" pitchFamily="34" charset="0"/>
                </a:rPr>
                <a:t> and </a:t>
              </a:r>
              <a:r>
                <a:rPr lang="en-US" sz="1100" b="1">
                  <a:solidFill>
                    <a:schemeClr val="bg1"/>
                  </a:solidFill>
                  <a:latin typeface="Aptos" panose="020B0004020202020204" pitchFamily="34" charset="0"/>
                </a:rPr>
                <a:t>cloud-native services</a:t>
              </a:r>
              <a:endParaRPr lang="en-US" sz="1100">
                <a:solidFill>
                  <a:schemeClr val="bg1"/>
                </a:solidFill>
                <a:latin typeface="Aptos" panose="020B0004020202020204" pitchFamily="34" charset="0"/>
              </a:endParaRPr>
            </a:p>
          </p:txBody>
        </p:sp>
        <p:sp>
          <p:nvSpPr>
            <p:cNvPr id="27" name="Google Shape;731;p24">
              <a:extLst>
                <a:ext uri="{FF2B5EF4-FFF2-40B4-BE49-F238E27FC236}">
                  <a16:creationId xmlns:a16="http://schemas.microsoft.com/office/drawing/2014/main" id="{174FB79C-8559-4F23-3182-CA45772BB5CC}"/>
                </a:ext>
              </a:extLst>
            </p:cNvPr>
            <p:cNvSpPr txBox="1"/>
            <p:nvPr/>
          </p:nvSpPr>
          <p:spPr>
            <a:xfrm>
              <a:off x="1046754" y="2886836"/>
              <a:ext cx="1516500" cy="429600"/>
            </a:xfrm>
            <a:prstGeom prst="rect">
              <a:avLst/>
            </a:prstGeom>
            <a:noFill/>
            <a:ln>
              <a:noFill/>
            </a:ln>
          </p:spPr>
          <p:txBody>
            <a:bodyPr spcFirstLastPara="1" wrap="square" lIns="91425" tIns="91425" rIns="91425" bIns="91425" anchor="ctr" anchorCtr="0">
              <a:noAutofit/>
            </a:bodyPr>
            <a:lstStyle/>
            <a:p>
              <a:pPr marL="0" marR="0" lvl="0" indent="0" algn="ctr" defTabSz="609585" rtl="0" eaLnBrk="1" fontAlgn="auto" latinLnBrk="0" hangingPunct="1">
                <a:lnSpc>
                  <a:spcPct val="100000"/>
                </a:lnSpc>
                <a:spcBef>
                  <a:spcPts val="0"/>
                </a:spcBef>
                <a:spcAft>
                  <a:spcPts val="0"/>
                </a:spcAft>
                <a:buClr>
                  <a:srgbClr val="000000"/>
                </a:buClr>
                <a:buSzTx/>
                <a:buFont typeface="Arial"/>
                <a:buNone/>
                <a:tabLst/>
                <a:defRPr/>
              </a:pPr>
              <a:r>
                <a:rPr kumimoji="0" lang="en" sz="1400" b="0" i="0" u="none" strike="noStrike" kern="0" cap="none" spc="0" normalizeH="0" baseline="0" noProof="0">
                  <a:ln>
                    <a:noFill/>
                  </a:ln>
                  <a:solidFill>
                    <a:schemeClr val="bg2">
                      <a:lumMod val="95000"/>
                      <a:lumOff val="5000"/>
                    </a:schemeClr>
                  </a:solidFill>
                  <a:effectLst/>
                  <a:uLnTx/>
                  <a:uFillTx/>
                  <a:latin typeface="Aptos" panose="020B0004020202020204" pitchFamily="34" charset="0"/>
                  <a:ea typeface="Fira Sans Extra Condensed Medium"/>
                  <a:cs typeface="Fira Sans Extra Condensed Medium"/>
                  <a:sym typeface="Fira Sans Extra Condensed Medium"/>
                </a:rPr>
                <a:t>Cloud Transformation</a:t>
              </a:r>
              <a:endParaRPr kumimoji="0" sz="1400" b="0" i="0" u="none" strike="noStrike" kern="0" cap="none" spc="0" normalizeH="0" baseline="0" noProof="0">
                <a:ln>
                  <a:noFill/>
                </a:ln>
                <a:solidFill>
                  <a:schemeClr val="bg2">
                    <a:lumMod val="95000"/>
                    <a:lumOff val="5000"/>
                  </a:schemeClr>
                </a:solidFill>
                <a:effectLst/>
                <a:uLnTx/>
                <a:uFillTx/>
                <a:latin typeface="Aptos" panose="020B0004020202020204" pitchFamily="34" charset="0"/>
                <a:ea typeface="Fira Sans Extra Condensed Medium"/>
                <a:cs typeface="Fira Sans Extra Condensed Medium"/>
                <a:sym typeface="Fira Sans Extra Condensed Medium"/>
              </a:endParaRPr>
            </a:p>
          </p:txBody>
        </p:sp>
      </p:grpSp>
      <p:pic>
        <p:nvPicPr>
          <p:cNvPr id="61" name="Graphic 60" descr="Truck with solid fill">
            <a:extLst>
              <a:ext uri="{FF2B5EF4-FFF2-40B4-BE49-F238E27FC236}">
                <a16:creationId xmlns:a16="http://schemas.microsoft.com/office/drawing/2014/main" id="{AC6BEBD0-8CCA-E0C4-79F8-BED44A6E2E06}"/>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040342" y="1116489"/>
            <a:ext cx="445492" cy="445492"/>
          </a:xfrm>
          <a:prstGeom prst="rect">
            <a:avLst/>
          </a:prstGeom>
        </p:spPr>
      </p:pic>
      <p:sp>
        <p:nvSpPr>
          <p:cNvPr id="62" name="TextBox 61">
            <a:extLst>
              <a:ext uri="{FF2B5EF4-FFF2-40B4-BE49-F238E27FC236}">
                <a16:creationId xmlns:a16="http://schemas.microsoft.com/office/drawing/2014/main" id="{4292D9AC-FB81-8B36-AAA3-B7C23FECC857}"/>
              </a:ext>
            </a:extLst>
          </p:cNvPr>
          <p:cNvSpPr txBox="1"/>
          <p:nvPr/>
        </p:nvSpPr>
        <p:spPr>
          <a:xfrm>
            <a:off x="9260732" y="496111"/>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444465" indent="-446749" algn="l" defTabSz="2438400">
              <a:spcBef>
                <a:spcPts val="2900"/>
              </a:spcBef>
              <a:buSzPct val="100000"/>
              <a:buFontTx/>
              <a:buChar char="–"/>
            </a:pPr>
            <a:endParaRPr lang="en-US" kern="0">
              <a:solidFill>
                <a:srgbClr val="000000"/>
              </a:solidFill>
              <a:ea typeface="+mj-ea"/>
              <a:cs typeface="+mj-cs"/>
              <a:sym typeface="IBM Plex Sans Light"/>
            </a:endParaRPr>
          </a:p>
        </p:txBody>
      </p:sp>
      <p:sp>
        <p:nvSpPr>
          <p:cNvPr id="63" name="TextBox 62">
            <a:extLst>
              <a:ext uri="{FF2B5EF4-FFF2-40B4-BE49-F238E27FC236}">
                <a16:creationId xmlns:a16="http://schemas.microsoft.com/office/drawing/2014/main" id="{74457E8C-59FA-0813-45B9-FE8379CBAB2D}"/>
              </a:ext>
            </a:extLst>
          </p:cNvPr>
          <p:cNvSpPr txBox="1"/>
          <p:nvPr/>
        </p:nvSpPr>
        <p:spPr>
          <a:xfrm>
            <a:off x="9873574" y="865762"/>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444465" indent="-446749" algn="l" defTabSz="2438400">
              <a:spcBef>
                <a:spcPts val="2900"/>
              </a:spcBef>
              <a:buSzPct val="100000"/>
              <a:buFontTx/>
              <a:buChar char="–"/>
            </a:pPr>
            <a:endParaRPr lang="en-US" kern="0">
              <a:solidFill>
                <a:srgbClr val="000000"/>
              </a:solidFill>
              <a:ea typeface="+mj-ea"/>
              <a:cs typeface="+mj-cs"/>
              <a:sym typeface="IBM Plex Sans Light"/>
            </a:endParaRPr>
          </a:p>
        </p:txBody>
      </p:sp>
    </p:spTree>
    <p:extLst>
      <p:ext uri="{BB962C8B-B14F-4D97-AF65-F5344CB8AC3E}">
        <p14:creationId xmlns:p14="http://schemas.microsoft.com/office/powerpoint/2010/main" val="26606845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B43738-C07F-AAF7-A3F8-660FCB1ACB48}"/>
              </a:ext>
            </a:extLst>
          </p:cNvPr>
          <p:cNvSpPr>
            <a:spLocks noGrp="1"/>
          </p:cNvSpPr>
          <p:nvPr>
            <p:ph type="title"/>
          </p:nvPr>
        </p:nvSpPr>
        <p:spPr>
          <a:xfrm>
            <a:off x="365760" y="342900"/>
            <a:ext cx="11460480" cy="914400"/>
          </a:xfrm>
        </p:spPr>
        <p:txBody>
          <a:bodyPr/>
          <a:lstStyle/>
          <a:p>
            <a:r>
              <a:rPr lang="en-US">
                <a:solidFill>
                  <a:srgbClr val="002060"/>
                </a:solidFill>
                <a:latin typeface="Aptos" panose="020B0004020202020204" pitchFamily="34" charset="0"/>
              </a:rPr>
              <a:t>Transforming with SAP Functional Modules</a:t>
            </a:r>
            <a:br>
              <a:rPr lang="en-US">
                <a:latin typeface="Aptos" panose="020B0004020202020204" pitchFamily="34" charset="0"/>
              </a:rPr>
            </a:br>
            <a:r>
              <a:rPr lang="en-US" sz="1400" b="0">
                <a:solidFill>
                  <a:srgbClr val="002060"/>
                </a:solidFill>
                <a:latin typeface="Aptos" panose="020B0004020202020204" pitchFamily="34" charset="0"/>
              </a:rPr>
              <a:t>Manufacturing, Supply Chain, and Financials</a:t>
            </a:r>
            <a:endParaRPr lang="en-IN" sz="1600" b="0">
              <a:solidFill>
                <a:srgbClr val="002060"/>
              </a:solidFill>
              <a:latin typeface="Aptos" panose="020B0004020202020204" pitchFamily="34" charset="0"/>
            </a:endParaRPr>
          </a:p>
        </p:txBody>
      </p:sp>
      <p:grpSp>
        <p:nvGrpSpPr>
          <p:cNvPr id="92" name="Group 91">
            <a:extLst>
              <a:ext uri="{FF2B5EF4-FFF2-40B4-BE49-F238E27FC236}">
                <a16:creationId xmlns:a16="http://schemas.microsoft.com/office/drawing/2014/main" id="{1737CA1C-7F92-F158-EBAF-26FD0CA9814F}"/>
              </a:ext>
            </a:extLst>
          </p:cNvPr>
          <p:cNvGrpSpPr/>
          <p:nvPr/>
        </p:nvGrpSpPr>
        <p:grpSpPr>
          <a:xfrm>
            <a:off x="1086442" y="1440613"/>
            <a:ext cx="2040886" cy="4674253"/>
            <a:chOff x="6705600" y="1452504"/>
            <a:chExt cx="2040886" cy="4252745"/>
          </a:xfrm>
        </p:grpSpPr>
        <p:grpSp>
          <p:nvGrpSpPr>
            <p:cNvPr id="84" name="Group 83">
              <a:extLst>
                <a:ext uri="{FF2B5EF4-FFF2-40B4-BE49-F238E27FC236}">
                  <a16:creationId xmlns:a16="http://schemas.microsoft.com/office/drawing/2014/main" id="{9DA88887-E5F8-EFD3-861E-F83AC074A9E2}"/>
                </a:ext>
              </a:extLst>
            </p:cNvPr>
            <p:cNvGrpSpPr/>
            <p:nvPr/>
          </p:nvGrpSpPr>
          <p:grpSpPr>
            <a:xfrm>
              <a:off x="6705600" y="1703690"/>
              <a:ext cx="2040886" cy="4001559"/>
              <a:chOff x="283028" y="1415350"/>
              <a:chExt cx="2040886" cy="4001559"/>
            </a:xfrm>
          </p:grpSpPr>
          <p:sp>
            <p:nvSpPr>
              <p:cNvPr id="85" name="Rectangle: Rounded Corners 84">
                <a:extLst>
                  <a:ext uri="{FF2B5EF4-FFF2-40B4-BE49-F238E27FC236}">
                    <a16:creationId xmlns:a16="http://schemas.microsoft.com/office/drawing/2014/main" id="{8C883223-4198-42BB-B3D5-FB459C24E007}"/>
                  </a:ext>
                </a:extLst>
              </p:cNvPr>
              <p:cNvSpPr/>
              <p:nvPr/>
            </p:nvSpPr>
            <p:spPr>
              <a:xfrm>
                <a:off x="283029" y="1415350"/>
                <a:ext cx="2040885" cy="4001559"/>
              </a:xfrm>
              <a:prstGeom prst="roundRect">
                <a:avLst>
                  <a:gd name="adj" fmla="val 7611"/>
                </a:avLst>
              </a:prstGeom>
              <a:solidFill>
                <a:schemeClr val="accent2">
                  <a:lumMod val="20000"/>
                  <a:lumOff val="80000"/>
                </a:schemeClr>
              </a:solidFill>
              <a:ln w="19050">
                <a:noFill/>
              </a:ln>
            </p:spPr>
            <p:txBody>
              <a:bodyPr vert="horz" lIns="108000" tIns="108000" rIns="10800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b="0" i="0" u="none" strike="noStrike" kern="0" cap="none" spc="0" normalizeH="0" baseline="0" noProof="0">
                  <a:ln>
                    <a:noFill/>
                  </a:ln>
                  <a:solidFill>
                    <a:srgbClr val="FFFFFF"/>
                  </a:solidFill>
                  <a:effectLst/>
                  <a:uLnTx/>
                  <a:uFillTx/>
                  <a:latin typeface="Aptos" panose="020B0004020202020204" pitchFamily="34" charset="0"/>
                </a:endParaRPr>
              </a:p>
            </p:txBody>
          </p:sp>
          <p:sp>
            <p:nvSpPr>
              <p:cNvPr id="86" name="Rectangle 85">
                <a:extLst>
                  <a:ext uri="{FF2B5EF4-FFF2-40B4-BE49-F238E27FC236}">
                    <a16:creationId xmlns:a16="http://schemas.microsoft.com/office/drawing/2014/main" id="{1461A710-DA74-1E51-2785-3BA39C32847E}"/>
                  </a:ext>
                </a:extLst>
              </p:cNvPr>
              <p:cNvSpPr/>
              <p:nvPr/>
            </p:nvSpPr>
            <p:spPr>
              <a:xfrm>
                <a:off x="283028" y="2110028"/>
                <a:ext cx="2040883" cy="566059"/>
              </a:xfrm>
              <a:prstGeom prst="rect">
                <a:avLst/>
              </a:prstGeom>
              <a:noFill/>
              <a:ln w="12700">
                <a:noFill/>
              </a:ln>
            </p:spPr>
            <p:txBody>
              <a:bodyPr vert="horz" lIns="108000" tIns="0" rIns="10800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a:ln>
                      <a:noFill/>
                    </a:ln>
                    <a:solidFill>
                      <a:srgbClr val="002060"/>
                    </a:solidFill>
                    <a:effectLst/>
                    <a:uLnTx/>
                    <a:uFillTx/>
                    <a:latin typeface="Aptos" panose="020B0004020202020204" pitchFamily="34" charset="0"/>
                  </a:rPr>
                  <a:t>Manufacturing Excellence</a:t>
                </a:r>
              </a:p>
            </p:txBody>
          </p:sp>
          <p:sp>
            <p:nvSpPr>
              <p:cNvPr id="87" name="TextBox 86">
                <a:extLst>
                  <a:ext uri="{FF2B5EF4-FFF2-40B4-BE49-F238E27FC236}">
                    <a16:creationId xmlns:a16="http://schemas.microsoft.com/office/drawing/2014/main" id="{5FD2818A-A849-6252-4D62-74EF32E5022F}"/>
                  </a:ext>
                </a:extLst>
              </p:cNvPr>
              <p:cNvSpPr txBox="1"/>
              <p:nvPr/>
            </p:nvSpPr>
            <p:spPr>
              <a:xfrm>
                <a:off x="381000" y="3088824"/>
                <a:ext cx="1361044" cy="1469571"/>
              </a:xfrm>
              <a:prstGeom prst="rect">
                <a:avLst/>
              </a:prstGeom>
              <a:noFill/>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2000" b="0" i="0" u="none" strike="noStrike" kern="0" cap="none" spc="0" normalizeH="0" baseline="0" noProof="0">
                  <a:ln>
                    <a:noFill/>
                  </a:ln>
                  <a:solidFill>
                    <a:srgbClr val="FFFFFF"/>
                  </a:solidFill>
                  <a:effectLst/>
                  <a:uLnTx/>
                  <a:uFillTx/>
                  <a:latin typeface="Aptos" panose="020B0004020202020204" pitchFamily="34" charset="0"/>
                </a:endParaRPr>
              </a:p>
            </p:txBody>
          </p:sp>
          <p:sp>
            <p:nvSpPr>
              <p:cNvPr id="88" name="TextBox 87">
                <a:extLst>
                  <a:ext uri="{FF2B5EF4-FFF2-40B4-BE49-F238E27FC236}">
                    <a16:creationId xmlns:a16="http://schemas.microsoft.com/office/drawing/2014/main" id="{9DF638A6-7EFD-55CE-C1FB-69050D0C61AB}"/>
                  </a:ext>
                </a:extLst>
              </p:cNvPr>
              <p:cNvSpPr txBox="1"/>
              <p:nvPr/>
            </p:nvSpPr>
            <p:spPr>
              <a:xfrm>
                <a:off x="283028" y="2871108"/>
                <a:ext cx="1948543" cy="2246047"/>
              </a:xfrm>
              <a:prstGeom prst="rect">
                <a:avLst/>
              </a:prstGeom>
              <a:noFill/>
            </p:spPr>
            <p:txBody>
              <a:bodyPr wrap="square" lIns="0" tIns="0" rIns="0" bIns="0" rtlCol="0">
                <a:noAutofit/>
              </a:bodyPr>
              <a:lstStyle/>
              <a:p>
                <a:pPr marL="274320" marR="0" lvl="0" indent="-171450"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schemeClr val="bg1"/>
                    </a:solidFill>
                    <a:effectLst/>
                    <a:uLnTx/>
                    <a:uFillTx/>
                    <a:latin typeface="Aptos" panose="020B0004020202020204" pitchFamily="34" charset="0"/>
                  </a:rPr>
                  <a:t>Production Planning (SAP PP): Streamline production schedules and reduce lead times.</a:t>
                </a:r>
              </a:p>
              <a:p>
                <a:pPr marL="274320" marR="0" lvl="0" indent="-171450"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schemeClr val="bg1"/>
                    </a:solidFill>
                    <a:effectLst/>
                    <a:uLnTx/>
                    <a:uFillTx/>
                    <a:latin typeface="Aptos" panose="020B0004020202020204" pitchFamily="34" charset="0"/>
                  </a:rPr>
                  <a:t>Quality Management (SAP QM): Enhance product quality and compliance with industry standards.</a:t>
                </a:r>
              </a:p>
              <a:p>
                <a:pPr marL="274320" marR="0" lvl="0" indent="-171450"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schemeClr val="bg1"/>
                    </a:solidFill>
                    <a:effectLst/>
                    <a:uLnTx/>
                    <a:uFillTx/>
                    <a:latin typeface="Aptos" panose="020B0004020202020204" pitchFamily="34" charset="0"/>
                  </a:rPr>
                  <a:t>Plant Maintenance (SAP PM): Improve equipment uptime and maintenance efficiency.</a:t>
                </a:r>
              </a:p>
            </p:txBody>
          </p:sp>
        </p:grpSp>
        <p:sp>
          <p:nvSpPr>
            <p:cNvPr id="90" name="Oval 89">
              <a:extLst>
                <a:ext uri="{FF2B5EF4-FFF2-40B4-BE49-F238E27FC236}">
                  <a16:creationId xmlns:a16="http://schemas.microsoft.com/office/drawing/2014/main" id="{A233074E-134B-C5F9-FA86-A278D96686DD}"/>
                </a:ext>
              </a:extLst>
            </p:cNvPr>
            <p:cNvSpPr/>
            <p:nvPr/>
          </p:nvSpPr>
          <p:spPr>
            <a:xfrm>
              <a:off x="7334552" y="1452504"/>
              <a:ext cx="772885" cy="674866"/>
            </a:xfrm>
            <a:prstGeom prst="ellipse">
              <a:avLst/>
            </a:prstGeom>
            <a:solidFill>
              <a:schemeClr val="bg1"/>
            </a:solidFill>
            <a:ln w="12700">
              <a:noFill/>
            </a:ln>
          </p:spPr>
          <p:txBody>
            <a:bodyPr vert="horz" lIns="108000" tIns="108000" rIns="10800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b="0" i="0" u="none" strike="noStrike" kern="0" cap="none" spc="0" normalizeH="0" baseline="0" noProof="0">
                <a:ln>
                  <a:noFill/>
                </a:ln>
                <a:solidFill>
                  <a:srgbClr val="FFFFFF"/>
                </a:solidFill>
                <a:effectLst/>
                <a:uLnTx/>
                <a:uFillTx/>
                <a:latin typeface="Aptos" panose="020B0004020202020204" pitchFamily="34" charset="0"/>
              </a:endParaRPr>
            </a:p>
          </p:txBody>
        </p:sp>
      </p:grpSp>
      <p:grpSp>
        <p:nvGrpSpPr>
          <p:cNvPr id="93" name="Group 92">
            <a:extLst>
              <a:ext uri="{FF2B5EF4-FFF2-40B4-BE49-F238E27FC236}">
                <a16:creationId xmlns:a16="http://schemas.microsoft.com/office/drawing/2014/main" id="{D032362D-F6F4-BC77-9B5F-74E7A6BD1A25}"/>
              </a:ext>
            </a:extLst>
          </p:cNvPr>
          <p:cNvGrpSpPr/>
          <p:nvPr/>
        </p:nvGrpSpPr>
        <p:grpSpPr>
          <a:xfrm>
            <a:off x="3774291" y="1440614"/>
            <a:ext cx="2040886" cy="4674252"/>
            <a:chOff x="6705600" y="1452504"/>
            <a:chExt cx="2040886" cy="4252745"/>
          </a:xfrm>
        </p:grpSpPr>
        <p:grpSp>
          <p:nvGrpSpPr>
            <p:cNvPr id="94" name="Group 93">
              <a:extLst>
                <a:ext uri="{FF2B5EF4-FFF2-40B4-BE49-F238E27FC236}">
                  <a16:creationId xmlns:a16="http://schemas.microsoft.com/office/drawing/2014/main" id="{0243A8D0-EE45-E645-E1A8-FE12E8EAD58B}"/>
                </a:ext>
              </a:extLst>
            </p:cNvPr>
            <p:cNvGrpSpPr/>
            <p:nvPr/>
          </p:nvGrpSpPr>
          <p:grpSpPr>
            <a:xfrm>
              <a:off x="6705600" y="1703691"/>
              <a:ext cx="2040886" cy="4001558"/>
              <a:chOff x="283028" y="1415351"/>
              <a:chExt cx="2040886" cy="4001558"/>
            </a:xfrm>
          </p:grpSpPr>
          <p:sp>
            <p:nvSpPr>
              <p:cNvPr id="98" name="Rectangle: Rounded Corners 97">
                <a:extLst>
                  <a:ext uri="{FF2B5EF4-FFF2-40B4-BE49-F238E27FC236}">
                    <a16:creationId xmlns:a16="http://schemas.microsoft.com/office/drawing/2014/main" id="{B9380880-3B4E-E1E1-2912-44BF09D97493}"/>
                  </a:ext>
                </a:extLst>
              </p:cNvPr>
              <p:cNvSpPr/>
              <p:nvPr/>
            </p:nvSpPr>
            <p:spPr>
              <a:xfrm>
                <a:off x="283029" y="1415351"/>
                <a:ext cx="2040885" cy="4001558"/>
              </a:xfrm>
              <a:prstGeom prst="roundRect">
                <a:avLst>
                  <a:gd name="adj" fmla="val 7611"/>
                </a:avLst>
              </a:prstGeom>
              <a:solidFill>
                <a:schemeClr val="accent2">
                  <a:lumMod val="20000"/>
                  <a:lumOff val="80000"/>
                </a:schemeClr>
              </a:solidFill>
              <a:ln w="19050">
                <a:noFill/>
              </a:ln>
            </p:spPr>
            <p:txBody>
              <a:bodyPr vert="horz" lIns="108000" tIns="108000" rIns="10800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b="0" i="0" u="none" strike="noStrike" kern="0" cap="none" spc="0" normalizeH="0" baseline="0" noProof="0">
                  <a:ln>
                    <a:noFill/>
                  </a:ln>
                  <a:solidFill>
                    <a:srgbClr val="FFFFFF"/>
                  </a:solidFill>
                  <a:effectLst/>
                  <a:uLnTx/>
                  <a:uFillTx/>
                  <a:latin typeface="Aptos" panose="020B0004020202020204" pitchFamily="34" charset="0"/>
                </a:endParaRPr>
              </a:p>
            </p:txBody>
          </p:sp>
          <p:sp>
            <p:nvSpPr>
              <p:cNvPr id="99" name="Rectangle 98">
                <a:extLst>
                  <a:ext uri="{FF2B5EF4-FFF2-40B4-BE49-F238E27FC236}">
                    <a16:creationId xmlns:a16="http://schemas.microsoft.com/office/drawing/2014/main" id="{9582C560-029E-B0B7-4E0B-2DE006633E2F}"/>
                  </a:ext>
                </a:extLst>
              </p:cNvPr>
              <p:cNvSpPr/>
              <p:nvPr/>
            </p:nvSpPr>
            <p:spPr>
              <a:xfrm>
                <a:off x="283028" y="2110028"/>
                <a:ext cx="2040883" cy="566059"/>
              </a:xfrm>
              <a:prstGeom prst="rect">
                <a:avLst/>
              </a:prstGeom>
              <a:noFill/>
              <a:ln w="12700">
                <a:noFill/>
              </a:ln>
            </p:spPr>
            <p:txBody>
              <a:bodyPr vert="horz" lIns="108000" tIns="0" rIns="10800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a:ln>
                      <a:noFill/>
                    </a:ln>
                    <a:solidFill>
                      <a:srgbClr val="002060"/>
                    </a:solidFill>
                    <a:effectLst/>
                    <a:uLnTx/>
                    <a:uFillTx/>
                    <a:latin typeface="Aptos" panose="020B0004020202020204" pitchFamily="34" charset="0"/>
                  </a:rPr>
                  <a:t>Supply Chain Optimization</a:t>
                </a:r>
              </a:p>
            </p:txBody>
          </p:sp>
          <p:sp>
            <p:nvSpPr>
              <p:cNvPr id="101" name="TextBox 100">
                <a:extLst>
                  <a:ext uri="{FF2B5EF4-FFF2-40B4-BE49-F238E27FC236}">
                    <a16:creationId xmlns:a16="http://schemas.microsoft.com/office/drawing/2014/main" id="{92EA0BEC-AA88-B620-E2CC-87FC279759F3}"/>
                  </a:ext>
                </a:extLst>
              </p:cNvPr>
              <p:cNvSpPr txBox="1"/>
              <p:nvPr/>
            </p:nvSpPr>
            <p:spPr>
              <a:xfrm>
                <a:off x="283028" y="2849065"/>
                <a:ext cx="1948543" cy="2246047"/>
              </a:xfrm>
              <a:prstGeom prst="rect">
                <a:avLst/>
              </a:prstGeom>
              <a:noFill/>
              <a:ln>
                <a:noFill/>
              </a:ln>
            </p:spPr>
            <p:txBody>
              <a:bodyPr wrap="square" lIns="0" tIns="0" rIns="0" bIns="0" rtlCol="0">
                <a:noAutofit/>
              </a:bodyPr>
              <a:lstStyle/>
              <a:p>
                <a:pPr marL="274320" marR="0" lvl="0" indent="-171450"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schemeClr val="bg1"/>
                    </a:solidFill>
                    <a:effectLst/>
                    <a:uLnTx/>
                    <a:uFillTx/>
                    <a:latin typeface="Aptos" panose="020B0004020202020204" pitchFamily="34" charset="0"/>
                  </a:rPr>
                  <a:t>Materials Management (SAP MM): Optimize inventory levels and procurement processes.</a:t>
                </a:r>
              </a:p>
              <a:p>
                <a:pPr marL="274320" marR="0" lvl="0" indent="-171450"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schemeClr val="bg1"/>
                    </a:solidFill>
                    <a:effectLst/>
                    <a:uLnTx/>
                    <a:uFillTx/>
                    <a:latin typeface="Aptos" panose="020B0004020202020204" pitchFamily="34" charset="0"/>
                  </a:rPr>
                  <a:t>Sales and Distribution (SAP SD): Streamline order processing and fulfillment.</a:t>
                </a:r>
              </a:p>
              <a:p>
                <a:pPr marL="274320" marR="0" lvl="0" indent="-171450"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schemeClr val="bg1"/>
                    </a:solidFill>
                    <a:effectLst/>
                    <a:uLnTx/>
                    <a:uFillTx/>
                    <a:latin typeface="Aptos" panose="020B0004020202020204" pitchFamily="34" charset="0"/>
                  </a:rPr>
                  <a:t>Extended Warehouse Management (SAP EWM): Enhance warehouse operations and efficiency.</a:t>
                </a:r>
              </a:p>
            </p:txBody>
          </p:sp>
        </p:grpSp>
        <p:sp>
          <p:nvSpPr>
            <p:cNvPr id="96" name="Oval 95">
              <a:extLst>
                <a:ext uri="{FF2B5EF4-FFF2-40B4-BE49-F238E27FC236}">
                  <a16:creationId xmlns:a16="http://schemas.microsoft.com/office/drawing/2014/main" id="{A14B6E1E-A022-A4EB-4102-60FE1F708493}"/>
                </a:ext>
              </a:extLst>
            </p:cNvPr>
            <p:cNvSpPr/>
            <p:nvPr/>
          </p:nvSpPr>
          <p:spPr>
            <a:xfrm>
              <a:off x="7334552" y="1452504"/>
              <a:ext cx="772885" cy="692686"/>
            </a:xfrm>
            <a:prstGeom prst="ellipse">
              <a:avLst/>
            </a:prstGeom>
            <a:solidFill>
              <a:schemeClr val="bg1"/>
            </a:solidFill>
            <a:ln w="12700">
              <a:noFill/>
            </a:ln>
          </p:spPr>
          <p:txBody>
            <a:bodyPr vert="horz" lIns="108000" tIns="108000" rIns="10800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b="0" i="0" u="none" strike="noStrike" kern="0" cap="none" spc="0" normalizeH="0" baseline="0" noProof="0">
                <a:ln>
                  <a:noFill/>
                </a:ln>
                <a:solidFill>
                  <a:srgbClr val="FFFFFF"/>
                </a:solidFill>
                <a:effectLst/>
                <a:uLnTx/>
                <a:uFillTx/>
                <a:latin typeface="Aptos" panose="020B0004020202020204" pitchFamily="34" charset="0"/>
              </a:endParaRPr>
            </a:p>
          </p:txBody>
        </p:sp>
      </p:grpSp>
      <p:grpSp>
        <p:nvGrpSpPr>
          <p:cNvPr id="102" name="Group 101">
            <a:extLst>
              <a:ext uri="{FF2B5EF4-FFF2-40B4-BE49-F238E27FC236}">
                <a16:creationId xmlns:a16="http://schemas.microsoft.com/office/drawing/2014/main" id="{70D36A14-B5EB-894D-F43B-3019DC985624}"/>
              </a:ext>
            </a:extLst>
          </p:cNvPr>
          <p:cNvGrpSpPr/>
          <p:nvPr/>
        </p:nvGrpSpPr>
        <p:grpSpPr>
          <a:xfrm>
            <a:off x="6462140" y="1440614"/>
            <a:ext cx="2040886" cy="4674252"/>
            <a:chOff x="6705600" y="1452504"/>
            <a:chExt cx="2040886" cy="4252745"/>
          </a:xfrm>
        </p:grpSpPr>
        <p:grpSp>
          <p:nvGrpSpPr>
            <p:cNvPr id="103" name="Group 102">
              <a:extLst>
                <a:ext uri="{FF2B5EF4-FFF2-40B4-BE49-F238E27FC236}">
                  <a16:creationId xmlns:a16="http://schemas.microsoft.com/office/drawing/2014/main" id="{12BA0306-E6D6-FC3B-4CA2-84C24E5DA969}"/>
                </a:ext>
              </a:extLst>
            </p:cNvPr>
            <p:cNvGrpSpPr/>
            <p:nvPr/>
          </p:nvGrpSpPr>
          <p:grpSpPr>
            <a:xfrm>
              <a:off x="6705600" y="1703691"/>
              <a:ext cx="2040886" cy="4001558"/>
              <a:chOff x="283028" y="1415351"/>
              <a:chExt cx="2040886" cy="4001558"/>
            </a:xfrm>
          </p:grpSpPr>
          <p:sp>
            <p:nvSpPr>
              <p:cNvPr id="107" name="Rectangle: Rounded Corners 106">
                <a:extLst>
                  <a:ext uri="{FF2B5EF4-FFF2-40B4-BE49-F238E27FC236}">
                    <a16:creationId xmlns:a16="http://schemas.microsoft.com/office/drawing/2014/main" id="{742A6439-F55E-3D77-4F43-E270C3EAAA51}"/>
                  </a:ext>
                </a:extLst>
              </p:cNvPr>
              <p:cNvSpPr/>
              <p:nvPr/>
            </p:nvSpPr>
            <p:spPr>
              <a:xfrm>
                <a:off x="283029" y="1415351"/>
                <a:ext cx="2040885" cy="4001558"/>
              </a:xfrm>
              <a:prstGeom prst="roundRect">
                <a:avLst>
                  <a:gd name="adj" fmla="val 7134"/>
                </a:avLst>
              </a:prstGeom>
              <a:solidFill>
                <a:schemeClr val="accent2">
                  <a:lumMod val="20000"/>
                  <a:lumOff val="80000"/>
                </a:schemeClr>
              </a:solidFill>
              <a:ln w="19050">
                <a:noFill/>
              </a:ln>
            </p:spPr>
            <p:txBody>
              <a:bodyPr vert="horz" lIns="108000" tIns="108000" rIns="10800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b="0" i="0" u="none" strike="noStrike" kern="0" cap="none" spc="0" normalizeH="0" baseline="0" noProof="0">
                  <a:ln>
                    <a:noFill/>
                  </a:ln>
                  <a:solidFill>
                    <a:srgbClr val="FFFFFF"/>
                  </a:solidFill>
                  <a:effectLst/>
                  <a:uLnTx/>
                  <a:uFillTx/>
                  <a:latin typeface="Aptos" panose="020B0004020202020204" pitchFamily="34" charset="0"/>
                </a:endParaRPr>
              </a:p>
            </p:txBody>
          </p:sp>
          <p:sp>
            <p:nvSpPr>
              <p:cNvPr id="108" name="Rectangle 107">
                <a:extLst>
                  <a:ext uri="{FF2B5EF4-FFF2-40B4-BE49-F238E27FC236}">
                    <a16:creationId xmlns:a16="http://schemas.microsoft.com/office/drawing/2014/main" id="{E0ABF820-8239-5154-1A74-9DBF4FCC5C40}"/>
                  </a:ext>
                </a:extLst>
              </p:cNvPr>
              <p:cNvSpPr/>
              <p:nvPr/>
            </p:nvSpPr>
            <p:spPr>
              <a:xfrm>
                <a:off x="303177" y="2110028"/>
                <a:ext cx="1948543" cy="566059"/>
              </a:xfrm>
              <a:prstGeom prst="rect">
                <a:avLst/>
              </a:prstGeom>
              <a:noFill/>
              <a:ln w="12700">
                <a:noFill/>
              </a:ln>
            </p:spPr>
            <p:txBody>
              <a:bodyPr vert="horz" lIns="108000" tIns="0" rIns="10800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a:ln>
                      <a:noFill/>
                    </a:ln>
                    <a:solidFill>
                      <a:srgbClr val="002060"/>
                    </a:solidFill>
                    <a:effectLst/>
                    <a:uLnTx/>
                    <a:uFillTx/>
                    <a:latin typeface="Aptos" panose="020B0004020202020204" pitchFamily="34" charset="0"/>
                  </a:rPr>
                  <a:t>Financial Agility</a:t>
                </a:r>
              </a:p>
            </p:txBody>
          </p:sp>
          <p:sp>
            <p:nvSpPr>
              <p:cNvPr id="109" name="TextBox 108">
                <a:extLst>
                  <a:ext uri="{FF2B5EF4-FFF2-40B4-BE49-F238E27FC236}">
                    <a16:creationId xmlns:a16="http://schemas.microsoft.com/office/drawing/2014/main" id="{42DFDBFE-9E21-36B3-4234-C95FDCA1256D}"/>
                  </a:ext>
                </a:extLst>
              </p:cNvPr>
              <p:cNvSpPr txBox="1"/>
              <p:nvPr/>
            </p:nvSpPr>
            <p:spPr>
              <a:xfrm>
                <a:off x="381000" y="3088824"/>
                <a:ext cx="1361044" cy="1469571"/>
              </a:xfrm>
              <a:prstGeom prst="rect">
                <a:avLst/>
              </a:prstGeom>
              <a:noFill/>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2000" b="0" i="0" u="none" strike="noStrike" kern="0" cap="none" spc="0" normalizeH="0" baseline="0" noProof="0">
                  <a:ln>
                    <a:noFill/>
                  </a:ln>
                  <a:solidFill>
                    <a:srgbClr val="FFFFFF"/>
                  </a:solidFill>
                  <a:effectLst/>
                  <a:uLnTx/>
                  <a:uFillTx/>
                  <a:latin typeface="Aptos" panose="020B0004020202020204" pitchFamily="34" charset="0"/>
                </a:endParaRPr>
              </a:p>
            </p:txBody>
          </p:sp>
          <p:sp>
            <p:nvSpPr>
              <p:cNvPr id="110" name="TextBox 109">
                <a:extLst>
                  <a:ext uri="{FF2B5EF4-FFF2-40B4-BE49-F238E27FC236}">
                    <a16:creationId xmlns:a16="http://schemas.microsoft.com/office/drawing/2014/main" id="{8979CA37-91E7-F779-9362-BCCE5409C0A2}"/>
                  </a:ext>
                </a:extLst>
              </p:cNvPr>
              <p:cNvSpPr txBox="1"/>
              <p:nvPr/>
            </p:nvSpPr>
            <p:spPr>
              <a:xfrm>
                <a:off x="283028" y="2871108"/>
                <a:ext cx="1948543" cy="2246047"/>
              </a:xfrm>
              <a:prstGeom prst="rect">
                <a:avLst/>
              </a:prstGeom>
              <a:noFill/>
            </p:spPr>
            <p:txBody>
              <a:bodyPr wrap="square" lIns="0" tIns="0" rIns="0" bIns="0" rtlCol="0">
                <a:noAutofit/>
              </a:bodyPr>
              <a:lstStyle/>
              <a:p>
                <a:pPr marL="274320" marR="0" lvl="0" indent="-171450"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schemeClr val="bg1"/>
                    </a:solidFill>
                    <a:effectLst/>
                    <a:uLnTx/>
                    <a:uFillTx/>
                    <a:latin typeface="Aptos" panose="020B0004020202020204" pitchFamily="34" charset="0"/>
                  </a:rPr>
                  <a:t>Financial Accounting (SAP FI): Streamline financial operations and reporting.</a:t>
                </a:r>
              </a:p>
              <a:p>
                <a:pPr marL="274320" marR="0" lvl="0" indent="-171450"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schemeClr val="bg1"/>
                    </a:solidFill>
                    <a:effectLst/>
                    <a:uLnTx/>
                    <a:uFillTx/>
                    <a:latin typeface="Aptos" panose="020B0004020202020204" pitchFamily="34" charset="0"/>
                  </a:rPr>
                  <a:t>Controlling (SAP CO): Enhance cost management and profitability analysis.</a:t>
                </a:r>
              </a:p>
              <a:p>
                <a:pPr marL="274320" marR="0" lvl="0" indent="-171450"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schemeClr val="bg1"/>
                    </a:solidFill>
                    <a:effectLst/>
                    <a:uLnTx/>
                    <a:uFillTx/>
                    <a:latin typeface="Aptos" panose="020B0004020202020204" pitchFamily="34" charset="0"/>
                  </a:rPr>
                  <a:t>Treasury and Risk Management (SAP TRM): Optimize cash flow and financial risk management.</a:t>
                </a:r>
              </a:p>
            </p:txBody>
          </p:sp>
        </p:grpSp>
        <p:sp>
          <p:nvSpPr>
            <p:cNvPr id="105" name="Oval 104">
              <a:extLst>
                <a:ext uri="{FF2B5EF4-FFF2-40B4-BE49-F238E27FC236}">
                  <a16:creationId xmlns:a16="http://schemas.microsoft.com/office/drawing/2014/main" id="{D391FA06-0E68-840D-5F57-7E18405A39CE}"/>
                </a:ext>
              </a:extLst>
            </p:cNvPr>
            <p:cNvSpPr/>
            <p:nvPr/>
          </p:nvSpPr>
          <p:spPr>
            <a:xfrm>
              <a:off x="7334552" y="1452504"/>
              <a:ext cx="772885" cy="692686"/>
            </a:xfrm>
            <a:prstGeom prst="ellipse">
              <a:avLst/>
            </a:prstGeom>
            <a:solidFill>
              <a:schemeClr val="bg1"/>
            </a:solidFill>
            <a:ln w="12700">
              <a:noFill/>
            </a:ln>
          </p:spPr>
          <p:txBody>
            <a:bodyPr vert="horz" lIns="108000" tIns="108000" rIns="10800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b="0" i="0" u="none" strike="noStrike" kern="0" cap="none" spc="0" normalizeH="0" baseline="0" noProof="0">
                <a:ln>
                  <a:noFill/>
                </a:ln>
                <a:solidFill>
                  <a:srgbClr val="FFFFFF"/>
                </a:solidFill>
                <a:effectLst/>
                <a:uLnTx/>
                <a:uFillTx/>
                <a:latin typeface="Aptos" panose="020B0004020202020204" pitchFamily="34" charset="0"/>
              </a:endParaRPr>
            </a:p>
          </p:txBody>
        </p:sp>
      </p:grpSp>
      <p:grpSp>
        <p:nvGrpSpPr>
          <p:cNvPr id="111" name="Group 110">
            <a:extLst>
              <a:ext uri="{FF2B5EF4-FFF2-40B4-BE49-F238E27FC236}">
                <a16:creationId xmlns:a16="http://schemas.microsoft.com/office/drawing/2014/main" id="{3DD9643A-5292-0422-9101-B931D04FC187}"/>
              </a:ext>
            </a:extLst>
          </p:cNvPr>
          <p:cNvGrpSpPr/>
          <p:nvPr/>
        </p:nvGrpSpPr>
        <p:grpSpPr>
          <a:xfrm>
            <a:off x="9149986" y="1440614"/>
            <a:ext cx="2040888" cy="4674252"/>
            <a:chOff x="6705598" y="1452504"/>
            <a:chExt cx="2040888" cy="4252745"/>
          </a:xfrm>
        </p:grpSpPr>
        <p:grpSp>
          <p:nvGrpSpPr>
            <p:cNvPr id="112" name="Group 111">
              <a:extLst>
                <a:ext uri="{FF2B5EF4-FFF2-40B4-BE49-F238E27FC236}">
                  <a16:creationId xmlns:a16="http://schemas.microsoft.com/office/drawing/2014/main" id="{24B523A8-1C02-7C8F-F96F-0CC151263FD2}"/>
                </a:ext>
              </a:extLst>
            </p:cNvPr>
            <p:cNvGrpSpPr/>
            <p:nvPr/>
          </p:nvGrpSpPr>
          <p:grpSpPr>
            <a:xfrm>
              <a:off x="6705598" y="1703691"/>
              <a:ext cx="2040888" cy="4001558"/>
              <a:chOff x="283026" y="1415351"/>
              <a:chExt cx="2040888" cy="4001558"/>
            </a:xfrm>
          </p:grpSpPr>
          <p:sp>
            <p:nvSpPr>
              <p:cNvPr id="116" name="Rectangle: Rounded Corners 115">
                <a:extLst>
                  <a:ext uri="{FF2B5EF4-FFF2-40B4-BE49-F238E27FC236}">
                    <a16:creationId xmlns:a16="http://schemas.microsoft.com/office/drawing/2014/main" id="{B877F28E-9915-4933-7A2A-BBE8C44732A5}"/>
                  </a:ext>
                </a:extLst>
              </p:cNvPr>
              <p:cNvSpPr/>
              <p:nvPr/>
            </p:nvSpPr>
            <p:spPr>
              <a:xfrm>
                <a:off x="283029" y="1415351"/>
                <a:ext cx="2040885" cy="4001558"/>
              </a:xfrm>
              <a:prstGeom prst="roundRect">
                <a:avLst>
                  <a:gd name="adj" fmla="val 6658"/>
                </a:avLst>
              </a:prstGeom>
              <a:solidFill>
                <a:schemeClr val="accent2">
                  <a:lumMod val="20000"/>
                  <a:lumOff val="80000"/>
                </a:schemeClr>
              </a:solidFill>
              <a:ln w="19050">
                <a:noFill/>
              </a:ln>
            </p:spPr>
            <p:txBody>
              <a:bodyPr vert="horz" lIns="108000" tIns="108000" rIns="10800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b="0" i="0" u="none" strike="noStrike" kern="0" cap="none" spc="0" normalizeH="0" baseline="0" noProof="0">
                  <a:ln>
                    <a:noFill/>
                  </a:ln>
                  <a:solidFill>
                    <a:srgbClr val="FFFFFF"/>
                  </a:solidFill>
                  <a:effectLst/>
                  <a:uLnTx/>
                  <a:uFillTx/>
                  <a:latin typeface="Aptos" panose="020B0004020202020204" pitchFamily="34" charset="0"/>
                </a:endParaRPr>
              </a:p>
            </p:txBody>
          </p:sp>
          <p:sp>
            <p:nvSpPr>
              <p:cNvPr id="117" name="Rectangle 116">
                <a:extLst>
                  <a:ext uri="{FF2B5EF4-FFF2-40B4-BE49-F238E27FC236}">
                    <a16:creationId xmlns:a16="http://schemas.microsoft.com/office/drawing/2014/main" id="{A9E7FA97-1A37-C306-FCAD-8E41FB53F05A}"/>
                  </a:ext>
                </a:extLst>
              </p:cNvPr>
              <p:cNvSpPr/>
              <p:nvPr/>
            </p:nvSpPr>
            <p:spPr>
              <a:xfrm>
                <a:off x="283026" y="2110028"/>
                <a:ext cx="2040885" cy="566059"/>
              </a:xfrm>
              <a:prstGeom prst="rect">
                <a:avLst/>
              </a:prstGeom>
              <a:noFill/>
              <a:ln w="12700">
                <a:noFill/>
              </a:ln>
            </p:spPr>
            <p:txBody>
              <a:bodyPr vert="horz" lIns="108000" tIns="0" rIns="10800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a:ln>
                      <a:noFill/>
                    </a:ln>
                    <a:solidFill>
                      <a:srgbClr val="002060"/>
                    </a:solidFill>
                    <a:effectLst/>
                    <a:uLnTx/>
                    <a:uFillTx/>
                    <a:latin typeface="Aptos" panose="020B0004020202020204" pitchFamily="34" charset="0"/>
                  </a:rPr>
                  <a:t>Integrated Intelligence</a:t>
                </a:r>
              </a:p>
            </p:txBody>
          </p:sp>
          <p:sp>
            <p:nvSpPr>
              <p:cNvPr id="118" name="TextBox 117">
                <a:extLst>
                  <a:ext uri="{FF2B5EF4-FFF2-40B4-BE49-F238E27FC236}">
                    <a16:creationId xmlns:a16="http://schemas.microsoft.com/office/drawing/2014/main" id="{BE4BF2CE-670D-7550-7F4C-DEA8E135847A}"/>
                  </a:ext>
                </a:extLst>
              </p:cNvPr>
              <p:cNvSpPr txBox="1"/>
              <p:nvPr/>
            </p:nvSpPr>
            <p:spPr>
              <a:xfrm>
                <a:off x="381000" y="3088824"/>
                <a:ext cx="1361044" cy="1469571"/>
              </a:xfrm>
              <a:prstGeom prst="rect">
                <a:avLst/>
              </a:prstGeom>
              <a:noFill/>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2000" b="0" i="0" u="none" strike="noStrike" kern="0" cap="none" spc="0" normalizeH="0" baseline="0" noProof="0">
                  <a:ln>
                    <a:noFill/>
                  </a:ln>
                  <a:solidFill>
                    <a:srgbClr val="FFFFFF"/>
                  </a:solidFill>
                  <a:effectLst/>
                  <a:uLnTx/>
                  <a:uFillTx/>
                  <a:latin typeface="Aptos" panose="020B0004020202020204" pitchFamily="34" charset="0"/>
                </a:endParaRPr>
              </a:p>
            </p:txBody>
          </p:sp>
          <p:sp>
            <p:nvSpPr>
              <p:cNvPr id="119" name="TextBox 118">
                <a:extLst>
                  <a:ext uri="{FF2B5EF4-FFF2-40B4-BE49-F238E27FC236}">
                    <a16:creationId xmlns:a16="http://schemas.microsoft.com/office/drawing/2014/main" id="{FB57BC91-4611-E77D-DE5D-0F6250EF7603}"/>
                  </a:ext>
                </a:extLst>
              </p:cNvPr>
              <p:cNvSpPr txBox="1"/>
              <p:nvPr/>
            </p:nvSpPr>
            <p:spPr>
              <a:xfrm>
                <a:off x="283028" y="2871108"/>
                <a:ext cx="1948543" cy="2246047"/>
              </a:xfrm>
              <a:prstGeom prst="rect">
                <a:avLst/>
              </a:prstGeom>
              <a:noFill/>
            </p:spPr>
            <p:txBody>
              <a:bodyPr wrap="square" lIns="0" tIns="0" rIns="0" bIns="0" rtlCol="0">
                <a:noAutofit/>
              </a:bodyPr>
              <a:lstStyle/>
              <a:p>
                <a:pPr marL="274320" marR="0" lvl="0" indent="-171450"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schemeClr val="bg1"/>
                    </a:solidFill>
                    <a:effectLst/>
                    <a:uLnTx/>
                    <a:uFillTx/>
                    <a:latin typeface="Aptos" panose="020B0004020202020204" pitchFamily="34" charset="0"/>
                  </a:rPr>
                  <a:t>SAP HANA: Leverage in-memory computing for real-time analytics and insights.</a:t>
                </a:r>
              </a:p>
              <a:p>
                <a:pPr marL="274320" marR="0" lvl="0" indent="-171450"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schemeClr val="bg1"/>
                    </a:solidFill>
                    <a:effectLst/>
                    <a:uLnTx/>
                    <a:uFillTx/>
                    <a:latin typeface="Aptos" panose="020B0004020202020204" pitchFamily="34" charset="0"/>
                  </a:rPr>
                  <a:t>SAP Business Intelligence (BI): Enable data-driven decision-making and performance monitoring.</a:t>
                </a:r>
              </a:p>
            </p:txBody>
          </p:sp>
        </p:grpSp>
        <p:sp>
          <p:nvSpPr>
            <p:cNvPr id="114" name="Oval 113">
              <a:extLst>
                <a:ext uri="{FF2B5EF4-FFF2-40B4-BE49-F238E27FC236}">
                  <a16:creationId xmlns:a16="http://schemas.microsoft.com/office/drawing/2014/main" id="{15BF926C-E4D3-5543-C82E-85543363E17C}"/>
                </a:ext>
              </a:extLst>
            </p:cNvPr>
            <p:cNvSpPr/>
            <p:nvPr/>
          </p:nvSpPr>
          <p:spPr>
            <a:xfrm>
              <a:off x="7334552" y="1452504"/>
              <a:ext cx="772885" cy="692686"/>
            </a:xfrm>
            <a:prstGeom prst="ellipse">
              <a:avLst/>
            </a:prstGeom>
            <a:solidFill>
              <a:schemeClr val="bg1"/>
            </a:solidFill>
            <a:ln w="12700">
              <a:noFill/>
            </a:ln>
          </p:spPr>
          <p:txBody>
            <a:bodyPr vert="horz" lIns="108000" tIns="108000" rIns="10800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b="0" i="0" u="none" strike="noStrike" kern="0" cap="none" spc="0" normalizeH="0" baseline="0" noProof="0">
                <a:ln>
                  <a:noFill/>
                </a:ln>
                <a:solidFill>
                  <a:srgbClr val="FFFFFF"/>
                </a:solidFill>
                <a:effectLst/>
                <a:uLnTx/>
                <a:uFillTx/>
                <a:latin typeface="Aptos" panose="020B0004020202020204" pitchFamily="34" charset="0"/>
              </a:endParaRPr>
            </a:p>
          </p:txBody>
        </p:sp>
      </p:grpSp>
      <p:pic>
        <p:nvPicPr>
          <p:cNvPr id="121" name="Picture 120" descr="A green and black logo&#10;&#10;Description automatically generated">
            <a:extLst>
              <a:ext uri="{FF2B5EF4-FFF2-40B4-BE49-F238E27FC236}">
                <a16:creationId xmlns:a16="http://schemas.microsoft.com/office/drawing/2014/main" id="{D6730616-5791-74C2-CD60-F1B895EA554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71675" y="1652806"/>
            <a:ext cx="457200" cy="457200"/>
          </a:xfrm>
          <a:prstGeom prst="rect">
            <a:avLst/>
          </a:prstGeom>
        </p:spPr>
      </p:pic>
      <p:pic>
        <p:nvPicPr>
          <p:cNvPr id="123" name="Picture 122" descr="A green line drawing of a gear and a arrow&#10;&#10;Description automatically generated">
            <a:extLst>
              <a:ext uri="{FF2B5EF4-FFF2-40B4-BE49-F238E27FC236}">
                <a16:creationId xmlns:a16="http://schemas.microsoft.com/office/drawing/2014/main" id="{EAE37D7A-4494-DF10-D7C1-DA54F736A63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50362" y="1551631"/>
            <a:ext cx="489506" cy="489506"/>
          </a:xfrm>
          <a:prstGeom prst="rect">
            <a:avLst/>
          </a:prstGeom>
        </p:spPr>
      </p:pic>
      <p:pic>
        <p:nvPicPr>
          <p:cNvPr id="125" name="Picture 124" descr="A green line art of a box&#10;&#10;Description automatically generated">
            <a:extLst>
              <a:ext uri="{FF2B5EF4-FFF2-40B4-BE49-F238E27FC236}">
                <a16:creationId xmlns:a16="http://schemas.microsoft.com/office/drawing/2014/main" id="{8D57C65E-8D18-0F0F-8587-F9091CCE016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47178" y="1576348"/>
            <a:ext cx="464789" cy="464789"/>
          </a:xfrm>
          <a:prstGeom prst="rect">
            <a:avLst/>
          </a:prstGeom>
        </p:spPr>
      </p:pic>
      <p:pic>
        <p:nvPicPr>
          <p:cNvPr id="127" name="Picture 126" descr="A group of green gears&#10;&#10;Description automatically generated">
            <a:extLst>
              <a:ext uri="{FF2B5EF4-FFF2-40B4-BE49-F238E27FC236}">
                <a16:creationId xmlns:a16="http://schemas.microsoft.com/office/drawing/2014/main" id="{1D379D1A-7638-6657-AB16-3AEBA79A45D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921693" y="1609683"/>
            <a:ext cx="385199" cy="385199"/>
          </a:xfrm>
          <a:prstGeom prst="rect">
            <a:avLst/>
          </a:prstGeom>
        </p:spPr>
      </p:pic>
      <p:sp>
        <p:nvSpPr>
          <p:cNvPr id="4" name="Slide Number Placeholder 3">
            <a:extLst>
              <a:ext uri="{FF2B5EF4-FFF2-40B4-BE49-F238E27FC236}">
                <a16:creationId xmlns:a16="http://schemas.microsoft.com/office/drawing/2014/main" id="{1AE69994-6969-C761-2CB0-1D423FDC857E}"/>
              </a:ext>
            </a:extLst>
          </p:cNvPr>
          <p:cNvSpPr>
            <a:spLocks noGrp="1"/>
          </p:cNvSpPr>
          <p:nvPr>
            <p:ph type="sldNum" sz="quarter" idx="11"/>
          </p:nvPr>
        </p:nvSpPr>
        <p:spPr>
          <a:xfrm>
            <a:off x="10101263" y="6114866"/>
            <a:ext cx="1724976" cy="365125"/>
          </a:xfrm>
        </p:spPr>
        <p:txBody>
          <a:bodyPr/>
          <a:lstStyle/>
          <a:p>
            <a:r>
              <a:rPr lang="en-US">
                <a:latin typeface="Aptos" panose="020B0004020202020204" pitchFamily="34" charset="0"/>
              </a:rPr>
              <a:t>©</a:t>
            </a:r>
            <a:fld id="{829EA186-E451-EF45-85F6-A86EEDED1369}" type="datetimeyyyy">
              <a:rPr lang="en-US" smtClean="0">
                <a:latin typeface="Aptos" panose="020B0004020202020204" pitchFamily="34" charset="0"/>
              </a:rPr>
              <a:pPr/>
              <a:t>2025</a:t>
            </a:fld>
            <a:r>
              <a:rPr lang="en-US">
                <a:latin typeface="Aptos" panose="020B0004020202020204" pitchFamily="34" charset="0"/>
              </a:rPr>
              <a:t> Brillio  |  </a:t>
            </a:r>
            <a:fld id="{F1FE5E21-FD07-B44E-90A3-0254BFCDB49A}" type="slidenum">
              <a:rPr smtClean="0">
                <a:latin typeface="Aptos" panose="020B0004020202020204" pitchFamily="34" charset="0"/>
              </a:rPr>
              <a:pPr/>
              <a:t>21</a:t>
            </a:fld>
            <a:endParaRPr>
              <a:latin typeface="Aptos" panose="020B0004020202020204" pitchFamily="34" charset="0"/>
            </a:endParaRPr>
          </a:p>
        </p:txBody>
      </p:sp>
    </p:spTree>
    <p:extLst>
      <p:ext uri="{BB962C8B-B14F-4D97-AF65-F5344CB8AC3E}">
        <p14:creationId xmlns:p14="http://schemas.microsoft.com/office/powerpoint/2010/main" val="4042701003"/>
      </p:ext>
    </p:extLst>
  </p:cSld>
  <p:clrMapOvr>
    <a:masterClrMapping/>
  </p:clrMapOvr>
  <mc:AlternateContent xmlns:mc="http://schemas.openxmlformats.org/markup-compatibility/2006" xmlns:p14="http://schemas.microsoft.com/office/powerpoint/2010/main">
    <mc:Choice Requires="p14">
      <p:transition spd="slow">
        <p14:flythrough/>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AA6500-C42E-A8BD-7520-CCB8932C1E6B}"/>
            </a:ext>
          </a:extLst>
        </p:cNvPr>
        <p:cNvGrpSpPr/>
        <p:nvPr/>
      </p:nvGrpSpPr>
      <p:grpSpPr>
        <a:xfrm>
          <a:off x="0" y="0"/>
          <a:ext cx="0" cy="0"/>
          <a:chOff x="0" y="0"/>
          <a:chExt cx="0" cy="0"/>
        </a:xfrm>
      </p:grpSpPr>
      <p:sp>
        <p:nvSpPr>
          <p:cNvPr id="5" name="Graphic 12">
            <a:extLst>
              <a:ext uri="{FF2B5EF4-FFF2-40B4-BE49-F238E27FC236}">
                <a16:creationId xmlns:a16="http://schemas.microsoft.com/office/drawing/2014/main" id="{8CB24D54-95AA-44F4-86D6-4D715ADC2F46}"/>
              </a:ext>
            </a:extLst>
          </p:cNvPr>
          <p:cNvSpPr/>
          <p:nvPr/>
        </p:nvSpPr>
        <p:spPr>
          <a:xfrm>
            <a:off x="5146520" y="0"/>
            <a:ext cx="7083354" cy="6858000"/>
          </a:xfrm>
          <a:custGeom>
            <a:avLst/>
            <a:gdLst>
              <a:gd name="connsiteX0" fmla="*/ 7083355 w 7083354"/>
              <a:gd name="connsiteY0" fmla="*/ 6858000 h 6858000"/>
              <a:gd name="connsiteX1" fmla="*/ 551850 w 7083354"/>
              <a:gd name="connsiteY1" fmla="*/ 6858000 h 6858000"/>
              <a:gd name="connsiteX2" fmla="*/ 423157 w 7083354"/>
              <a:gd name="connsiteY2" fmla="*/ 4811395 h 6858000"/>
              <a:gd name="connsiteX3" fmla="*/ 4471599 w 7083354"/>
              <a:gd name="connsiteY3" fmla="*/ 0 h 6858000"/>
              <a:gd name="connsiteX4" fmla="*/ 7083355 w 708335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3354" h="6858000">
                <a:moveTo>
                  <a:pt x="7083355" y="6858000"/>
                </a:moveTo>
                <a:lnTo>
                  <a:pt x="551850" y="6858000"/>
                </a:lnTo>
                <a:cubicBezTo>
                  <a:pt x="-212161" y="6355610"/>
                  <a:pt x="-112677" y="5450629"/>
                  <a:pt x="423157" y="4811395"/>
                </a:cubicBezTo>
                <a:lnTo>
                  <a:pt x="4471599" y="0"/>
                </a:lnTo>
                <a:lnTo>
                  <a:pt x="7083355" y="0"/>
                </a:lnTo>
              </a:path>
            </a:pathLst>
          </a:custGeom>
          <a:solidFill>
            <a:schemeClr val="bg1">
              <a:lumMod val="25000"/>
              <a:lumOff val="75000"/>
              <a:alpha val="19000"/>
            </a:schemeClr>
          </a:solidFill>
          <a:ln w="10583" cap="flat">
            <a:noFill/>
            <a:prstDash val="solid"/>
            <a:miter/>
          </a:ln>
        </p:spPr>
        <p:txBody>
          <a:bodyPr rtlCol="0" anchor="ctr"/>
          <a:lstStyle/>
          <a:p>
            <a:endParaRPr lang="en-US"/>
          </a:p>
        </p:txBody>
      </p:sp>
      <p:sp>
        <p:nvSpPr>
          <p:cNvPr id="14" name="Graphic 5">
            <a:extLst>
              <a:ext uri="{FF2B5EF4-FFF2-40B4-BE49-F238E27FC236}">
                <a16:creationId xmlns:a16="http://schemas.microsoft.com/office/drawing/2014/main" id="{F1A5EB4F-E5AD-37BE-1DFB-9B8B8F69CB99}"/>
              </a:ext>
            </a:extLst>
          </p:cNvPr>
          <p:cNvSpPr/>
          <p:nvPr/>
        </p:nvSpPr>
        <p:spPr>
          <a:xfrm>
            <a:off x="7695096" y="9063"/>
            <a:ext cx="7072843" cy="6854700"/>
          </a:xfrm>
          <a:custGeom>
            <a:avLst/>
            <a:gdLst>
              <a:gd name="connsiteX0" fmla="*/ 422520 w 7072842"/>
              <a:gd name="connsiteY0" fmla="*/ 4804219 h 6847772"/>
              <a:gd name="connsiteX1" fmla="*/ 4464987 w 7072842"/>
              <a:gd name="connsiteY1" fmla="*/ 0 h 6847772"/>
              <a:gd name="connsiteX2" fmla="*/ 7072843 w 7072842"/>
              <a:gd name="connsiteY2" fmla="*/ 0 h 6847772"/>
              <a:gd name="connsiteX3" fmla="*/ 2827236 w 7072842"/>
              <a:gd name="connsiteY3" fmla="*/ 5023934 h 6847772"/>
              <a:gd name="connsiteX4" fmla="*/ 2814860 w 7072842"/>
              <a:gd name="connsiteY4" fmla="*/ 6847773 h 6847772"/>
              <a:gd name="connsiteX5" fmla="*/ 551057 w 7072842"/>
              <a:gd name="connsiteY5" fmla="*/ 6847773 h 6847772"/>
              <a:gd name="connsiteX6" fmla="*/ 422520 w 7072842"/>
              <a:gd name="connsiteY6" fmla="*/ 4804219 h 6847772"/>
              <a:gd name="connsiteX0" fmla="*/ 422520 w 7072843"/>
              <a:gd name="connsiteY0" fmla="*/ 4804219 h 6854700"/>
              <a:gd name="connsiteX1" fmla="*/ 4464987 w 7072843"/>
              <a:gd name="connsiteY1" fmla="*/ 0 h 6854700"/>
              <a:gd name="connsiteX2" fmla="*/ 7072843 w 7072843"/>
              <a:gd name="connsiteY2" fmla="*/ 0 h 6854700"/>
              <a:gd name="connsiteX3" fmla="*/ 2827236 w 7072843"/>
              <a:gd name="connsiteY3" fmla="*/ 5023934 h 6854700"/>
              <a:gd name="connsiteX4" fmla="*/ 2825251 w 7072843"/>
              <a:gd name="connsiteY4" fmla="*/ 6854700 h 6854700"/>
              <a:gd name="connsiteX5" fmla="*/ 551057 w 7072843"/>
              <a:gd name="connsiteY5" fmla="*/ 6847773 h 6854700"/>
              <a:gd name="connsiteX6" fmla="*/ 422520 w 7072843"/>
              <a:gd name="connsiteY6" fmla="*/ 4804219 h 6854700"/>
              <a:gd name="connsiteX0" fmla="*/ 422520 w 7072843"/>
              <a:gd name="connsiteY0" fmla="*/ 4804219 h 6854700"/>
              <a:gd name="connsiteX1" fmla="*/ 4464987 w 7072843"/>
              <a:gd name="connsiteY1" fmla="*/ 0 h 6854700"/>
              <a:gd name="connsiteX2" fmla="*/ 7072843 w 7072843"/>
              <a:gd name="connsiteY2" fmla="*/ 0 h 6854700"/>
              <a:gd name="connsiteX3" fmla="*/ 2827236 w 7072843"/>
              <a:gd name="connsiteY3" fmla="*/ 5023934 h 6854700"/>
              <a:gd name="connsiteX4" fmla="*/ 2825251 w 7072843"/>
              <a:gd name="connsiteY4" fmla="*/ 6854700 h 6854700"/>
              <a:gd name="connsiteX5" fmla="*/ 551057 w 7072843"/>
              <a:gd name="connsiteY5" fmla="*/ 6847773 h 6854700"/>
              <a:gd name="connsiteX6" fmla="*/ 422520 w 7072843"/>
              <a:gd name="connsiteY6" fmla="*/ 4804219 h 6854700"/>
              <a:gd name="connsiteX0" fmla="*/ 422520 w 7072843"/>
              <a:gd name="connsiteY0" fmla="*/ 4804219 h 6854700"/>
              <a:gd name="connsiteX1" fmla="*/ 4464987 w 7072843"/>
              <a:gd name="connsiteY1" fmla="*/ 0 h 6854700"/>
              <a:gd name="connsiteX2" fmla="*/ 7072843 w 7072843"/>
              <a:gd name="connsiteY2" fmla="*/ 0 h 6854700"/>
              <a:gd name="connsiteX3" fmla="*/ 2827236 w 7072843"/>
              <a:gd name="connsiteY3" fmla="*/ 5023934 h 6854700"/>
              <a:gd name="connsiteX4" fmla="*/ 2825251 w 7072843"/>
              <a:gd name="connsiteY4" fmla="*/ 6854700 h 6854700"/>
              <a:gd name="connsiteX5" fmla="*/ 551057 w 7072843"/>
              <a:gd name="connsiteY5" fmla="*/ 6847773 h 6854700"/>
              <a:gd name="connsiteX6" fmla="*/ 422520 w 7072843"/>
              <a:gd name="connsiteY6" fmla="*/ 4804219 h 6854700"/>
              <a:gd name="connsiteX0" fmla="*/ 422520 w 7072843"/>
              <a:gd name="connsiteY0" fmla="*/ 4804219 h 6854700"/>
              <a:gd name="connsiteX1" fmla="*/ 4464987 w 7072843"/>
              <a:gd name="connsiteY1" fmla="*/ 0 h 6854700"/>
              <a:gd name="connsiteX2" fmla="*/ 7072843 w 7072843"/>
              <a:gd name="connsiteY2" fmla="*/ 0 h 6854700"/>
              <a:gd name="connsiteX3" fmla="*/ 2827236 w 7072843"/>
              <a:gd name="connsiteY3" fmla="*/ 5023934 h 6854700"/>
              <a:gd name="connsiteX4" fmla="*/ 2825251 w 7072843"/>
              <a:gd name="connsiteY4" fmla="*/ 6854700 h 6854700"/>
              <a:gd name="connsiteX5" fmla="*/ 551057 w 7072843"/>
              <a:gd name="connsiteY5" fmla="*/ 6847773 h 6854700"/>
              <a:gd name="connsiteX6" fmla="*/ 422520 w 7072843"/>
              <a:gd name="connsiteY6" fmla="*/ 4804219 h 6854700"/>
              <a:gd name="connsiteX0" fmla="*/ 422520 w 7072843"/>
              <a:gd name="connsiteY0" fmla="*/ 4804219 h 6854700"/>
              <a:gd name="connsiteX1" fmla="*/ 4464987 w 7072843"/>
              <a:gd name="connsiteY1" fmla="*/ 0 h 6854700"/>
              <a:gd name="connsiteX2" fmla="*/ 7072843 w 7072843"/>
              <a:gd name="connsiteY2" fmla="*/ 0 h 6854700"/>
              <a:gd name="connsiteX3" fmla="*/ 2827236 w 7072843"/>
              <a:gd name="connsiteY3" fmla="*/ 5023934 h 6854700"/>
              <a:gd name="connsiteX4" fmla="*/ 2825251 w 7072843"/>
              <a:gd name="connsiteY4" fmla="*/ 6854700 h 6854700"/>
              <a:gd name="connsiteX5" fmla="*/ 551057 w 7072843"/>
              <a:gd name="connsiteY5" fmla="*/ 6847773 h 6854700"/>
              <a:gd name="connsiteX6" fmla="*/ 422520 w 7072843"/>
              <a:gd name="connsiteY6" fmla="*/ 4804219 h 6854700"/>
              <a:gd name="connsiteX0" fmla="*/ 422520 w 7072843"/>
              <a:gd name="connsiteY0" fmla="*/ 4804219 h 6854700"/>
              <a:gd name="connsiteX1" fmla="*/ 4464987 w 7072843"/>
              <a:gd name="connsiteY1" fmla="*/ 0 h 6854700"/>
              <a:gd name="connsiteX2" fmla="*/ 7072843 w 7072843"/>
              <a:gd name="connsiteY2" fmla="*/ 0 h 6854700"/>
              <a:gd name="connsiteX3" fmla="*/ 2827236 w 7072843"/>
              <a:gd name="connsiteY3" fmla="*/ 5023934 h 6854700"/>
              <a:gd name="connsiteX4" fmla="*/ 2825251 w 7072843"/>
              <a:gd name="connsiteY4" fmla="*/ 6854700 h 6854700"/>
              <a:gd name="connsiteX5" fmla="*/ 551057 w 7072843"/>
              <a:gd name="connsiteY5" fmla="*/ 6847773 h 6854700"/>
              <a:gd name="connsiteX6" fmla="*/ 422520 w 7072843"/>
              <a:gd name="connsiteY6" fmla="*/ 4804219 h 6854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72843" h="6854700">
                <a:moveTo>
                  <a:pt x="422520" y="4804219"/>
                </a:moveTo>
                <a:lnTo>
                  <a:pt x="4464987" y="0"/>
                </a:lnTo>
                <a:lnTo>
                  <a:pt x="7072843" y="0"/>
                </a:lnTo>
                <a:lnTo>
                  <a:pt x="2827236" y="5023934"/>
                </a:lnTo>
                <a:cubicBezTo>
                  <a:pt x="2405702" y="5562918"/>
                  <a:pt x="2292307" y="6311373"/>
                  <a:pt x="2825251" y="6854700"/>
                </a:cubicBezTo>
                <a:lnTo>
                  <a:pt x="551057" y="6847773"/>
                </a:lnTo>
                <a:cubicBezTo>
                  <a:pt x="-211856" y="6346116"/>
                  <a:pt x="-112505" y="5442503"/>
                  <a:pt x="422520" y="4804219"/>
                </a:cubicBezTo>
                <a:close/>
              </a:path>
            </a:pathLst>
          </a:custGeom>
          <a:solidFill>
            <a:schemeClr val="bg1">
              <a:lumMod val="10000"/>
              <a:lumOff val="90000"/>
              <a:alpha val="54000"/>
            </a:schemeClr>
          </a:solidFill>
          <a:ln w="14404" cap="flat">
            <a:noFill/>
            <a:prstDash val="solid"/>
            <a:miter/>
          </a:ln>
        </p:spPr>
        <p:txBody>
          <a:bodyPr rtlCol="0" anchor="ctr"/>
          <a:lstStyle/>
          <a:p>
            <a:endParaRPr lang="en-US"/>
          </a:p>
        </p:txBody>
      </p:sp>
      <p:sp>
        <p:nvSpPr>
          <p:cNvPr id="3" name="Title 4">
            <a:extLst>
              <a:ext uri="{FF2B5EF4-FFF2-40B4-BE49-F238E27FC236}">
                <a16:creationId xmlns:a16="http://schemas.microsoft.com/office/drawing/2014/main" id="{7C27CB6B-D79E-6EEC-F537-2F24CEBB6DA5}"/>
              </a:ext>
            </a:extLst>
          </p:cNvPr>
          <p:cNvSpPr txBox="1">
            <a:spLocks/>
          </p:cNvSpPr>
          <p:nvPr/>
        </p:nvSpPr>
        <p:spPr>
          <a:xfrm>
            <a:off x="890844" y="2559553"/>
            <a:ext cx="6032383" cy="1648630"/>
          </a:xfrm>
          <a:prstGeom prst="rect">
            <a:avLst/>
          </a:prstGeom>
        </p:spPr>
        <p:txBody>
          <a:bodyPr>
            <a:noAutofit/>
          </a:bodyPr>
          <a:lstStyle>
            <a:lvl1pPr marL="0" marR="0" indent="0" algn="l" defTabSz="1462796" rtl="0" eaLnBrk="1" latinLnBrk="0" hangingPunct="1">
              <a:lnSpc>
                <a:spcPct val="80000"/>
              </a:lnSpc>
              <a:spcBef>
                <a:spcPts val="0"/>
              </a:spcBef>
              <a:spcAft>
                <a:spcPts val="0"/>
              </a:spcAft>
              <a:buClrTx/>
              <a:buSzTx/>
              <a:buFontTx/>
              <a:buNone/>
              <a:tabLst/>
              <a:defRPr sz="3800" b="0" i="0" u="none" strike="noStrike" cap="none" spc="0" baseline="0">
                <a:solidFill>
                  <a:schemeClr val="bg1"/>
                </a:solidFill>
                <a:uFillTx/>
                <a:latin typeface="Aptos" panose="020B0004020202020204" pitchFamily="34" charset="0"/>
                <a:ea typeface="+mj-ea"/>
                <a:cs typeface="+mj-cs"/>
                <a:sym typeface="IBM Plex Sans Light"/>
              </a:defRPr>
            </a:lvl1pPr>
            <a:lvl2pPr marL="0" marR="0" indent="0"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2pPr>
            <a:lvl3pPr marL="0" marR="0" indent="0"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3pPr>
            <a:lvl4pPr marL="0" marR="0" indent="0"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4pPr>
            <a:lvl5pPr marL="0" marR="0" indent="0"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5pPr>
            <a:lvl6pPr marL="0" marR="0" indent="217505"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6pPr>
            <a:lvl7pPr marL="0" marR="0" indent="435011"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7pPr>
            <a:lvl8pPr marL="0" marR="0" indent="652515"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8pPr>
            <a:lvl9pPr marL="0" marR="0" indent="870021"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9pPr>
          </a:lstStyle>
          <a:p>
            <a:pPr defTabSz="1218948">
              <a:lnSpc>
                <a:spcPct val="90000"/>
              </a:lnSpc>
              <a:defRPr/>
            </a:pPr>
            <a:r>
              <a:rPr lang="en-US" sz="5000" kern="0" spc="100">
                <a:solidFill>
                  <a:schemeClr val="tx2"/>
                </a:solidFill>
                <a:ea typeface="Helvetica Neue UltraLight" panose="02000206000000020004" pitchFamily="2" charset="0"/>
                <a:cs typeface="Helvetica Neue Medium" panose="02000503000000020004" pitchFamily="2" charset="0"/>
              </a:rPr>
              <a:t>Our Understanding</a:t>
            </a:r>
          </a:p>
          <a:p>
            <a:pPr defTabSz="1218948">
              <a:lnSpc>
                <a:spcPct val="90000"/>
              </a:lnSpc>
              <a:defRPr/>
            </a:pPr>
            <a:endParaRPr lang="en-US" sz="6000" kern="0" spc="100">
              <a:solidFill>
                <a:schemeClr val="tx2"/>
              </a:solidFill>
              <a:ea typeface="Helvetica Neue UltraLight" panose="02000206000000020004" pitchFamily="2" charset="0"/>
              <a:cs typeface="Helvetica Neue Medium" panose="02000503000000020004" pitchFamily="2" charset="0"/>
            </a:endParaRPr>
          </a:p>
          <a:p>
            <a:pPr defTabSz="1218948">
              <a:lnSpc>
                <a:spcPct val="90000"/>
              </a:lnSpc>
              <a:defRPr/>
            </a:pPr>
            <a:endParaRPr lang="en-US" sz="6000" kern="0" spc="100">
              <a:solidFill>
                <a:schemeClr val="tx2"/>
              </a:solidFill>
              <a:ea typeface="Helvetica Neue UltraLight" panose="02000206000000020004" pitchFamily="2" charset="0"/>
              <a:cs typeface="Helvetica Neue Medium" panose="02000503000000020004" pitchFamily="2" charset="0"/>
            </a:endParaRPr>
          </a:p>
        </p:txBody>
      </p:sp>
      <p:sp>
        <p:nvSpPr>
          <p:cNvPr id="11" name="Text Placeholder 3">
            <a:extLst>
              <a:ext uri="{FF2B5EF4-FFF2-40B4-BE49-F238E27FC236}">
                <a16:creationId xmlns:a16="http://schemas.microsoft.com/office/drawing/2014/main" id="{4DF501FB-DEAA-FAAA-F25B-DBA14ADD082A}"/>
              </a:ext>
            </a:extLst>
          </p:cNvPr>
          <p:cNvSpPr txBox="1">
            <a:spLocks/>
          </p:cNvSpPr>
          <p:nvPr/>
        </p:nvSpPr>
        <p:spPr>
          <a:xfrm>
            <a:off x="288889" y="6458629"/>
            <a:ext cx="4088233" cy="150303"/>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Outfit Light" pitchFamily="2" charset="0"/>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48">
              <a:defRPr/>
            </a:pPr>
            <a:r>
              <a:rPr lang="en-US" sz="917" kern="0">
                <a:solidFill>
                  <a:schemeClr val="bg2"/>
                </a:solidFill>
                <a:latin typeface="Aptos Light" panose="020B0004020202020204" pitchFamily="34" charset="0"/>
              </a:rPr>
              <a:t>Confidential</a:t>
            </a:r>
            <a:r>
              <a:rPr lang="en-US" sz="917" kern="0">
                <a:solidFill>
                  <a:schemeClr val="bg2"/>
                </a:solidFill>
                <a:latin typeface="Aptos" panose="020B0004020202020204" pitchFamily="34" charset="0"/>
              </a:rPr>
              <a:t>  /  </a:t>
            </a:r>
            <a:r>
              <a:rPr lang="en-US" sz="917" kern="0">
                <a:solidFill>
                  <a:schemeClr val="bg2"/>
                </a:solidFill>
                <a:latin typeface="Aptos Light" panose="020B0004020202020204" pitchFamily="34" charset="0"/>
              </a:rPr>
              <a:t>Brillio</a:t>
            </a:r>
          </a:p>
        </p:txBody>
      </p:sp>
      <p:sp>
        <p:nvSpPr>
          <p:cNvPr id="4" name="TextBox 3">
            <a:extLst>
              <a:ext uri="{FF2B5EF4-FFF2-40B4-BE49-F238E27FC236}">
                <a16:creationId xmlns:a16="http://schemas.microsoft.com/office/drawing/2014/main" id="{A3054D3E-AFDC-5E24-2B2D-47B90C063CFF}"/>
              </a:ext>
            </a:extLst>
          </p:cNvPr>
          <p:cNvSpPr txBox="1"/>
          <p:nvPr/>
        </p:nvSpPr>
        <p:spPr>
          <a:xfrm>
            <a:off x="941294" y="3496235"/>
            <a:ext cx="0" cy="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rtlCol="0">
            <a:noAutofit/>
          </a:bodyPr>
          <a:lstStyle/>
          <a:p>
            <a:pPr marL="370373" indent="-372276" defTabSz="2031919">
              <a:spcBef>
                <a:spcPts val="2417"/>
              </a:spcBef>
              <a:buSzPct val="100000"/>
              <a:buFontTx/>
              <a:buChar char="–"/>
              <a:defRPr/>
            </a:pPr>
            <a:endParaRPr lang="en-US" sz="1500" kern="0">
              <a:solidFill>
                <a:srgbClr val="000000"/>
              </a:solidFill>
              <a:latin typeface="Aptos" panose="02110004020202020204"/>
              <a:sym typeface="IBM Plex Sans Light"/>
            </a:endParaRPr>
          </a:p>
        </p:txBody>
      </p:sp>
      <p:sp>
        <p:nvSpPr>
          <p:cNvPr id="7" name="TextBox 6">
            <a:extLst>
              <a:ext uri="{FF2B5EF4-FFF2-40B4-BE49-F238E27FC236}">
                <a16:creationId xmlns:a16="http://schemas.microsoft.com/office/drawing/2014/main" id="{35D9EC18-52D7-1242-1962-3E7B00BB34C1}"/>
              </a:ext>
            </a:extLst>
          </p:cNvPr>
          <p:cNvSpPr txBox="1"/>
          <p:nvPr/>
        </p:nvSpPr>
        <p:spPr>
          <a:xfrm>
            <a:off x="941294" y="3204135"/>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370373" indent="-372276" defTabSz="2031919">
              <a:spcBef>
                <a:spcPts val="2417"/>
              </a:spcBef>
              <a:buSzPct val="100000"/>
              <a:buFontTx/>
              <a:buChar char="–"/>
              <a:defRPr/>
            </a:pPr>
            <a:endParaRPr lang="en-US" sz="1500" kern="0">
              <a:solidFill>
                <a:srgbClr val="000000"/>
              </a:solidFill>
              <a:latin typeface="Aptos" panose="02110004020202020204"/>
              <a:sym typeface="IBM Plex Sans Light"/>
            </a:endParaRPr>
          </a:p>
        </p:txBody>
      </p:sp>
      <p:sp>
        <p:nvSpPr>
          <p:cNvPr id="9" name="Rectangle 8">
            <a:extLst>
              <a:ext uri="{FF2B5EF4-FFF2-40B4-BE49-F238E27FC236}">
                <a16:creationId xmlns:a16="http://schemas.microsoft.com/office/drawing/2014/main" id="{72A1062C-0B98-F532-F5A3-76A042EBC0E8}"/>
              </a:ext>
            </a:extLst>
          </p:cNvPr>
          <p:cNvSpPr/>
          <p:nvPr/>
        </p:nvSpPr>
        <p:spPr bwMode="auto">
          <a:xfrm rot="5400000">
            <a:off x="1576003" y="1838266"/>
            <a:ext cx="38099" cy="1198778"/>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76200" tIns="76200" rIns="76200" bIns="76200" numCol="1" rtlCol="0" anchor="t" anchorCtr="0" compatLnSpc="1">
            <a:prstTxWarp prst="textNoShape">
              <a:avLst/>
            </a:prstTxWarp>
          </a:bodyPr>
          <a:lstStyle/>
          <a:p>
            <a:pPr defTabSz="761970" fontAlgn="base">
              <a:spcBef>
                <a:spcPct val="0"/>
              </a:spcBef>
              <a:spcAft>
                <a:spcPct val="0"/>
              </a:spcAft>
              <a:defRPr/>
            </a:pPr>
            <a:endParaRPr lang="en-US" sz="1167">
              <a:solidFill>
                <a:schemeClr val="tx2"/>
              </a:solidFill>
              <a:latin typeface="Aptos" panose="02110004020202020204"/>
            </a:endParaRPr>
          </a:p>
        </p:txBody>
      </p:sp>
      <p:sp>
        <p:nvSpPr>
          <p:cNvPr id="8" name="Text Placeholder 3">
            <a:extLst>
              <a:ext uri="{FF2B5EF4-FFF2-40B4-BE49-F238E27FC236}">
                <a16:creationId xmlns:a16="http://schemas.microsoft.com/office/drawing/2014/main" id="{C808FE05-0D52-5F54-AA08-723DD72259C1}"/>
              </a:ext>
            </a:extLst>
          </p:cNvPr>
          <p:cNvSpPr txBox="1">
            <a:spLocks/>
          </p:cNvSpPr>
          <p:nvPr/>
        </p:nvSpPr>
        <p:spPr>
          <a:xfrm>
            <a:off x="11438259" y="6458629"/>
            <a:ext cx="462473" cy="150303"/>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Outfit Light" pitchFamily="2" charset="0"/>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r" defTabSz="1218948">
              <a:defRPr/>
            </a:pPr>
            <a:fld id="{64F0821C-65D3-DD4D-8DB2-745946DB9115}" type="slidenum">
              <a:rPr lang="en-US" sz="917" kern="0">
                <a:latin typeface="Aptos" panose="020B0004020202020204" pitchFamily="34" charset="0"/>
              </a:rPr>
              <a:pPr algn="r" defTabSz="1218948">
                <a:defRPr/>
              </a:pPr>
              <a:t>22</a:t>
            </a:fld>
            <a:endParaRPr lang="en-US" sz="917" kern="0">
              <a:latin typeface="Aptos" panose="020B0004020202020204" pitchFamily="34" charset="0"/>
            </a:endParaRPr>
          </a:p>
        </p:txBody>
      </p:sp>
      <p:pic>
        <p:nvPicPr>
          <p:cNvPr id="12" name="Graphic 11">
            <a:extLst>
              <a:ext uri="{FF2B5EF4-FFF2-40B4-BE49-F238E27FC236}">
                <a16:creationId xmlns:a16="http://schemas.microsoft.com/office/drawing/2014/main" id="{156D23D3-B5C7-882F-69FA-17C1FF3A9862}"/>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543540" y="6495499"/>
            <a:ext cx="167269" cy="81501"/>
          </a:xfrm>
          <a:prstGeom prst="rect">
            <a:avLst/>
          </a:prstGeom>
        </p:spPr>
      </p:pic>
      <p:sp>
        <p:nvSpPr>
          <p:cNvPr id="19" name="Title 4">
            <a:extLst>
              <a:ext uri="{FF2B5EF4-FFF2-40B4-BE49-F238E27FC236}">
                <a16:creationId xmlns:a16="http://schemas.microsoft.com/office/drawing/2014/main" id="{5EF01094-171F-A251-08EB-ADF4056E0AC4}"/>
              </a:ext>
            </a:extLst>
          </p:cNvPr>
          <p:cNvSpPr txBox="1">
            <a:spLocks/>
          </p:cNvSpPr>
          <p:nvPr/>
        </p:nvSpPr>
        <p:spPr>
          <a:xfrm>
            <a:off x="1043244" y="2711953"/>
            <a:ext cx="6032383" cy="1648630"/>
          </a:xfrm>
          <a:prstGeom prst="rect">
            <a:avLst/>
          </a:prstGeom>
        </p:spPr>
        <p:txBody>
          <a:bodyPr>
            <a:noAutofit/>
          </a:bodyPr>
          <a:lstStyle>
            <a:lvl1pPr marL="0" marR="0" indent="0" algn="l" defTabSz="1462796" rtl="0" eaLnBrk="1" latinLnBrk="0" hangingPunct="1">
              <a:lnSpc>
                <a:spcPct val="80000"/>
              </a:lnSpc>
              <a:spcBef>
                <a:spcPts val="0"/>
              </a:spcBef>
              <a:spcAft>
                <a:spcPts val="0"/>
              </a:spcAft>
              <a:buClrTx/>
              <a:buSzTx/>
              <a:buFontTx/>
              <a:buNone/>
              <a:tabLst/>
              <a:defRPr sz="3800" b="0" i="0" u="none" strike="noStrike" cap="none" spc="0" baseline="0">
                <a:solidFill>
                  <a:schemeClr val="bg1"/>
                </a:solidFill>
                <a:uFillTx/>
                <a:latin typeface="Aptos" panose="020B0004020202020204" pitchFamily="34" charset="0"/>
                <a:ea typeface="+mj-ea"/>
                <a:cs typeface="+mj-cs"/>
                <a:sym typeface="IBM Plex Sans Light"/>
              </a:defRPr>
            </a:lvl1pPr>
            <a:lvl2pPr marL="0" marR="0" indent="0"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2pPr>
            <a:lvl3pPr marL="0" marR="0" indent="0"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3pPr>
            <a:lvl4pPr marL="0" marR="0" indent="0"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4pPr>
            <a:lvl5pPr marL="0" marR="0" indent="0"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5pPr>
            <a:lvl6pPr marL="0" marR="0" indent="217505"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6pPr>
            <a:lvl7pPr marL="0" marR="0" indent="435011"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7pPr>
            <a:lvl8pPr marL="0" marR="0" indent="652515"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8pPr>
            <a:lvl9pPr marL="0" marR="0" indent="870021"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9pPr>
          </a:lstStyle>
          <a:p>
            <a:pPr defTabSz="1218948">
              <a:lnSpc>
                <a:spcPct val="90000"/>
              </a:lnSpc>
              <a:defRPr/>
            </a:pPr>
            <a:r>
              <a:rPr lang="en-US" sz="5000" kern="0" spc="100">
                <a:ea typeface="Helvetica Neue UltraLight" panose="02000206000000020004" pitchFamily="2" charset="0"/>
                <a:cs typeface="Helvetica Neue Medium" panose="02000503000000020004" pitchFamily="2" charset="0"/>
              </a:rPr>
              <a:t>User Experience</a:t>
            </a:r>
            <a:endParaRPr lang="en-US" sz="6000" kern="0" spc="100">
              <a:ea typeface="Helvetica Neue UltraLight" panose="02000206000000020004" pitchFamily="2" charset="0"/>
              <a:cs typeface="Helvetica Neue Medium" panose="02000503000000020004" pitchFamily="2" charset="0"/>
            </a:endParaRPr>
          </a:p>
        </p:txBody>
      </p:sp>
      <p:sp>
        <p:nvSpPr>
          <p:cNvPr id="20" name="Rectangle 19">
            <a:extLst>
              <a:ext uri="{FF2B5EF4-FFF2-40B4-BE49-F238E27FC236}">
                <a16:creationId xmlns:a16="http://schemas.microsoft.com/office/drawing/2014/main" id="{535FDA9C-4478-E382-4A25-BFA1FAE0D8E5}"/>
              </a:ext>
            </a:extLst>
          </p:cNvPr>
          <p:cNvSpPr/>
          <p:nvPr/>
        </p:nvSpPr>
        <p:spPr bwMode="auto">
          <a:xfrm rot="5400000">
            <a:off x="1728403" y="1990666"/>
            <a:ext cx="38099" cy="1198778"/>
          </a:xfrm>
          <a:prstGeom prst="rect">
            <a:avLst/>
          </a:prstGeom>
          <a:solidFill>
            <a:schemeClr val="tx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76200" tIns="76200" rIns="76200" bIns="76200" numCol="1" rtlCol="0" anchor="t" anchorCtr="0" compatLnSpc="1">
            <a:prstTxWarp prst="textNoShape">
              <a:avLst/>
            </a:prstTxWarp>
          </a:bodyPr>
          <a:lstStyle/>
          <a:p>
            <a:pPr defTabSz="761970" fontAlgn="base">
              <a:spcBef>
                <a:spcPct val="0"/>
              </a:spcBef>
              <a:spcAft>
                <a:spcPct val="0"/>
              </a:spcAft>
              <a:defRPr/>
            </a:pPr>
            <a:endParaRPr lang="en-US" sz="1167">
              <a:solidFill>
                <a:schemeClr val="bg2"/>
              </a:solidFill>
              <a:latin typeface="Aptos" panose="02110004020202020204"/>
            </a:endParaRPr>
          </a:p>
        </p:txBody>
      </p:sp>
    </p:spTree>
    <p:extLst>
      <p:ext uri="{BB962C8B-B14F-4D97-AF65-F5344CB8AC3E}">
        <p14:creationId xmlns:p14="http://schemas.microsoft.com/office/powerpoint/2010/main" val="124068396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9FDB95-3589-A0AF-F2A8-C243BF3820E8}"/>
              </a:ext>
            </a:extLst>
          </p:cNvPr>
          <p:cNvSpPr>
            <a:spLocks noGrp="1"/>
          </p:cNvSpPr>
          <p:nvPr>
            <p:ph type="title"/>
          </p:nvPr>
        </p:nvSpPr>
        <p:spPr>
          <a:xfrm>
            <a:off x="290212" y="579000"/>
            <a:ext cx="11607800" cy="386603"/>
          </a:xfrm>
        </p:spPr>
        <p:txBody>
          <a:bodyPr/>
          <a:lstStyle/>
          <a:p>
            <a:r>
              <a:rPr lang="en-GB" b="0">
                <a:solidFill>
                  <a:schemeClr val="bg1"/>
                </a:solidFill>
                <a:latin typeface="Arial"/>
                <a:cs typeface="Arial"/>
              </a:rPr>
              <a:t>Step 1: Building Coty's Customer 360: Key Tenets</a:t>
            </a:r>
            <a:endParaRPr lang="en-US">
              <a:solidFill>
                <a:schemeClr val="bg1"/>
              </a:solidFill>
            </a:endParaRPr>
          </a:p>
        </p:txBody>
      </p:sp>
      <p:sp>
        <p:nvSpPr>
          <p:cNvPr id="18" name="Text Placeholder 17">
            <a:extLst>
              <a:ext uri="{FF2B5EF4-FFF2-40B4-BE49-F238E27FC236}">
                <a16:creationId xmlns:a16="http://schemas.microsoft.com/office/drawing/2014/main" id="{E1730618-2942-7EAD-2A66-787B07CBA62C}"/>
              </a:ext>
            </a:extLst>
          </p:cNvPr>
          <p:cNvSpPr>
            <a:spLocks noGrp="1"/>
          </p:cNvSpPr>
          <p:nvPr>
            <p:ph type="body" sz="quarter" idx="13"/>
          </p:nvPr>
        </p:nvSpPr>
        <p:spPr>
          <a:xfrm>
            <a:off x="367465" y="2796161"/>
            <a:ext cx="4395035" cy="1688753"/>
          </a:xfrm>
        </p:spPr>
        <p:txBody>
          <a:bodyPr/>
          <a:lstStyle/>
          <a:p>
            <a:pPr>
              <a:spcBef>
                <a:spcPts val="600"/>
              </a:spcBef>
            </a:pPr>
            <a:r>
              <a:rPr lang="en-US" sz="1800" b="1">
                <a:solidFill>
                  <a:schemeClr val="bg1"/>
                </a:solidFill>
                <a:latin typeface="Aptos SemiBold" panose="020B0004020202020204" pitchFamily="34" charset="0"/>
                <a:ea typeface="+mn-lt"/>
                <a:cs typeface="+mn-lt"/>
              </a:rPr>
              <a:t>Customer 360°: </a:t>
            </a:r>
            <a:r>
              <a:rPr lang="en-US" sz="1800" b="1">
                <a:solidFill>
                  <a:schemeClr val="bg1"/>
                </a:solidFill>
                <a:ea typeface="+mn-lt"/>
                <a:cs typeface="+mn-lt"/>
              </a:rPr>
              <a:t>Gain a holistic view of customers with comprehensive profiles, segmentation, and personalized recommendations.</a:t>
            </a:r>
            <a:endParaRPr lang="en-US" sz="1800"/>
          </a:p>
        </p:txBody>
      </p:sp>
      <p:sp>
        <p:nvSpPr>
          <p:cNvPr id="7" name="Title 1">
            <a:extLst>
              <a:ext uri="{FF2B5EF4-FFF2-40B4-BE49-F238E27FC236}">
                <a16:creationId xmlns:a16="http://schemas.microsoft.com/office/drawing/2014/main" id="{92809416-8540-4960-0AC3-17759341C0F0}"/>
              </a:ext>
            </a:extLst>
          </p:cNvPr>
          <p:cNvSpPr txBox="1">
            <a:spLocks/>
          </p:cNvSpPr>
          <p:nvPr/>
        </p:nvSpPr>
        <p:spPr>
          <a:xfrm>
            <a:off x="367585" y="364822"/>
            <a:ext cx="11460480" cy="166595"/>
          </a:xfrm>
          <a:prstGeom prst="rect">
            <a:avLst/>
          </a:prstGeom>
        </p:spPr>
        <p:txBody>
          <a:bodyPr vert="horz" lIns="0" tIns="0" rIns="0" bIns="0" rtlCol="0" anchor="t" anchorCtr="0">
            <a:noAutofit/>
          </a:bodyPr>
          <a:lstStyle>
            <a:lvl1pPr algn="l" defTabSz="914377" rtl="0" eaLnBrk="1" latinLnBrk="0" hangingPunct="1">
              <a:lnSpc>
                <a:spcPct val="90000"/>
              </a:lnSpc>
              <a:spcBef>
                <a:spcPct val="0"/>
              </a:spcBef>
              <a:buNone/>
              <a:defRPr sz="2800" b="1" i="0" kern="1200" baseline="0">
                <a:solidFill>
                  <a:schemeClr val="tx1"/>
                </a:solidFill>
                <a:latin typeface="Arial" panose="020B0604020202020204" pitchFamily="34" charset="0"/>
                <a:ea typeface="+mj-ea"/>
                <a:cs typeface="Arial" panose="020B0604020202020204" pitchFamily="34" charset="0"/>
              </a:defRPr>
            </a:lvl1pPr>
          </a:lstStyle>
          <a:p>
            <a:r>
              <a:rPr lang="en-GB" sz="1400" b="0">
                <a:solidFill>
                  <a:schemeClr val="bg1"/>
                </a:solidFill>
                <a:latin typeface="Aptos" panose="020B0004020202020204" pitchFamily="34" charset="0"/>
                <a:cs typeface="Arial"/>
              </a:rPr>
              <a:t>Designing Customer 360 Interface</a:t>
            </a:r>
            <a:endParaRPr lang="en-US" sz="1400" b="0">
              <a:solidFill>
                <a:schemeClr val="bg1"/>
              </a:solidFill>
              <a:latin typeface="Aptos" panose="020B0004020202020204" pitchFamily="34" charset="0"/>
            </a:endParaRPr>
          </a:p>
        </p:txBody>
      </p:sp>
      <p:sp>
        <p:nvSpPr>
          <p:cNvPr id="8" name="TextBox 7">
            <a:extLst>
              <a:ext uri="{FF2B5EF4-FFF2-40B4-BE49-F238E27FC236}">
                <a16:creationId xmlns:a16="http://schemas.microsoft.com/office/drawing/2014/main" id="{A4AE3AB3-BE7F-2E46-921F-8512856A9B6B}"/>
              </a:ext>
            </a:extLst>
          </p:cNvPr>
          <p:cNvSpPr txBox="1"/>
          <p:nvPr/>
        </p:nvSpPr>
        <p:spPr>
          <a:xfrm>
            <a:off x="249283" y="1447800"/>
            <a:ext cx="4513217" cy="116955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solidFill>
                  <a:schemeClr val="bg1"/>
                </a:solidFill>
                <a:ea typeface="+mn-lt"/>
                <a:cs typeface="+mn-lt"/>
              </a:rPr>
              <a:t>To deliver the best user-centric Customer 360 solution, we conducted thorough research into existing customer relationship platforms (CRPs). This analysis focused on identifying key functionalities and features essential for a successful implementation.</a:t>
            </a:r>
          </a:p>
        </p:txBody>
      </p:sp>
      <p:sp>
        <p:nvSpPr>
          <p:cNvPr id="6" name="Rounded Rectangle 5">
            <a:hlinkClick r:id="rId3"/>
            <a:extLst>
              <a:ext uri="{FF2B5EF4-FFF2-40B4-BE49-F238E27FC236}">
                <a16:creationId xmlns:a16="http://schemas.microsoft.com/office/drawing/2014/main" id="{44DA5164-CAFD-5BC1-2D86-BECBDCE5F437}"/>
              </a:ext>
            </a:extLst>
          </p:cNvPr>
          <p:cNvSpPr/>
          <p:nvPr/>
        </p:nvSpPr>
        <p:spPr>
          <a:xfrm>
            <a:off x="367465" y="4229027"/>
            <a:ext cx="2275008" cy="434697"/>
          </a:xfrm>
          <a:prstGeom prst="roundRect">
            <a:avLst/>
          </a:prstGeom>
          <a:solidFill>
            <a:schemeClr val="bg1"/>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rgbClr val="FFFFFF"/>
                </a:solidFill>
                <a:effectLst/>
                <a:uLnTx/>
                <a:uFillTx/>
                <a:latin typeface="Aptos" panose="020B0004020202020204" pitchFamily="34" charset="0"/>
              </a:rPr>
              <a:t>SEE FULL RESEARCH</a:t>
            </a:r>
            <a:endParaRPr kumimoji="0" lang="en-US" sz="1800" b="0" i="0" u="none" strike="noStrike" kern="0" cap="none" spc="0" normalizeH="0" baseline="0" noProof="0">
              <a:ln>
                <a:noFill/>
              </a:ln>
              <a:solidFill>
                <a:srgbClr val="FFFFFF"/>
              </a:solidFill>
              <a:effectLst/>
              <a:uLnTx/>
              <a:uFillTx/>
              <a:latin typeface="Aptos" panose="020B0004020202020204" pitchFamily="34" charset="0"/>
            </a:endParaRPr>
          </a:p>
        </p:txBody>
      </p:sp>
      <p:pic>
        <p:nvPicPr>
          <p:cNvPr id="9" name="Picture 8">
            <a:extLst>
              <a:ext uri="{FF2B5EF4-FFF2-40B4-BE49-F238E27FC236}">
                <a16:creationId xmlns:a16="http://schemas.microsoft.com/office/drawing/2014/main" id="{62E10EB1-0EE7-2EC6-3054-96EBBAD64AA7}"/>
              </a:ext>
            </a:extLst>
          </p:cNvPr>
          <p:cNvPicPr>
            <a:picLocks noChangeAspect="1"/>
          </p:cNvPicPr>
          <p:nvPr/>
        </p:nvPicPr>
        <p:blipFill>
          <a:blip r:embed="rId4"/>
          <a:stretch>
            <a:fillRect/>
          </a:stretch>
        </p:blipFill>
        <p:spPr>
          <a:xfrm>
            <a:off x="5105400" y="1447800"/>
            <a:ext cx="6139543" cy="3537773"/>
          </a:xfrm>
          <a:prstGeom prst="rect">
            <a:avLst/>
          </a:prstGeom>
        </p:spPr>
      </p:pic>
    </p:spTree>
    <p:extLst>
      <p:ext uri="{BB962C8B-B14F-4D97-AF65-F5344CB8AC3E}">
        <p14:creationId xmlns:p14="http://schemas.microsoft.com/office/powerpoint/2010/main" val="340525241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9FDB95-3589-A0AF-F2A8-C243BF3820E8}"/>
              </a:ext>
            </a:extLst>
          </p:cNvPr>
          <p:cNvSpPr>
            <a:spLocks noGrp="1"/>
          </p:cNvSpPr>
          <p:nvPr>
            <p:ph type="title"/>
          </p:nvPr>
        </p:nvSpPr>
        <p:spPr>
          <a:xfrm>
            <a:off x="290212" y="579000"/>
            <a:ext cx="11607800" cy="386603"/>
          </a:xfrm>
        </p:spPr>
        <p:txBody>
          <a:bodyPr/>
          <a:lstStyle/>
          <a:p>
            <a:r>
              <a:rPr lang="en-GB" b="0">
                <a:solidFill>
                  <a:schemeClr val="bg1"/>
                </a:solidFill>
                <a:latin typeface="Arial"/>
                <a:cs typeface="Arial"/>
              </a:rPr>
              <a:t>Step 2: Creating an Intuitive Customer 360 Interface</a:t>
            </a:r>
            <a:endParaRPr lang="en-US">
              <a:solidFill>
                <a:schemeClr val="bg1"/>
              </a:solidFill>
            </a:endParaRPr>
          </a:p>
        </p:txBody>
      </p:sp>
      <p:sp>
        <p:nvSpPr>
          <p:cNvPr id="7" name="Title 1">
            <a:extLst>
              <a:ext uri="{FF2B5EF4-FFF2-40B4-BE49-F238E27FC236}">
                <a16:creationId xmlns:a16="http://schemas.microsoft.com/office/drawing/2014/main" id="{92809416-8540-4960-0AC3-17759341C0F0}"/>
              </a:ext>
            </a:extLst>
          </p:cNvPr>
          <p:cNvSpPr txBox="1">
            <a:spLocks/>
          </p:cNvSpPr>
          <p:nvPr/>
        </p:nvSpPr>
        <p:spPr>
          <a:xfrm>
            <a:off x="367585" y="364822"/>
            <a:ext cx="11460480" cy="166595"/>
          </a:xfrm>
          <a:prstGeom prst="rect">
            <a:avLst/>
          </a:prstGeom>
        </p:spPr>
        <p:txBody>
          <a:bodyPr vert="horz" lIns="0" tIns="0" rIns="0" bIns="0" rtlCol="0" anchor="t" anchorCtr="0">
            <a:noAutofit/>
          </a:bodyPr>
          <a:lstStyle>
            <a:lvl1pPr algn="l" defTabSz="914377" rtl="0" eaLnBrk="1" latinLnBrk="0" hangingPunct="1">
              <a:lnSpc>
                <a:spcPct val="90000"/>
              </a:lnSpc>
              <a:spcBef>
                <a:spcPct val="0"/>
              </a:spcBef>
              <a:buNone/>
              <a:defRPr sz="2800" b="1" i="0" kern="1200" baseline="0">
                <a:solidFill>
                  <a:schemeClr val="tx1"/>
                </a:solidFill>
                <a:latin typeface="Arial" panose="020B0604020202020204" pitchFamily="34" charset="0"/>
                <a:ea typeface="+mj-ea"/>
                <a:cs typeface="Arial" panose="020B0604020202020204" pitchFamily="34" charset="0"/>
              </a:defRPr>
            </a:lvl1pPr>
          </a:lstStyle>
          <a:p>
            <a:r>
              <a:rPr lang="en-GB" sz="1400" b="0">
                <a:solidFill>
                  <a:schemeClr val="bg1"/>
                </a:solidFill>
                <a:latin typeface="Aptos" panose="020B0004020202020204" pitchFamily="34" charset="0"/>
                <a:cs typeface="Arial"/>
              </a:rPr>
              <a:t>Designing Customer 360 Interface</a:t>
            </a:r>
            <a:endParaRPr lang="en-US" sz="1400" b="0">
              <a:solidFill>
                <a:schemeClr val="bg1"/>
              </a:solidFill>
              <a:latin typeface="Aptos" panose="020B0004020202020204" pitchFamily="34" charset="0"/>
            </a:endParaRPr>
          </a:p>
        </p:txBody>
      </p:sp>
      <p:sp>
        <p:nvSpPr>
          <p:cNvPr id="8" name="TextBox 7">
            <a:extLst>
              <a:ext uri="{FF2B5EF4-FFF2-40B4-BE49-F238E27FC236}">
                <a16:creationId xmlns:a16="http://schemas.microsoft.com/office/drawing/2014/main" id="{A4AE3AB3-BE7F-2E46-921F-8512856A9B6B}"/>
              </a:ext>
            </a:extLst>
          </p:cNvPr>
          <p:cNvSpPr txBox="1"/>
          <p:nvPr/>
        </p:nvSpPr>
        <p:spPr>
          <a:xfrm>
            <a:off x="249283" y="1131409"/>
            <a:ext cx="11656967"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solidFill>
                  <a:schemeClr val="bg1"/>
                </a:solidFill>
                <a:ea typeface="+mn-lt"/>
                <a:cs typeface="+mn-lt"/>
              </a:rPr>
              <a:t>The second step involved determining the specific elements to be included on each screen. This decision was based on thorough research, existing requirements, and careful consideration of user needs for orders, dashboards, and other critical screens.</a:t>
            </a:r>
          </a:p>
        </p:txBody>
      </p:sp>
      <p:sp>
        <p:nvSpPr>
          <p:cNvPr id="20" name="Rounded Rectangle 19">
            <a:hlinkClick r:id="rId2"/>
            <a:extLst>
              <a:ext uri="{FF2B5EF4-FFF2-40B4-BE49-F238E27FC236}">
                <a16:creationId xmlns:a16="http://schemas.microsoft.com/office/drawing/2014/main" id="{48AEAA38-4E44-91D9-62E8-FB324992A3E2}"/>
              </a:ext>
            </a:extLst>
          </p:cNvPr>
          <p:cNvSpPr/>
          <p:nvPr/>
        </p:nvSpPr>
        <p:spPr>
          <a:xfrm>
            <a:off x="467272" y="5893296"/>
            <a:ext cx="2275008" cy="434697"/>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400">
                <a:solidFill>
                  <a:schemeClr val="tx1"/>
                </a:solidFill>
                <a:latin typeface="Aptos" panose="020B0004020202020204" pitchFamily="34" charset="0"/>
              </a:rPr>
              <a:t>SEE FULL RESEARCH</a:t>
            </a:r>
            <a:endParaRPr lang="en-US">
              <a:solidFill>
                <a:schemeClr val="tx1"/>
              </a:solidFill>
              <a:latin typeface="Aptos" panose="020B0004020202020204" pitchFamily="34" charset="0"/>
            </a:endParaRPr>
          </a:p>
        </p:txBody>
      </p:sp>
      <p:sp>
        <p:nvSpPr>
          <p:cNvPr id="21" name="TextBox 20">
            <a:extLst>
              <a:ext uri="{FF2B5EF4-FFF2-40B4-BE49-F238E27FC236}">
                <a16:creationId xmlns:a16="http://schemas.microsoft.com/office/drawing/2014/main" id="{DA4A5C8C-AC78-20E8-CBA9-23E1AE52B331}"/>
              </a:ext>
            </a:extLst>
          </p:cNvPr>
          <p:cNvSpPr txBox="1"/>
          <p:nvPr/>
        </p:nvSpPr>
        <p:spPr>
          <a:xfrm>
            <a:off x="7378966" y="4110456"/>
            <a:ext cx="4527284" cy="2339102"/>
          </a:xfrm>
          <a:prstGeom prst="rect">
            <a:avLst/>
          </a:prstGeom>
          <a:solidFill>
            <a:schemeClr val="tx1">
              <a:lumMod val="10000"/>
              <a:lumOff val="9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solidFill>
                  <a:schemeClr val="bg1"/>
                </a:solidFill>
                <a:latin typeface="Aptos" panose="020B0004020202020204" pitchFamily="34" charset="0"/>
                <a:ea typeface="+mn-lt"/>
                <a:cs typeface="+mn-lt"/>
              </a:rPr>
              <a:t>Side Global Navigation</a:t>
            </a:r>
            <a:endParaRPr lang="en-US" b="1">
              <a:solidFill>
                <a:schemeClr val="bg1"/>
              </a:solidFill>
              <a:latin typeface="Aptos" panose="020B0004020202020204" pitchFamily="34" charset="0"/>
              <a:cs typeface="Arial" panose="020B0604020202020204"/>
            </a:endParaRPr>
          </a:p>
          <a:p>
            <a:pPr marL="285750" indent="-285750">
              <a:buFont typeface="Arial"/>
              <a:buChar char="•"/>
            </a:pPr>
            <a:r>
              <a:rPr lang="en-US" sz="1600">
                <a:solidFill>
                  <a:schemeClr val="bg1"/>
                </a:solidFill>
                <a:latin typeface="Aptos" panose="020B0004020202020204" pitchFamily="34" charset="0"/>
                <a:ea typeface="+mn-lt"/>
                <a:cs typeface="+mn-lt"/>
              </a:rPr>
              <a:t>Customer Orders</a:t>
            </a:r>
            <a:endParaRPr lang="en-US" sz="1600">
              <a:solidFill>
                <a:schemeClr val="bg1"/>
              </a:solidFill>
              <a:latin typeface="Aptos" panose="020B0004020202020204" pitchFamily="34" charset="0"/>
              <a:cs typeface="Arial"/>
            </a:endParaRPr>
          </a:p>
          <a:p>
            <a:pPr marL="285750" indent="-285750">
              <a:buFont typeface="Arial"/>
              <a:buChar char="•"/>
            </a:pPr>
            <a:r>
              <a:rPr lang="en-US" sz="1600">
                <a:solidFill>
                  <a:schemeClr val="bg1"/>
                </a:solidFill>
                <a:latin typeface="Aptos" panose="020B0004020202020204" pitchFamily="34" charset="0"/>
                <a:ea typeface="+mn-lt"/>
                <a:cs typeface="+mn-lt"/>
              </a:rPr>
              <a:t>System and Applications Product (Main one)</a:t>
            </a:r>
          </a:p>
          <a:p>
            <a:pPr marL="285750" indent="-285750">
              <a:buFont typeface="Arial"/>
              <a:buChar char="•"/>
            </a:pPr>
            <a:r>
              <a:rPr lang="en-US" sz="1600">
                <a:solidFill>
                  <a:schemeClr val="bg1"/>
                </a:solidFill>
                <a:latin typeface="Aptos" panose="020B0004020202020204" pitchFamily="34" charset="0"/>
                <a:ea typeface="+mn-lt"/>
                <a:cs typeface="+mn-lt"/>
              </a:rPr>
              <a:t>Warehouse Management System</a:t>
            </a:r>
          </a:p>
          <a:p>
            <a:pPr marL="285750" indent="-285750">
              <a:buFont typeface="Arial"/>
              <a:buChar char="•"/>
            </a:pPr>
            <a:r>
              <a:rPr lang="en-US" sz="1600">
                <a:solidFill>
                  <a:schemeClr val="bg1"/>
                </a:solidFill>
                <a:latin typeface="Aptos" panose="020B0004020202020204" pitchFamily="34" charset="0"/>
                <a:ea typeface="+mn-lt"/>
                <a:cs typeface="+mn-lt"/>
              </a:rPr>
              <a:t>Transportation Management System</a:t>
            </a:r>
          </a:p>
          <a:p>
            <a:pPr marL="285750" indent="-285750">
              <a:buFont typeface="Arial"/>
              <a:buChar char="•"/>
            </a:pPr>
            <a:r>
              <a:rPr lang="en-US" sz="1600">
                <a:solidFill>
                  <a:schemeClr val="bg1"/>
                </a:solidFill>
                <a:latin typeface="Aptos" panose="020B0004020202020204" pitchFamily="34" charset="0"/>
                <a:ea typeface="+mn-lt"/>
                <a:cs typeface="+mn-lt"/>
              </a:rPr>
              <a:t>Shipment Performance</a:t>
            </a:r>
          </a:p>
          <a:p>
            <a:pPr marL="285750" indent="-285750">
              <a:buFont typeface="Arial"/>
              <a:buChar char="•"/>
            </a:pPr>
            <a:r>
              <a:rPr lang="en-US" sz="1600">
                <a:solidFill>
                  <a:schemeClr val="bg1"/>
                </a:solidFill>
                <a:latin typeface="Aptos" panose="020B0004020202020204" pitchFamily="34" charset="0"/>
                <a:ea typeface="+mn-lt"/>
                <a:cs typeface="+mn-lt"/>
              </a:rPr>
              <a:t>Forecast Gap</a:t>
            </a:r>
          </a:p>
          <a:p>
            <a:pPr marL="285750" indent="-285750">
              <a:buFont typeface="Arial"/>
              <a:buChar char="•"/>
            </a:pPr>
            <a:r>
              <a:rPr lang="en-US" sz="1600">
                <a:solidFill>
                  <a:schemeClr val="bg1"/>
                </a:solidFill>
                <a:latin typeface="Aptos" panose="020B0004020202020204" pitchFamily="34" charset="0"/>
                <a:ea typeface="+mn-lt"/>
                <a:cs typeface="+mn-lt"/>
              </a:rPr>
              <a:t>Initiative Management</a:t>
            </a:r>
          </a:p>
          <a:p>
            <a:pPr marL="285750" indent="-285750">
              <a:buFont typeface="Arial"/>
              <a:buChar char="•"/>
            </a:pPr>
            <a:r>
              <a:rPr lang="en-US" sz="1600">
                <a:solidFill>
                  <a:schemeClr val="bg1"/>
                </a:solidFill>
                <a:latin typeface="Aptos" panose="020B0004020202020204" pitchFamily="34" charset="0"/>
                <a:ea typeface="+mn-lt"/>
                <a:cs typeface="+mn-lt"/>
              </a:rPr>
              <a:t>Risk Management</a:t>
            </a:r>
          </a:p>
        </p:txBody>
      </p:sp>
      <p:pic>
        <p:nvPicPr>
          <p:cNvPr id="22" name="Picture 21" descr="A screenshot of a phone&#10;&#10;Description automatically generated">
            <a:extLst>
              <a:ext uri="{FF2B5EF4-FFF2-40B4-BE49-F238E27FC236}">
                <a16:creationId xmlns:a16="http://schemas.microsoft.com/office/drawing/2014/main" id="{CF2DD90C-53BF-625E-2DD8-BBD8AEDAD37B}"/>
              </a:ext>
            </a:extLst>
          </p:cNvPr>
          <p:cNvPicPr>
            <a:picLocks noChangeAspect="1"/>
          </p:cNvPicPr>
          <p:nvPr/>
        </p:nvPicPr>
        <p:blipFill>
          <a:blip r:embed="rId3"/>
          <a:stretch>
            <a:fillRect/>
          </a:stretch>
        </p:blipFill>
        <p:spPr>
          <a:xfrm>
            <a:off x="467272" y="1825149"/>
            <a:ext cx="936235" cy="3978827"/>
          </a:xfrm>
          <a:prstGeom prst="rect">
            <a:avLst/>
          </a:prstGeom>
        </p:spPr>
      </p:pic>
      <p:sp>
        <p:nvSpPr>
          <p:cNvPr id="23" name="TextBox 22">
            <a:extLst>
              <a:ext uri="{FF2B5EF4-FFF2-40B4-BE49-F238E27FC236}">
                <a16:creationId xmlns:a16="http://schemas.microsoft.com/office/drawing/2014/main" id="{818F686E-6633-A7CA-08C2-66D4D66FFF14}"/>
              </a:ext>
            </a:extLst>
          </p:cNvPr>
          <p:cNvSpPr txBox="1"/>
          <p:nvPr/>
        </p:nvSpPr>
        <p:spPr>
          <a:xfrm>
            <a:off x="3871142" y="1836102"/>
            <a:ext cx="8095450" cy="2092881"/>
          </a:xfrm>
          <a:prstGeom prst="rect">
            <a:avLst/>
          </a:prstGeom>
          <a:solidFill>
            <a:schemeClr val="tx1">
              <a:lumMod val="10000"/>
              <a:lumOff val="9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solidFill>
                  <a:schemeClr val="bg1"/>
                </a:solidFill>
                <a:latin typeface="Aptos" panose="020B0004020202020204" pitchFamily="34" charset="0"/>
              </a:rPr>
              <a:t>Dashboard Elements</a:t>
            </a:r>
          </a:p>
          <a:p>
            <a:r>
              <a:rPr lang="en-US" sz="1600">
                <a:solidFill>
                  <a:schemeClr val="bg1"/>
                </a:solidFill>
                <a:latin typeface="Aptos" panose="020B0004020202020204" pitchFamily="34" charset="0"/>
              </a:rPr>
              <a:t>Key Performance Indicators (KPIs):</a:t>
            </a:r>
          </a:p>
          <a:p>
            <a:pPr marL="285750" indent="-285750">
              <a:buFont typeface="Arial" panose="020B0604020202020204" pitchFamily="34" charset="0"/>
              <a:buChar char="•"/>
            </a:pPr>
            <a:r>
              <a:rPr lang="en-US" sz="1600" b="1">
                <a:solidFill>
                  <a:schemeClr val="bg1"/>
                </a:solidFill>
                <a:latin typeface="Aptos SemiBold" panose="020B0004020202020204" pitchFamily="34" charset="0"/>
              </a:rPr>
              <a:t>On-Time Delivery Rate</a:t>
            </a:r>
            <a:r>
              <a:rPr lang="en-US" sz="1600">
                <a:solidFill>
                  <a:schemeClr val="bg1"/>
                </a:solidFill>
                <a:latin typeface="Aptos" panose="020B0004020202020204" pitchFamily="34" charset="0"/>
              </a:rPr>
              <a:t>: Percentage of orders delivered within the agreed-upon timeframe.</a:t>
            </a:r>
          </a:p>
          <a:p>
            <a:pPr marL="285750" indent="-285750">
              <a:buFont typeface="Arial" panose="020B0604020202020204" pitchFamily="34" charset="0"/>
              <a:buChar char="•"/>
            </a:pPr>
            <a:r>
              <a:rPr lang="en-US" sz="1600" b="1">
                <a:solidFill>
                  <a:schemeClr val="bg1"/>
                </a:solidFill>
                <a:latin typeface="Aptos SemiBold" panose="020B0004020202020204" pitchFamily="34" charset="0"/>
              </a:rPr>
              <a:t>Order Fulfillment Rate</a:t>
            </a:r>
            <a:r>
              <a:rPr lang="en-US" sz="1600">
                <a:solidFill>
                  <a:schemeClr val="bg1"/>
                </a:solidFill>
                <a:latin typeface="Aptos" panose="020B0004020202020204" pitchFamily="34" charset="0"/>
              </a:rPr>
              <a:t>: Percentage of orders successfully fulfilled.</a:t>
            </a:r>
          </a:p>
          <a:p>
            <a:pPr marL="285750" indent="-285750">
              <a:buFont typeface="Arial" panose="020B0604020202020204" pitchFamily="34" charset="0"/>
              <a:buChar char="•"/>
            </a:pPr>
            <a:r>
              <a:rPr lang="en-US" sz="1600" b="1">
                <a:solidFill>
                  <a:schemeClr val="bg1"/>
                </a:solidFill>
                <a:latin typeface="Aptos SemiBold" panose="020B0004020202020204" pitchFamily="34" charset="0"/>
              </a:rPr>
              <a:t>Customer Satisfaction Score</a:t>
            </a:r>
            <a:r>
              <a:rPr lang="en-US" sz="1600">
                <a:solidFill>
                  <a:schemeClr val="bg1"/>
                </a:solidFill>
                <a:latin typeface="Aptos" panose="020B0004020202020204" pitchFamily="34" charset="0"/>
              </a:rPr>
              <a:t>: Aggregate customer satisfaction ratings.</a:t>
            </a:r>
          </a:p>
          <a:p>
            <a:pPr marL="285750" indent="-285750">
              <a:buFont typeface="Arial" panose="020B0604020202020204" pitchFamily="34" charset="0"/>
              <a:buChar char="•"/>
            </a:pPr>
            <a:r>
              <a:rPr lang="en-US" sz="1600" b="1">
                <a:solidFill>
                  <a:schemeClr val="bg1"/>
                </a:solidFill>
                <a:latin typeface="Aptos SemiBold" panose="020B0004020202020204" pitchFamily="34" charset="0"/>
              </a:rPr>
              <a:t>Forecast Accuracy</a:t>
            </a:r>
            <a:r>
              <a:rPr lang="en-US" sz="1600">
                <a:solidFill>
                  <a:schemeClr val="bg1"/>
                </a:solidFill>
                <a:latin typeface="Aptos" panose="020B0004020202020204" pitchFamily="34" charset="0"/>
              </a:rPr>
              <a:t>: Measure of how accurately sales forecasts align with actual sales.</a:t>
            </a:r>
          </a:p>
          <a:p>
            <a:pPr marL="285750" indent="-285750">
              <a:buFont typeface="Arial" panose="020B0604020202020204" pitchFamily="34" charset="0"/>
              <a:buChar char="•"/>
            </a:pPr>
            <a:r>
              <a:rPr lang="en-US" sz="1600" b="1">
                <a:solidFill>
                  <a:schemeClr val="bg1"/>
                </a:solidFill>
                <a:latin typeface="Aptos SemiBold" panose="020B0004020202020204" pitchFamily="34" charset="0"/>
              </a:rPr>
              <a:t>Open Disputes</a:t>
            </a:r>
            <a:r>
              <a:rPr lang="en-US" sz="1600">
                <a:solidFill>
                  <a:schemeClr val="bg1"/>
                </a:solidFill>
                <a:latin typeface="Aptos" panose="020B0004020202020204" pitchFamily="34" charset="0"/>
              </a:rPr>
              <a:t>: Number of active customer disputes.</a:t>
            </a:r>
            <a:endParaRPr lang="en-US" sz="1600">
              <a:solidFill>
                <a:schemeClr val="bg1"/>
              </a:solidFill>
              <a:latin typeface="Aptos" panose="020B0004020202020204" pitchFamily="34" charset="0"/>
              <a:cs typeface="Arial"/>
            </a:endParaRPr>
          </a:p>
        </p:txBody>
      </p:sp>
      <p:pic>
        <p:nvPicPr>
          <p:cNvPr id="24" name="Picture 23" descr="A screenshot of a phone&#10;&#10;Description automatically generated">
            <a:extLst>
              <a:ext uri="{FF2B5EF4-FFF2-40B4-BE49-F238E27FC236}">
                <a16:creationId xmlns:a16="http://schemas.microsoft.com/office/drawing/2014/main" id="{65BE8777-F85D-2A31-AD59-F706D81B2DF5}"/>
              </a:ext>
            </a:extLst>
          </p:cNvPr>
          <p:cNvPicPr>
            <a:picLocks noChangeAspect="1"/>
          </p:cNvPicPr>
          <p:nvPr/>
        </p:nvPicPr>
        <p:blipFill>
          <a:blip r:embed="rId4"/>
          <a:stretch>
            <a:fillRect/>
          </a:stretch>
        </p:blipFill>
        <p:spPr>
          <a:xfrm>
            <a:off x="1584401" y="1844827"/>
            <a:ext cx="1982683" cy="2629927"/>
          </a:xfrm>
          <a:prstGeom prst="rect">
            <a:avLst/>
          </a:prstGeom>
        </p:spPr>
      </p:pic>
      <p:pic>
        <p:nvPicPr>
          <p:cNvPr id="25" name="Picture 24" descr="A screen shot of a computer&#10;&#10;Description automatically generated">
            <a:extLst>
              <a:ext uri="{FF2B5EF4-FFF2-40B4-BE49-F238E27FC236}">
                <a16:creationId xmlns:a16="http://schemas.microsoft.com/office/drawing/2014/main" id="{BCD1C125-FB92-07AD-9C88-8FEB2166B0B0}"/>
              </a:ext>
            </a:extLst>
          </p:cNvPr>
          <p:cNvPicPr>
            <a:picLocks noChangeAspect="1"/>
          </p:cNvPicPr>
          <p:nvPr/>
        </p:nvPicPr>
        <p:blipFill>
          <a:blip r:embed="rId5"/>
          <a:stretch>
            <a:fillRect/>
          </a:stretch>
        </p:blipFill>
        <p:spPr>
          <a:xfrm>
            <a:off x="1583146" y="4552209"/>
            <a:ext cx="4353325" cy="1130110"/>
          </a:xfrm>
          <a:prstGeom prst="rect">
            <a:avLst/>
          </a:prstGeom>
          <a:effectLst>
            <a:outerShdw blurRad="260279" dist="38100" dir="2700000" sx="91000" sy="91000" algn="tl" rotWithShape="0">
              <a:prstClr val="black">
                <a:alpha val="22739"/>
              </a:prstClr>
            </a:outerShdw>
          </a:effectLst>
        </p:spPr>
      </p:pic>
    </p:spTree>
    <p:extLst>
      <p:ext uri="{BB962C8B-B14F-4D97-AF65-F5344CB8AC3E}">
        <p14:creationId xmlns:p14="http://schemas.microsoft.com/office/powerpoint/2010/main" val="218500716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4D0283-C2A8-9DB9-5EE2-795922B452D4}"/>
            </a:ext>
          </a:extLst>
        </p:cNvPr>
        <p:cNvGrpSpPr/>
        <p:nvPr/>
      </p:nvGrpSpPr>
      <p:grpSpPr>
        <a:xfrm>
          <a:off x="0" y="0"/>
          <a:ext cx="0" cy="0"/>
          <a:chOff x="0" y="0"/>
          <a:chExt cx="0" cy="0"/>
        </a:xfrm>
      </p:grpSpPr>
      <p:sp>
        <p:nvSpPr>
          <p:cNvPr id="11" name="Title 1">
            <a:extLst>
              <a:ext uri="{FF2B5EF4-FFF2-40B4-BE49-F238E27FC236}">
                <a16:creationId xmlns:a16="http://schemas.microsoft.com/office/drawing/2014/main" id="{4B105FCD-2FD3-8A01-EB65-0B4B343BDA6A}"/>
              </a:ext>
            </a:extLst>
          </p:cNvPr>
          <p:cNvSpPr txBox="1">
            <a:spLocks/>
          </p:cNvSpPr>
          <p:nvPr/>
        </p:nvSpPr>
        <p:spPr>
          <a:xfrm>
            <a:off x="288555" y="299392"/>
            <a:ext cx="11606656" cy="38660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73152" rIns="0" bIns="0"/>
          <a:lstStyle>
            <a:lvl1pPr marL="0" marR="0" indent="0" algn="l" defTabSz="1218948" rtl="0" eaLnBrk="1" latinLnBrk="0" hangingPunct="1">
              <a:lnSpc>
                <a:spcPct val="80000"/>
              </a:lnSpc>
              <a:spcBef>
                <a:spcPts val="0"/>
              </a:spcBef>
              <a:spcAft>
                <a:spcPts val="0"/>
              </a:spcAft>
              <a:buClrTx/>
              <a:buSzTx/>
              <a:buFontTx/>
              <a:buNone/>
              <a:tabLst/>
              <a:defRPr sz="3500" b="0" i="0" u="none" strike="noStrike" cap="none" spc="0" baseline="0">
                <a:solidFill>
                  <a:schemeClr val="bg1"/>
                </a:solidFill>
                <a:uFillTx/>
                <a:latin typeface="Aptos Light" panose="020B0004020202020204" pitchFamily="34" charset="0"/>
                <a:ea typeface="+mj-ea"/>
                <a:cs typeface="+mj-cs"/>
                <a:sym typeface="IBM Plex Sans Light"/>
              </a:defRPr>
            </a:lvl1pPr>
            <a:lvl2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7"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5"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1"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88"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r>
              <a:rPr lang="en-US" kern="0">
                <a:solidFill>
                  <a:srgbClr val="002060"/>
                </a:solidFill>
                <a:latin typeface="+mj-lt"/>
              </a:rPr>
              <a:t>Dashboard Representation – Art of the possible #1</a:t>
            </a:r>
          </a:p>
        </p:txBody>
      </p:sp>
      <p:pic>
        <p:nvPicPr>
          <p:cNvPr id="6" name="Picture 5" descr="A screenshot of a computer&#10;&#10;AI-generated content may be incorrect.">
            <a:hlinkClick r:id="rId2"/>
            <a:extLst>
              <a:ext uri="{FF2B5EF4-FFF2-40B4-BE49-F238E27FC236}">
                <a16:creationId xmlns:a16="http://schemas.microsoft.com/office/drawing/2014/main" id="{F477A75E-E87B-C1F1-EAAF-1BB7C3336E1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8555" y="829340"/>
            <a:ext cx="7772400" cy="5574268"/>
          </a:xfrm>
          <a:prstGeom prst="rect">
            <a:avLst/>
          </a:prstGeom>
          <a:effectLst>
            <a:outerShdw blurRad="368300" dist="25400" dir="5400000">
              <a:srgbClr val="000000">
                <a:alpha val="19000"/>
              </a:srgbClr>
            </a:outerShdw>
          </a:effectLst>
        </p:spPr>
      </p:pic>
      <p:sp>
        <p:nvSpPr>
          <p:cNvPr id="7" name="Rounded Rectangle 6">
            <a:hlinkClick r:id="rId2"/>
            <a:extLst>
              <a:ext uri="{FF2B5EF4-FFF2-40B4-BE49-F238E27FC236}">
                <a16:creationId xmlns:a16="http://schemas.microsoft.com/office/drawing/2014/main" id="{476ACA18-93D1-A617-C650-2ABBBB9C4CA7}"/>
              </a:ext>
            </a:extLst>
          </p:cNvPr>
          <p:cNvSpPr/>
          <p:nvPr/>
        </p:nvSpPr>
        <p:spPr>
          <a:xfrm>
            <a:off x="8165244" y="5946461"/>
            <a:ext cx="1425323" cy="434697"/>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400">
                <a:solidFill>
                  <a:schemeClr val="tx1"/>
                </a:solidFill>
                <a:latin typeface="Aptos" panose="020B0004020202020204" pitchFamily="34" charset="0"/>
              </a:rPr>
              <a:t>Dashboard</a:t>
            </a:r>
            <a:endParaRPr lang="en-US">
              <a:solidFill>
                <a:schemeClr val="tx1"/>
              </a:solidFill>
              <a:latin typeface="Aptos" panose="020B0004020202020204" pitchFamily="34" charset="0"/>
            </a:endParaRPr>
          </a:p>
        </p:txBody>
      </p:sp>
      <p:sp>
        <p:nvSpPr>
          <p:cNvPr id="2" name="TextBox 1">
            <a:extLst>
              <a:ext uri="{FF2B5EF4-FFF2-40B4-BE49-F238E27FC236}">
                <a16:creationId xmlns:a16="http://schemas.microsoft.com/office/drawing/2014/main" id="{900B4610-C444-5034-2B8C-06F23D53D77F}"/>
              </a:ext>
            </a:extLst>
          </p:cNvPr>
          <p:cNvSpPr txBox="1"/>
          <p:nvPr/>
        </p:nvSpPr>
        <p:spPr>
          <a:xfrm>
            <a:off x="8320034" y="829340"/>
            <a:ext cx="3646557" cy="4801314"/>
          </a:xfrm>
          <a:prstGeom prst="rect">
            <a:avLst/>
          </a:prstGeom>
          <a:solidFill>
            <a:schemeClr val="tx1">
              <a:lumMod val="10000"/>
              <a:lumOff val="9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b="1">
                <a:solidFill>
                  <a:schemeClr val="bg1"/>
                </a:solidFill>
                <a:latin typeface="Aptos" panose="020B0004020202020204" pitchFamily="34" charset="0"/>
              </a:rPr>
              <a:t>Dashboard Experience achieved:</a:t>
            </a:r>
          </a:p>
          <a:p>
            <a:endParaRPr lang="en-US" sz="1400" b="1">
              <a:solidFill>
                <a:schemeClr val="bg1"/>
              </a:solidFill>
              <a:latin typeface="Aptos" panose="020B0004020202020204" pitchFamily="34" charset="0"/>
            </a:endParaRPr>
          </a:p>
          <a:p>
            <a:r>
              <a:rPr lang="en-US" sz="1200">
                <a:solidFill>
                  <a:schemeClr val="bg1"/>
                </a:solidFill>
                <a:latin typeface="Aptos" panose="020B0004020202020204" pitchFamily="34" charset="0"/>
              </a:rPr>
              <a:t>Key Performance Indicators (KPIs):</a:t>
            </a:r>
          </a:p>
          <a:p>
            <a:endParaRPr lang="en-US" sz="1200">
              <a:solidFill>
                <a:schemeClr val="bg1"/>
              </a:solidFill>
              <a:latin typeface="Aptos" panose="020B0004020202020204" pitchFamily="34" charset="0"/>
            </a:endParaRPr>
          </a:p>
          <a:p>
            <a:pPr marL="285750" indent="-285750">
              <a:spcAft>
                <a:spcPts val="1200"/>
              </a:spcAft>
              <a:buFont typeface="Arial" panose="020B0604020202020204" pitchFamily="34" charset="0"/>
              <a:buChar char="•"/>
            </a:pPr>
            <a:r>
              <a:rPr lang="en-US" sz="1200" b="1">
                <a:solidFill>
                  <a:schemeClr val="bg1"/>
                </a:solidFill>
                <a:latin typeface="Aptos SemiBold" panose="020B0004020202020204" pitchFamily="34" charset="0"/>
              </a:rPr>
              <a:t>On-Time Delivery Rate</a:t>
            </a:r>
            <a:r>
              <a:rPr lang="en-US" sz="1200">
                <a:solidFill>
                  <a:schemeClr val="bg1"/>
                </a:solidFill>
                <a:latin typeface="Aptos" panose="020B0004020202020204" pitchFamily="34" charset="0"/>
              </a:rPr>
              <a:t>: Percentage of orders delivered within the agreed-upon timeframe.</a:t>
            </a:r>
          </a:p>
          <a:p>
            <a:pPr marL="285750" indent="-285750">
              <a:spcAft>
                <a:spcPts val="1200"/>
              </a:spcAft>
              <a:buFont typeface="Arial" panose="020B0604020202020204" pitchFamily="34" charset="0"/>
              <a:buChar char="•"/>
            </a:pPr>
            <a:r>
              <a:rPr lang="en-US" sz="1200" b="1">
                <a:solidFill>
                  <a:schemeClr val="bg1"/>
                </a:solidFill>
                <a:latin typeface="Aptos" panose="020B0004020202020204" pitchFamily="34" charset="0"/>
              </a:rPr>
              <a:t>Information Hierarchy and Visual Clarity</a:t>
            </a:r>
            <a:r>
              <a:rPr lang="en-US" sz="1200">
                <a:solidFill>
                  <a:schemeClr val="bg1"/>
                </a:solidFill>
                <a:latin typeface="Aptos" panose="020B0004020202020204" pitchFamily="34" charset="0"/>
              </a:rPr>
              <a:t>: The dashboard employs a clear visual hierarchy, grouping to guide the user's eye to the most critical information first. This reduces cognitive load and allows users to quickly grasp key insights. </a:t>
            </a:r>
          </a:p>
          <a:p>
            <a:pPr marL="285750" indent="-285750">
              <a:spcAft>
                <a:spcPts val="1200"/>
              </a:spcAft>
              <a:buFont typeface="Arial" panose="020B0604020202020204" pitchFamily="34" charset="0"/>
              <a:buChar char="•"/>
            </a:pPr>
            <a:r>
              <a:rPr lang="en-US" sz="1200" b="1">
                <a:solidFill>
                  <a:schemeClr val="bg1"/>
                </a:solidFill>
                <a:latin typeface="Aptos" panose="020B0004020202020204" pitchFamily="34" charset="0"/>
              </a:rPr>
              <a:t>Intuitive Navigation and Interaction</a:t>
            </a:r>
            <a:r>
              <a:rPr lang="en-US" sz="1200">
                <a:solidFill>
                  <a:schemeClr val="bg1"/>
                </a:solidFill>
                <a:latin typeface="Aptos" panose="020B0004020202020204" pitchFamily="34" charset="0"/>
              </a:rPr>
              <a:t>: Navigation is designed to be intuitive and user-friendly.</a:t>
            </a:r>
            <a:endParaRPr lang="en-US" sz="1200" b="1">
              <a:solidFill>
                <a:schemeClr val="bg1"/>
              </a:solidFill>
              <a:latin typeface="Aptos" panose="020B0004020202020204" pitchFamily="34" charset="0"/>
            </a:endParaRPr>
          </a:p>
          <a:p>
            <a:pPr marL="285750" indent="-285750">
              <a:spcAft>
                <a:spcPts val="1200"/>
              </a:spcAft>
              <a:buFont typeface="Arial" panose="020B0604020202020204" pitchFamily="34" charset="0"/>
              <a:buChar char="•"/>
            </a:pPr>
            <a:r>
              <a:rPr lang="en-US" sz="1200" b="1">
                <a:solidFill>
                  <a:schemeClr val="bg1"/>
                </a:solidFill>
                <a:latin typeface="Aptos" panose="020B0004020202020204" pitchFamily="34" charset="0"/>
              </a:rPr>
              <a:t>Data Visualization and Interpretation</a:t>
            </a:r>
            <a:r>
              <a:rPr lang="en-US" sz="1200">
                <a:solidFill>
                  <a:schemeClr val="bg1"/>
                </a:solidFill>
                <a:latin typeface="Aptos" panose="020B0004020202020204" pitchFamily="34" charset="0"/>
              </a:rPr>
              <a:t>: The dashboard utilizes effective data visualization techniques to present complex data in a digestible format.</a:t>
            </a:r>
          </a:p>
          <a:p>
            <a:pPr marL="285750" indent="-285750">
              <a:spcAft>
                <a:spcPts val="1200"/>
              </a:spcAft>
              <a:buFont typeface="Arial" panose="020B0604020202020204" pitchFamily="34" charset="0"/>
              <a:buChar char="•"/>
            </a:pPr>
            <a:r>
              <a:rPr kumimoji="0" lang="en-US" sz="1200" b="1" i="0" u="none" strike="noStrike" kern="1200" cap="none" spc="0" normalizeH="0" baseline="0" noProof="0">
                <a:ln>
                  <a:noFill/>
                </a:ln>
                <a:solidFill>
                  <a:schemeClr val="bg1"/>
                </a:solidFill>
                <a:effectLst/>
                <a:uLnTx/>
                <a:uFillTx/>
                <a:latin typeface="Aptos" panose="020B0004020202020204" pitchFamily="34" charset="0"/>
              </a:rPr>
              <a:t>Clear, targeted and goal-oriented CTA</a:t>
            </a:r>
            <a:endParaRPr kumimoji="0" lang="en-US" sz="1200" b="1" i="0" u="none" strike="noStrike" kern="1200" cap="none" spc="0" normalizeH="0" baseline="0" noProof="0">
              <a:ln>
                <a:noFill/>
              </a:ln>
              <a:solidFill>
                <a:schemeClr val="bg1"/>
              </a:solidFill>
              <a:effectLst/>
              <a:uLnTx/>
              <a:uFillTx/>
              <a:latin typeface="Aptos" panose="020B0004020202020204" pitchFamily="34" charset="0"/>
              <a:ea typeface="Open Sans"/>
              <a:cs typeface="Open Sans"/>
            </a:endParaRPr>
          </a:p>
          <a:p>
            <a:pPr marL="285750" indent="-285750">
              <a:buFont typeface="Arial" panose="020B0604020202020204" pitchFamily="34" charset="0"/>
              <a:buChar char="•"/>
            </a:pPr>
            <a:endParaRPr lang="en-US" sz="1200">
              <a:solidFill>
                <a:schemeClr val="bg1"/>
              </a:solidFill>
              <a:latin typeface="Aptos" panose="020B0004020202020204" pitchFamily="34" charset="0"/>
            </a:endParaRPr>
          </a:p>
        </p:txBody>
      </p:sp>
    </p:spTree>
    <p:extLst>
      <p:ext uri="{BB962C8B-B14F-4D97-AF65-F5344CB8AC3E}">
        <p14:creationId xmlns:p14="http://schemas.microsoft.com/office/powerpoint/2010/main" val="2233467875"/>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26999E-B450-0D14-889B-89E74B14767E}"/>
            </a:ext>
          </a:extLst>
        </p:cNvPr>
        <p:cNvGrpSpPr/>
        <p:nvPr/>
      </p:nvGrpSpPr>
      <p:grpSpPr>
        <a:xfrm>
          <a:off x="0" y="0"/>
          <a:ext cx="0" cy="0"/>
          <a:chOff x="0" y="0"/>
          <a:chExt cx="0" cy="0"/>
        </a:xfrm>
      </p:grpSpPr>
      <p:sp>
        <p:nvSpPr>
          <p:cNvPr id="11" name="Title 1">
            <a:extLst>
              <a:ext uri="{FF2B5EF4-FFF2-40B4-BE49-F238E27FC236}">
                <a16:creationId xmlns:a16="http://schemas.microsoft.com/office/drawing/2014/main" id="{300E92CE-177A-2C3C-82B8-92E17E4960A9}"/>
              </a:ext>
            </a:extLst>
          </p:cNvPr>
          <p:cNvSpPr txBox="1">
            <a:spLocks/>
          </p:cNvSpPr>
          <p:nvPr/>
        </p:nvSpPr>
        <p:spPr>
          <a:xfrm>
            <a:off x="288555" y="299392"/>
            <a:ext cx="11606656" cy="38660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73152" rIns="0" bIns="0"/>
          <a:lstStyle>
            <a:lvl1pPr marL="0" marR="0" indent="0" algn="l" defTabSz="1218948" rtl="0" eaLnBrk="1" latinLnBrk="0" hangingPunct="1">
              <a:lnSpc>
                <a:spcPct val="80000"/>
              </a:lnSpc>
              <a:spcBef>
                <a:spcPts val="0"/>
              </a:spcBef>
              <a:spcAft>
                <a:spcPts val="0"/>
              </a:spcAft>
              <a:buClrTx/>
              <a:buSzTx/>
              <a:buFontTx/>
              <a:buNone/>
              <a:tabLst/>
              <a:defRPr sz="3500" b="0" i="0" u="none" strike="noStrike" cap="none" spc="0" baseline="0">
                <a:solidFill>
                  <a:schemeClr val="bg1"/>
                </a:solidFill>
                <a:uFillTx/>
                <a:latin typeface="Aptos Light" panose="020B0004020202020204" pitchFamily="34" charset="0"/>
                <a:ea typeface="+mj-ea"/>
                <a:cs typeface="+mj-cs"/>
                <a:sym typeface="IBM Plex Sans Light"/>
              </a:defRPr>
            </a:lvl1pPr>
            <a:lvl2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7"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5"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1"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88"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r>
              <a:rPr lang="en-US" kern="0">
                <a:solidFill>
                  <a:srgbClr val="002060"/>
                </a:solidFill>
                <a:latin typeface="+mj-lt"/>
              </a:rPr>
              <a:t>Dashboard Representation – Art of the possible #2</a:t>
            </a:r>
          </a:p>
        </p:txBody>
      </p:sp>
      <p:pic>
        <p:nvPicPr>
          <p:cNvPr id="5" name="Picture 4" descr="A screenshot of a computer&#10;&#10;AI-generated content may be incorrect.">
            <a:extLst>
              <a:ext uri="{FF2B5EF4-FFF2-40B4-BE49-F238E27FC236}">
                <a16:creationId xmlns:a16="http://schemas.microsoft.com/office/drawing/2014/main" id="{29A6DBD6-E103-3BED-84C8-AAEE90FF2BC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8555" y="829340"/>
            <a:ext cx="7772400" cy="5570220"/>
          </a:xfrm>
          <a:prstGeom prst="rect">
            <a:avLst/>
          </a:prstGeom>
          <a:effectLst>
            <a:outerShdw blurRad="368300" dist="25400" dir="5400000">
              <a:srgbClr val="000000">
                <a:alpha val="19000"/>
              </a:srgbClr>
            </a:outerShdw>
          </a:effectLst>
        </p:spPr>
      </p:pic>
    </p:spTree>
    <p:extLst>
      <p:ext uri="{BB962C8B-B14F-4D97-AF65-F5344CB8AC3E}">
        <p14:creationId xmlns:p14="http://schemas.microsoft.com/office/powerpoint/2010/main" val="1677712169"/>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A047A4-F402-3359-5703-C0F5014A0617}"/>
            </a:ext>
          </a:extLst>
        </p:cNvPr>
        <p:cNvGrpSpPr/>
        <p:nvPr/>
      </p:nvGrpSpPr>
      <p:grpSpPr>
        <a:xfrm>
          <a:off x="0" y="0"/>
          <a:ext cx="0" cy="0"/>
          <a:chOff x="0" y="0"/>
          <a:chExt cx="0" cy="0"/>
        </a:xfrm>
      </p:grpSpPr>
      <p:sp>
        <p:nvSpPr>
          <p:cNvPr id="11" name="Title 1">
            <a:extLst>
              <a:ext uri="{FF2B5EF4-FFF2-40B4-BE49-F238E27FC236}">
                <a16:creationId xmlns:a16="http://schemas.microsoft.com/office/drawing/2014/main" id="{AD8406AF-4713-0F91-DA2E-FDA2AAE8816D}"/>
              </a:ext>
            </a:extLst>
          </p:cNvPr>
          <p:cNvSpPr txBox="1">
            <a:spLocks/>
          </p:cNvSpPr>
          <p:nvPr/>
        </p:nvSpPr>
        <p:spPr>
          <a:xfrm>
            <a:off x="288555" y="299392"/>
            <a:ext cx="11606656" cy="386603"/>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73152" rIns="0" bIns="0"/>
          <a:lstStyle>
            <a:lvl1pPr marL="0" marR="0" indent="0" algn="l" defTabSz="1218948" rtl="0" eaLnBrk="1" latinLnBrk="0" hangingPunct="1">
              <a:lnSpc>
                <a:spcPct val="80000"/>
              </a:lnSpc>
              <a:spcBef>
                <a:spcPts val="0"/>
              </a:spcBef>
              <a:spcAft>
                <a:spcPts val="0"/>
              </a:spcAft>
              <a:buClrTx/>
              <a:buSzTx/>
              <a:buFontTx/>
              <a:buNone/>
              <a:tabLst/>
              <a:defRPr sz="3500" b="0" i="0" u="none" strike="noStrike" cap="none" spc="0" baseline="0">
                <a:solidFill>
                  <a:schemeClr val="bg1"/>
                </a:solidFill>
                <a:uFillTx/>
                <a:latin typeface="Aptos Light" panose="020B0004020202020204" pitchFamily="34" charset="0"/>
                <a:ea typeface="+mj-ea"/>
                <a:cs typeface="+mj-cs"/>
                <a:sym typeface="IBM Plex Sans Light"/>
              </a:defRPr>
            </a:lvl1pPr>
            <a:lvl2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7"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5"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1"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88"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r>
              <a:rPr lang="en-US" kern="0">
                <a:solidFill>
                  <a:srgbClr val="002060"/>
                </a:solidFill>
                <a:latin typeface="+mj-lt"/>
              </a:rPr>
              <a:t>Dashboard Representation – Art of the possible #3</a:t>
            </a:r>
          </a:p>
        </p:txBody>
      </p:sp>
      <p:pic>
        <p:nvPicPr>
          <p:cNvPr id="2" name="Picture 1" descr="A screenshot of a computer&#10;&#10;AI-generated content may be incorrect.">
            <a:extLst>
              <a:ext uri="{FF2B5EF4-FFF2-40B4-BE49-F238E27FC236}">
                <a16:creationId xmlns:a16="http://schemas.microsoft.com/office/drawing/2014/main" id="{5E2961E9-44D6-D5ED-68CC-2B28422C82E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8555" y="829340"/>
            <a:ext cx="7772400" cy="5574268"/>
          </a:xfrm>
          <a:prstGeom prst="rect">
            <a:avLst/>
          </a:prstGeom>
          <a:effectLst>
            <a:outerShdw blurRad="368300" dist="25400" dir="5400000">
              <a:srgbClr val="000000">
                <a:alpha val="19000"/>
              </a:srgbClr>
            </a:outerShdw>
          </a:effectLst>
        </p:spPr>
      </p:pic>
    </p:spTree>
    <p:extLst>
      <p:ext uri="{BB962C8B-B14F-4D97-AF65-F5344CB8AC3E}">
        <p14:creationId xmlns:p14="http://schemas.microsoft.com/office/powerpoint/2010/main" val="2802471153"/>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AA6500-C42E-A8BD-7520-CCB8932C1E6B}"/>
            </a:ext>
          </a:extLst>
        </p:cNvPr>
        <p:cNvGrpSpPr/>
        <p:nvPr/>
      </p:nvGrpSpPr>
      <p:grpSpPr>
        <a:xfrm>
          <a:off x="0" y="0"/>
          <a:ext cx="0" cy="0"/>
          <a:chOff x="0" y="0"/>
          <a:chExt cx="0" cy="0"/>
        </a:xfrm>
      </p:grpSpPr>
      <p:sp>
        <p:nvSpPr>
          <p:cNvPr id="5" name="Graphic 12">
            <a:extLst>
              <a:ext uri="{FF2B5EF4-FFF2-40B4-BE49-F238E27FC236}">
                <a16:creationId xmlns:a16="http://schemas.microsoft.com/office/drawing/2014/main" id="{8CB24D54-95AA-44F4-86D6-4D715ADC2F46}"/>
              </a:ext>
            </a:extLst>
          </p:cNvPr>
          <p:cNvSpPr/>
          <p:nvPr/>
        </p:nvSpPr>
        <p:spPr>
          <a:xfrm>
            <a:off x="5146520" y="0"/>
            <a:ext cx="7083354" cy="6858000"/>
          </a:xfrm>
          <a:custGeom>
            <a:avLst/>
            <a:gdLst>
              <a:gd name="connsiteX0" fmla="*/ 7083355 w 7083354"/>
              <a:gd name="connsiteY0" fmla="*/ 6858000 h 6858000"/>
              <a:gd name="connsiteX1" fmla="*/ 551850 w 7083354"/>
              <a:gd name="connsiteY1" fmla="*/ 6858000 h 6858000"/>
              <a:gd name="connsiteX2" fmla="*/ 423157 w 7083354"/>
              <a:gd name="connsiteY2" fmla="*/ 4811395 h 6858000"/>
              <a:gd name="connsiteX3" fmla="*/ 4471599 w 7083354"/>
              <a:gd name="connsiteY3" fmla="*/ 0 h 6858000"/>
              <a:gd name="connsiteX4" fmla="*/ 7083355 w 708335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3354" h="6858000">
                <a:moveTo>
                  <a:pt x="7083355" y="6858000"/>
                </a:moveTo>
                <a:lnTo>
                  <a:pt x="551850" y="6858000"/>
                </a:lnTo>
                <a:cubicBezTo>
                  <a:pt x="-212161" y="6355610"/>
                  <a:pt x="-112677" y="5450629"/>
                  <a:pt x="423157" y="4811395"/>
                </a:cubicBezTo>
                <a:lnTo>
                  <a:pt x="4471599" y="0"/>
                </a:lnTo>
                <a:lnTo>
                  <a:pt x="7083355" y="0"/>
                </a:lnTo>
              </a:path>
            </a:pathLst>
          </a:custGeom>
          <a:solidFill>
            <a:schemeClr val="bg1">
              <a:lumMod val="25000"/>
              <a:lumOff val="75000"/>
              <a:alpha val="19000"/>
            </a:schemeClr>
          </a:solidFill>
          <a:ln w="10583" cap="flat">
            <a:noFill/>
            <a:prstDash val="solid"/>
            <a:miter/>
          </a:ln>
        </p:spPr>
        <p:txBody>
          <a:bodyPr rtlCol="0" anchor="ctr"/>
          <a:lstStyle/>
          <a:p>
            <a:endParaRPr lang="en-US"/>
          </a:p>
        </p:txBody>
      </p:sp>
      <p:sp>
        <p:nvSpPr>
          <p:cNvPr id="14" name="Graphic 5">
            <a:extLst>
              <a:ext uri="{FF2B5EF4-FFF2-40B4-BE49-F238E27FC236}">
                <a16:creationId xmlns:a16="http://schemas.microsoft.com/office/drawing/2014/main" id="{F1A5EB4F-E5AD-37BE-1DFB-9B8B8F69CB99}"/>
              </a:ext>
            </a:extLst>
          </p:cNvPr>
          <p:cNvSpPr/>
          <p:nvPr/>
        </p:nvSpPr>
        <p:spPr>
          <a:xfrm>
            <a:off x="7695096" y="9063"/>
            <a:ext cx="7072843" cy="6854700"/>
          </a:xfrm>
          <a:custGeom>
            <a:avLst/>
            <a:gdLst>
              <a:gd name="connsiteX0" fmla="*/ 422520 w 7072842"/>
              <a:gd name="connsiteY0" fmla="*/ 4804219 h 6847772"/>
              <a:gd name="connsiteX1" fmla="*/ 4464987 w 7072842"/>
              <a:gd name="connsiteY1" fmla="*/ 0 h 6847772"/>
              <a:gd name="connsiteX2" fmla="*/ 7072843 w 7072842"/>
              <a:gd name="connsiteY2" fmla="*/ 0 h 6847772"/>
              <a:gd name="connsiteX3" fmla="*/ 2827236 w 7072842"/>
              <a:gd name="connsiteY3" fmla="*/ 5023934 h 6847772"/>
              <a:gd name="connsiteX4" fmla="*/ 2814860 w 7072842"/>
              <a:gd name="connsiteY4" fmla="*/ 6847773 h 6847772"/>
              <a:gd name="connsiteX5" fmla="*/ 551057 w 7072842"/>
              <a:gd name="connsiteY5" fmla="*/ 6847773 h 6847772"/>
              <a:gd name="connsiteX6" fmla="*/ 422520 w 7072842"/>
              <a:gd name="connsiteY6" fmla="*/ 4804219 h 6847772"/>
              <a:gd name="connsiteX0" fmla="*/ 422520 w 7072843"/>
              <a:gd name="connsiteY0" fmla="*/ 4804219 h 6854700"/>
              <a:gd name="connsiteX1" fmla="*/ 4464987 w 7072843"/>
              <a:gd name="connsiteY1" fmla="*/ 0 h 6854700"/>
              <a:gd name="connsiteX2" fmla="*/ 7072843 w 7072843"/>
              <a:gd name="connsiteY2" fmla="*/ 0 h 6854700"/>
              <a:gd name="connsiteX3" fmla="*/ 2827236 w 7072843"/>
              <a:gd name="connsiteY3" fmla="*/ 5023934 h 6854700"/>
              <a:gd name="connsiteX4" fmla="*/ 2825251 w 7072843"/>
              <a:gd name="connsiteY4" fmla="*/ 6854700 h 6854700"/>
              <a:gd name="connsiteX5" fmla="*/ 551057 w 7072843"/>
              <a:gd name="connsiteY5" fmla="*/ 6847773 h 6854700"/>
              <a:gd name="connsiteX6" fmla="*/ 422520 w 7072843"/>
              <a:gd name="connsiteY6" fmla="*/ 4804219 h 6854700"/>
              <a:gd name="connsiteX0" fmla="*/ 422520 w 7072843"/>
              <a:gd name="connsiteY0" fmla="*/ 4804219 h 6854700"/>
              <a:gd name="connsiteX1" fmla="*/ 4464987 w 7072843"/>
              <a:gd name="connsiteY1" fmla="*/ 0 h 6854700"/>
              <a:gd name="connsiteX2" fmla="*/ 7072843 w 7072843"/>
              <a:gd name="connsiteY2" fmla="*/ 0 h 6854700"/>
              <a:gd name="connsiteX3" fmla="*/ 2827236 w 7072843"/>
              <a:gd name="connsiteY3" fmla="*/ 5023934 h 6854700"/>
              <a:gd name="connsiteX4" fmla="*/ 2825251 w 7072843"/>
              <a:gd name="connsiteY4" fmla="*/ 6854700 h 6854700"/>
              <a:gd name="connsiteX5" fmla="*/ 551057 w 7072843"/>
              <a:gd name="connsiteY5" fmla="*/ 6847773 h 6854700"/>
              <a:gd name="connsiteX6" fmla="*/ 422520 w 7072843"/>
              <a:gd name="connsiteY6" fmla="*/ 4804219 h 6854700"/>
              <a:gd name="connsiteX0" fmla="*/ 422520 w 7072843"/>
              <a:gd name="connsiteY0" fmla="*/ 4804219 h 6854700"/>
              <a:gd name="connsiteX1" fmla="*/ 4464987 w 7072843"/>
              <a:gd name="connsiteY1" fmla="*/ 0 h 6854700"/>
              <a:gd name="connsiteX2" fmla="*/ 7072843 w 7072843"/>
              <a:gd name="connsiteY2" fmla="*/ 0 h 6854700"/>
              <a:gd name="connsiteX3" fmla="*/ 2827236 w 7072843"/>
              <a:gd name="connsiteY3" fmla="*/ 5023934 h 6854700"/>
              <a:gd name="connsiteX4" fmla="*/ 2825251 w 7072843"/>
              <a:gd name="connsiteY4" fmla="*/ 6854700 h 6854700"/>
              <a:gd name="connsiteX5" fmla="*/ 551057 w 7072843"/>
              <a:gd name="connsiteY5" fmla="*/ 6847773 h 6854700"/>
              <a:gd name="connsiteX6" fmla="*/ 422520 w 7072843"/>
              <a:gd name="connsiteY6" fmla="*/ 4804219 h 6854700"/>
              <a:gd name="connsiteX0" fmla="*/ 422520 w 7072843"/>
              <a:gd name="connsiteY0" fmla="*/ 4804219 h 6854700"/>
              <a:gd name="connsiteX1" fmla="*/ 4464987 w 7072843"/>
              <a:gd name="connsiteY1" fmla="*/ 0 h 6854700"/>
              <a:gd name="connsiteX2" fmla="*/ 7072843 w 7072843"/>
              <a:gd name="connsiteY2" fmla="*/ 0 h 6854700"/>
              <a:gd name="connsiteX3" fmla="*/ 2827236 w 7072843"/>
              <a:gd name="connsiteY3" fmla="*/ 5023934 h 6854700"/>
              <a:gd name="connsiteX4" fmla="*/ 2825251 w 7072843"/>
              <a:gd name="connsiteY4" fmla="*/ 6854700 h 6854700"/>
              <a:gd name="connsiteX5" fmla="*/ 551057 w 7072843"/>
              <a:gd name="connsiteY5" fmla="*/ 6847773 h 6854700"/>
              <a:gd name="connsiteX6" fmla="*/ 422520 w 7072843"/>
              <a:gd name="connsiteY6" fmla="*/ 4804219 h 6854700"/>
              <a:gd name="connsiteX0" fmla="*/ 422520 w 7072843"/>
              <a:gd name="connsiteY0" fmla="*/ 4804219 h 6854700"/>
              <a:gd name="connsiteX1" fmla="*/ 4464987 w 7072843"/>
              <a:gd name="connsiteY1" fmla="*/ 0 h 6854700"/>
              <a:gd name="connsiteX2" fmla="*/ 7072843 w 7072843"/>
              <a:gd name="connsiteY2" fmla="*/ 0 h 6854700"/>
              <a:gd name="connsiteX3" fmla="*/ 2827236 w 7072843"/>
              <a:gd name="connsiteY3" fmla="*/ 5023934 h 6854700"/>
              <a:gd name="connsiteX4" fmla="*/ 2825251 w 7072843"/>
              <a:gd name="connsiteY4" fmla="*/ 6854700 h 6854700"/>
              <a:gd name="connsiteX5" fmla="*/ 551057 w 7072843"/>
              <a:gd name="connsiteY5" fmla="*/ 6847773 h 6854700"/>
              <a:gd name="connsiteX6" fmla="*/ 422520 w 7072843"/>
              <a:gd name="connsiteY6" fmla="*/ 4804219 h 6854700"/>
              <a:gd name="connsiteX0" fmla="*/ 422520 w 7072843"/>
              <a:gd name="connsiteY0" fmla="*/ 4804219 h 6854700"/>
              <a:gd name="connsiteX1" fmla="*/ 4464987 w 7072843"/>
              <a:gd name="connsiteY1" fmla="*/ 0 h 6854700"/>
              <a:gd name="connsiteX2" fmla="*/ 7072843 w 7072843"/>
              <a:gd name="connsiteY2" fmla="*/ 0 h 6854700"/>
              <a:gd name="connsiteX3" fmla="*/ 2827236 w 7072843"/>
              <a:gd name="connsiteY3" fmla="*/ 5023934 h 6854700"/>
              <a:gd name="connsiteX4" fmla="*/ 2825251 w 7072843"/>
              <a:gd name="connsiteY4" fmla="*/ 6854700 h 6854700"/>
              <a:gd name="connsiteX5" fmla="*/ 551057 w 7072843"/>
              <a:gd name="connsiteY5" fmla="*/ 6847773 h 6854700"/>
              <a:gd name="connsiteX6" fmla="*/ 422520 w 7072843"/>
              <a:gd name="connsiteY6" fmla="*/ 4804219 h 6854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72843" h="6854700">
                <a:moveTo>
                  <a:pt x="422520" y="4804219"/>
                </a:moveTo>
                <a:lnTo>
                  <a:pt x="4464987" y="0"/>
                </a:lnTo>
                <a:lnTo>
                  <a:pt x="7072843" y="0"/>
                </a:lnTo>
                <a:lnTo>
                  <a:pt x="2827236" y="5023934"/>
                </a:lnTo>
                <a:cubicBezTo>
                  <a:pt x="2405702" y="5562918"/>
                  <a:pt x="2292307" y="6311373"/>
                  <a:pt x="2825251" y="6854700"/>
                </a:cubicBezTo>
                <a:lnTo>
                  <a:pt x="551057" y="6847773"/>
                </a:lnTo>
                <a:cubicBezTo>
                  <a:pt x="-211856" y="6346116"/>
                  <a:pt x="-112505" y="5442503"/>
                  <a:pt x="422520" y="4804219"/>
                </a:cubicBezTo>
                <a:close/>
              </a:path>
            </a:pathLst>
          </a:custGeom>
          <a:solidFill>
            <a:schemeClr val="bg1">
              <a:lumMod val="10000"/>
              <a:lumOff val="90000"/>
              <a:alpha val="54000"/>
            </a:schemeClr>
          </a:solidFill>
          <a:ln w="14404" cap="flat">
            <a:noFill/>
            <a:prstDash val="solid"/>
            <a:miter/>
          </a:ln>
        </p:spPr>
        <p:txBody>
          <a:bodyPr rtlCol="0" anchor="ctr"/>
          <a:lstStyle/>
          <a:p>
            <a:endParaRPr lang="en-US"/>
          </a:p>
        </p:txBody>
      </p:sp>
      <p:sp>
        <p:nvSpPr>
          <p:cNvPr id="3" name="Title 4">
            <a:extLst>
              <a:ext uri="{FF2B5EF4-FFF2-40B4-BE49-F238E27FC236}">
                <a16:creationId xmlns:a16="http://schemas.microsoft.com/office/drawing/2014/main" id="{7C27CB6B-D79E-6EEC-F537-2F24CEBB6DA5}"/>
              </a:ext>
            </a:extLst>
          </p:cNvPr>
          <p:cNvSpPr txBox="1">
            <a:spLocks/>
          </p:cNvSpPr>
          <p:nvPr/>
        </p:nvSpPr>
        <p:spPr>
          <a:xfrm>
            <a:off x="890844" y="2559553"/>
            <a:ext cx="6032383" cy="1648630"/>
          </a:xfrm>
          <a:prstGeom prst="rect">
            <a:avLst/>
          </a:prstGeom>
        </p:spPr>
        <p:txBody>
          <a:bodyPr>
            <a:noAutofit/>
          </a:bodyPr>
          <a:lstStyle>
            <a:lvl1pPr marL="0" marR="0" indent="0" algn="l" defTabSz="1462796" rtl="0" eaLnBrk="1" latinLnBrk="0" hangingPunct="1">
              <a:lnSpc>
                <a:spcPct val="80000"/>
              </a:lnSpc>
              <a:spcBef>
                <a:spcPts val="0"/>
              </a:spcBef>
              <a:spcAft>
                <a:spcPts val="0"/>
              </a:spcAft>
              <a:buClrTx/>
              <a:buSzTx/>
              <a:buFontTx/>
              <a:buNone/>
              <a:tabLst/>
              <a:defRPr sz="3800" b="0" i="0" u="none" strike="noStrike" cap="none" spc="0" baseline="0">
                <a:solidFill>
                  <a:schemeClr val="bg1"/>
                </a:solidFill>
                <a:uFillTx/>
                <a:latin typeface="Aptos" panose="020B0004020202020204" pitchFamily="34" charset="0"/>
                <a:ea typeface="+mj-ea"/>
                <a:cs typeface="+mj-cs"/>
                <a:sym typeface="IBM Plex Sans Light"/>
              </a:defRPr>
            </a:lvl1pPr>
            <a:lvl2pPr marL="0" marR="0" indent="0"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2pPr>
            <a:lvl3pPr marL="0" marR="0" indent="0"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3pPr>
            <a:lvl4pPr marL="0" marR="0" indent="0"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4pPr>
            <a:lvl5pPr marL="0" marR="0" indent="0"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5pPr>
            <a:lvl6pPr marL="0" marR="0" indent="217505"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6pPr>
            <a:lvl7pPr marL="0" marR="0" indent="435011"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7pPr>
            <a:lvl8pPr marL="0" marR="0" indent="652515"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8pPr>
            <a:lvl9pPr marL="0" marR="0" indent="870021"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9pPr>
          </a:lstStyle>
          <a:p>
            <a:pPr defTabSz="1218948">
              <a:lnSpc>
                <a:spcPct val="90000"/>
              </a:lnSpc>
              <a:defRPr/>
            </a:pPr>
            <a:r>
              <a:rPr lang="en-US" sz="5000" kern="0" spc="100">
                <a:solidFill>
                  <a:schemeClr val="tx2"/>
                </a:solidFill>
                <a:ea typeface="Helvetica Neue UltraLight" panose="02000206000000020004" pitchFamily="2" charset="0"/>
                <a:cs typeface="Helvetica Neue Medium" panose="02000503000000020004" pitchFamily="2" charset="0"/>
              </a:rPr>
              <a:t>Our Understanding</a:t>
            </a:r>
          </a:p>
          <a:p>
            <a:pPr defTabSz="1218948">
              <a:lnSpc>
                <a:spcPct val="90000"/>
              </a:lnSpc>
              <a:defRPr/>
            </a:pPr>
            <a:endParaRPr lang="en-US" sz="6000" kern="0" spc="100">
              <a:solidFill>
                <a:schemeClr val="tx2"/>
              </a:solidFill>
              <a:ea typeface="Helvetica Neue UltraLight" panose="02000206000000020004" pitchFamily="2" charset="0"/>
              <a:cs typeface="Helvetica Neue Medium" panose="02000503000000020004" pitchFamily="2" charset="0"/>
            </a:endParaRPr>
          </a:p>
          <a:p>
            <a:pPr defTabSz="1218948">
              <a:lnSpc>
                <a:spcPct val="90000"/>
              </a:lnSpc>
              <a:defRPr/>
            </a:pPr>
            <a:endParaRPr lang="en-US" sz="6000" kern="0" spc="100">
              <a:solidFill>
                <a:schemeClr val="tx2"/>
              </a:solidFill>
              <a:ea typeface="Helvetica Neue UltraLight" panose="02000206000000020004" pitchFamily="2" charset="0"/>
              <a:cs typeface="Helvetica Neue Medium" panose="02000503000000020004" pitchFamily="2" charset="0"/>
            </a:endParaRPr>
          </a:p>
        </p:txBody>
      </p:sp>
      <p:sp>
        <p:nvSpPr>
          <p:cNvPr id="11" name="Text Placeholder 3">
            <a:extLst>
              <a:ext uri="{FF2B5EF4-FFF2-40B4-BE49-F238E27FC236}">
                <a16:creationId xmlns:a16="http://schemas.microsoft.com/office/drawing/2014/main" id="{4DF501FB-DEAA-FAAA-F25B-DBA14ADD082A}"/>
              </a:ext>
            </a:extLst>
          </p:cNvPr>
          <p:cNvSpPr txBox="1">
            <a:spLocks/>
          </p:cNvSpPr>
          <p:nvPr/>
        </p:nvSpPr>
        <p:spPr>
          <a:xfrm>
            <a:off x="288889" y="6458629"/>
            <a:ext cx="4088233" cy="150303"/>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Outfit Light" pitchFamily="2" charset="0"/>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48">
              <a:defRPr/>
            </a:pPr>
            <a:r>
              <a:rPr lang="en-US" sz="917" kern="0">
                <a:solidFill>
                  <a:schemeClr val="bg2"/>
                </a:solidFill>
                <a:latin typeface="Aptos Light" panose="020B0004020202020204" pitchFamily="34" charset="0"/>
              </a:rPr>
              <a:t>Confidential</a:t>
            </a:r>
            <a:r>
              <a:rPr lang="en-US" sz="917" kern="0">
                <a:solidFill>
                  <a:schemeClr val="bg2"/>
                </a:solidFill>
                <a:latin typeface="Aptos" panose="020B0004020202020204" pitchFamily="34" charset="0"/>
              </a:rPr>
              <a:t>  /  </a:t>
            </a:r>
            <a:r>
              <a:rPr lang="en-US" sz="917" kern="0">
                <a:solidFill>
                  <a:schemeClr val="bg2"/>
                </a:solidFill>
                <a:latin typeface="Aptos Light" panose="020B0004020202020204" pitchFamily="34" charset="0"/>
              </a:rPr>
              <a:t>Brillio</a:t>
            </a:r>
          </a:p>
        </p:txBody>
      </p:sp>
      <p:sp>
        <p:nvSpPr>
          <p:cNvPr id="4" name="TextBox 3">
            <a:extLst>
              <a:ext uri="{FF2B5EF4-FFF2-40B4-BE49-F238E27FC236}">
                <a16:creationId xmlns:a16="http://schemas.microsoft.com/office/drawing/2014/main" id="{A3054D3E-AFDC-5E24-2B2D-47B90C063CFF}"/>
              </a:ext>
            </a:extLst>
          </p:cNvPr>
          <p:cNvSpPr txBox="1"/>
          <p:nvPr/>
        </p:nvSpPr>
        <p:spPr>
          <a:xfrm>
            <a:off x="941294" y="3496235"/>
            <a:ext cx="0" cy="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rtlCol="0">
            <a:noAutofit/>
          </a:bodyPr>
          <a:lstStyle/>
          <a:p>
            <a:pPr marL="370373" indent="-372276" defTabSz="2031919">
              <a:spcBef>
                <a:spcPts val="2417"/>
              </a:spcBef>
              <a:buSzPct val="100000"/>
              <a:buFontTx/>
              <a:buChar char="–"/>
              <a:defRPr/>
            </a:pPr>
            <a:endParaRPr lang="en-US" sz="1500" kern="0">
              <a:solidFill>
                <a:srgbClr val="000000"/>
              </a:solidFill>
              <a:latin typeface="Aptos" panose="02110004020202020204"/>
              <a:sym typeface="IBM Plex Sans Light"/>
            </a:endParaRPr>
          </a:p>
        </p:txBody>
      </p:sp>
      <p:sp>
        <p:nvSpPr>
          <p:cNvPr id="7" name="TextBox 6">
            <a:extLst>
              <a:ext uri="{FF2B5EF4-FFF2-40B4-BE49-F238E27FC236}">
                <a16:creationId xmlns:a16="http://schemas.microsoft.com/office/drawing/2014/main" id="{35D9EC18-52D7-1242-1962-3E7B00BB34C1}"/>
              </a:ext>
            </a:extLst>
          </p:cNvPr>
          <p:cNvSpPr txBox="1"/>
          <p:nvPr/>
        </p:nvSpPr>
        <p:spPr>
          <a:xfrm>
            <a:off x="941294" y="3204135"/>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370373" indent="-372276" defTabSz="2031919">
              <a:spcBef>
                <a:spcPts val="2417"/>
              </a:spcBef>
              <a:buSzPct val="100000"/>
              <a:buFontTx/>
              <a:buChar char="–"/>
              <a:defRPr/>
            </a:pPr>
            <a:endParaRPr lang="en-US" sz="1500" kern="0">
              <a:solidFill>
                <a:srgbClr val="000000"/>
              </a:solidFill>
              <a:latin typeface="Aptos" panose="02110004020202020204"/>
              <a:sym typeface="IBM Plex Sans Light"/>
            </a:endParaRPr>
          </a:p>
        </p:txBody>
      </p:sp>
      <p:sp>
        <p:nvSpPr>
          <p:cNvPr id="9" name="Rectangle 8">
            <a:extLst>
              <a:ext uri="{FF2B5EF4-FFF2-40B4-BE49-F238E27FC236}">
                <a16:creationId xmlns:a16="http://schemas.microsoft.com/office/drawing/2014/main" id="{72A1062C-0B98-F532-F5A3-76A042EBC0E8}"/>
              </a:ext>
            </a:extLst>
          </p:cNvPr>
          <p:cNvSpPr/>
          <p:nvPr/>
        </p:nvSpPr>
        <p:spPr bwMode="auto">
          <a:xfrm rot="5400000">
            <a:off x="1576003" y="1838266"/>
            <a:ext cx="38099" cy="1198778"/>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76200" tIns="76200" rIns="76200" bIns="76200" numCol="1" rtlCol="0" anchor="t" anchorCtr="0" compatLnSpc="1">
            <a:prstTxWarp prst="textNoShape">
              <a:avLst/>
            </a:prstTxWarp>
          </a:bodyPr>
          <a:lstStyle/>
          <a:p>
            <a:pPr defTabSz="761970" fontAlgn="base">
              <a:spcBef>
                <a:spcPct val="0"/>
              </a:spcBef>
              <a:spcAft>
                <a:spcPct val="0"/>
              </a:spcAft>
              <a:defRPr/>
            </a:pPr>
            <a:endParaRPr lang="en-US" sz="1167">
              <a:solidFill>
                <a:schemeClr val="tx2"/>
              </a:solidFill>
              <a:latin typeface="Aptos" panose="02110004020202020204"/>
            </a:endParaRPr>
          </a:p>
        </p:txBody>
      </p:sp>
      <p:sp>
        <p:nvSpPr>
          <p:cNvPr id="8" name="Text Placeholder 3">
            <a:extLst>
              <a:ext uri="{FF2B5EF4-FFF2-40B4-BE49-F238E27FC236}">
                <a16:creationId xmlns:a16="http://schemas.microsoft.com/office/drawing/2014/main" id="{C808FE05-0D52-5F54-AA08-723DD72259C1}"/>
              </a:ext>
            </a:extLst>
          </p:cNvPr>
          <p:cNvSpPr txBox="1">
            <a:spLocks/>
          </p:cNvSpPr>
          <p:nvPr/>
        </p:nvSpPr>
        <p:spPr>
          <a:xfrm>
            <a:off x="11438259" y="6458629"/>
            <a:ext cx="462473" cy="150303"/>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Outfit Light" pitchFamily="2" charset="0"/>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r" defTabSz="1218948">
              <a:defRPr/>
            </a:pPr>
            <a:fld id="{64F0821C-65D3-DD4D-8DB2-745946DB9115}" type="slidenum">
              <a:rPr lang="en-US" sz="917" kern="0">
                <a:latin typeface="Aptos" panose="020B0004020202020204" pitchFamily="34" charset="0"/>
              </a:rPr>
              <a:pPr algn="r" defTabSz="1218948">
                <a:defRPr/>
              </a:pPr>
              <a:t>28</a:t>
            </a:fld>
            <a:endParaRPr lang="en-US" sz="917" kern="0">
              <a:latin typeface="Aptos" panose="020B0004020202020204" pitchFamily="34" charset="0"/>
            </a:endParaRPr>
          </a:p>
        </p:txBody>
      </p:sp>
      <p:pic>
        <p:nvPicPr>
          <p:cNvPr id="12" name="Graphic 11">
            <a:extLst>
              <a:ext uri="{FF2B5EF4-FFF2-40B4-BE49-F238E27FC236}">
                <a16:creationId xmlns:a16="http://schemas.microsoft.com/office/drawing/2014/main" id="{156D23D3-B5C7-882F-69FA-17C1FF3A9862}"/>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543540" y="6495499"/>
            <a:ext cx="167269" cy="81501"/>
          </a:xfrm>
          <a:prstGeom prst="rect">
            <a:avLst/>
          </a:prstGeom>
        </p:spPr>
      </p:pic>
      <p:sp>
        <p:nvSpPr>
          <p:cNvPr id="19" name="Title 4">
            <a:extLst>
              <a:ext uri="{FF2B5EF4-FFF2-40B4-BE49-F238E27FC236}">
                <a16:creationId xmlns:a16="http://schemas.microsoft.com/office/drawing/2014/main" id="{5EF01094-171F-A251-08EB-ADF4056E0AC4}"/>
              </a:ext>
            </a:extLst>
          </p:cNvPr>
          <p:cNvSpPr txBox="1">
            <a:spLocks/>
          </p:cNvSpPr>
          <p:nvPr/>
        </p:nvSpPr>
        <p:spPr>
          <a:xfrm>
            <a:off x="1043244" y="2711953"/>
            <a:ext cx="6032383" cy="1648630"/>
          </a:xfrm>
          <a:prstGeom prst="rect">
            <a:avLst/>
          </a:prstGeom>
        </p:spPr>
        <p:txBody>
          <a:bodyPr>
            <a:noAutofit/>
          </a:bodyPr>
          <a:lstStyle>
            <a:lvl1pPr marL="0" marR="0" indent="0" algn="l" defTabSz="1462796" rtl="0" eaLnBrk="1" latinLnBrk="0" hangingPunct="1">
              <a:lnSpc>
                <a:spcPct val="80000"/>
              </a:lnSpc>
              <a:spcBef>
                <a:spcPts val="0"/>
              </a:spcBef>
              <a:spcAft>
                <a:spcPts val="0"/>
              </a:spcAft>
              <a:buClrTx/>
              <a:buSzTx/>
              <a:buFontTx/>
              <a:buNone/>
              <a:tabLst/>
              <a:defRPr sz="3800" b="0" i="0" u="none" strike="noStrike" cap="none" spc="0" baseline="0">
                <a:solidFill>
                  <a:schemeClr val="bg1"/>
                </a:solidFill>
                <a:uFillTx/>
                <a:latin typeface="Aptos" panose="020B0004020202020204" pitchFamily="34" charset="0"/>
                <a:ea typeface="+mj-ea"/>
                <a:cs typeface="+mj-cs"/>
                <a:sym typeface="IBM Plex Sans Light"/>
              </a:defRPr>
            </a:lvl1pPr>
            <a:lvl2pPr marL="0" marR="0" indent="0"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2pPr>
            <a:lvl3pPr marL="0" marR="0" indent="0"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3pPr>
            <a:lvl4pPr marL="0" marR="0" indent="0"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4pPr>
            <a:lvl5pPr marL="0" marR="0" indent="0"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5pPr>
            <a:lvl6pPr marL="0" marR="0" indent="217505"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6pPr>
            <a:lvl7pPr marL="0" marR="0" indent="435011"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7pPr>
            <a:lvl8pPr marL="0" marR="0" indent="652515"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8pPr>
            <a:lvl9pPr marL="0" marR="0" indent="870021"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9pPr>
          </a:lstStyle>
          <a:p>
            <a:pPr defTabSz="1218948">
              <a:lnSpc>
                <a:spcPct val="90000"/>
              </a:lnSpc>
              <a:defRPr/>
            </a:pPr>
            <a:r>
              <a:rPr lang="en-US" sz="5000" kern="0" spc="100">
                <a:ea typeface="Helvetica Neue UltraLight" panose="02000206000000020004" pitchFamily="2" charset="0"/>
                <a:cs typeface="Helvetica Neue Medium" panose="02000503000000020004" pitchFamily="2" charset="0"/>
              </a:rPr>
              <a:t>Execution Approach</a:t>
            </a:r>
          </a:p>
          <a:p>
            <a:pPr defTabSz="1218948">
              <a:lnSpc>
                <a:spcPct val="90000"/>
              </a:lnSpc>
              <a:defRPr/>
            </a:pPr>
            <a:endParaRPr lang="en-US" sz="6000" kern="0" spc="100">
              <a:ea typeface="Helvetica Neue UltraLight" panose="02000206000000020004" pitchFamily="2" charset="0"/>
              <a:cs typeface="Helvetica Neue Medium" panose="02000503000000020004" pitchFamily="2" charset="0"/>
            </a:endParaRPr>
          </a:p>
          <a:p>
            <a:pPr defTabSz="1218948">
              <a:lnSpc>
                <a:spcPct val="90000"/>
              </a:lnSpc>
              <a:defRPr/>
            </a:pPr>
            <a:endParaRPr lang="en-US" sz="6000" kern="0" spc="100">
              <a:ea typeface="Helvetica Neue UltraLight" panose="02000206000000020004" pitchFamily="2" charset="0"/>
              <a:cs typeface="Helvetica Neue Medium" panose="02000503000000020004" pitchFamily="2" charset="0"/>
            </a:endParaRPr>
          </a:p>
        </p:txBody>
      </p:sp>
      <p:sp>
        <p:nvSpPr>
          <p:cNvPr id="20" name="Rectangle 19">
            <a:extLst>
              <a:ext uri="{FF2B5EF4-FFF2-40B4-BE49-F238E27FC236}">
                <a16:creationId xmlns:a16="http://schemas.microsoft.com/office/drawing/2014/main" id="{535FDA9C-4478-E382-4A25-BFA1FAE0D8E5}"/>
              </a:ext>
            </a:extLst>
          </p:cNvPr>
          <p:cNvSpPr/>
          <p:nvPr/>
        </p:nvSpPr>
        <p:spPr bwMode="auto">
          <a:xfrm rot="5400000">
            <a:off x="1728403" y="1990666"/>
            <a:ext cx="38099" cy="1198778"/>
          </a:xfrm>
          <a:prstGeom prst="rect">
            <a:avLst/>
          </a:prstGeom>
          <a:solidFill>
            <a:schemeClr val="tx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76200" tIns="76200" rIns="76200" bIns="76200" numCol="1" rtlCol="0" anchor="t" anchorCtr="0" compatLnSpc="1">
            <a:prstTxWarp prst="textNoShape">
              <a:avLst/>
            </a:prstTxWarp>
          </a:bodyPr>
          <a:lstStyle/>
          <a:p>
            <a:pPr defTabSz="761970" fontAlgn="base">
              <a:spcBef>
                <a:spcPct val="0"/>
              </a:spcBef>
              <a:spcAft>
                <a:spcPct val="0"/>
              </a:spcAft>
              <a:defRPr/>
            </a:pPr>
            <a:endParaRPr lang="en-US" sz="1167">
              <a:solidFill>
                <a:schemeClr val="bg2"/>
              </a:solidFill>
              <a:latin typeface="Aptos" panose="02110004020202020204"/>
            </a:endParaRPr>
          </a:p>
        </p:txBody>
      </p:sp>
    </p:spTree>
    <p:extLst>
      <p:ext uri="{BB962C8B-B14F-4D97-AF65-F5344CB8AC3E}">
        <p14:creationId xmlns:p14="http://schemas.microsoft.com/office/powerpoint/2010/main" val="1593385419"/>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C98EA3-389B-6ADF-B9C5-E4EDF89A5250}"/>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033BC968-E939-3DC6-8DC3-7362ECDC2CF5}"/>
              </a:ext>
            </a:extLst>
          </p:cNvPr>
          <p:cNvSpPr/>
          <p:nvPr/>
        </p:nvSpPr>
        <p:spPr bwMode="auto">
          <a:xfrm>
            <a:off x="1902860" y="887581"/>
            <a:ext cx="3903824" cy="5878979"/>
          </a:xfrm>
          <a:prstGeom prst="rect">
            <a:avLst/>
          </a:prstGeom>
          <a:solidFill>
            <a:schemeClr val="accent2">
              <a:lumMod val="40000"/>
              <a:lumOff val="60000"/>
            </a:schemeClr>
          </a:solidFill>
          <a:ln w="38100">
            <a:noFill/>
            <a:prstDash val="dash"/>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GB" sz="1400" b="0" i="0" u="none" strike="noStrike" cap="none" normalizeH="0" baseline="0">
              <a:ln>
                <a:noFill/>
              </a:ln>
              <a:solidFill>
                <a:schemeClr val="bg1"/>
              </a:solidFill>
              <a:effectLst/>
              <a:latin typeface="+mn-lt"/>
            </a:endParaRPr>
          </a:p>
        </p:txBody>
      </p:sp>
      <p:sp>
        <p:nvSpPr>
          <p:cNvPr id="17" name="Round Single Corner of Rectangle 16">
            <a:extLst>
              <a:ext uri="{FF2B5EF4-FFF2-40B4-BE49-F238E27FC236}">
                <a16:creationId xmlns:a16="http://schemas.microsoft.com/office/drawing/2014/main" id="{58D007AA-0D5A-4F87-E009-0653A8C6699D}"/>
              </a:ext>
            </a:extLst>
          </p:cNvPr>
          <p:cNvSpPr/>
          <p:nvPr/>
        </p:nvSpPr>
        <p:spPr bwMode="auto">
          <a:xfrm rot="5400000">
            <a:off x="2454081" y="568601"/>
            <a:ext cx="2779724" cy="3545860"/>
          </a:xfrm>
          <a:prstGeom prst="round1Rect">
            <a:avLst>
              <a:gd name="adj" fmla="val 0"/>
            </a:avLst>
          </a:prstGeom>
          <a:solidFill>
            <a:schemeClr val="tx1">
              <a:lumMod val="9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bg1"/>
              </a:solidFill>
              <a:effectLst/>
              <a:latin typeface="+mn-lt"/>
            </a:endParaRPr>
          </a:p>
        </p:txBody>
      </p:sp>
      <p:sp>
        <p:nvSpPr>
          <p:cNvPr id="21" name="Round Single Corner of Rectangle 20">
            <a:extLst>
              <a:ext uri="{FF2B5EF4-FFF2-40B4-BE49-F238E27FC236}">
                <a16:creationId xmlns:a16="http://schemas.microsoft.com/office/drawing/2014/main" id="{015B39B3-673E-141D-56AB-1A10EBF0AB8A}"/>
              </a:ext>
            </a:extLst>
          </p:cNvPr>
          <p:cNvSpPr/>
          <p:nvPr/>
        </p:nvSpPr>
        <p:spPr bwMode="auto">
          <a:xfrm rot="5400000">
            <a:off x="2384282" y="3418124"/>
            <a:ext cx="2937655" cy="3564191"/>
          </a:xfrm>
          <a:prstGeom prst="round1Rect">
            <a:avLst/>
          </a:prstGeom>
          <a:solidFill>
            <a:srgbClr val="012354"/>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bg1"/>
              </a:solidFill>
              <a:effectLst/>
              <a:latin typeface="+mn-lt"/>
            </a:endParaRPr>
          </a:p>
        </p:txBody>
      </p:sp>
      <p:sp>
        <p:nvSpPr>
          <p:cNvPr id="2" name="Title 1">
            <a:extLst>
              <a:ext uri="{FF2B5EF4-FFF2-40B4-BE49-F238E27FC236}">
                <a16:creationId xmlns:a16="http://schemas.microsoft.com/office/drawing/2014/main" id="{0A365C8D-E94C-22B5-BAE0-54FB713E3736}"/>
              </a:ext>
            </a:extLst>
          </p:cNvPr>
          <p:cNvSpPr>
            <a:spLocks noGrp="1"/>
          </p:cNvSpPr>
          <p:nvPr>
            <p:ph type="title"/>
          </p:nvPr>
        </p:nvSpPr>
        <p:spPr/>
        <p:txBody>
          <a:bodyPr/>
          <a:lstStyle/>
          <a:p>
            <a:r>
              <a:rPr lang="en-US">
                <a:solidFill>
                  <a:srgbClr val="002060"/>
                </a:solidFill>
                <a:latin typeface="Aptos" panose="020B0004020202020204" pitchFamily="34" charset="0"/>
                <a:cs typeface="Arial"/>
              </a:rPr>
              <a:t>Execution Approach – Agile Implementation</a:t>
            </a:r>
            <a:endParaRPr lang="en-US">
              <a:solidFill>
                <a:srgbClr val="002060"/>
              </a:solidFill>
              <a:highlight>
                <a:srgbClr val="FFFF00"/>
              </a:highlight>
              <a:latin typeface="Aptos" panose="020B0004020202020204" pitchFamily="34" charset="0"/>
              <a:cs typeface="Arial"/>
            </a:endParaRPr>
          </a:p>
        </p:txBody>
      </p:sp>
      <p:sp>
        <p:nvSpPr>
          <p:cNvPr id="16" name="Rectangle 15">
            <a:extLst>
              <a:ext uri="{FF2B5EF4-FFF2-40B4-BE49-F238E27FC236}">
                <a16:creationId xmlns:a16="http://schemas.microsoft.com/office/drawing/2014/main" id="{95593EF8-8EC3-CAE2-9DC2-58A9B4EB5C76}"/>
              </a:ext>
            </a:extLst>
          </p:cNvPr>
          <p:cNvSpPr/>
          <p:nvPr/>
        </p:nvSpPr>
        <p:spPr>
          <a:xfrm>
            <a:off x="2137318" y="996957"/>
            <a:ext cx="2493921" cy="501071"/>
          </a:xfrm>
          <a:prstGeom prst="rect">
            <a:avLst/>
          </a:prstGeom>
        </p:spPr>
        <p:txBody>
          <a:bodyPr wrap="square" anchor="ctr">
            <a:noAutofit/>
          </a:bodyPr>
          <a:lstStyle/>
          <a:p>
            <a:pPr defTabSz="914446">
              <a:defRPr/>
            </a:pPr>
            <a:r>
              <a:rPr lang="en-US" sz="1500" b="1">
                <a:solidFill>
                  <a:srgbClr val="012354"/>
                </a:solidFill>
                <a:latin typeface="Aptos" panose="020B0004020202020204" pitchFamily="34" charset="0"/>
              </a:rPr>
              <a:t>PHASE 1</a:t>
            </a:r>
          </a:p>
        </p:txBody>
      </p:sp>
      <p:sp>
        <p:nvSpPr>
          <p:cNvPr id="31" name="TextBox 30">
            <a:extLst>
              <a:ext uri="{FF2B5EF4-FFF2-40B4-BE49-F238E27FC236}">
                <a16:creationId xmlns:a16="http://schemas.microsoft.com/office/drawing/2014/main" id="{669D48A5-3399-AAD3-F642-D158792B39DD}"/>
              </a:ext>
            </a:extLst>
          </p:cNvPr>
          <p:cNvSpPr txBox="1"/>
          <p:nvPr/>
        </p:nvSpPr>
        <p:spPr>
          <a:xfrm>
            <a:off x="2137317" y="1513084"/>
            <a:ext cx="3336523" cy="1912318"/>
          </a:xfrm>
          <a:prstGeom prst="rect">
            <a:avLst/>
          </a:prstGeom>
          <a:noFill/>
        </p:spPr>
        <p:txBody>
          <a:bodyPr wrap="square" lIns="91440" tIns="45720" rIns="91440" bIns="45720" rtlCol="0" anchor="ctr">
            <a:spAutoFit/>
          </a:bodyPr>
          <a:lstStyle/>
          <a:p>
            <a:pPr marL="171450" marR="0" lvl="0" indent="-171450" defTabSz="914400" rtl="0" eaLnBrk="1" fontAlgn="auto" latinLnBrk="0" hangingPunct="1">
              <a:lnSpc>
                <a:spcPct val="110000"/>
              </a:lnSpc>
              <a:spcBef>
                <a:spcPts val="0"/>
              </a:spcBef>
              <a:spcAft>
                <a:spcPts val="0"/>
              </a:spcAft>
              <a:buClrTx/>
              <a:buSzTx/>
              <a:buFont typeface="Arial" panose="020B0604020202020204" pitchFamily="34" charset="0"/>
              <a:buChar char="•"/>
              <a:defRPr/>
            </a:pPr>
            <a:r>
              <a:rPr kumimoji="0" lang="en-US" sz="1200" b="0" i="0" u="none" strike="noStrike" kern="1200" cap="none" spc="0" normalizeH="0" baseline="0" noProof="0">
                <a:ln>
                  <a:noFill/>
                </a:ln>
                <a:solidFill>
                  <a:schemeClr val="bg2"/>
                </a:solidFill>
                <a:effectLst/>
                <a:uLnTx/>
                <a:uFillTx/>
                <a:ea typeface="+mn-ea"/>
                <a:cs typeface="+mn-cs"/>
              </a:rPr>
              <a:t>Data profiling and modeling for ~80 tables through data discovery framework</a:t>
            </a:r>
          </a:p>
          <a:p>
            <a:pPr marL="171450" marR="0" lvl="0" indent="-171450" defTabSz="914400" rtl="0" eaLnBrk="1" fontAlgn="auto" latinLnBrk="0" hangingPunct="1">
              <a:lnSpc>
                <a:spcPct val="110000"/>
              </a:lnSpc>
              <a:spcBef>
                <a:spcPts val="0"/>
              </a:spcBef>
              <a:spcAft>
                <a:spcPts val="0"/>
              </a:spcAft>
              <a:buClrTx/>
              <a:buSzTx/>
              <a:buFont typeface="Arial" panose="020B0604020202020204" pitchFamily="34" charset="0"/>
              <a:buChar char="•"/>
              <a:defRPr/>
            </a:pPr>
            <a:r>
              <a:rPr lang="en-US" sz="1200">
                <a:solidFill>
                  <a:schemeClr val="bg2"/>
                </a:solidFill>
              </a:rPr>
              <a:t>Implement pilot for testing existing functionality with excel dashboards for 20-30 customers</a:t>
            </a:r>
          </a:p>
          <a:p>
            <a:pPr marL="171450" marR="0" lvl="0" indent="-171450" defTabSz="914400" rtl="0" eaLnBrk="1" fontAlgn="auto" latinLnBrk="0" hangingPunct="1">
              <a:lnSpc>
                <a:spcPct val="110000"/>
              </a:lnSpc>
              <a:spcBef>
                <a:spcPts val="0"/>
              </a:spcBef>
              <a:spcAft>
                <a:spcPts val="0"/>
              </a:spcAft>
              <a:buClrTx/>
              <a:buSzTx/>
              <a:buFont typeface="Arial" panose="020B0604020202020204" pitchFamily="34" charset="0"/>
              <a:buChar char="•"/>
              <a:defRPr/>
            </a:pPr>
            <a:r>
              <a:rPr lang="en-US" sz="1200">
                <a:solidFill>
                  <a:schemeClr val="bg2"/>
                </a:solidFill>
              </a:rPr>
              <a:t>Implement the semantic data layer, Power BI</a:t>
            </a:r>
          </a:p>
          <a:p>
            <a:pPr marL="185420" marR="0" lvl="0" indent="-185420" defTabSz="914400" rtl="0" eaLnBrk="1" fontAlgn="auto" latinLnBrk="0" hangingPunct="1">
              <a:lnSpc>
                <a:spcPct val="110000"/>
              </a:lnSpc>
              <a:spcBef>
                <a:spcPts val="0"/>
              </a:spcBef>
              <a:spcAft>
                <a:spcPts val="0"/>
              </a:spcAft>
              <a:buClrTx/>
              <a:buSzTx/>
              <a:buFont typeface="Arial" panose="020B0604020202020204" pitchFamily="34" charset="0"/>
              <a:buChar char="•"/>
              <a:defRPr/>
            </a:pPr>
            <a:r>
              <a:rPr lang="en-US" sz="1200">
                <a:solidFill>
                  <a:schemeClr val="bg2"/>
                </a:solidFill>
              </a:rPr>
              <a:t>Perform UAT and Production support for the implemented use cases</a:t>
            </a:r>
          </a:p>
          <a:p>
            <a:pPr marL="185420" indent="-185420">
              <a:lnSpc>
                <a:spcPct val="110000"/>
              </a:lnSpc>
              <a:buFont typeface="Arial" panose="020B0604020202020204" pitchFamily="34" charset="0"/>
              <a:buChar char="•"/>
              <a:defRPr/>
            </a:pPr>
            <a:r>
              <a:rPr lang="en-US" sz="1200">
                <a:solidFill>
                  <a:schemeClr val="bg2"/>
                </a:solidFill>
              </a:rPr>
              <a:t>Last sprint - Tech Debt </a:t>
            </a:r>
          </a:p>
        </p:txBody>
      </p:sp>
      <p:sp>
        <p:nvSpPr>
          <p:cNvPr id="24" name="TextBox 23">
            <a:extLst>
              <a:ext uri="{FF2B5EF4-FFF2-40B4-BE49-F238E27FC236}">
                <a16:creationId xmlns:a16="http://schemas.microsoft.com/office/drawing/2014/main" id="{EEC110FC-0384-4A0C-83DD-AF704BABE5F0}"/>
              </a:ext>
            </a:extLst>
          </p:cNvPr>
          <p:cNvSpPr txBox="1"/>
          <p:nvPr/>
        </p:nvSpPr>
        <p:spPr>
          <a:xfrm>
            <a:off x="2137317" y="4756727"/>
            <a:ext cx="3336523" cy="1709186"/>
          </a:xfrm>
          <a:prstGeom prst="rect">
            <a:avLst/>
          </a:prstGeom>
          <a:noFill/>
        </p:spPr>
        <p:txBody>
          <a:bodyPr wrap="square" rtlCol="0" anchor="ctr">
            <a:spAutoFit/>
          </a:bodyPr>
          <a:lstStyle/>
          <a:p>
            <a:pPr marR="0" lvl="0" defTabSz="914400" rtl="0" eaLnBrk="1" fontAlgn="auto" latinLnBrk="0" hangingPunct="1">
              <a:lnSpc>
                <a:spcPct val="110000"/>
              </a:lnSpc>
              <a:spcBef>
                <a:spcPts val="0"/>
              </a:spcBef>
              <a:spcAft>
                <a:spcPts val="0"/>
              </a:spcAft>
              <a:buClrTx/>
              <a:buSzTx/>
              <a:defRPr/>
            </a:pPr>
            <a:r>
              <a:rPr kumimoji="0" lang="en-US" sz="1200" b="0" i="0" u="none" strike="noStrike" kern="1200" cap="none" spc="0" normalizeH="0" baseline="0" noProof="0">
                <a:ln>
                  <a:noFill/>
                </a:ln>
                <a:solidFill>
                  <a:srgbClr val="F4F4F4"/>
                </a:solidFill>
                <a:effectLst/>
                <a:uLnTx/>
                <a:uFillTx/>
                <a:ea typeface="+mn-ea"/>
                <a:cs typeface="+mn-cs"/>
              </a:rPr>
              <a:t>Power BI Application for following:</a:t>
            </a:r>
          </a:p>
          <a:p>
            <a:pPr marL="171450" marR="0" lvl="0" indent="-171450" defTabSz="914400" rtl="0" eaLnBrk="1" fontAlgn="auto" latinLnBrk="0" hangingPunct="1">
              <a:lnSpc>
                <a:spcPct val="110000"/>
              </a:lnSpc>
              <a:spcBef>
                <a:spcPts val="0"/>
              </a:spcBef>
              <a:spcAft>
                <a:spcPts val="0"/>
              </a:spcAft>
              <a:buClrTx/>
              <a:buSzTx/>
              <a:buFont typeface="Arial" panose="020B0604020202020204" pitchFamily="34" charset="0"/>
              <a:buChar char="•"/>
              <a:defRPr/>
            </a:pPr>
            <a:r>
              <a:rPr kumimoji="0" lang="en-US" sz="1200" b="0" i="0" u="none" strike="noStrike" kern="1200" cap="none" spc="0" normalizeH="0" baseline="0" noProof="0">
                <a:ln>
                  <a:noFill/>
                </a:ln>
                <a:solidFill>
                  <a:srgbClr val="F4F4F4"/>
                </a:solidFill>
                <a:effectLst/>
                <a:uLnTx/>
                <a:uFillTx/>
                <a:ea typeface="+mn-ea"/>
                <a:cs typeface="+mn-cs"/>
              </a:rPr>
              <a:t>Customer Order Flow-SAP</a:t>
            </a:r>
          </a:p>
          <a:p>
            <a:pPr marL="171450" marR="0" lvl="0" indent="-171450" defTabSz="914400" rtl="0" eaLnBrk="1" fontAlgn="auto" latinLnBrk="0" hangingPunct="1">
              <a:lnSpc>
                <a:spcPct val="110000"/>
              </a:lnSpc>
              <a:spcBef>
                <a:spcPts val="0"/>
              </a:spcBef>
              <a:spcAft>
                <a:spcPts val="0"/>
              </a:spcAft>
              <a:buClrTx/>
              <a:buSzTx/>
              <a:buFont typeface="Arial" panose="020B0604020202020204" pitchFamily="34" charset="0"/>
              <a:buChar char="•"/>
              <a:defRPr/>
            </a:pPr>
            <a:r>
              <a:rPr kumimoji="0" lang="en-US" sz="1200" b="0" i="0" u="none" strike="noStrike" kern="1200" cap="none" spc="0" normalizeH="0" baseline="0" noProof="0">
                <a:ln>
                  <a:noFill/>
                </a:ln>
                <a:solidFill>
                  <a:srgbClr val="F4F4F4"/>
                </a:solidFill>
                <a:effectLst/>
                <a:uLnTx/>
                <a:uFillTx/>
                <a:ea typeface="+mn-ea"/>
                <a:cs typeface="+mn-cs"/>
              </a:rPr>
              <a:t>Customer Health Pricing- SAP</a:t>
            </a:r>
          </a:p>
          <a:p>
            <a:pPr marL="171450" marR="0" lvl="0" indent="-171450" defTabSz="914400" rtl="0" eaLnBrk="1" fontAlgn="auto" latinLnBrk="0" hangingPunct="1">
              <a:lnSpc>
                <a:spcPct val="110000"/>
              </a:lnSpc>
              <a:spcBef>
                <a:spcPts val="0"/>
              </a:spcBef>
              <a:spcAft>
                <a:spcPts val="0"/>
              </a:spcAft>
              <a:buClrTx/>
              <a:buSzTx/>
              <a:buFont typeface="Arial" panose="020B0604020202020204" pitchFamily="34" charset="0"/>
              <a:buChar char="•"/>
              <a:defRPr/>
            </a:pPr>
            <a:r>
              <a:rPr lang="en-US" sz="1200">
                <a:solidFill>
                  <a:srgbClr val="F4F4F4"/>
                </a:solidFill>
              </a:rPr>
              <a:t>Cut Recovery – SAP, JDA/O9</a:t>
            </a:r>
          </a:p>
          <a:p>
            <a:pPr marL="171450" marR="0" lvl="0" indent="-171450" defTabSz="914400" rtl="0" eaLnBrk="1" fontAlgn="auto" latinLnBrk="0" hangingPunct="1">
              <a:lnSpc>
                <a:spcPct val="110000"/>
              </a:lnSpc>
              <a:spcBef>
                <a:spcPts val="0"/>
              </a:spcBef>
              <a:spcAft>
                <a:spcPts val="0"/>
              </a:spcAft>
              <a:buClrTx/>
              <a:buSzTx/>
              <a:buFont typeface="Arial" panose="020B0604020202020204" pitchFamily="34" charset="0"/>
              <a:buChar char="•"/>
              <a:defRPr/>
            </a:pPr>
            <a:r>
              <a:rPr kumimoji="0" lang="en-US" sz="1200" b="0" i="0" u="none" strike="noStrike" kern="1200" cap="none" spc="0" normalizeH="0" baseline="0" noProof="0">
                <a:ln>
                  <a:noFill/>
                </a:ln>
                <a:solidFill>
                  <a:srgbClr val="F4F4F4"/>
                </a:solidFill>
                <a:effectLst/>
                <a:uLnTx/>
                <a:uFillTx/>
                <a:ea typeface="+mn-ea"/>
                <a:cs typeface="+mn-cs"/>
              </a:rPr>
              <a:t>Customer Health Scorecard- SAP , </a:t>
            </a:r>
            <a:r>
              <a:rPr lang="en-US" sz="1200">
                <a:solidFill>
                  <a:srgbClr val="F4F4F4"/>
                </a:solidFill>
              </a:rPr>
              <a:t>BW4</a:t>
            </a:r>
            <a:endParaRPr kumimoji="0" lang="en-US" sz="1200" b="0" i="0" u="none" strike="noStrike" kern="1200" cap="none" spc="0" normalizeH="0" baseline="0" noProof="0">
              <a:ln>
                <a:noFill/>
              </a:ln>
              <a:solidFill>
                <a:srgbClr val="F4F4F4"/>
              </a:solidFill>
              <a:effectLst/>
              <a:uLnTx/>
              <a:uFillTx/>
              <a:ea typeface="+mn-ea"/>
              <a:cs typeface="+mn-cs"/>
            </a:endParaRPr>
          </a:p>
          <a:p>
            <a:pPr marL="171450" marR="0" lvl="0" indent="-171450" defTabSz="914400" rtl="0" eaLnBrk="1" fontAlgn="auto" latinLnBrk="0" hangingPunct="1">
              <a:lnSpc>
                <a:spcPct val="110000"/>
              </a:lnSpc>
              <a:spcBef>
                <a:spcPts val="0"/>
              </a:spcBef>
              <a:spcAft>
                <a:spcPts val="0"/>
              </a:spcAft>
              <a:buClrTx/>
              <a:buSzTx/>
              <a:buFont typeface="Arial" panose="020B0604020202020204" pitchFamily="34" charset="0"/>
              <a:buChar char="•"/>
              <a:defRPr/>
            </a:pPr>
            <a:endParaRPr kumimoji="0" lang="en-US" sz="1200" b="0" i="0" u="none" strike="noStrike" kern="1200" cap="none" spc="0" normalizeH="0" baseline="0" noProof="0">
              <a:ln>
                <a:noFill/>
              </a:ln>
              <a:solidFill>
                <a:srgbClr val="F4F4F4"/>
              </a:solidFill>
              <a:effectLst/>
              <a:uLnTx/>
              <a:uFillTx/>
              <a:ea typeface="+mn-ea"/>
              <a:cs typeface="+mn-cs"/>
            </a:endParaRPr>
          </a:p>
          <a:p>
            <a:pPr marL="171450" marR="0" lvl="0" indent="-171450" defTabSz="914400" rtl="0" eaLnBrk="1" fontAlgn="auto" latinLnBrk="0" hangingPunct="1">
              <a:lnSpc>
                <a:spcPct val="110000"/>
              </a:lnSpc>
              <a:spcBef>
                <a:spcPts val="0"/>
              </a:spcBef>
              <a:spcAft>
                <a:spcPts val="0"/>
              </a:spcAft>
              <a:buClrTx/>
              <a:buSzTx/>
              <a:buFont typeface="Arial" panose="020B0604020202020204" pitchFamily="34" charset="0"/>
              <a:buChar char="•"/>
              <a:defRPr/>
            </a:pPr>
            <a:endParaRPr kumimoji="0" lang="en-US" sz="1200" b="0" i="0" u="none" strike="noStrike" kern="1200" cap="none" spc="0" normalizeH="0" baseline="0" noProof="0">
              <a:ln>
                <a:noFill/>
              </a:ln>
              <a:solidFill>
                <a:srgbClr val="F4F4F4"/>
              </a:solidFill>
              <a:effectLst/>
              <a:uLnTx/>
              <a:uFillTx/>
              <a:ea typeface="+mn-ea"/>
              <a:cs typeface="+mn-cs"/>
            </a:endParaRPr>
          </a:p>
          <a:p>
            <a:pPr marL="171450" marR="0" lvl="0" indent="-171450" defTabSz="914400" rtl="0" eaLnBrk="1" fontAlgn="auto" latinLnBrk="0" hangingPunct="1">
              <a:lnSpc>
                <a:spcPct val="110000"/>
              </a:lnSpc>
              <a:spcBef>
                <a:spcPts val="0"/>
              </a:spcBef>
              <a:spcAft>
                <a:spcPts val="0"/>
              </a:spcAft>
              <a:buClrTx/>
              <a:buSzTx/>
              <a:buFont typeface="Arial" panose="020B0604020202020204" pitchFamily="34" charset="0"/>
              <a:buChar char="•"/>
              <a:defRPr/>
            </a:pPr>
            <a:endParaRPr kumimoji="0" lang="en-US" sz="1200" b="0" i="0" u="none" strike="noStrike" kern="1200" cap="none" spc="0" normalizeH="0" baseline="0" noProof="0">
              <a:ln>
                <a:noFill/>
              </a:ln>
              <a:solidFill>
                <a:srgbClr val="F4F4F4"/>
              </a:solidFill>
              <a:effectLst/>
              <a:uLnTx/>
              <a:uFillTx/>
              <a:ea typeface="+mn-ea"/>
              <a:cs typeface="+mn-cs"/>
            </a:endParaRPr>
          </a:p>
        </p:txBody>
      </p:sp>
      <p:sp>
        <p:nvSpPr>
          <p:cNvPr id="26" name="Rectangle 25">
            <a:extLst>
              <a:ext uri="{FF2B5EF4-FFF2-40B4-BE49-F238E27FC236}">
                <a16:creationId xmlns:a16="http://schemas.microsoft.com/office/drawing/2014/main" id="{F1746E12-C3DF-F0F8-2DEB-9FDF8B87FC17}"/>
              </a:ext>
            </a:extLst>
          </p:cNvPr>
          <p:cNvSpPr/>
          <p:nvPr/>
        </p:nvSpPr>
        <p:spPr>
          <a:xfrm>
            <a:off x="2137318" y="3841455"/>
            <a:ext cx="2493921" cy="501071"/>
          </a:xfrm>
          <a:prstGeom prst="rect">
            <a:avLst/>
          </a:prstGeom>
        </p:spPr>
        <p:txBody>
          <a:bodyPr wrap="square" anchor="ctr">
            <a:noAutofit/>
          </a:bodyPr>
          <a:lstStyle/>
          <a:p>
            <a:pPr defTabSz="914446">
              <a:defRPr/>
            </a:pPr>
            <a:r>
              <a:rPr lang="en-US" sz="1500" b="1">
                <a:solidFill>
                  <a:srgbClr val="CCEFF6"/>
                </a:solidFill>
                <a:latin typeface="Aptos" panose="020B0004020202020204" pitchFamily="34" charset="0"/>
              </a:rPr>
              <a:t>OUTCOMES</a:t>
            </a:r>
          </a:p>
        </p:txBody>
      </p:sp>
      <p:sp>
        <p:nvSpPr>
          <p:cNvPr id="41" name="Round Single Corner of Rectangle 40">
            <a:extLst>
              <a:ext uri="{FF2B5EF4-FFF2-40B4-BE49-F238E27FC236}">
                <a16:creationId xmlns:a16="http://schemas.microsoft.com/office/drawing/2014/main" id="{5C2D0CA7-7AE0-8F98-B4E8-50303C9E0629}"/>
              </a:ext>
            </a:extLst>
          </p:cNvPr>
          <p:cNvSpPr/>
          <p:nvPr/>
        </p:nvSpPr>
        <p:spPr bwMode="auto">
          <a:xfrm rot="5400000">
            <a:off x="6483318" y="339192"/>
            <a:ext cx="2843811" cy="3940591"/>
          </a:xfrm>
          <a:prstGeom prst="round1Rect">
            <a:avLst>
              <a:gd name="adj" fmla="val 0"/>
            </a:avLst>
          </a:prstGeom>
          <a:solidFill>
            <a:srgbClr val="FFB694">
              <a:alpha val="20000"/>
            </a:srgb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bg1"/>
              </a:solidFill>
              <a:effectLst/>
              <a:latin typeface="+mn-lt"/>
            </a:endParaRPr>
          </a:p>
        </p:txBody>
      </p:sp>
      <p:sp>
        <p:nvSpPr>
          <p:cNvPr id="42" name="Round Single Corner of Rectangle 41">
            <a:extLst>
              <a:ext uri="{FF2B5EF4-FFF2-40B4-BE49-F238E27FC236}">
                <a16:creationId xmlns:a16="http://schemas.microsoft.com/office/drawing/2014/main" id="{92631524-6A05-70A8-A229-06019DA2BE9E}"/>
              </a:ext>
            </a:extLst>
          </p:cNvPr>
          <p:cNvSpPr/>
          <p:nvPr/>
        </p:nvSpPr>
        <p:spPr bwMode="auto">
          <a:xfrm rot="5400000">
            <a:off x="6387640" y="3278682"/>
            <a:ext cx="3035169" cy="3940589"/>
          </a:xfrm>
          <a:prstGeom prst="round1Rect">
            <a:avLst/>
          </a:prstGeom>
          <a:solidFill>
            <a:srgbClr val="012354"/>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bg1"/>
              </a:solidFill>
              <a:effectLst/>
              <a:latin typeface="+mn-lt"/>
            </a:endParaRPr>
          </a:p>
        </p:txBody>
      </p:sp>
      <p:sp>
        <p:nvSpPr>
          <p:cNvPr id="43" name="Rectangle 42">
            <a:extLst>
              <a:ext uri="{FF2B5EF4-FFF2-40B4-BE49-F238E27FC236}">
                <a16:creationId xmlns:a16="http://schemas.microsoft.com/office/drawing/2014/main" id="{41481B3B-1947-72E3-DA82-16E4EA39E4B7}"/>
              </a:ext>
            </a:extLst>
          </p:cNvPr>
          <p:cNvSpPr/>
          <p:nvPr/>
        </p:nvSpPr>
        <p:spPr>
          <a:xfrm>
            <a:off x="6001234" y="996957"/>
            <a:ext cx="2493921" cy="501071"/>
          </a:xfrm>
          <a:prstGeom prst="rect">
            <a:avLst/>
          </a:prstGeom>
        </p:spPr>
        <p:txBody>
          <a:bodyPr wrap="square" anchor="ctr">
            <a:noAutofit/>
          </a:bodyPr>
          <a:lstStyle/>
          <a:p>
            <a:pPr defTabSz="914446">
              <a:defRPr/>
            </a:pPr>
            <a:r>
              <a:rPr lang="en-US" sz="1500" b="1">
                <a:solidFill>
                  <a:srgbClr val="012354"/>
                </a:solidFill>
                <a:latin typeface="Aptos" panose="020B0004020202020204" pitchFamily="34" charset="0"/>
              </a:rPr>
              <a:t>NEXT PHASE</a:t>
            </a:r>
          </a:p>
        </p:txBody>
      </p:sp>
      <p:sp>
        <p:nvSpPr>
          <p:cNvPr id="44" name="TextBox 43">
            <a:extLst>
              <a:ext uri="{FF2B5EF4-FFF2-40B4-BE49-F238E27FC236}">
                <a16:creationId xmlns:a16="http://schemas.microsoft.com/office/drawing/2014/main" id="{9B161ACE-F86A-B4A1-D58C-4BD857E45E15}"/>
              </a:ext>
            </a:extLst>
          </p:cNvPr>
          <p:cNvSpPr txBox="1"/>
          <p:nvPr/>
        </p:nvSpPr>
        <p:spPr>
          <a:xfrm>
            <a:off x="6001233" y="1614650"/>
            <a:ext cx="3874287" cy="1709186"/>
          </a:xfrm>
          <a:prstGeom prst="rect">
            <a:avLst/>
          </a:prstGeom>
          <a:noFill/>
        </p:spPr>
        <p:txBody>
          <a:bodyPr wrap="square" lIns="91440" tIns="45720" rIns="91440" bIns="45720" rtlCol="0" anchor="ctr">
            <a:spAutoFit/>
          </a:bodyPr>
          <a:lstStyle/>
          <a:p>
            <a:pPr marL="171450" marR="0" lvl="0" indent="-171450" defTabSz="914400" rtl="0" eaLnBrk="1" fontAlgn="auto" latinLnBrk="0" hangingPunct="1">
              <a:lnSpc>
                <a:spcPct val="110000"/>
              </a:lnSpc>
              <a:spcBef>
                <a:spcPts val="0"/>
              </a:spcBef>
              <a:spcAft>
                <a:spcPts val="0"/>
              </a:spcAft>
              <a:buClrTx/>
              <a:buSzTx/>
              <a:buFont typeface="Arial" panose="020B0604020202020204" pitchFamily="34" charset="0"/>
              <a:buChar char="•"/>
              <a:defRPr/>
            </a:pPr>
            <a:r>
              <a:rPr kumimoji="0" lang="en-US" sz="1200" b="0" i="0" u="none" strike="noStrike" kern="1200" cap="none" spc="0" normalizeH="0" baseline="0" noProof="0">
                <a:ln>
                  <a:noFill/>
                </a:ln>
                <a:solidFill>
                  <a:schemeClr val="bg2"/>
                </a:solidFill>
                <a:effectLst/>
                <a:uLnTx/>
                <a:uFillTx/>
                <a:ea typeface="+mn-ea"/>
                <a:cs typeface="+mn-cs"/>
              </a:rPr>
              <a:t>Data profiling and modeling for ~</a:t>
            </a:r>
            <a:r>
              <a:rPr lang="en-US" sz="1200">
                <a:solidFill>
                  <a:schemeClr val="bg2"/>
                </a:solidFill>
              </a:rPr>
              <a:t>380 </a:t>
            </a:r>
            <a:r>
              <a:rPr kumimoji="0" lang="en-US" sz="1200" b="0" i="0" u="none" strike="noStrike" kern="1200" cap="none" spc="0" normalizeH="0" baseline="0" noProof="0">
                <a:ln>
                  <a:noFill/>
                </a:ln>
                <a:solidFill>
                  <a:schemeClr val="bg2"/>
                </a:solidFill>
                <a:effectLst/>
                <a:uLnTx/>
                <a:uFillTx/>
                <a:ea typeface="+mn-ea"/>
                <a:cs typeface="+mn-cs"/>
              </a:rPr>
              <a:t>tables remaining</a:t>
            </a:r>
          </a:p>
          <a:p>
            <a:pPr marL="171450" marR="0" lvl="0" indent="-171450" defTabSz="914400" rtl="0" eaLnBrk="1" fontAlgn="auto" latinLnBrk="0" hangingPunct="1">
              <a:lnSpc>
                <a:spcPct val="110000"/>
              </a:lnSpc>
              <a:spcBef>
                <a:spcPts val="0"/>
              </a:spcBef>
              <a:spcAft>
                <a:spcPts val="0"/>
              </a:spcAft>
              <a:buClrTx/>
              <a:buSzTx/>
              <a:buFont typeface="Arial" panose="020B0604020202020204" pitchFamily="34" charset="0"/>
              <a:buChar char="•"/>
              <a:defRPr/>
            </a:pPr>
            <a:r>
              <a:rPr kumimoji="0" lang="en-US" sz="1200" b="0" i="0" u="none" strike="noStrike" kern="1200" cap="none" spc="0" normalizeH="0" baseline="0" noProof="0">
                <a:ln>
                  <a:noFill/>
                </a:ln>
                <a:solidFill>
                  <a:schemeClr val="bg2"/>
                </a:solidFill>
                <a:effectLst/>
                <a:uLnTx/>
                <a:uFillTx/>
                <a:ea typeface="+mn-ea"/>
                <a:cs typeface="+mn-cs"/>
              </a:rPr>
              <a:t>Implement pilot for testing existing functionality with excel dashboards for 20-30 customers</a:t>
            </a:r>
            <a:endParaRPr lang="en-US" sz="1200" b="0" i="0" u="none" strike="noStrike" kern="1200" cap="none" spc="0" normalizeH="0" baseline="0" noProof="0">
              <a:ln>
                <a:noFill/>
              </a:ln>
              <a:solidFill>
                <a:schemeClr val="bg2"/>
              </a:solidFill>
              <a:effectLst/>
              <a:uLnTx/>
              <a:uFillTx/>
            </a:endParaRPr>
          </a:p>
          <a:p>
            <a:pPr marL="171450" marR="0" lvl="0" indent="-171450" defTabSz="914400" rtl="0" eaLnBrk="1" fontAlgn="auto" latinLnBrk="0" hangingPunct="1">
              <a:lnSpc>
                <a:spcPct val="110000"/>
              </a:lnSpc>
              <a:spcBef>
                <a:spcPts val="0"/>
              </a:spcBef>
              <a:spcAft>
                <a:spcPts val="0"/>
              </a:spcAft>
              <a:buClrTx/>
              <a:buSzTx/>
              <a:buFont typeface="Arial" panose="020B0604020202020204" pitchFamily="34" charset="0"/>
              <a:buChar char="•"/>
              <a:defRPr/>
            </a:pPr>
            <a:r>
              <a:rPr kumimoji="0" lang="en-US" sz="1200" b="0" i="0" u="none" strike="noStrike" kern="1200" cap="none" spc="0" normalizeH="0" baseline="0" noProof="0">
                <a:ln>
                  <a:noFill/>
                </a:ln>
                <a:solidFill>
                  <a:schemeClr val="bg2"/>
                </a:solidFill>
                <a:effectLst/>
                <a:uLnTx/>
                <a:uFillTx/>
                <a:ea typeface="+mn-ea"/>
                <a:cs typeface="+mn-cs"/>
              </a:rPr>
              <a:t>Implement the semantic data layer, power bi, power app solution</a:t>
            </a:r>
            <a:endParaRPr lang="en-US" sz="1200" b="0" i="0" u="none" strike="noStrike" kern="1200" cap="none" spc="0" normalizeH="0" baseline="0" noProof="0">
              <a:ln>
                <a:noFill/>
              </a:ln>
              <a:solidFill>
                <a:schemeClr val="bg2"/>
              </a:solidFill>
              <a:effectLst/>
              <a:uLnTx/>
              <a:uFillTx/>
            </a:endParaRPr>
          </a:p>
          <a:p>
            <a:pPr marL="171450" marR="0" lvl="0" indent="-171450" defTabSz="914400" rtl="0" eaLnBrk="1" fontAlgn="auto" latinLnBrk="0" hangingPunct="1">
              <a:lnSpc>
                <a:spcPct val="110000"/>
              </a:lnSpc>
              <a:spcBef>
                <a:spcPts val="0"/>
              </a:spcBef>
              <a:spcAft>
                <a:spcPts val="0"/>
              </a:spcAft>
              <a:buClrTx/>
              <a:buSzTx/>
              <a:buFont typeface="Arial" panose="020B0604020202020204" pitchFamily="34" charset="0"/>
              <a:buChar char="•"/>
              <a:defRPr/>
            </a:pPr>
            <a:r>
              <a:rPr kumimoji="0" lang="en-US" sz="1200" b="0" i="0" u="none" strike="noStrike" kern="1200" cap="none" spc="0" normalizeH="0" baseline="0" noProof="0">
                <a:ln>
                  <a:noFill/>
                </a:ln>
                <a:solidFill>
                  <a:schemeClr val="bg2"/>
                </a:solidFill>
                <a:effectLst/>
                <a:uLnTx/>
                <a:uFillTx/>
                <a:ea typeface="+mn-ea"/>
                <a:cs typeface="+mn-cs"/>
              </a:rPr>
              <a:t>Perform UAT and Production support for the implemented use cases</a:t>
            </a:r>
            <a:endParaRPr lang="en-US" sz="1200" b="0" i="0" u="none" strike="noStrike" kern="1200" cap="none" spc="0" normalizeH="0" baseline="0" noProof="0">
              <a:ln>
                <a:noFill/>
              </a:ln>
              <a:solidFill>
                <a:schemeClr val="bg2"/>
              </a:solidFill>
              <a:effectLst/>
              <a:uLnTx/>
              <a:uFillTx/>
            </a:endParaRPr>
          </a:p>
          <a:p>
            <a:pPr marL="185420" indent="-185420">
              <a:lnSpc>
                <a:spcPct val="110000"/>
              </a:lnSpc>
              <a:buFont typeface="Arial,Sans-Serif" panose="020B0604020202020204" pitchFamily="34" charset="0"/>
              <a:buChar char="•"/>
              <a:defRPr/>
            </a:pPr>
            <a:r>
              <a:rPr lang="en-US" sz="1200">
                <a:solidFill>
                  <a:schemeClr val="bg2"/>
                </a:solidFill>
              </a:rPr>
              <a:t>Last sprint - Tech Debt  </a:t>
            </a:r>
            <a:endParaRPr lang="en-US">
              <a:solidFill>
                <a:schemeClr val="bg2"/>
              </a:solidFill>
            </a:endParaRPr>
          </a:p>
        </p:txBody>
      </p:sp>
      <p:sp>
        <p:nvSpPr>
          <p:cNvPr id="45" name="TextBox 44">
            <a:extLst>
              <a:ext uri="{FF2B5EF4-FFF2-40B4-BE49-F238E27FC236}">
                <a16:creationId xmlns:a16="http://schemas.microsoft.com/office/drawing/2014/main" id="{2C656288-94F7-889F-D99E-39335B5A5D5F}"/>
              </a:ext>
            </a:extLst>
          </p:cNvPr>
          <p:cNvSpPr txBox="1"/>
          <p:nvPr/>
        </p:nvSpPr>
        <p:spPr>
          <a:xfrm>
            <a:off x="6001233" y="3944197"/>
            <a:ext cx="3874287" cy="2724849"/>
          </a:xfrm>
          <a:prstGeom prst="rect">
            <a:avLst/>
          </a:prstGeom>
          <a:noFill/>
        </p:spPr>
        <p:txBody>
          <a:bodyPr wrap="square" rtlCol="0" anchor="ctr">
            <a:spAutoFit/>
          </a:bodyPr>
          <a:lstStyle/>
          <a:p>
            <a:pPr marR="0" lvl="0" fontAlgn="auto">
              <a:lnSpc>
                <a:spcPct val="110000"/>
              </a:lnSpc>
              <a:spcBef>
                <a:spcPts val="0"/>
              </a:spcBef>
              <a:spcAft>
                <a:spcPts val="0"/>
              </a:spcAft>
              <a:buClrTx/>
              <a:buSzTx/>
              <a:defRPr/>
            </a:pPr>
            <a:r>
              <a:rPr lang="en-US" sz="1200">
                <a:solidFill>
                  <a:srgbClr val="F4F4F4"/>
                </a:solidFill>
              </a:rPr>
              <a:t>Power BI  Application for following:</a:t>
            </a:r>
          </a:p>
          <a:p>
            <a:pPr marL="171450" marR="0" lvl="0" indent="-171450" fontAlgn="auto">
              <a:lnSpc>
                <a:spcPct val="110000"/>
              </a:lnSpc>
              <a:spcBef>
                <a:spcPts val="0"/>
              </a:spcBef>
              <a:spcAft>
                <a:spcPts val="0"/>
              </a:spcAft>
              <a:buClrTx/>
              <a:buSzTx/>
              <a:buFont typeface="Arial" panose="020B0604020202020204" pitchFamily="34" charset="0"/>
              <a:buChar char="•"/>
              <a:defRPr/>
            </a:pPr>
            <a:r>
              <a:rPr lang="en-US" sz="1200">
                <a:solidFill>
                  <a:srgbClr val="F4F4F4"/>
                </a:solidFill>
              </a:rPr>
              <a:t>Customer Order Flow - WMS, TMS</a:t>
            </a:r>
          </a:p>
          <a:p>
            <a:pPr marL="171450" marR="0" lvl="0" indent="-171450" fontAlgn="auto">
              <a:lnSpc>
                <a:spcPct val="110000"/>
              </a:lnSpc>
              <a:spcBef>
                <a:spcPts val="0"/>
              </a:spcBef>
              <a:spcAft>
                <a:spcPts val="0"/>
              </a:spcAft>
              <a:buClrTx/>
              <a:buSzTx/>
              <a:buFont typeface="Arial" panose="020B0604020202020204" pitchFamily="34" charset="0"/>
              <a:buChar char="•"/>
              <a:defRPr/>
            </a:pPr>
            <a:r>
              <a:rPr lang="en-US" sz="1200">
                <a:solidFill>
                  <a:srgbClr val="F4F4F4"/>
                </a:solidFill>
              </a:rPr>
              <a:t>Customer Order Shipment Performance - SAP, JDA/O9</a:t>
            </a:r>
          </a:p>
          <a:p>
            <a:pPr marL="171450" marR="0" lvl="0" indent="-171450" fontAlgn="auto">
              <a:lnSpc>
                <a:spcPct val="110000"/>
              </a:lnSpc>
              <a:spcBef>
                <a:spcPts val="0"/>
              </a:spcBef>
              <a:spcAft>
                <a:spcPts val="0"/>
              </a:spcAft>
              <a:buClrTx/>
              <a:buSzTx/>
              <a:buFont typeface="Arial" panose="020B0604020202020204" pitchFamily="34" charset="0"/>
              <a:buChar char="•"/>
              <a:defRPr/>
            </a:pPr>
            <a:r>
              <a:rPr lang="en-US" sz="1200">
                <a:solidFill>
                  <a:srgbClr val="F4F4F4"/>
                </a:solidFill>
              </a:rPr>
              <a:t>Customer Order Forecast Gap Filling – SAP,  JDA/O9, Databricks (calculations)</a:t>
            </a:r>
          </a:p>
          <a:p>
            <a:pPr marL="171450" marR="0" lvl="0" indent="-171450" fontAlgn="auto">
              <a:lnSpc>
                <a:spcPct val="110000"/>
              </a:lnSpc>
              <a:spcBef>
                <a:spcPts val="0"/>
              </a:spcBef>
              <a:spcAft>
                <a:spcPts val="0"/>
              </a:spcAft>
              <a:buClrTx/>
              <a:buSzTx/>
              <a:buFont typeface="Arial" panose="020B0604020202020204" pitchFamily="34" charset="0"/>
              <a:buChar char="•"/>
              <a:defRPr/>
            </a:pPr>
            <a:r>
              <a:rPr lang="en-US" sz="1200">
                <a:solidFill>
                  <a:srgbClr val="F4F4F4"/>
                </a:solidFill>
              </a:rPr>
              <a:t>Customer Health Dispute Monitor – SAP, High Radius</a:t>
            </a:r>
          </a:p>
          <a:p>
            <a:pPr marL="171450" marR="0" lvl="0" indent="-171450" fontAlgn="auto">
              <a:lnSpc>
                <a:spcPct val="110000"/>
              </a:lnSpc>
              <a:spcBef>
                <a:spcPts val="0"/>
              </a:spcBef>
              <a:spcAft>
                <a:spcPts val="0"/>
              </a:spcAft>
              <a:buClrTx/>
              <a:buSzTx/>
              <a:buFont typeface="Arial" panose="020B0604020202020204" pitchFamily="34" charset="0"/>
              <a:buChar char="•"/>
              <a:defRPr/>
            </a:pPr>
            <a:r>
              <a:rPr lang="en-US" sz="1200">
                <a:solidFill>
                  <a:srgbClr val="F4F4F4"/>
                </a:solidFill>
              </a:rPr>
              <a:t>Risk Management Alert Tracker – SAP, TMS, Azure (notifications)</a:t>
            </a:r>
          </a:p>
          <a:p>
            <a:pPr marL="171450" marR="0" lvl="0" indent="-171450" fontAlgn="auto">
              <a:lnSpc>
                <a:spcPct val="110000"/>
              </a:lnSpc>
              <a:spcBef>
                <a:spcPts val="0"/>
              </a:spcBef>
              <a:spcAft>
                <a:spcPts val="0"/>
              </a:spcAft>
              <a:buClrTx/>
              <a:buSzTx/>
              <a:buFont typeface="Arial" panose="020B0604020202020204" pitchFamily="34" charset="0"/>
              <a:buChar char="•"/>
              <a:defRPr/>
            </a:pPr>
            <a:r>
              <a:rPr lang="en-US" sz="1200">
                <a:solidFill>
                  <a:srgbClr val="F4F4F4"/>
                </a:solidFill>
              </a:rPr>
              <a:t>Risk Management MIR/ LIS – SAP, JDA/O9</a:t>
            </a:r>
          </a:p>
          <a:p>
            <a:pPr marL="171450" marR="0" lvl="0" indent="-171450" fontAlgn="auto">
              <a:lnSpc>
                <a:spcPct val="110000"/>
              </a:lnSpc>
              <a:spcBef>
                <a:spcPts val="0"/>
              </a:spcBef>
              <a:spcAft>
                <a:spcPts val="0"/>
              </a:spcAft>
              <a:buClrTx/>
              <a:buSzTx/>
              <a:buFont typeface="Arial" panose="020B0604020202020204" pitchFamily="34" charset="0"/>
              <a:buChar char="•"/>
              <a:defRPr/>
            </a:pPr>
            <a:r>
              <a:rPr lang="en-US" sz="1200">
                <a:solidFill>
                  <a:srgbClr val="F4F4F4"/>
                </a:solidFill>
              </a:rPr>
              <a:t>Initiative and Promo tracker – </a:t>
            </a:r>
            <a:r>
              <a:rPr lang="en-US" sz="1200" err="1">
                <a:solidFill>
                  <a:srgbClr val="F4F4F4"/>
                </a:solidFill>
              </a:rPr>
              <a:t>Blueplanner</a:t>
            </a:r>
            <a:r>
              <a:rPr lang="en-US" sz="1200">
                <a:solidFill>
                  <a:srgbClr val="F4F4F4"/>
                </a:solidFill>
              </a:rPr>
              <a:t>, Input tool</a:t>
            </a:r>
          </a:p>
          <a:p>
            <a:pPr marL="171450" marR="0" lvl="0" indent="-171450" fontAlgn="auto">
              <a:lnSpc>
                <a:spcPct val="110000"/>
              </a:lnSpc>
              <a:spcBef>
                <a:spcPts val="0"/>
              </a:spcBef>
              <a:spcAft>
                <a:spcPts val="0"/>
              </a:spcAft>
              <a:buClrTx/>
              <a:buSzTx/>
              <a:buFont typeface="Arial" panose="020B0604020202020204" pitchFamily="34" charset="0"/>
              <a:buChar char="•"/>
              <a:defRPr/>
            </a:pPr>
            <a:r>
              <a:rPr lang="en-US" sz="1200">
                <a:solidFill>
                  <a:srgbClr val="F4F4F4"/>
                </a:solidFill>
              </a:rPr>
              <a:t>Customer Service Reporting – SAP BW4, </a:t>
            </a:r>
            <a:r>
              <a:rPr lang="en-US" sz="1200" err="1">
                <a:solidFill>
                  <a:srgbClr val="F4F4F4"/>
                </a:solidFill>
              </a:rPr>
              <a:t>Highradius</a:t>
            </a:r>
            <a:endParaRPr lang="en-US" sz="1200">
              <a:solidFill>
                <a:srgbClr val="F4F4F4"/>
              </a:solidFill>
            </a:endParaRPr>
          </a:p>
          <a:p>
            <a:pPr marL="171450" marR="0" lvl="0" indent="-171450" fontAlgn="auto">
              <a:lnSpc>
                <a:spcPct val="110000"/>
              </a:lnSpc>
              <a:spcBef>
                <a:spcPts val="0"/>
              </a:spcBef>
              <a:spcAft>
                <a:spcPts val="0"/>
              </a:spcAft>
              <a:buClrTx/>
              <a:buSzTx/>
              <a:buFont typeface="Arial" panose="020B0604020202020204" pitchFamily="34" charset="0"/>
              <a:buChar char="•"/>
              <a:defRPr/>
            </a:pPr>
            <a:r>
              <a:rPr lang="en-US" sz="1200">
                <a:solidFill>
                  <a:srgbClr val="F4F4F4"/>
                </a:solidFill>
              </a:rPr>
              <a:t>Pricing Simulation – SAP, Databricks (calculations)</a:t>
            </a:r>
          </a:p>
        </p:txBody>
      </p:sp>
      <p:sp>
        <p:nvSpPr>
          <p:cNvPr id="46" name="Rectangle 45">
            <a:extLst>
              <a:ext uri="{FF2B5EF4-FFF2-40B4-BE49-F238E27FC236}">
                <a16:creationId xmlns:a16="http://schemas.microsoft.com/office/drawing/2014/main" id="{1B301A03-890C-B26B-3E98-713009273F74}"/>
              </a:ext>
            </a:extLst>
          </p:cNvPr>
          <p:cNvSpPr/>
          <p:nvPr/>
        </p:nvSpPr>
        <p:spPr>
          <a:xfrm>
            <a:off x="6001234" y="3665291"/>
            <a:ext cx="2493921" cy="501071"/>
          </a:xfrm>
          <a:prstGeom prst="rect">
            <a:avLst/>
          </a:prstGeom>
        </p:spPr>
        <p:txBody>
          <a:bodyPr wrap="square" anchor="ctr">
            <a:noAutofit/>
          </a:bodyPr>
          <a:lstStyle/>
          <a:p>
            <a:pPr defTabSz="914446">
              <a:defRPr/>
            </a:pPr>
            <a:r>
              <a:rPr lang="en-US" sz="1500" b="1">
                <a:solidFill>
                  <a:srgbClr val="CCEFF6"/>
                </a:solidFill>
                <a:latin typeface="Aptos" panose="020B0004020202020204" pitchFamily="34" charset="0"/>
              </a:rPr>
              <a:t>OUTCOMES</a:t>
            </a:r>
          </a:p>
        </p:txBody>
      </p:sp>
    </p:spTree>
    <p:extLst>
      <p:ext uri="{BB962C8B-B14F-4D97-AF65-F5344CB8AC3E}">
        <p14:creationId xmlns:p14="http://schemas.microsoft.com/office/powerpoint/2010/main" val="87045222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AA6500-C42E-A8BD-7520-CCB8932C1E6B}"/>
            </a:ext>
          </a:extLst>
        </p:cNvPr>
        <p:cNvGrpSpPr/>
        <p:nvPr/>
      </p:nvGrpSpPr>
      <p:grpSpPr>
        <a:xfrm>
          <a:off x="0" y="0"/>
          <a:ext cx="0" cy="0"/>
          <a:chOff x="0" y="0"/>
          <a:chExt cx="0" cy="0"/>
        </a:xfrm>
      </p:grpSpPr>
      <p:sp>
        <p:nvSpPr>
          <p:cNvPr id="5" name="Graphic 12">
            <a:extLst>
              <a:ext uri="{FF2B5EF4-FFF2-40B4-BE49-F238E27FC236}">
                <a16:creationId xmlns:a16="http://schemas.microsoft.com/office/drawing/2014/main" id="{8CB24D54-95AA-44F4-86D6-4D715ADC2F46}"/>
              </a:ext>
            </a:extLst>
          </p:cNvPr>
          <p:cNvSpPr/>
          <p:nvPr/>
        </p:nvSpPr>
        <p:spPr>
          <a:xfrm>
            <a:off x="5146520" y="0"/>
            <a:ext cx="7083354" cy="6858000"/>
          </a:xfrm>
          <a:custGeom>
            <a:avLst/>
            <a:gdLst>
              <a:gd name="connsiteX0" fmla="*/ 7083355 w 7083354"/>
              <a:gd name="connsiteY0" fmla="*/ 6858000 h 6858000"/>
              <a:gd name="connsiteX1" fmla="*/ 551850 w 7083354"/>
              <a:gd name="connsiteY1" fmla="*/ 6858000 h 6858000"/>
              <a:gd name="connsiteX2" fmla="*/ 423157 w 7083354"/>
              <a:gd name="connsiteY2" fmla="*/ 4811395 h 6858000"/>
              <a:gd name="connsiteX3" fmla="*/ 4471599 w 7083354"/>
              <a:gd name="connsiteY3" fmla="*/ 0 h 6858000"/>
              <a:gd name="connsiteX4" fmla="*/ 7083355 w 708335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3354" h="6858000">
                <a:moveTo>
                  <a:pt x="7083355" y="6858000"/>
                </a:moveTo>
                <a:lnTo>
                  <a:pt x="551850" y="6858000"/>
                </a:lnTo>
                <a:cubicBezTo>
                  <a:pt x="-212161" y="6355610"/>
                  <a:pt x="-112677" y="5450629"/>
                  <a:pt x="423157" y="4811395"/>
                </a:cubicBezTo>
                <a:lnTo>
                  <a:pt x="4471599" y="0"/>
                </a:lnTo>
                <a:lnTo>
                  <a:pt x="7083355" y="0"/>
                </a:lnTo>
              </a:path>
            </a:pathLst>
          </a:custGeom>
          <a:solidFill>
            <a:schemeClr val="bg1">
              <a:lumMod val="25000"/>
              <a:lumOff val="75000"/>
              <a:alpha val="19000"/>
            </a:schemeClr>
          </a:solidFill>
          <a:ln w="10583" cap="flat">
            <a:noFill/>
            <a:prstDash val="solid"/>
            <a:miter/>
          </a:ln>
        </p:spPr>
        <p:txBody>
          <a:bodyPr rtlCol="0" anchor="ctr"/>
          <a:lstStyle/>
          <a:p>
            <a:endParaRPr lang="en-US"/>
          </a:p>
        </p:txBody>
      </p:sp>
      <p:sp>
        <p:nvSpPr>
          <p:cNvPr id="14" name="Graphic 5">
            <a:extLst>
              <a:ext uri="{FF2B5EF4-FFF2-40B4-BE49-F238E27FC236}">
                <a16:creationId xmlns:a16="http://schemas.microsoft.com/office/drawing/2014/main" id="{F1A5EB4F-E5AD-37BE-1DFB-9B8B8F69CB99}"/>
              </a:ext>
            </a:extLst>
          </p:cNvPr>
          <p:cNvSpPr/>
          <p:nvPr/>
        </p:nvSpPr>
        <p:spPr>
          <a:xfrm>
            <a:off x="7695096" y="9063"/>
            <a:ext cx="7072843" cy="6854700"/>
          </a:xfrm>
          <a:custGeom>
            <a:avLst/>
            <a:gdLst>
              <a:gd name="connsiteX0" fmla="*/ 422520 w 7072842"/>
              <a:gd name="connsiteY0" fmla="*/ 4804219 h 6847772"/>
              <a:gd name="connsiteX1" fmla="*/ 4464987 w 7072842"/>
              <a:gd name="connsiteY1" fmla="*/ 0 h 6847772"/>
              <a:gd name="connsiteX2" fmla="*/ 7072843 w 7072842"/>
              <a:gd name="connsiteY2" fmla="*/ 0 h 6847772"/>
              <a:gd name="connsiteX3" fmla="*/ 2827236 w 7072842"/>
              <a:gd name="connsiteY3" fmla="*/ 5023934 h 6847772"/>
              <a:gd name="connsiteX4" fmla="*/ 2814860 w 7072842"/>
              <a:gd name="connsiteY4" fmla="*/ 6847773 h 6847772"/>
              <a:gd name="connsiteX5" fmla="*/ 551057 w 7072842"/>
              <a:gd name="connsiteY5" fmla="*/ 6847773 h 6847772"/>
              <a:gd name="connsiteX6" fmla="*/ 422520 w 7072842"/>
              <a:gd name="connsiteY6" fmla="*/ 4804219 h 6847772"/>
              <a:gd name="connsiteX0" fmla="*/ 422520 w 7072843"/>
              <a:gd name="connsiteY0" fmla="*/ 4804219 h 6854700"/>
              <a:gd name="connsiteX1" fmla="*/ 4464987 w 7072843"/>
              <a:gd name="connsiteY1" fmla="*/ 0 h 6854700"/>
              <a:gd name="connsiteX2" fmla="*/ 7072843 w 7072843"/>
              <a:gd name="connsiteY2" fmla="*/ 0 h 6854700"/>
              <a:gd name="connsiteX3" fmla="*/ 2827236 w 7072843"/>
              <a:gd name="connsiteY3" fmla="*/ 5023934 h 6854700"/>
              <a:gd name="connsiteX4" fmla="*/ 2825251 w 7072843"/>
              <a:gd name="connsiteY4" fmla="*/ 6854700 h 6854700"/>
              <a:gd name="connsiteX5" fmla="*/ 551057 w 7072843"/>
              <a:gd name="connsiteY5" fmla="*/ 6847773 h 6854700"/>
              <a:gd name="connsiteX6" fmla="*/ 422520 w 7072843"/>
              <a:gd name="connsiteY6" fmla="*/ 4804219 h 6854700"/>
              <a:gd name="connsiteX0" fmla="*/ 422520 w 7072843"/>
              <a:gd name="connsiteY0" fmla="*/ 4804219 h 6854700"/>
              <a:gd name="connsiteX1" fmla="*/ 4464987 w 7072843"/>
              <a:gd name="connsiteY1" fmla="*/ 0 h 6854700"/>
              <a:gd name="connsiteX2" fmla="*/ 7072843 w 7072843"/>
              <a:gd name="connsiteY2" fmla="*/ 0 h 6854700"/>
              <a:gd name="connsiteX3" fmla="*/ 2827236 w 7072843"/>
              <a:gd name="connsiteY3" fmla="*/ 5023934 h 6854700"/>
              <a:gd name="connsiteX4" fmla="*/ 2825251 w 7072843"/>
              <a:gd name="connsiteY4" fmla="*/ 6854700 h 6854700"/>
              <a:gd name="connsiteX5" fmla="*/ 551057 w 7072843"/>
              <a:gd name="connsiteY5" fmla="*/ 6847773 h 6854700"/>
              <a:gd name="connsiteX6" fmla="*/ 422520 w 7072843"/>
              <a:gd name="connsiteY6" fmla="*/ 4804219 h 6854700"/>
              <a:gd name="connsiteX0" fmla="*/ 422520 w 7072843"/>
              <a:gd name="connsiteY0" fmla="*/ 4804219 h 6854700"/>
              <a:gd name="connsiteX1" fmla="*/ 4464987 w 7072843"/>
              <a:gd name="connsiteY1" fmla="*/ 0 h 6854700"/>
              <a:gd name="connsiteX2" fmla="*/ 7072843 w 7072843"/>
              <a:gd name="connsiteY2" fmla="*/ 0 h 6854700"/>
              <a:gd name="connsiteX3" fmla="*/ 2827236 w 7072843"/>
              <a:gd name="connsiteY3" fmla="*/ 5023934 h 6854700"/>
              <a:gd name="connsiteX4" fmla="*/ 2825251 w 7072843"/>
              <a:gd name="connsiteY4" fmla="*/ 6854700 h 6854700"/>
              <a:gd name="connsiteX5" fmla="*/ 551057 w 7072843"/>
              <a:gd name="connsiteY5" fmla="*/ 6847773 h 6854700"/>
              <a:gd name="connsiteX6" fmla="*/ 422520 w 7072843"/>
              <a:gd name="connsiteY6" fmla="*/ 4804219 h 6854700"/>
              <a:gd name="connsiteX0" fmla="*/ 422520 w 7072843"/>
              <a:gd name="connsiteY0" fmla="*/ 4804219 h 6854700"/>
              <a:gd name="connsiteX1" fmla="*/ 4464987 w 7072843"/>
              <a:gd name="connsiteY1" fmla="*/ 0 h 6854700"/>
              <a:gd name="connsiteX2" fmla="*/ 7072843 w 7072843"/>
              <a:gd name="connsiteY2" fmla="*/ 0 h 6854700"/>
              <a:gd name="connsiteX3" fmla="*/ 2827236 w 7072843"/>
              <a:gd name="connsiteY3" fmla="*/ 5023934 h 6854700"/>
              <a:gd name="connsiteX4" fmla="*/ 2825251 w 7072843"/>
              <a:gd name="connsiteY4" fmla="*/ 6854700 h 6854700"/>
              <a:gd name="connsiteX5" fmla="*/ 551057 w 7072843"/>
              <a:gd name="connsiteY5" fmla="*/ 6847773 h 6854700"/>
              <a:gd name="connsiteX6" fmla="*/ 422520 w 7072843"/>
              <a:gd name="connsiteY6" fmla="*/ 4804219 h 6854700"/>
              <a:gd name="connsiteX0" fmla="*/ 422520 w 7072843"/>
              <a:gd name="connsiteY0" fmla="*/ 4804219 h 6854700"/>
              <a:gd name="connsiteX1" fmla="*/ 4464987 w 7072843"/>
              <a:gd name="connsiteY1" fmla="*/ 0 h 6854700"/>
              <a:gd name="connsiteX2" fmla="*/ 7072843 w 7072843"/>
              <a:gd name="connsiteY2" fmla="*/ 0 h 6854700"/>
              <a:gd name="connsiteX3" fmla="*/ 2827236 w 7072843"/>
              <a:gd name="connsiteY3" fmla="*/ 5023934 h 6854700"/>
              <a:gd name="connsiteX4" fmla="*/ 2825251 w 7072843"/>
              <a:gd name="connsiteY4" fmla="*/ 6854700 h 6854700"/>
              <a:gd name="connsiteX5" fmla="*/ 551057 w 7072843"/>
              <a:gd name="connsiteY5" fmla="*/ 6847773 h 6854700"/>
              <a:gd name="connsiteX6" fmla="*/ 422520 w 7072843"/>
              <a:gd name="connsiteY6" fmla="*/ 4804219 h 6854700"/>
              <a:gd name="connsiteX0" fmla="*/ 422520 w 7072843"/>
              <a:gd name="connsiteY0" fmla="*/ 4804219 h 6854700"/>
              <a:gd name="connsiteX1" fmla="*/ 4464987 w 7072843"/>
              <a:gd name="connsiteY1" fmla="*/ 0 h 6854700"/>
              <a:gd name="connsiteX2" fmla="*/ 7072843 w 7072843"/>
              <a:gd name="connsiteY2" fmla="*/ 0 h 6854700"/>
              <a:gd name="connsiteX3" fmla="*/ 2827236 w 7072843"/>
              <a:gd name="connsiteY3" fmla="*/ 5023934 h 6854700"/>
              <a:gd name="connsiteX4" fmla="*/ 2825251 w 7072843"/>
              <a:gd name="connsiteY4" fmla="*/ 6854700 h 6854700"/>
              <a:gd name="connsiteX5" fmla="*/ 551057 w 7072843"/>
              <a:gd name="connsiteY5" fmla="*/ 6847773 h 6854700"/>
              <a:gd name="connsiteX6" fmla="*/ 422520 w 7072843"/>
              <a:gd name="connsiteY6" fmla="*/ 4804219 h 6854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72843" h="6854700">
                <a:moveTo>
                  <a:pt x="422520" y="4804219"/>
                </a:moveTo>
                <a:lnTo>
                  <a:pt x="4464987" y="0"/>
                </a:lnTo>
                <a:lnTo>
                  <a:pt x="7072843" y="0"/>
                </a:lnTo>
                <a:lnTo>
                  <a:pt x="2827236" y="5023934"/>
                </a:lnTo>
                <a:cubicBezTo>
                  <a:pt x="2405702" y="5562918"/>
                  <a:pt x="2292307" y="6311373"/>
                  <a:pt x="2825251" y="6854700"/>
                </a:cubicBezTo>
                <a:lnTo>
                  <a:pt x="551057" y="6847773"/>
                </a:lnTo>
                <a:cubicBezTo>
                  <a:pt x="-211856" y="6346116"/>
                  <a:pt x="-112505" y="5442503"/>
                  <a:pt x="422520" y="4804219"/>
                </a:cubicBezTo>
                <a:close/>
              </a:path>
            </a:pathLst>
          </a:custGeom>
          <a:solidFill>
            <a:schemeClr val="bg1">
              <a:lumMod val="10000"/>
              <a:lumOff val="90000"/>
              <a:alpha val="54000"/>
            </a:schemeClr>
          </a:solidFill>
          <a:ln w="14404" cap="flat">
            <a:noFill/>
            <a:prstDash val="solid"/>
            <a:miter/>
          </a:ln>
        </p:spPr>
        <p:txBody>
          <a:bodyPr rtlCol="0" anchor="ctr"/>
          <a:lstStyle/>
          <a:p>
            <a:endParaRPr lang="en-US"/>
          </a:p>
        </p:txBody>
      </p:sp>
      <p:sp>
        <p:nvSpPr>
          <p:cNvPr id="3" name="Title 4">
            <a:extLst>
              <a:ext uri="{FF2B5EF4-FFF2-40B4-BE49-F238E27FC236}">
                <a16:creationId xmlns:a16="http://schemas.microsoft.com/office/drawing/2014/main" id="{7C27CB6B-D79E-6EEC-F537-2F24CEBB6DA5}"/>
              </a:ext>
            </a:extLst>
          </p:cNvPr>
          <p:cNvSpPr txBox="1">
            <a:spLocks/>
          </p:cNvSpPr>
          <p:nvPr/>
        </p:nvSpPr>
        <p:spPr>
          <a:xfrm>
            <a:off x="890844" y="2559553"/>
            <a:ext cx="6032383" cy="1648630"/>
          </a:xfrm>
          <a:prstGeom prst="rect">
            <a:avLst/>
          </a:prstGeom>
        </p:spPr>
        <p:txBody>
          <a:bodyPr>
            <a:noAutofit/>
          </a:bodyPr>
          <a:lstStyle>
            <a:lvl1pPr marL="0" marR="0" indent="0" algn="l" defTabSz="1462796" rtl="0" eaLnBrk="1" latinLnBrk="0" hangingPunct="1">
              <a:lnSpc>
                <a:spcPct val="80000"/>
              </a:lnSpc>
              <a:spcBef>
                <a:spcPts val="0"/>
              </a:spcBef>
              <a:spcAft>
                <a:spcPts val="0"/>
              </a:spcAft>
              <a:buClrTx/>
              <a:buSzTx/>
              <a:buFontTx/>
              <a:buNone/>
              <a:tabLst/>
              <a:defRPr sz="3800" b="0" i="0" u="none" strike="noStrike" cap="none" spc="0" baseline="0">
                <a:solidFill>
                  <a:schemeClr val="bg1"/>
                </a:solidFill>
                <a:uFillTx/>
                <a:latin typeface="Aptos" panose="020B0004020202020204" pitchFamily="34" charset="0"/>
                <a:ea typeface="+mj-ea"/>
                <a:cs typeface="+mj-cs"/>
                <a:sym typeface="IBM Plex Sans Light"/>
              </a:defRPr>
            </a:lvl1pPr>
            <a:lvl2pPr marL="0" marR="0" indent="0"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2pPr>
            <a:lvl3pPr marL="0" marR="0" indent="0"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3pPr>
            <a:lvl4pPr marL="0" marR="0" indent="0"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4pPr>
            <a:lvl5pPr marL="0" marR="0" indent="0"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5pPr>
            <a:lvl6pPr marL="0" marR="0" indent="217505"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6pPr>
            <a:lvl7pPr marL="0" marR="0" indent="435011"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7pPr>
            <a:lvl8pPr marL="0" marR="0" indent="652515"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8pPr>
            <a:lvl9pPr marL="0" marR="0" indent="870021"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9pPr>
          </a:lstStyle>
          <a:p>
            <a:pPr defTabSz="1218948">
              <a:lnSpc>
                <a:spcPct val="90000"/>
              </a:lnSpc>
              <a:defRPr/>
            </a:pPr>
            <a:r>
              <a:rPr lang="en-US" sz="5000" kern="0" spc="100">
                <a:solidFill>
                  <a:schemeClr val="tx2"/>
                </a:solidFill>
                <a:ea typeface="Helvetica Neue UltraLight" panose="02000206000000020004" pitchFamily="2" charset="0"/>
                <a:cs typeface="Helvetica Neue Medium" panose="02000503000000020004" pitchFamily="2" charset="0"/>
              </a:rPr>
              <a:t>Our Understanding</a:t>
            </a:r>
          </a:p>
          <a:p>
            <a:pPr defTabSz="1218948">
              <a:lnSpc>
                <a:spcPct val="90000"/>
              </a:lnSpc>
              <a:defRPr/>
            </a:pPr>
            <a:endParaRPr lang="en-US" sz="6000" kern="0" spc="100">
              <a:solidFill>
                <a:schemeClr val="tx2"/>
              </a:solidFill>
              <a:ea typeface="Helvetica Neue UltraLight" panose="02000206000000020004" pitchFamily="2" charset="0"/>
              <a:cs typeface="Helvetica Neue Medium" panose="02000503000000020004" pitchFamily="2" charset="0"/>
            </a:endParaRPr>
          </a:p>
          <a:p>
            <a:pPr defTabSz="1218948">
              <a:lnSpc>
                <a:spcPct val="90000"/>
              </a:lnSpc>
              <a:defRPr/>
            </a:pPr>
            <a:endParaRPr lang="en-US" sz="6000" kern="0" spc="100">
              <a:solidFill>
                <a:schemeClr val="tx2"/>
              </a:solidFill>
              <a:ea typeface="Helvetica Neue UltraLight" panose="02000206000000020004" pitchFamily="2" charset="0"/>
              <a:cs typeface="Helvetica Neue Medium" panose="02000503000000020004" pitchFamily="2" charset="0"/>
            </a:endParaRPr>
          </a:p>
        </p:txBody>
      </p:sp>
      <p:sp>
        <p:nvSpPr>
          <p:cNvPr id="11" name="Text Placeholder 3">
            <a:extLst>
              <a:ext uri="{FF2B5EF4-FFF2-40B4-BE49-F238E27FC236}">
                <a16:creationId xmlns:a16="http://schemas.microsoft.com/office/drawing/2014/main" id="{4DF501FB-DEAA-FAAA-F25B-DBA14ADD082A}"/>
              </a:ext>
            </a:extLst>
          </p:cNvPr>
          <p:cNvSpPr txBox="1">
            <a:spLocks/>
          </p:cNvSpPr>
          <p:nvPr/>
        </p:nvSpPr>
        <p:spPr>
          <a:xfrm>
            <a:off x="288889" y="6458629"/>
            <a:ext cx="4088233" cy="150303"/>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Outfit Light" pitchFamily="2" charset="0"/>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48">
              <a:defRPr/>
            </a:pPr>
            <a:r>
              <a:rPr lang="en-US" sz="917" kern="0">
                <a:solidFill>
                  <a:schemeClr val="bg2"/>
                </a:solidFill>
                <a:latin typeface="Aptos Light" panose="020B0004020202020204" pitchFamily="34" charset="0"/>
              </a:rPr>
              <a:t>Confidential</a:t>
            </a:r>
            <a:r>
              <a:rPr lang="en-US" sz="917" kern="0">
                <a:solidFill>
                  <a:schemeClr val="bg2"/>
                </a:solidFill>
                <a:latin typeface="Aptos" panose="020B0004020202020204" pitchFamily="34" charset="0"/>
              </a:rPr>
              <a:t>  /  </a:t>
            </a:r>
            <a:r>
              <a:rPr lang="en-US" sz="917" kern="0">
                <a:solidFill>
                  <a:schemeClr val="bg2"/>
                </a:solidFill>
                <a:latin typeface="Aptos Light" panose="020B0004020202020204" pitchFamily="34" charset="0"/>
              </a:rPr>
              <a:t>Brillio</a:t>
            </a:r>
          </a:p>
        </p:txBody>
      </p:sp>
      <p:sp>
        <p:nvSpPr>
          <p:cNvPr id="4" name="TextBox 3">
            <a:extLst>
              <a:ext uri="{FF2B5EF4-FFF2-40B4-BE49-F238E27FC236}">
                <a16:creationId xmlns:a16="http://schemas.microsoft.com/office/drawing/2014/main" id="{A3054D3E-AFDC-5E24-2B2D-47B90C063CFF}"/>
              </a:ext>
            </a:extLst>
          </p:cNvPr>
          <p:cNvSpPr txBox="1"/>
          <p:nvPr/>
        </p:nvSpPr>
        <p:spPr>
          <a:xfrm>
            <a:off x="941294" y="3496235"/>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370373" indent="-372276" defTabSz="2031919">
              <a:spcBef>
                <a:spcPts val="2417"/>
              </a:spcBef>
              <a:buSzPct val="100000"/>
              <a:buFontTx/>
              <a:buChar char="–"/>
              <a:defRPr/>
            </a:pPr>
            <a:endParaRPr lang="en-US" sz="1500" kern="0">
              <a:solidFill>
                <a:srgbClr val="000000"/>
              </a:solidFill>
              <a:latin typeface="Aptos" panose="02110004020202020204"/>
              <a:sym typeface="IBM Plex Sans Light"/>
            </a:endParaRPr>
          </a:p>
        </p:txBody>
      </p:sp>
      <p:sp>
        <p:nvSpPr>
          <p:cNvPr id="7" name="TextBox 6">
            <a:extLst>
              <a:ext uri="{FF2B5EF4-FFF2-40B4-BE49-F238E27FC236}">
                <a16:creationId xmlns:a16="http://schemas.microsoft.com/office/drawing/2014/main" id="{35D9EC18-52D7-1242-1962-3E7B00BB34C1}"/>
              </a:ext>
            </a:extLst>
          </p:cNvPr>
          <p:cNvSpPr txBox="1"/>
          <p:nvPr/>
        </p:nvSpPr>
        <p:spPr>
          <a:xfrm>
            <a:off x="941294" y="3204135"/>
            <a:ext cx="0" cy="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rtlCol="0">
            <a:noAutofit/>
          </a:bodyPr>
          <a:lstStyle/>
          <a:p>
            <a:pPr marL="370373" indent="-372276" defTabSz="2031919">
              <a:spcBef>
                <a:spcPts val="2417"/>
              </a:spcBef>
              <a:buSzPct val="100000"/>
              <a:buFontTx/>
              <a:buChar char="–"/>
              <a:defRPr/>
            </a:pPr>
            <a:endParaRPr lang="en-US" sz="1500" kern="0">
              <a:solidFill>
                <a:srgbClr val="000000"/>
              </a:solidFill>
              <a:latin typeface="Aptos" panose="02110004020202020204"/>
              <a:sym typeface="IBM Plex Sans Light"/>
            </a:endParaRPr>
          </a:p>
        </p:txBody>
      </p:sp>
      <p:sp>
        <p:nvSpPr>
          <p:cNvPr id="9" name="Rectangle 8">
            <a:extLst>
              <a:ext uri="{FF2B5EF4-FFF2-40B4-BE49-F238E27FC236}">
                <a16:creationId xmlns:a16="http://schemas.microsoft.com/office/drawing/2014/main" id="{72A1062C-0B98-F532-F5A3-76A042EBC0E8}"/>
              </a:ext>
            </a:extLst>
          </p:cNvPr>
          <p:cNvSpPr/>
          <p:nvPr/>
        </p:nvSpPr>
        <p:spPr bwMode="auto">
          <a:xfrm rot="5400000">
            <a:off x="1576003" y="1838266"/>
            <a:ext cx="38099" cy="1198778"/>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76200" tIns="76200" rIns="76200" bIns="76200" numCol="1" rtlCol="0" anchor="t" anchorCtr="0" compatLnSpc="1">
            <a:prstTxWarp prst="textNoShape">
              <a:avLst/>
            </a:prstTxWarp>
          </a:bodyPr>
          <a:lstStyle/>
          <a:p>
            <a:pPr defTabSz="761970" fontAlgn="base">
              <a:spcBef>
                <a:spcPct val="0"/>
              </a:spcBef>
              <a:spcAft>
                <a:spcPct val="0"/>
              </a:spcAft>
              <a:defRPr/>
            </a:pPr>
            <a:endParaRPr lang="en-US" sz="1167">
              <a:solidFill>
                <a:schemeClr val="tx2"/>
              </a:solidFill>
              <a:latin typeface="Aptos" panose="02110004020202020204"/>
            </a:endParaRPr>
          </a:p>
        </p:txBody>
      </p:sp>
      <p:sp>
        <p:nvSpPr>
          <p:cNvPr id="8" name="Text Placeholder 3">
            <a:extLst>
              <a:ext uri="{FF2B5EF4-FFF2-40B4-BE49-F238E27FC236}">
                <a16:creationId xmlns:a16="http://schemas.microsoft.com/office/drawing/2014/main" id="{C808FE05-0D52-5F54-AA08-723DD72259C1}"/>
              </a:ext>
            </a:extLst>
          </p:cNvPr>
          <p:cNvSpPr txBox="1">
            <a:spLocks/>
          </p:cNvSpPr>
          <p:nvPr/>
        </p:nvSpPr>
        <p:spPr>
          <a:xfrm>
            <a:off x="11438259" y="6458629"/>
            <a:ext cx="462473" cy="150303"/>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Outfit Light" pitchFamily="2" charset="0"/>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r" defTabSz="1218948">
              <a:defRPr/>
            </a:pPr>
            <a:fld id="{64F0821C-65D3-DD4D-8DB2-745946DB9115}" type="slidenum">
              <a:rPr lang="en-US" sz="917" kern="0">
                <a:latin typeface="Aptos" panose="020B0004020202020204" pitchFamily="34" charset="0"/>
              </a:rPr>
              <a:pPr algn="r" defTabSz="1218948">
                <a:defRPr/>
              </a:pPr>
              <a:t>3</a:t>
            </a:fld>
            <a:endParaRPr lang="en-US" sz="917" kern="0">
              <a:latin typeface="Aptos" panose="020B0004020202020204" pitchFamily="34" charset="0"/>
            </a:endParaRPr>
          </a:p>
        </p:txBody>
      </p:sp>
      <p:pic>
        <p:nvPicPr>
          <p:cNvPr id="12" name="Graphic 11">
            <a:extLst>
              <a:ext uri="{FF2B5EF4-FFF2-40B4-BE49-F238E27FC236}">
                <a16:creationId xmlns:a16="http://schemas.microsoft.com/office/drawing/2014/main" id="{156D23D3-B5C7-882F-69FA-17C1FF3A9862}"/>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543540" y="6495499"/>
            <a:ext cx="167269" cy="81501"/>
          </a:xfrm>
          <a:prstGeom prst="rect">
            <a:avLst/>
          </a:prstGeom>
        </p:spPr>
      </p:pic>
      <p:sp>
        <p:nvSpPr>
          <p:cNvPr id="19" name="Title 4">
            <a:extLst>
              <a:ext uri="{FF2B5EF4-FFF2-40B4-BE49-F238E27FC236}">
                <a16:creationId xmlns:a16="http://schemas.microsoft.com/office/drawing/2014/main" id="{5EF01094-171F-A251-08EB-ADF4056E0AC4}"/>
              </a:ext>
            </a:extLst>
          </p:cNvPr>
          <p:cNvSpPr txBox="1">
            <a:spLocks/>
          </p:cNvSpPr>
          <p:nvPr/>
        </p:nvSpPr>
        <p:spPr>
          <a:xfrm>
            <a:off x="1043244" y="2711953"/>
            <a:ext cx="6032383" cy="1648630"/>
          </a:xfrm>
          <a:prstGeom prst="rect">
            <a:avLst/>
          </a:prstGeom>
        </p:spPr>
        <p:txBody>
          <a:bodyPr>
            <a:noAutofit/>
          </a:bodyPr>
          <a:lstStyle>
            <a:lvl1pPr marL="0" marR="0" indent="0" algn="l" defTabSz="1462796" rtl="0" eaLnBrk="1" latinLnBrk="0" hangingPunct="1">
              <a:lnSpc>
                <a:spcPct val="80000"/>
              </a:lnSpc>
              <a:spcBef>
                <a:spcPts val="0"/>
              </a:spcBef>
              <a:spcAft>
                <a:spcPts val="0"/>
              </a:spcAft>
              <a:buClrTx/>
              <a:buSzTx/>
              <a:buFontTx/>
              <a:buNone/>
              <a:tabLst/>
              <a:defRPr sz="3800" b="0" i="0" u="none" strike="noStrike" cap="none" spc="0" baseline="0">
                <a:solidFill>
                  <a:schemeClr val="bg1"/>
                </a:solidFill>
                <a:uFillTx/>
                <a:latin typeface="Aptos" panose="020B0004020202020204" pitchFamily="34" charset="0"/>
                <a:ea typeface="+mj-ea"/>
                <a:cs typeface="+mj-cs"/>
                <a:sym typeface="IBM Plex Sans Light"/>
              </a:defRPr>
            </a:lvl1pPr>
            <a:lvl2pPr marL="0" marR="0" indent="0"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2pPr>
            <a:lvl3pPr marL="0" marR="0" indent="0"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3pPr>
            <a:lvl4pPr marL="0" marR="0" indent="0"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4pPr>
            <a:lvl5pPr marL="0" marR="0" indent="0"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5pPr>
            <a:lvl6pPr marL="0" marR="0" indent="217505"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6pPr>
            <a:lvl7pPr marL="0" marR="0" indent="435011"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7pPr>
            <a:lvl8pPr marL="0" marR="0" indent="652515"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8pPr>
            <a:lvl9pPr marL="0" marR="0" indent="870021"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9pPr>
          </a:lstStyle>
          <a:p>
            <a:pPr defTabSz="1218948">
              <a:lnSpc>
                <a:spcPct val="90000"/>
              </a:lnSpc>
              <a:defRPr/>
            </a:pPr>
            <a:r>
              <a:rPr lang="en-US" sz="5000" kern="0" spc="100">
                <a:ea typeface="Helvetica Neue UltraLight" panose="02000206000000020004" pitchFamily="2" charset="0"/>
                <a:cs typeface="Helvetica Neue Medium" panose="02000503000000020004" pitchFamily="2" charset="0"/>
              </a:rPr>
              <a:t>Our Understanding</a:t>
            </a:r>
          </a:p>
          <a:p>
            <a:pPr defTabSz="1218948">
              <a:lnSpc>
                <a:spcPct val="90000"/>
              </a:lnSpc>
              <a:defRPr/>
            </a:pPr>
            <a:endParaRPr lang="en-US" sz="6000" kern="0" spc="100">
              <a:ea typeface="Helvetica Neue UltraLight" panose="02000206000000020004" pitchFamily="2" charset="0"/>
              <a:cs typeface="Helvetica Neue Medium" panose="02000503000000020004" pitchFamily="2" charset="0"/>
            </a:endParaRPr>
          </a:p>
          <a:p>
            <a:pPr defTabSz="1218948">
              <a:lnSpc>
                <a:spcPct val="90000"/>
              </a:lnSpc>
              <a:defRPr/>
            </a:pPr>
            <a:endParaRPr lang="en-US" sz="6000" kern="0" spc="100">
              <a:ea typeface="Helvetica Neue UltraLight" panose="02000206000000020004" pitchFamily="2" charset="0"/>
              <a:cs typeface="Helvetica Neue Medium" panose="02000503000000020004" pitchFamily="2" charset="0"/>
            </a:endParaRPr>
          </a:p>
        </p:txBody>
      </p:sp>
      <p:sp>
        <p:nvSpPr>
          <p:cNvPr id="20" name="Rectangle 19">
            <a:extLst>
              <a:ext uri="{FF2B5EF4-FFF2-40B4-BE49-F238E27FC236}">
                <a16:creationId xmlns:a16="http://schemas.microsoft.com/office/drawing/2014/main" id="{535FDA9C-4478-E382-4A25-BFA1FAE0D8E5}"/>
              </a:ext>
            </a:extLst>
          </p:cNvPr>
          <p:cNvSpPr/>
          <p:nvPr/>
        </p:nvSpPr>
        <p:spPr bwMode="auto">
          <a:xfrm rot="5400000">
            <a:off x="1728403" y="1990666"/>
            <a:ext cx="38099" cy="1198778"/>
          </a:xfrm>
          <a:prstGeom prst="rect">
            <a:avLst/>
          </a:prstGeom>
          <a:solidFill>
            <a:schemeClr val="tx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76200" tIns="76200" rIns="76200" bIns="76200" numCol="1" rtlCol="0" anchor="t" anchorCtr="0" compatLnSpc="1">
            <a:prstTxWarp prst="textNoShape">
              <a:avLst/>
            </a:prstTxWarp>
          </a:bodyPr>
          <a:lstStyle/>
          <a:p>
            <a:pPr defTabSz="761970" fontAlgn="base">
              <a:spcBef>
                <a:spcPct val="0"/>
              </a:spcBef>
              <a:spcAft>
                <a:spcPct val="0"/>
              </a:spcAft>
              <a:defRPr/>
            </a:pPr>
            <a:endParaRPr lang="en-US" sz="1167">
              <a:solidFill>
                <a:schemeClr val="bg2"/>
              </a:solidFill>
              <a:latin typeface="Aptos" panose="02110004020202020204"/>
            </a:endParaRPr>
          </a:p>
        </p:txBody>
      </p:sp>
    </p:spTree>
    <p:extLst>
      <p:ext uri="{BB962C8B-B14F-4D97-AF65-F5344CB8AC3E}">
        <p14:creationId xmlns:p14="http://schemas.microsoft.com/office/powerpoint/2010/main" val="1872428722"/>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F7B249-3111-81BF-DABA-D21AA85C637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1784198-5BA4-4B14-F1B5-F14C1D4B6DF7}"/>
              </a:ext>
            </a:extLst>
          </p:cNvPr>
          <p:cNvSpPr>
            <a:spLocks noGrp="1"/>
          </p:cNvSpPr>
          <p:nvPr>
            <p:ph type="title"/>
          </p:nvPr>
        </p:nvSpPr>
        <p:spPr/>
        <p:txBody>
          <a:bodyPr/>
          <a:lstStyle/>
          <a:p>
            <a:r>
              <a:rPr lang="en-US">
                <a:solidFill>
                  <a:srgbClr val="012354"/>
                </a:solidFill>
                <a:latin typeface="Aptos" panose="020B0004020202020204" pitchFamily="34" charset="0"/>
              </a:rPr>
              <a:t>Overall Execution Timeline</a:t>
            </a:r>
          </a:p>
        </p:txBody>
      </p:sp>
      <p:sp>
        <p:nvSpPr>
          <p:cNvPr id="6" name="Rectangle: Rounded Corners 5">
            <a:extLst>
              <a:ext uri="{FF2B5EF4-FFF2-40B4-BE49-F238E27FC236}">
                <a16:creationId xmlns:a16="http://schemas.microsoft.com/office/drawing/2014/main" id="{AF41D74F-B727-3625-0107-9B3C881DB70B}"/>
              </a:ext>
            </a:extLst>
          </p:cNvPr>
          <p:cNvSpPr/>
          <p:nvPr/>
        </p:nvSpPr>
        <p:spPr>
          <a:xfrm>
            <a:off x="365759" y="2252617"/>
            <a:ext cx="8579009" cy="615656"/>
          </a:xfrm>
          <a:prstGeom prst="roundRect">
            <a:avLst/>
          </a:prstGeom>
          <a:solidFill>
            <a:srgbClr val="B5C1CE"/>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lstStyle/>
          <a:p>
            <a:r>
              <a:rPr lang="en-US" sz="1600" b="1">
                <a:solidFill>
                  <a:srgbClr val="012354"/>
                </a:solidFill>
                <a:latin typeface="Aptos" panose="020B0004020202020204" pitchFamily="34" charset="0"/>
              </a:rPr>
              <a:t>Phase 1</a:t>
            </a:r>
            <a:endParaRPr lang="en-IN" sz="1600" b="1">
              <a:solidFill>
                <a:srgbClr val="012354"/>
              </a:solidFill>
              <a:latin typeface="Aptos" panose="020B0004020202020204" pitchFamily="34" charset="0"/>
            </a:endParaRPr>
          </a:p>
        </p:txBody>
      </p:sp>
      <p:sp>
        <p:nvSpPr>
          <p:cNvPr id="10" name="Arrow: Pentagon 9">
            <a:extLst>
              <a:ext uri="{FF2B5EF4-FFF2-40B4-BE49-F238E27FC236}">
                <a16:creationId xmlns:a16="http://schemas.microsoft.com/office/drawing/2014/main" id="{F9A92B01-4966-3E3D-8326-A829235B5E11}"/>
              </a:ext>
            </a:extLst>
          </p:cNvPr>
          <p:cNvSpPr/>
          <p:nvPr/>
        </p:nvSpPr>
        <p:spPr>
          <a:xfrm>
            <a:off x="403638" y="2980839"/>
            <a:ext cx="2114093" cy="752783"/>
          </a:xfrm>
          <a:prstGeom prst="homePlate">
            <a:avLst/>
          </a:prstGeom>
          <a:solidFill>
            <a:srgbClr val="012354">
              <a:alpha val="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a:solidFill>
                  <a:srgbClr val="012354"/>
                </a:solidFill>
                <a:latin typeface="Aptos" panose="020B0004020202020204" pitchFamily="34" charset="0"/>
              </a:rPr>
              <a:t>Discovery &amp; Design</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srgbClr val="012354"/>
                </a:solidFill>
                <a:latin typeface="Aptos" panose="020B0004020202020204" pitchFamily="34" charset="0"/>
              </a:rPr>
              <a:t>(First ~80 tables)</a:t>
            </a:r>
          </a:p>
        </p:txBody>
      </p:sp>
      <p:sp>
        <p:nvSpPr>
          <p:cNvPr id="11" name="Arrow: Pentagon 10">
            <a:extLst>
              <a:ext uri="{FF2B5EF4-FFF2-40B4-BE49-F238E27FC236}">
                <a16:creationId xmlns:a16="http://schemas.microsoft.com/office/drawing/2014/main" id="{095E6D66-5BA6-344B-AFA5-09D3D8971470}"/>
              </a:ext>
            </a:extLst>
          </p:cNvPr>
          <p:cNvSpPr/>
          <p:nvPr/>
        </p:nvSpPr>
        <p:spPr>
          <a:xfrm>
            <a:off x="2422456" y="3531997"/>
            <a:ext cx="2114093" cy="752017"/>
          </a:xfrm>
          <a:prstGeom prst="homePlate">
            <a:avLst/>
          </a:prstGeom>
          <a:solidFill>
            <a:srgbClr val="012354">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a:solidFill>
                  <a:srgbClr val="012354"/>
                </a:solidFill>
                <a:latin typeface="Aptos" panose="020B0004020202020204" pitchFamily="34" charset="0"/>
              </a:rPr>
              <a:t>Pilo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a:solidFill>
                  <a:srgbClr val="012354"/>
                </a:solidFill>
                <a:latin typeface="Aptos" panose="020B0004020202020204" pitchFamily="34" charset="0"/>
              </a:rPr>
              <a:t>(</a:t>
            </a:r>
            <a:r>
              <a:rPr lang="en-US" sz="1200" b="1">
                <a:solidFill>
                  <a:srgbClr val="012354"/>
                </a:solidFill>
                <a:latin typeface="Aptos" panose="020B0004020202020204" pitchFamily="34" charset="0"/>
              </a:rPr>
              <a:t>Schema and Metrics validation</a:t>
            </a:r>
            <a:r>
              <a:rPr lang="en-US" sz="1600" b="1">
                <a:solidFill>
                  <a:srgbClr val="012354"/>
                </a:solidFill>
                <a:latin typeface="Aptos" panose="020B0004020202020204" pitchFamily="34" charset="0"/>
              </a:rPr>
              <a:t>)</a:t>
            </a:r>
            <a:endParaRPr kumimoji="0" lang="en-US" sz="1600" b="0" i="0" u="none" strike="noStrike" kern="1200" cap="none" spc="0" normalizeH="0" baseline="0" noProof="0">
              <a:ln>
                <a:noFill/>
              </a:ln>
              <a:solidFill>
                <a:srgbClr val="012354"/>
              </a:solidFill>
              <a:effectLst/>
              <a:uLnTx/>
              <a:uFillTx/>
              <a:latin typeface="Aptos" panose="020B0004020202020204" pitchFamily="34" charset="0"/>
            </a:endParaRPr>
          </a:p>
        </p:txBody>
      </p:sp>
      <p:sp>
        <p:nvSpPr>
          <p:cNvPr id="12" name="Arrow: Pentagon 11">
            <a:extLst>
              <a:ext uri="{FF2B5EF4-FFF2-40B4-BE49-F238E27FC236}">
                <a16:creationId xmlns:a16="http://schemas.microsoft.com/office/drawing/2014/main" id="{AB5930F7-80B1-2F4A-BF96-A3FFE7E5F8C5}"/>
              </a:ext>
            </a:extLst>
          </p:cNvPr>
          <p:cNvSpPr/>
          <p:nvPr/>
        </p:nvSpPr>
        <p:spPr>
          <a:xfrm>
            <a:off x="3362686" y="4483429"/>
            <a:ext cx="5660820" cy="1787613"/>
          </a:xfrm>
          <a:prstGeom prst="homePlate">
            <a:avLst/>
          </a:prstGeom>
          <a:solidFill>
            <a:srgbClr val="012354">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a:solidFill>
                  <a:srgbClr val="012354"/>
                </a:solidFill>
                <a:latin typeface="Aptos" panose="020B0004020202020204" pitchFamily="34" charset="0"/>
              </a:rPr>
              <a:t>Build and Deploy</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12354"/>
                </a:solidFill>
                <a:effectLst/>
                <a:uLnTx/>
                <a:uFillTx/>
                <a:latin typeface="Aptos" panose="020B0004020202020204" pitchFamily="34" charset="0"/>
              </a:rPr>
              <a:t>Customer Order Flow </a:t>
            </a:r>
            <a:r>
              <a:rPr kumimoji="0" lang="en-US" sz="1200" i="0" u="none" strike="noStrike" kern="1200" cap="none" spc="0" normalizeH="0" baseline="0" noProof="0">
                <a:ln>
                  <a:noFill/>
                </a:ln>
                <a:solidFill>
                  <a:srgbClr val="012354"/>
                </a:solidFill>
                <a:effectLst/>
                <a:uLnTx/>
                <a:uFillTx/>
                <a:latin typeface="Aptos" panose="020B0004020202020204" pitchFamily="34" charset="0"/>
              </a:rPr>
              <a:t>– Ability to Navigate from Order to Delivery, Integrate Filters</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12354"/>
                </a:solidFill>
                <a:effectLst/>
                <a:uLnTx/>
                <a:uFillTx/>
                <a:latin typeface="Aptos" panose="020B0004020202020204" pitchFamily="34" charset="0"/>
              </a:rPr>
              <a:t>Customer Health Pricing  </a:t>
            </a:r>
            <a:r>
              <a:rPr kumimoji="0" lang="en-US" sz="1200" i="0" u="none" strike="noStrike" kern="1200" cap="none" spc="0" normalizeH="0" baseline="0" noProof="0">
                <a:ln>
                  <a:noFill/>
                </a:ln>
                <a:solidFill>
                  <a:srgbClr val="012354"/>
                </a:solidFill>
                <a:effectLst/>
                <a:uLnTx/>
                <a:uFillTx/>
                <a:latin typeface="Aptos" panose="020B0004020202020204" pitchFamily="34" charset="0"/>
              </a:rPr>
              <a:t>- Ability to report  </a:t>
            </a:r>
            <a:r>
              <a:rPr lang="en-US" sz="1200">
                <a:solidFill>
                  <a:srgbClr val="012354"/>
                </a:solidFill>
                <a:latin typeface="Aptos" panose="020B0004020202020204" pitchFamily="34" charset="0"/>
              </a:rPr>
              <a:t>for specific customer(s) or durations</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a:solidFill>
                  <a:srgbClr val="012354"/>
                </a:solidFill>
                <a:latin typeface="Aptos" panose="020B0004020202020204" pitchFamily="34" charset="0"/>
              </a:rPr>
              <a:t>Scorecard</a:t>
            </a:r>
            <a:r>
              <a:rPr kumimoji="0" lang="en-US" sz="1200" i="0" u="none" strike="noStrike" kern="1200" cap="none" spc="0" normalizeH="0" baseline="0" noProof="0">
                <a:ln>
                  <a:noFill/>
                </a:ln>
                <a:solidFill>
                  <a:srgbClr val="012354"/>
                </a:solidFill>
                <a:effectLst/>
                <a:uLnTx/>
                <a:uFillTx/>
                <a:latin typeface="Aptos" panose="020B0004020202020204" pitchFamily="34" charset="0"/>
              </a:rPr>
              <a:t> </a:t>
            </a:r>
            <a:r>
              <a:rPr lang="en-US" sz="1200">
                <a:solidFill>
                  <a:srgbClr val="012354"/>
                </a:solidFill>
                <a:latin typeface="Aptos" panose="020B0004020202020204" pitchFamily="34" charset="0"/>
              </a:rPr>
              <a:t>– Automated Calculation for KPIs</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12354"/>
                </a:solidFill>
                <a:effectLst/>
                <a:uLnTx/>
                <a:uFillTx/>
                <a:latin typeface="Aptos" panose="020B0004020202020204" pitchFamily="34" charset="0"/>
              </a:rPr>
              <a:t>Cut Recovery </a:t>
            </a:r>
            <a:r>
              <a:rPr lang="en-US" sz="1200">
                <a:solidFill>
                  <a:srgbClr val="012354"/>
                </a:solidFill>
                <a:latin typeface="Aptos" panose="020B0004020202020204" pitchFamily="34" charset="0"/>
              </a:rPr>
              <a:t>– To Calculate Potential Cuts &amp; Visualize</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a:solidFill>
                  <a:srgbClr val="012354"/>
                </a:solidFill>
                <a:latin typeface="Aptos" panose="020B0004020202020204" pitchFamily="34" charset="0"/>
              </a:rPr>
              <a:t>Code Promotion </a:t>
            </a:r>
            <a:r>
              <a:rPr lang="en-US" sz="1200">
                <a:solidFill>
                  <a:srgbClr val="012354"/>
                </a:solidFill>
                <a:latin typeface="Aptos" panose="020B0004020202020204" pitchFamily="34" charset="0"/>
              </a:rPr>
              <a:t>+ Hypercare 2 Weeks</a:t>
            </a:r>
            <a:endParaRPr kumimoji="0" lang="en-US" sz="1100" i="0" u="none" strike="noStrike" kern="1200" cap="none" spc="0" normalizeH="0" baseline="0" noProof="0">
              <a:ln>
                <a:noFill/>
              </a:ln>
              <a:solidFill>
                <a:srgbClr val="012354"/>
              </a:solidFill>
              <a:effectLst/>
              <a:uLnTx/>
              <a:uFillTx/>
              <a:latin typeface="Aptos" panose="020B0004020202020204" pitchFamily="34" charset="0"/>
            </a:endParaRPr>
          </a:p>
        </p:txBody>
      </p:sp>
      <p:sp>
        <p:nvSpPr>
          <p:cNvPr id="9" name="Rectangle 8">
            <a:extLst>
              <a:ext uri="{FF2B5EF4-FFF2-40B4-BE49-F238E27FC236}">
                <a16:creationId xmlns:a16="http://schemas.microsoft.com/office/drawing/2014/main" id="{E02913AE-D461-0E3D-1D7F-3382A0A56BAA}"/>
              </a:ext>
            </a:extLst>
          </p:cNvPr>
          <p:cNvSpPr/>
          <p:nvPr/>
        </p:nvSpPr>
        <p:spPr>
          <a:xfrm>
            <a:off x="372112" y="1149223"/>
            <a:ext cx="1059814" cy="231738"/>
          </a:xfrm>
          <a:prstGeom prst="rect">
            <a:avLst/>
          </a:prstGeom>
          <a:solidFill>
            <a:srgbClr val="01235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a:solidFill>
                  <a:schemeClr val="tx1"/>
                </a:solidFill>
                <a:latin typeface="Aptos" panose="020B0004020202020204" pitchFamily="34" charset="0"/>
              </a:rPr>
              <a:t>Sprint 1</a:t>
            </a:r>
          </a:p>
        </p:txBody>
      </p:sp>
      <p:pic>
        <p:nvPicPr>
          <p:cNvPr id="34" name="Graphic 33">
            <a:extLst>
              <a:ext uri="{FF2B5EF4-FFF2-40B4-BE49-F238E27FC236}">
                <a16:creationId xmlns:a16="http://schemas.microsoft.com/office/drawing/2014/main" id="{433824A3-A0CA-170A-E0A8-3F31C2DF854A}"/>
              </a:ext>
            </a:extLst>
          </p:cNvPr>
          <p:cNvPicPr>
            <a:picLocks noChangeAspect="1"/>
          </p:cNvPicPr>
          <p:nvPr/>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b="13130"/>
          <a:stretch/>
        </p:blipFill>
        <p:spPr>
          <a:xfrm>
            <a:off x="4651892" y="927108"/>
            <a:ext cx="199781" cy="216938"/>
          </a:xfrm>
          <a:prstGeom prst="rect">
            <a:avLst/>
          </a:prstGeom>
        </p:spPr>
      </p:pic>
      <p:pic>
        <p:nvPicPr>
          <p:cNvPr id="38" name="Graphic 37" descr="Race Flag with solid fill">
            <a:extLst>
              <a:ext uri="{FF2B5EF4-FFF2-40B4-BE49-F238E27FC236}">
                <a16:creationId xmlns:a16="http://schemas.microsoft.com/office/drawing/2014/main" id="{25278284-077A-5825-AF9D-0AC818BBA98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87200" y="775562"/>
            <a:ext cx="368795" cy="368795"/>
          </a:xfrm>
          <a:prstGeom prst="rect">
            <a:avLst/>
          </a:prstGeom>
        </p:spPr>
      </p:pic>
      <p:pic>
        <p:nvPicPr>
          <p:cNvPr id="39" name="Picture 2" descr="Image result for sprint icon">
            <a:extLst>
              <a:ext uri="{FF2B5EF4-FFF2-40B4-BE49-F238E27FC236}">
                <a16:creationId xmlns:a16="http://schemas.microsoft.com/office/drawing/2014/main" id="{D431BE60-AADB-7029-361F-21480DE4F7B4}"/>
              </a:ext>
            </a:extLst>
          </p:cNvPr>
          <p:cNvPicPr>
            <a:picLocks noChangeAspect="1" noChangeArrowheads="1"/>
          </p:cNvPicPr>
          <p:nvPr/>
        </p:nvPicPr>
        <p:blipFill>
          <a:blip r:embed="rId6"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686703" y="1881895"/>
            <a:ext cx="236836" cy="215306"/>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 descr="Image result for sprint icon">
            <a:extLst>
              <a:ext uri="{FF2B5EF4-FFF2-40B4-BE49-F238E27FC236}">
                <a16:creationId xmlns:a16="http://schemas.microsoft.com/office/drawing/2014/main" id="{EB6A2C28-44F3-8B48-C351-3044096783DA}"/>
              </a:ext>
            </a:extLst>
          </p:cNvPr>
          <p:cNvPicPr>
            <a:picLocks noChangeAspect="1" noChangeArrowheads="1"/>
          </p:cNvPicPr>
          <p:nvPr/>
        </p:nvPicPr>
        <p:blipFill>
          <a:blip r:embed="rId6"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2393133" y="1881895"/>
            <a:ext cx="236836" cy="215306"/>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2" descr="Image result for sprint icon">
            <a:extLst>
              <a:ext uri="{FF2B5EF4-FFF2-40B4-BE49-F238E27FC236}">
                <a16:creationId xmlns:a16="http://schemas.microsoft.com/office/drawing/2014/main" id="{156A48F9-5FC9-E921-461A-E3A3D5E003CD}"/>
              </a:ext>
            </a:extLst>
          </p:cNvPr>
          <p:cNvPicPr>
            <a:picLocks noChangeAspect="1" noChangeArrowheads="1"/>
          </p:cNvPicPr>
          <p:nvPr/>
        </p:nvPicPr>
        <p:blipFill>
          <a:blip r:embed="rId6"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536549" y="1911874"/>
            <a:ext cx="236836" cy="215306"/>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Screens screenshot of a phone&#10;&#10;Description automatically generated">
            <a:extLst>
              <a:ext uri="{FF2B5EF4-FFF2-40B4-BE49-F238E27FC236}">
                <a16:creationId xmlns:a16="http://schemas.microsoft.com/office/drawing/2014/main" id="{8FD5CB73-F7CB-49C9-97C3-A3B2C29B85CE}"/>
              </a:ext>
            </a:extLst>
          </p:cNvPr>
          <p:cNvPicPr>
            <a:picLocks noChangeAspect="1"/>
          </p:cNvPicPr>
          <p:nvPr/>
        </p:nvPicPr>
        <p:blipFill>
          <a:blip r:embed="rId7"/>
          <a:stretch>
            <a:fillRect/>
          </a:stretch>
        </p:blipFill>
        <p:spPr>
          <a:xfrm>
            <a:off x="1350610" y="7515988"/>
            <a:ext cx="9490779" cy="1787614"/>
          </a:xfrm>
          <a:prstGeom prst="rect">
            <a:avLst/>
          </a:prstGeom>
        </p:spPr>
      </p:pic>
      <p:sp>
        <p:nvSpPr>
          <p:cNvPr id="37" name="TextBox 36">
            <a:extLst>
              <a:ext uri="{FF2B5EF4-FFF2-40B4-BE49-F238E27FC236}">
                <a16:creationId xmlns:a16="http://schemas.microsoft.com/office/drawing/2014/main" id="{4D0CCA96-D87E-FE30-2B74-40B2629D4355}"/>
              </a:ext>
            </a:extLst>
          </p:cNvPr>
          <p:cNvSpPr txBox="1"/>
          <p:nvPr/>
        </p:nvSpPr>
        <p:spPr>
          <a:xfrm>
            <a:off x="-67680" y="956645"/>
            <a:ext cx="1393371" cy="19257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marL="444465" indent="-446749" algn="l" defTabSz="2438400">
              <a:spcBef>
                <a:spcPts val="2900"/>
              </a:spcBef>
              <a:buSzPct val="100000"/>
              <a:buFontTx/>
              <a:buChar char="–"/>
            </a:pPr>
            <a:r>
              <a:rPr lang="en-US" sz="1200" kern="0">
                <a:solidFill>
                  <a:srgbClr val="000000"/>
                </a:solidFill>
                <a:ea typeface="+mj-ea"/>
                <a:cs typeface="+mj-cs"/>
                <a:sym typeface="IBM Plex Sans Light"/>
              </a:rPr>
              <a:t>Sprints</a:t>
            </a:r>
          </a:p>
        </p:txBody>
      </p:sp>
      <p:cxnSp>
        <p:nvCxnSpPr>
          <p:cNvPr id="49" name="Straight Arrow Connector 48">
            <a:extLst>
              <a:ext uri="{FF2B5EF4-FFF2-40B4-BE49-F238E27FC236}">
                <a16:creationId xmlns:a16="http://schemas.microsoft.com/office/drawing/2014/main" id="{0128920C-B76C-D201-E941-83D3A22B5E87}"/>
              </a:ext>
            </a:extLst>
          </p:cNvPr>
          <p:cNvCxnSpPr/>
          <p:nvPr/>
        </p:nvCxnSpPr>
        <p:spPr bwMode="auto">
          <a:xfrm>
            <a:off x="949620" y="1067273"/>
            <a:ext cx="1600200" cy="0"/>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56" name="Rectangle 55">
            <a:extLst>
              <a:ext uri="{FF2B5EF4-FFF2-40B4-BE49-F238E27FC236}">
                <a16:creationId xmlns:a16="http://schemas.microsoft.com/office/drawing/2014/main" id="{9863F69F-20F2-D8A7-C077-84775D7CA317}"/>
              </a:ext>
            </a:extLst>
          </p:cNvPr>
          <p:cNvSpPr/>
          <p:nvPr/>
        </p:nvSpPr>
        <p:spPr>
          <a:xfrm>
            <a:off x="1445980" y="1149223"/>
            <a:ext cx="1059814" cy="231738"/>
          </a:xfrm>
          <a:prstGeom prst="rect">
            <a:avLst/>
          </a:prstGeom>
          <a:solidFill>
            <a:srgbClr val="01235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a:solidFill>
                  <a:schemeClr val="tx1"/>
                </a:solidFill>
                <a:latin typeface="Aptos" panose="020B0004020202020204" pitchFamily="34" charset="0"/>
              </a:rPr>
              <a:t>S2</a:t>
            </a:r>
          </a:p>
        </p:txBody>
      </p:sp>
      <p:sp>
        <p:nvSpPr>
          <p:cNvPr id="57" name="Rectangle 56">
            <a:extLst>
              <a:ext uri="{FF2B5EF4-FFF2-40B4-BE49-F238E27FC236}">
                <a16:creationId xmlns:a16="http://schemas.microsoft.com/office/drawing/2014/main" id="{644EC706-D854-DC3A-43FD-3958E78B5452}"/>
              </a:ext>
            </a:extLst>
          </p:cNvPr>
          <p:cNvSpPr/>
          <p:nvPr/>
        </p:nvSpPr>
        <p:spPr>
          <a:xfrm>
            <a:off x="2517731" y="1149223"/>
            <a:ext cx="1059814" cy="231738"/>
          </a:xfrm>
          <a:prstGeom prst="rect">
            <a:avLst/>
          </a:prstGeom>
          <a:solidFill>
            <a:srgbClr val="01235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a:solidFill>
                  <a:schemeClr val="tx1"/>
                </a:solidFill>
                <a:latin typeface="Aptos" panose="020B0004020202020204" pitchFamily="34" charset="0"/>
              </a:rPr>
              <a:t>S3</a:t>
            </a:r>
          </a:p>
        </p:txBody>
      </p:sp>
      <p:sp>
        <p:nvSpPr>
          <p:cNvPr id="58" name="Rectangle 57">
            <a:extLst>
              <a:ext uri="{FF2B5EF4-FFF2-40B4-BE49-F238E27FC236}">
                <a16:creationId xmlns:a16="http://schemas.microsoft.com/office/drawing/2014/main" id="{6A62C74D-81E7-B9D9-050C-708D5B866CE9}"/>
              </a:ext>
            </a:extLst>
          </p:cNvPr>
          <p:cNvSpPr/>
          <p:nvPr/>
        </p:nvSpPr>
        <p:spPr>
          <a:xfrm>
            <a:off x="3591599" y="1149223"/>
            <a:ext cx="1059814" cy="231738"/>
          </a:xfrm>
          <a:prstGeom prst="rect">
            <a:avLst/>
          </a:prstGeom>
          <a:solidFill>
            <a:srgbClr val="01235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a:solidFill>
                  <a:schemeClr val="tx1"/>
                </a:solidFill>
                <a:latin typeface="Aptos" panose="020B0004020202020204" pitchFamily="34" charset="0"/>
              </a:rPr>
              <a:t>S4</a:t>
            </a:r>
          </a:p>
        </p:txBody>
      </p:sp>
      <p:sp>
        <p:nvSpPr>
          <p:cNvPr id="59" name="Rectangle 58">
            <a:extLst>
              <a:ext uri="{FF2B5EF4-FFF2-40B4-BE49-F238E27FC236}">
                <a16:creationId xmlns:a16="http://schemas.microsoft.com/office/drawing/2014/main" id="{77391C8C-53E1-468F-1A0D-0ABABAA19D58}"/>
              </a:ext>
            </a:extLst>
          </p:cNvPr>
          <p:cNvSpPr/>
          <p:nvPr/>
        </p:nvSpPr>
        <p:spPr>
          <a:xfrm>
            <a:off x="4665467" y="1149977"/>
            <a:ext cx="1059814" cy="231738"/>
          </a:xfrm>
          <a:prstGeom prst="rect">
            <a:avLst/>
          </a:prstGeom>
          <a:solidFill>
            <a:srgbClr val="01235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a:solidFill>
                  <a:schemeClr val="tx1"/>
                </a:solidFill>
                <a:latin typeface="Aptos" panose="020B0004020202020204" pitchFamily="34" charset="0"/>
              </a:rPr>
              <a:t>S5</a:t>
            </a:r>
          </a:p>
        </p:txBody>
      </p:sp>
      <p:sp>
        <p:nvSpPr>
          <p:cNvPr id="60" name="Rectangle 59">
            <a:extLst>
              <a:ext uri="{FF2B5EF4-FFF2-40B4-BE49-F238E27FC236}">
                <a16:creationId xmlns:a16="http://schemas.microsoft.com/office/drawing/2014/main" id="{C044FB06-61EF-7244-AD3D-BDA62EF2EB39}"/>
              </a:ext>
            </a:extLst>
          </p:cNvPr>
          <p:cNvSpPr/>
          <p:nvPr/>
        </p:nvSpPr>
        <p:spPr>
          <a:xfrm>
            <a:off x="5739335" y="1149977"/>
            <a:ext cx="1059814" cy="231738"/>
          </a:xfrm>
          <a:prstGeom prst="rect">
            <a:avLst/>
          </a:prstGeom>
          <a:solidFill>
            <a:srgbClr val="01235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a:solidFill>
                  <a:schemeClr val="tx1"/>
                </a:solidFill>
                <a:latin typeface="Aptos" panose="020B0004020202020204" pitchFamily="34" charset="0"/>
              </a:rPr>
              <a:t>S6</a:t>
            </a:r>
          </a:p>
        </p:txBody>
      </p:sp>
      <p:sp>
        <p:nvSpPr>
          <p:cNvPr id="61" name="Rectangle 60">
            <a:extLst>
              <a:ext uri="{FF2B5EF4-FFF2-40B4-BE49-F238E27FC236}">
                <a16:creationId xmlns:a16="http://schemas.microsoft.com/office/drawing/2014/main" id="{BF6B87D6-ED54-B76A-0EA6-E11D26A5B580}"/>
              </a:ext>
            </a:extLst>
          </p:cNvPr>
          <p:cNvSpPr/>
          <p:nvPr/>
        </p:nvSpPr>
        <p:spPr>
          <a:xfrm>
            <a:off x="6811086" y="1149977"/>
            <a:ext cx="1059814" cy="231738"/>
          </a:xfrm>
          <a:prstGeom prst="rect">
            <a:avLst/>
          </a:prstGeom>
          <a:solidFill>
            <a:srgbClr val="01235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a:solidFill>
                  <a:schemeClr val="tx1"/>
                </a:solidFill>
                <a:latin typeface="Aptos" panose="020B0004020202020204" pitchFamily="34" charset="0"/>
              </a:rPr>
              <a:t>S7</a:t>
            </a:r>
          </a:p>
        </p:txBody>
      </p:sp>
      <p:sp>
        <p:nvSpPr>
          <p:cNvPr id="62" name="Rectangle 61">
            <a:extLst>
              <a:ext uri="{FF2B5EF4-FFF2-40B4-BE49-F238E27FC236}">
                <a16:creationId xmlns:a16="http://schemas.microsoft.com/office/drawing/2014/main" id="{F6AF9A20-8F68-3005-F787-FAD5A5FFF0E4}"/>
              </a:ext>
            </a:extLst>
          </p:cNvPr>
          <p:cNvSpPr/>
          <p:nvPr/>
        </p:nvSpPr>
        <p:spPr>
          <a:xfrm>
            <a:off x="7884954" y="1149977"/>
            <a:ext cx="1059814" cy="231738"/>
          </a:xfrm>
          <a:prstGeom prst="rect">
            <a:avLst/>
          </a:prstGeom>
          <a:solidFill>
            <a:srgbClr val="01235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a:solidFill>
                  <a:schemeClr val="tx1"/>
                </a:solidFill>
                <a:latin typeface="Aptos" panose="020B0004020202020204" pitchFamily="34" charset="0"/>
              </a:rPr>
              <a:t>S8</a:t>
            </a:r>
          </a:p>
        </p:txBody>
      </p:sp>
      <p:sp>
        <p:nvSpPr>
          <p:cNvPr id="64" name="Rectangle 63">
            <a:extLst>
              <a:ext uri="{FF2B5EF4-FFF2-40B4-BE49-F238E27FC236}">
                <a16:creationId xmlns:a16="http://schemas.microsoft.com/office/drawing/2014/main" id="{5656604D-7696-3835-1DD2-7E9FC23FD6A8}"/>
              </a:ext>
            </a:extLst>
          </p:cNvPr>
          <p:cNvSpPr/>
          <p:nvPr/>
        </p:nvSpPr>
        <p:spPr>
          <a:xfrm>
            <a:off x="8962071" y="1149223"/>
            <a:ext cx="2643167" cy="231738"/>
          </a:xfrm>
          <a:prstGeom prst="rect">
            <a:avLst/>
          </a:prstGeom>
          <a:solidFill>
            <a:srgbClr val="01235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a:solidFill>
                  <a:schemeClr val="tx1"/>
                </a:solidFill>
                <a:latin typeface="Aptos" panose="020B0004020202020204" pitchFamily="34" charset="0"/>
              </a:rPr>
              <a:t>S9  Onwards</a:t>
            </a:r>
          </a:p>
        </p:txBody>
      </p:sp>
      <p:sp>
        <p:nvSpPr>
          <p:cNvPr id="65" name="Arrow: Pentagon 64">
            <a:extLst>
              <a:ext uri="{FF2B5EF4-FFF2-40B4-BE49-F238E27FC236}">
                <a16:creationId xmlns:a16="http://schemas.microsoft.com/office/drawing/2014/main" id="{9B2B8E84-2313-BA79-4F89-D2307E7D1F93}"/>
              </a:ext>
            </a:extLst>
          </p:cNvPr>
          <p:cNvSpPr/>
          <p:nvPr/>
        </p:nvSpPr>
        <p:spPr bwMode="auto">
          <a:xfrm>
            <a:off x="9036129" y="2247061"/>
            <a:ext cx="2581732" cy="615656"/>
          </a:xfrm>
          <a:prstGeom prst="homePlate">
            <a:avLst/>
          </a:prstGeom>
          <a:solidFill>
            <a:schemeClr val="tx1">
              <a:lumMod val="85000"/>
            </a:schemeClr>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600" b="1" i="0" u="none" strike="noStrike" cap="none" normalizeH="0" baseline="0">
              <a:ln>
                <a:noFill/>
              </a:ln>
              <a:solidFill>
                <a:srgbClr val="002060"/>
              </a:solidFill>
              <a:effectLst/>
              <a:latin typeface="+mn-lt"/>
            </a:endParaRPr>
          </a:p>
        </p:txBody>
      </p:sp>
      <p:sp>
        <p:nvSpPr>
          <p:cNvPr id="66" name="TextBox 65">
            <a:extLst>
              <a:ext uri="{FF2B5EF4-FFF2-40B4-BE49-F238E27FC236}">
                <a16:creationId xmlns:a16="http://schemas.microsoft.com/office/drawing/2014/main" id="{58E0BDBF-EC67-06B4-BC51-76A42E83DF24}"/>
              </a:ext>
            </a:extLst>
          </p:cNvPr>
          <p:cNvSpPr txBox="1"/>
          <p:nvPr/>
        </p:nvSpPr>
        <p:spPr>
          <a:xfrm>
            <a:off x="9181009" y="2454416"/>
            <a:ext cx="1381376" cy="1968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algn="l" defTabSz="2438400">
              <a:spcBef>
                <a:spcPts val="2900"/>
              </a:spcBef>
              <a:buSzPct val="100000"/>
            </a:pPr>
            <a:r>
              <a:rPr lang="en-US" sz="1600" b="1" kern="0">
                <a:solidFill>
                  <a:srgbClr val="002060"/>
                </a:solidFill>
                <a:ea typeface="+mj-ea"/>
                <a:cs typeface="+mj-cs"/>
                <a:sym typeface="IBM Plex Sans Light"/>
              </a:rPr>
              <a:t>Next Phases</a:t>
            </a:r>
          </a:p>
        </p:txBody>
      </p:sp>
      <p:sp>
        <p:nvSpPr>
          <p:cNvPr id="7" name="Rectangle 6">
            <a:extLst>
              <a:ext uri="{FF2B5EF4-FFF2-40B4-BE49-F238E27FC236}">
                <a16:creationId xmlns:a16="http://schemas.microsoft.com/office/drawing/2014/main" id="{A3F37D88-88E9-04F7-716D-5E9EAEC985BD}"/>
              </a:ext>
            </a:extLst>
          </p:cNvPr>
          <p:cNvSpPr/>
          <p:nvPr/>
        </p:nvSpPr>
        <p:spPr bwMode="auto">
          <a:xfrm>
            <a:off x="391701" y="1464323"/>
            <a:ext cx="2114093" cy="231573"/>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endParaRPr kumimoji="0" lang="en-US" sz="1100" b="0" i="0" u="none" strike="noStrike" cap="none" normalizeH="0" baseline="0">
              <a:ln>
                <a:noFill/>
              </a:ln>
              <a:solidFill>
                <a:schemeClr val="bg1"/>
              </a:solidFill>
              <a:effectLst/>
              <a:latin typeface="+mn-lt"/>
            </a:endParaRPr>
          </a:p>
        </p:txBody>
      </p:sp>
      <p:sp>
        <p:nvSpPr>
          <p:cNvPr id="8" name="TextBox 7">
            <a:extLst>
              <a:ext uri="{FF2B5EF4-FFF2-40B4-BE49-F238E27FC236}">
                <a16:creationId xmlns:a16="http://schemas.microsoft.com/office/drawing/2014/main" id="{677C7E49-99BA-836C-E153-56F241973CD6}"/>
              </a:ext>
            </a:extLst>
          </p:cNvPr>
          <p:cNvSpPr txBox="1"/>
          <p:nvPr/>
        </p:nvSpPr>
        <p:spPr>
          <a:xfrm>
            <a:off x="746126" y="1482273"/>
            <a:ext cx="1371600" cy="21530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rtlCol="0">
            <a:noAutofit/>
          </a:bodyPr>
          <a:lstStyle/>
          <a:p>
            <a:pPr algn="ctr" defTabSz="2438400">
              <a:spcBef>
                <a:spcPts val="2900"/>
              </a:spcBef>
              <a:buSzPct val="100000"/>
            </a:pPr>
            <a:r>
              <a:rPr lang="en-US" sz="1200" kern="0">
                <a:solidFill>
                  <a:srgbClr val="000000"/>
                </a:solidFill>
                <a:ea typeface="+mj-ea"/>
                <a:cs typeface="+mj-cs"/>
                <a:sym typeface="IBM Plex Sans Light"/>
              </a:rPr>
              <a:t>March</a:t>
            </a:r>
          </a:p>
        </p:txBody>
      </p:sp>
      <p:sp>
        <p:nvSpPr>
          <p:cNvPr id="13" name="Rectangle 12">
            <a:extLst>
              <a:ext uri="{FF2B5EF4-FFF2-40B4-BE49-F238E27FC236}">
                <a16:creationId xmlns:a16="http://schemas.microsoft.com/office/drawing/2014/main" id="{1A79236F-C06C-DB8C-A7EA-0F985979E57F}"/>
              </a:ext>
            </a:extLst>
          </p:cNvPr>
          <p:cNvSpPr/>
          <p:nvPr/>
        </p:nvSpPr>
        <p:spPr bwMode="auto">
          <a:xfrm>
            <a:off x="2551374" y="1464323"/>
            <a:ext cx="2114093" cy="231573"/>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endParaRPr kumimoji="0" lang="en-US" sz="1200" b="0" i="0" u="none" strike="noStrike" cap="none" normalizeH="0" baseline="0">
              <a:ln>
                <a:noFill/>
              </a:ln>
              <a:solidFill>
                <a:schemeClr val="bg1"/>
              </a:solidFill>
              <a:effectLst/>
              <a:latin typeface="+mn-lt"/>
            </a:endParaRPr>
          </a:p>
        </p:txBody>
      </p:sp>
      <p:sp>
        <p:nvSpPr>
          <p:cNvPr id="14" name="Rectangle 13">
            <a:extLst>
              <a:ext uri="{FF2B5EF4-FFF2-40B4-BE49-F238E27FC236}">
                <a16:creationId xmlns:a16="http://schemas.microsoft.com/office/drawing/2014/main" id="{4BABF799-077A-55D9-E2F5-F9D58B48376D}"/>
              </a:ext>
            </a:extLst>
          </p:cNvPr>
          <p:cNvSpPr/>
          <p:nvPr/>
        </p:nvSpPr>
        <p:spPr bwMode="auto">
          <a:xfrm>
            <a:off x="4711047" y="1464323"/>
            <a:ext cx="2114093" cy="231573"/>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endParaRPr kumimoji="0" lang="en-US" sz="1200" b="0" i="0" u="none" strike="noStrike" cap="none" normalizeH="0" baseline="0">
              <a:ln>
                <a:noFill/>
              </a:ln>
              <a:solidFill>
                <a:schemeClr val="bg1"/>
              </a:solidFill>
              <a:effectLst/>
              <a:latin typeface="+mn-lt"/>
            </a:endParaRPr>
          </a:p>
        </p:txBody>
      </p:sp>
      <p:sp>
        <p:nvSpPr>
          <p:cNvPr id="15" name="Rectangle 14">
            <a:extLst>
              <a:ext uri="{FF2B5EF4-FFF2-40B4-BE49-F238E27FC236}">
                <a16:creationId xmlns:a16="http://schemas.microsoft.com/office/drawing/2014/main" id="{B8F16FAF-8D98-1D3F-9388-BF018994253B}"/>
              </a:ext>
            </a:extLst>
          </p:cNvPr>
          <p:cNvSpPr/>
          <p:nvPr/>
        </p:nvSpPr>
        <p:spPr bwMode="auto">
          <a:xfrm>
            <a:off x="6870720" y="1464323"/>
            <a:ext cx="2114093" cy="231573"/>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endParaRPr kumimoji="0" lang="en-US" sz="1200" b="0" i="0" u="none" strike="noStrike" cap="none" normalizeH="0" baseline="0">
              <a:ln>
                <a:noFill/>
              </a:ln>
              <a:solidFill>
                <a:schemeClr val="bg1"/>
              </a:solidFill>
              <a:effectLst/>
              <a:latin typeface="+mn-lt"/>
            </a:endParaRPr>
          </a:p>
        </p:txBody>
      </p:sp>
      <p:sp>
        <p:nvSpPr>
          <p:cNvPr id="16" name="TextBox 15">
            <a:extLst>
              <a:ext uri="{FF2B5EF4-FFF2-40B4-BE49-F238E27FC236}">
                <a16:creationId xmlns:a16="http://schemas.microsoft.com/office/drawing/2014/main" id="{FBC87EA7-1A7E-6D47-53C0-F4E4DD1EC30F}"/>
              </a:ext>
            </a:extLst>
          </p:cNvPr>
          <p:cNvSpPr txBox="1"/>
          <p:nvPr/>
        </p:nvSpPr>
        <p:spPr>
          <a:xfrm>
            <a:off x="2922620" y="1472723"/>
            <a:ext cx="1371600" cy="21530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rtlCol="0">
            <a:noAutofit/>
          </a:bodyPr>
          <a:lstStyle/>
          <a:p>
            <a:pPr algn="ctr" defTabSz="2438400">
              <a:spcBef>
                <a:spcPts val="2900"/>
              </a:spcBef>
              <a:buSzPct val="100000"/>
            </a:pPr>
            <a:r>
              <a:rPr lang="en-US" sz="1200" kern="0">
                <a:solidFill>
                  <a:srgbClr val="000000"/>
                </a:solidFill>
                <a:ea typeface="+mj-ea"/>
                <a:cs typeface="+mj-cs"/>
                <a:sym typeface="IBM Plex Sans Light"/>
              </a:rPr>
              <a:t>April</a:t>
            </a:r>
          </a:p>
        </p:txBody>
      </p:sp>
      <p:sp>
        <p:nvSpPr>
          <p:cNvPr id="17" name="TextBox 16">
            <a:extLst>
              <a:ext uri="{FF2B5EF4-FFF2-40B4-BE49-F238E27FC236}">
                <a16:creationId xmlns:a16="http://schemas.microsoft.com/office/drawing/2014/main" id="{BFCF577B-73C6-DE9D-62D2-D0BC15D9E842}"/>
              </a:ext>
            </a:extLst>
          </p:cNvPr>
          <p:cNvSpPr txBox="1"/>
          <p:nvPr/>
        </p:nvSpPr>
        <p:spPr>
          <a:xfrm>
            <a:off x="5036713" y="1482273"/>
            <a:ext cx="1371600" cy="21530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rtlCol="0">
            <a:noAutofit/>
          </a:bodyPr>
          <a:lstStyle/>
          <a:p>
            <a:pPr algn="ctr" defTabSz="2438400">
              <a:spcBef>
                <a:spcPts val="2900"/>
              </a:spcBef>
              <a:buSzPct val="100000"/>
            </a:pPr>
            <a:r>
              <a:rPr lang="en-US" sz="1200" kern="0">
                <a:solidFill>
                  <a:srgbClr val="000000"/>
                </a:solidFill>
                <a:ea typeface="+mj-ea"/>
                <a:cs typeface="+mj-cs"/>
                <a:sym typeface="IBM Plex Sans Light"/>
              </a:rPr>
              <a:t>May</a:t>
            </a:r>
          </a:p>
        </p:txBody>
      </p:sp>
      <p:sp>
        <p:nvSpPr>
          <p:cNvPr id="18" name="TextBox 17">
            <a:extLst>
              <a:ext uri="{FF2B5EF4-FFF2-40B4-BE49-F238E27FC236}">
                <a16:creationId xmlns:a16="http://schemas.microsoft.com/office/drawing/2014/main" id="{117899FF-0298-8BA6-93AF-359F800EC061}"/>
              </a:ext>
            </a:extLst>
          </p:cNvPr>
          <p:cNvSpPr txBox="1"/>
          <p:nvPr/>
        </p:nvSpPr>
        <p:spPr>
          <a:xfrm>
            <a:off x="7199922" y="1471651"/>
            <a:ext cx="1371600" cy="21530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rtlCol="0">
            <a:noAutofit/>
          </a:bodyPr>
          <a:lstStyle/>
          <a:p>
            <a:pPr algn="ctr" defTabSz="2438400">
              <a:spcBef>
                <a:spcPts val="2900"/>
              </a:spcBef>
              <a:buSzPct val="100000"/>
            </a:pPr>
            <a:r>
              <a:rPr lang="en-US" sz="1200" kern="0">
                <a:solidFill>
                  <a:srgbClr val="000000"/>
                </a:solidFill>
                <a:ea typeface="+mj-ea"/>
                <a:cs typeface="+mj-cs"/>
                <a:sym typeface="IBM Plex Sans Light"/>
              </a:rPr>
              <a:t>June</a:t>
            </a:r>
          </a:p>
        </p:txBody>
      </p:sp>
      <p:sp>
        <p:nvSpPr>
          <p:cNvPr id="19" name="Rectangle 18">
            <a:extLst>
              <a:ext uri="{FF2B5EF4-FFF2-40B4-BE49-F238E27FC236}">
                <a16:creationId xmlns:a16="http://schemas.microsoft.com/office/drawing/2014/main" id="{A25829E1-CD48-B03D-2105-EF9033558DFB}"/>
              </a:ext>
            </a:extLst>
          </p:cNvPr>
          <p:cNvSpPr/>
          <p:nvPr/>
        </p:nvSpPr>
        <p:spPr bwMode="auto">
          <a:xfrm>
            <a:off x="9030393" y="1459734"/>
            <a:ext cx="2574845" cy="240751"/>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endParaRPr kumimoji="0" lang="en-US" sz="1200" b="0" i="0" u="none" strike="noStrike" cap="none" normalizeH="0" baseline="0">
              <a:ln>
                <a:noFill/>
              </a:ln>
              <a:solidFill>
                <a:schemeClr val="bg1"/>
              </a:solidFill>
              <a:effectLst/>
              <a:latin typeface="+mn-lt"/>
            </a:endParaRPr>
          </a:p>
        </p:txBody>
      </p:sp>
      <p:sp>
        <p:nvSpPr>
          <p:cNvPr id="20" name="TextBox 19">
            <a:extLst>
              <a:ext uri="{FF2B5EF4-FFF2-40B4-BE49-F238E27FC236}">
                <a16:creationId xmlns:a16="http://schemas.microsoft.com/office/drawing/2014/main" id="{C9CE11FE-4983-C713-BF0B-32AFDA00277E}"/>
              </a:ext>
            </a:extLst>
          </p:cNvPr>
          <p:cNvSpPr txBox="1"/>
          <p:nvPr/>
        </p:nvSpPr>
        <p:spPr>
          <a:xfrm>
            <a:off x="9597854" y="1475626"/>
            <a:ext cx="1371600" cy="21530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rtlCol="0">
            <a:noAutofit/>
          </a:bodyPr>
          <a:lstStyle/>
          <a:p>
            <a:pPr algn="ctr" defTabSz="2438400">
              <a:spcBef>
                <a:spcPts val="2900"/>
              </a:spcBef>
              <a:buSzPct val="100000"/>
            </a:pPr>
            <a:r>
              <a:rPr lang="en-US" sz="1200" kern="0">
                <a:solidFill>
                  <a:srgbClr val="000000"/>
                </a:solidFill>
                <a:ea typeface="+mj-ea"/>
                <a:cs typeface="+mj-cs"/>
                <a:sym typeface="IBM Plex Sans Light"/>
              </a:rPr>
              <a:t>July onwards</a:t>
            </a:r>
          </a:p>
        </p:txBody>
      </p:sp>
    </p:spTree>
    <p:extLst>
      <p:ext uri="{BB962C8B-B14F-4D97-AF65-F5344CB8AC3E}">
        <p14:creationId xmlns:p14="http://schemas.microsoft.com/office/powerpoint/2010/main" val="646410781"/>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2BC9A7-AB32-9DAB-A9F3-8D8D18C0C0DD}"/>
            </a:ext>
          </a:extLst>
        </p:cNvPr>
        <p:cNvGrpSpPr/>
        <p:nvPr/>
      </p:nvGrpSpPr>
      <p:grpSpPr>
        <a:xfrm>
          <a:off x="0" y="0"/>
          <a:ext cx="0" cy="0"/>
          <a:chOff x="0" y="0"/>
          <a:chExt cx="0" cy="0"/>
        </a:xfrm>
      </p:grpSpPr>
      <p:sp>
        <p:nvSpPr>
          <p:cNvPr id="14" name="Rounded Rectangle 13">
            <a:extLst>
              <a:ext uri="{FF2B5EF4-FFF2-40B4-BE49-F238E27FC236}">
                <a16:creationId xmlns:a16="http://schemas.microsoft.com/office/drawing/2014/main" id="{CE2421D3-7971-D73E-83EB-AA7D5E2FA10D}"/>
              </a:ext>
            </a:extLst>
          </p:cNvPr>
          <p:cNvSpPr/>
          <p:nvPr/>
        </p:nvSpPr>
        <p:spPr bwMode="auto">
          <a:xfrm>
            <a:off x="6870867" y="1037365"/>
            <a:ext cx="4732553" cy="5153876"/>
          </a:xfrm>
          <a:prstGeom prst="roundRect">
            <a:avLst>
              <a:gd name="adj" fmla="val 2631"/>
            </a:avLst>
          </a:prstGeom>
          <a:solidFill>
            <a:srgbClr val="012354"/>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bg1"/>
              </a:solidFill>
              <a:effectLst/>
              <a:latin typeface="+mn-lt"/>
            </a:endParaRPr>
          </a:p>
        </p:txBody>
      </p:sp>
      <p:sp>
        <p:nvSpPr>
          <p:cNvPr id="7" name="Rounded Rectangle 6">
            <a:extLst>
              <a:ext uri="{FF2B5EF4-FFF2-40B4-BE49-F238E27FC236}">
                <a16:creationId xmlns:a16="http://schemas.microsoft.com/office/drawing/2014/main" id="{0F8B2030-111F-CFF9-381A-012C8E21AA6D}"/>
              </a:ext>
            </a:extLst>
          </p:cNvPr>
          <p:cNvSpPr/>
          <p:nvPr/>
        </p:nvSpPr>
        <p:spPr bwMode="auto">
          <a:xfrm>
            <a:off x="374977" y="1037365"/>
            <a:ext cx="4806623" cy="5153885"/>
          </a:xfrm>
          <a:prstGeom prst="roundRect">
            <a:avLst>
              <a:gd name="adj" fmla="val 2238"/>
            </a:avLst>
          </a:prstGeom>
          <a:solidFill>
            <a:srgbClr val="B5C1CE">
              <a:alpha val="20000"/>
            </a:srgb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bg1"/>
              </a:solidFill>
              <a:effectLst/>
              <a:latin typeface="+mn-lt"/>
            </a:endParaRPr>
          </a:p>
        </p:txBody>
      </p:sp>
      <p:sp>
        <p:nvSpPr>
          <p:cNvPr id="8" name="Rounded Rectangle 7">
            <a:extLst>
              <a:ext uri="{FF2B5EF4-FFF2-40B4-BE49-F238E27FC236}">
                <a16:creationId xmlns:a16="http://schemas.microsoft.com/office/drawing/2014/main" id="{D9F7EA7F-5E15-BCB0-CB20-93BF50514F3D}"/>
              </a:ext>
            </a:extLst>
          </p:cNvPr>
          <p:cNvSpPr/>
          <p:nvPr/>
        </p:nvSpPr>
        <p:spPr bwMode="auto">
          <a:xfrm>
            <a:off x="712175" y="2127587"/>
            <a:ext cx="4118440" cy="1149766"/>
          </a:xfrm>
          <a:prstGeom prst="roundRect">
            <a:avLst>
              <a:gd name="adj" fmla="val 5561"/>
            </a:avLst>
          </a:prstGeom>
          <a:solidFill>
            <a:schemeClr val="tx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bg1"/>
              </a:solidFill>
              <a:effectLst/>
              <a:latin typeface="+mn-lt"/>
            </a:endParaRPr>
          </a:p>
        </p:txBody>
      </p:sp>
      <p:sp>
        <p:nvSpPr>
          <p:cNvPr id="9" name="Rounded Rectangle 8">
            <a:extLst>
              <a:ext uri="{FF2B5EF4-FFF2-40B4-BE49-F238E27FC236}">
                <a16:creationId xmlns:a16="http://schemas.microsoft.com/office/drawing/2014/main" id="{9D788E7E-35B9-9D92-445F-9768851A1DC5}"/>
              </a:ext>
            </a:extLst>
          </p:cNvPr>
          <p:cNvSpPr/>
          <p:nvPr/>
        </p:nvSpPr>
        <p:spPr bwMode="auto">
          <a:xfrm>
            <a:off x="712175" y="3443194"/>
            <a:ext cx="4118440" cy="1274606"/>
          </a:xfrm>
          <a:prstGeom prst="roundRect">
            <a:avLst>
              <a:gd name="adj" fmla="val 5561"/>
            </a:avLst>
          </a:prstGeom>
          <a:solidFill>
            <a:schemeClr val="tx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bg1"/>
              </a:solidFill>
              <a:effectLst/>
              <a:latin typeface="+mn-lt"/>
            </a:endParaRPr>
          </a:p>
        </p:txBody>
      </p:sp>
      <p:sp>
        <p:nvSpPr>
          <p:cNvPr id="10" name="Rounded Rectangle 9">
            <a:extLst>
              <a:ext uri="{FF2B5EF4-FFF2-40B4-BE49-F238E27FC236}">
                <a16:creationId xmlns:a16="http://schemas.microsoft.com/office/drawing/2014/main" id="{1A1264B5-A95F-8DC5-5665-52C910624FAA}"/>
              </a:ext>
            </a:extLst>
          </p:cNvPr>
          <p:cNvSpPr/>
          <p:nvPr/>
        </p:nvSpPr>
        <p:spPr bwMode="auto">
          <a:xfrm>
            <a:off x="712175" y="4883641"/>
            <a:ext cx="4118440" cy="1149766"/>
          </a:xfrm>
          <a:prstGeom prst="roundRect">
            <a:avLst>
              <a:gd name="adj" fmla="val 3974"/>
            </a:avLst>
          </a:prstGeom>
          <a:solidFill>
            <a:schemeClr val="tx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bg1"/>
              </a:solidFill>
              <a:effectLst/>
              <a:latin typeface="+mn-lt"/>
            </a:endParaRPr>
          </a:p>
        </p:txBody>
      </p:sp>
      <p:sp>
        <p:nvSpPr>
          <p:cNvPr id="27" name="Rectangle 26">
            <a:extLst>
              <a:ext uri="{FF2B5EF4-FFF2-40B4-BE49-F238E27FC236}">
                <a16:creationId xmlns:a16="http://schemas.microsoft.com/office/drawing/2014/main" id="{FBF36300-01FC-DD71-318F-E0C0700F3A72}"/>
              </a:ext>
            </a:extLst>
          </p:cNvPr>
          <p:cNvSpPr/>
          <p:nvPr/>
        </p:nvSpPr>
        <p:spPr>
          <a:xfrm>
            <a:off x="512135" y="1071242"/>
            <a:ext cx="4593265" cy="483951"/>
          </a:xfrm>
          <a:prstGeom prst="rect">
            <a:avLst/>
          </a:prstGeom>
          <a:noFill/>
          <a:ln>
            <a:noFill/>
          </a:ln>
        </p:spPr>
        <p:style>
          <a:lnRef idx="2">
            <a:schemeClr val="dk1"/>
          </a:lnRef>
          <a:fillRef idx="1">
            <a:schemeClr val="lt1"/>
          </a:fillRef>
          <a:effectRef idx="0">
            <a:schemeClr val="dk1"/>
          </a:effectRef>
          <a:fontRef idx="minor">
            <a:schemeClr val="dk1"/>
          </a:fontRef>
        </p:style>
        <p:txBody>
          <a:bodyPr lIns="0" tIns="0" rIns="0" bIns="0" rtlCol="0" anchor="ctr"/>
          <a:lstStyle/>
          <a:p>
            <a:pPr algn="ctr"/>
            <a:endParaRPr lang="en-US">
              <a:latin typeface="Aptos" panose="020B0004020202020204" pitchFamily="34" charset="0"/>
            </a:endParaRPr>
          </a:p>
        </p:txBody>
      </p:sp>
      <p:sp>
        <p:nvSpPr>
          <p:cNvPr id="2" name="Title 1">
            <a:extLst>
              <a:ext uri="{FF2B5EF4-FFF2-40B4-BE49-F238E27FC236}">
                <a16:creationId xmlns:a16="http://schemas.microsoft.com/office/drawing/2014/main" id="{2751E8C2-DB89-2AE8-073F-E3D1CE7047D8}"/>
              </a:ext>
            </a:extLst>
          </p:cNvPr>
          <p:cNvSpPr>
            <a:spLocks noGrp="1"/>
          </p:cNvSpPr>
          <p:nvPr>
            <p:ph type="title"/>
          </p:nvPr>
        </p:nvSpPr>
        <p:spPr/>
        <p:txBody>
          <a:bodyPr/>
          <a:lstStyle/>
          <a:p>
            <a:r>
              <a:rPr lang="en-US">
                <a:solidFill>
                  <a:srgbClr val="002060"/>
                </a:solidFill>
                <a:latin typeface="Aptos" panose="020B0004020202020204" pitchFamily="34" charset="0"/>
              </a:rPr>
              <a:t>Proposed Team Structure for Coty</a:t>
            </a:r>
            <a:endParaRPr lang="en-US">
              <a:latin typeface="Aptos" panose="020B0004020202020204" pitchFamily="34" charset="0"/>
            </a:endParaRPr>
          </a:p>
        </p:txBody>
      </p:sp>
      <p:sp>
        <p:nvSpPr>
          <p:cNvPr id="4" name="Slide Number Placeholder 3">
            <a:extLst>
              <a:ext uri="{FF2B5EF4-FFF2-40B4-BE49-F238E27FC236}">
                <a16:creationId xmlns:a16="http://schemas.microsoft.com/office/drawing/2014/main" id="{3086F4C8-C1F3-7C52-FACA-CF07A7DA24F5}"/>
              </a:ext>
            </a:extLst>
          </p:cNvPr>
          <p:cNvSpPr>
            <a:spLocks noGrp="1"/>
          </p:cNvSpPr>
          <p:nvPr>
            <p:ph type="sldNum" sz="quarter" idx="4294967295"/>
          </p:nvPr>
        </p:nvSpPr>
        <p:spPr>
          <a:xfrm>
            <a:off x="10221913" y="6191250"/>
            <a:ext cx="1970087" cy="280988"/>
          </a:xfrm>
          <a:prstGeom prst="rect">
            <a:avLst/>
          </a:prstGeom>
        </p:spPr>
        <p:txBody>
          <a:bodyPr/>
          <a:lstStyle/>
          <a:p>
            <a:r>
              <a:rPr lang="en-US">
                <a:latin typeface="Aptos" panose="020B0004020202020204" pitchFamily="34" charset="0"/>
              </a:rPr>
              <a:t>©2024 Brillio  |  </a:t>
            </a:r>
            <a:fld id="{F1FE5E21-FD07-B44E-90A3-0254BFCDB49A}" type="slidenum">
              <a:rPr smtClean="0">
                <a:latin typeface="Aptos" panose="020B0004020202020204" pitchFamily="34" charset="0"/>
              </a:rPr>
              <a:pPr/>
              <a:t>31</a:t>
            </a:fld>
            <a:endParaRPr>
              <a:latin typeface="Aptos" panose="020B0004020202020204" pitchFamily="34" charset="0"/>
            </a:endParaRPr>
          </a:p>
        </p:txBody>
      </p:sp>
      <p:sp>
        <p:nvSpPr>
          <p:cNvPr id="12" name="Rectangle 11">
            <a:extLst>
              <a:ext uri="{FF2B5EF4-FFF2-40B4-BE49-F238E27FC236}">
                <a16:creationId xmlns:a16="http://schemas.microsoft.com/office/drawing/2014/main" id="{91058967-873C-EE51-DF5C-268FB1CB13CA}"/>
              </a:ext>
            </a:extLst>
          </p:cNvPr>
          <p:cNvSpPr/>
          <p:nvPr/>
        </p:nvSpPr>
        <p:spPr>
          <a:xfrm>
            <a:off x="1149265" y="2241647"/>
            <a:ext cx="3571875" cy="895448"/>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600" b="1">
                <a:solidFill>
                  <a:srgbClr val="012354"/>
                </a:solidFill>
                <a:latin typeface="Aptos" panose="020B0004020202020204" pitchFamily="34" charset="0"/>
              </a:rPr>
              <a:t>Common (Shared) Roles</a:t>
            </a:r>
            <a:endParaRPr lang="en-US" sz="1200">
              <a:solidFill>
                <a:srgbClr val="012354"/>
              </a:solidFill>
              <a:latin typeface="Aptos" panose="020B0004020202020204" pitchFamily="34" charset="0"/>
            </a:endParaRPr>
          </a:p>
          <a:p>
            <a:pPr marL="228600" indent="-228600">
              <a:buFont typeface="+mj-lt"/>
              <a:buAutoNum type="arabicPeriod"/>
            </a:pPr>
            <a:r>
              <a:rPr lang="en-US" sz="1100">
                <a:solidFill>
                  <a:srgbClr val="012354"/>
                </a:solidFill>
                <a:latin typeface="Aptos" panose="020B0004020202020204" pitchFamily="34" charset="0"/>
              </a:rPr>
              <a:t>Project Manager</a:t>
            </a:r>
          </a:p>
          <a:p>
            <a:pPr marL="228600" indent="-228600">
              <a:buFont typeface="+mj-lt"/>
              <a:buAutoNum type="arabicPeriod"/>
            </a:pPr>
            <a:r>
              <a:rPr lang="en-US" sz="1100">
                <a:solidFill>
                  <a:srgbClr val="012354"/>
                </a:solidFill>
                <a:latin typeface="Aptos" panose="020B0004020202020204" pitchFamily="34" charset="0"/>
              </a:rPr>
              <a:t>Business Analyst</a:t>
            </a:r>
          </a:p>
        </p:txBody>
      </p:sp>
      <p:sp>
        <p:nvSpPr>
          <p:cNvPr id="13" name="Rectangle 12">
            <a:extLst>
              <a:ext uri="{FF2B5EF4-FFF2-40B4-BE49-F238E27FC236}">
                <a16:creationId xmlns:a16="http://schemas.microsoft.com/office/drawing/2014/main" id="{9ED6ECEE-26BD-25C1-F70B-79E6EF1FB43C}"/>
              </a:ext>
            </a:extLst>
          </p:cNvPr>
          <p:cNvSpPr/>
          <p:nvPr/>
        </p:nvSpPr>
        <p:spPr>
          <a:xfrm>
            <a:off x="1161332" y="3544498"/>
            <a:ext cx="3559808" cy="106276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600" b="1">
                <a:solidFill>
                  <a:srgbClr val="012354"/>
                </a:solidFill>
                <a:latin typeface="Aptos"/>
              </a:rPr>
              <a:t>Front-end team</a:t>
            </a:r>
            <a:endParaRPr lang="en-US" sz="1200">
              <a:solidFill>
                <a:srgbClr val="012354"/>
              </a:solidFill>
              <a:latin typeface="Aptos"/>
            </a:endParaRPr>
          </a:p>
          <a:p>
            <a:pPr marL="228600" indent="-228600">
              <a:buFont typeface="+mj-lt"/>
              <a:buAutoNum type="arabicPeriod"/>
            </a:pPr>
            <a:r>
              <a:rPr lang="en-US" sz="1100">
                <a:solidFill>
                  <a:srgbClr val="012354"/>
                </a:solidFill>
                <a:latin typeface="Aptos"/>
              </a:rPr>
              <a:t>Power BI Architect</a:t>
            </a:r>
            <a:endParaRPr lang="en-US" sz="1100">
              <a:solidFill>
                <a:srgbClr val="012354"/>
              </a:solidFill>
              <a:latin typeface="Aptos" panose="020B0004020202020204" pitchFamily="34" charset="0"/>
            </a:endParaRPr>
          </a:p>
          <a:p>
            <a:pPr marL="228600" indent="-228600">
              <a:buFont typeface="+mj-lt"/>
              <a:buAutoNum type="arabicPeriod"/>
            </a:pPr>
            <a:r>
              <a:rPr lang="en-US" sz="1100">
                <a:solidFill>
                  <a:srgbClr val="012354"/>
                </a:solidFill>
                <a:latin typeface="Aptos"/>
              </a:rPr>
              <a:t>Power BI Developers</a:t>
            </a:r>
          </a:p>
          <a:p>
            <a:pPr marL="228600" indent="-228600">
              <a:buFont typeface="+mj-lt"/>
              <a:buAutoNum type="arabicPeriod"/>
            </a:pPr>
            <a:r>
              <a:rPr lang="en-US" sz="1100">
                <a:solidFill>
                  <a:srgbClr val="012354"/>
                </a:solidFill>
                <a:latin typeface="Aptos"/>
              </a:rPr>
              <a:t>Design Leads</a:t>
            </a:r>
          </a:p>
          <a:p>
            <a:pPr marL="228600" indent="-228600">
              <a:buFont typeface="+mj-lt"/>
              <a:buAutoNum type="arabicPeriod"/>
            </a:pPr>
            <a:r>
              <a:rPr lang="en-US" sz="1100">
                <a:solidFill>
                  <a:srgbClr val="012354"/>
                </a:solidFill>
                <a:latin typeface="Aptos"/>
              </a:rPr>
              <a:t>UX Designers</a:t>
            </a:r>
          </a:p>
          <a:p>
            <a:pPr marL="228600" indent="-228600">
              <a:buFont typeface="+mj-lt"/>
              <a:buAutoNum type="arabicPeriod"/>
            </a:pPr>
            <a:endParaRPr lang="en-US" sz="1100">
              <a:solidFill>
                <a:srgbClr val="012354"/>
              </a:solidFill>
              <a:latin typeface="Aptos" panose="020B0004020202020204" pitchFamily="34" charset="0"/>
            </a:endParaRPr>
          </a:p>
        </p:txBody>
      </p:sp>
      <p:sp>
        <p:nvSpPr>
          <p:cNvPr id="3" name="Rectangle 2">
            <a:extLst>
              <a:ext uri="{FF2B5EF4-FFF2-40B4-BE49-F238E27FC236}">
                <a16:creationId xmlns:a16="http://schemas.microsoft.com/office/drawing/2014/main" id="{EF181B65-BA1E-79EF-0DB4-E5246A1C4666}"/>
              </a:ext>
            </a:extLst>
          </p:cNvPr>
          <p:cNvSpPr/>
          <p:nvPr/>
        </p:nvSpPr>
        <p:spPr>
          <a:xfrm>
            <a:off x="1149265" y="4974953"/>
            <a:ext cx="3571875" cy="92668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600" b="1">
                <a:solidFill>
                  <a:srgbClr val="012354"/>
                </a:solidFill>
                <a:latin typeface="Aptos"/>
              </a:rPr>
              <a:t>Data team</a:t>
            </a:r>
            <a:endParaRPr lang="en-US" sz="1200">
              <a:solidFill>
                <a:srgbClr val="012354"/>
              </a:solidFill>
              <a:latin typeface="Aptos" panose="020B0004020202020204" pitchFamily="34" charset="0"/>
            </a:endParaRPr>
          </a:p>
          <a:p>
            <a:pPr marL="342900" indent="-342900">
              <a:buFont typeface="+mj-lt"/>
              <a:buAutoNum type="arabicPeriod"/>
            </a:pPr>
            <a:r>
              <a:rPr lang="en-US" sz="1100">
                <a:solidFill>
                  <a:srgbClr val="012354"/>
                </a:solidFill>
                <a:latin typeface="Aptos" panose="020B0004020202020204" pitchFamily="34" charset="0"/>
              </a:rPr>
              <a:t>Data Architect</a:t>
            </a:r>
          </a:p>
          <a:p>
            <a:pPr marL="342900" indent="-342900">
              <a:buFont typeface="+mj-lt"/>
              <a:buAutoNum type="arabicPeriod"/>
            </a:pPr>
            <a:r>
              <a:rPr lang="en-US" sz="1100">
                <a:solidFill>
                  <a:srgbClr val="012354"/>
                </a:solidFill>
                <a:latin typeface="Aptos" panose="020B0004020202020204" pitchFamily="34" charset="0"/>
              </a:rPr>
              <a:t>Data Engineers</a:t>
            </a:r>
          </a:p>
          <a:p>
            <a:pPr marL="342900" indent="-342900">
              <a:buFont typeface="+mj-lt"/>
              <a:buAutoNum type="arabicPeriod"/>
            </a:pPr>
            <a:r>
              <a:rPr lang="en-US" sz="1100">
                <a:solidFill>
                  <a:srgbClr val="012354"/>
                </a:solidFill>
                <a:latin typeface="Aptos" panose="020B0004020202020204" pitchFamily="34" charset="0"/>
              </a:rPr>
              <a:t>Data Test Engineer</a:t>
            </a:r>
          </a:p>
        </p:txBody>
      </p:sp>
      <p:sp>
        <p:nvSpPr>
          <p:cNvPr id="30" name="TextBox 29">
            <a:extLst>
              <a:ext uri="{FF2B5EF4-FFF2-40B4-BE49-F238E27FC236}">
                <a16:creationId xmlns:a16="http://schemas.microsoft.com/office/drawing/2014/main" id="{3C9189AB-4CDD-A16B-A4AB-8DFA98A335F4}"/>
              </a:ext>
            </a:extLst>
          </p:cNvPr>
          <p:cNvSpPr txBox="1"/>
          <p:nvPr/>
        </p:nvSpPr>
        <p:spPr>
          <a:xfrm>
            <a:off x="982828" y="1283585"/>
            <a:ext cx="2755178" cy="584775"/>
          </a:xfrm>
          <a:prstGeom prst="rect">
            <a:avLst/>
          </a:prstGeom>
          <a:noFill/>
        </p:spPr>
        <p:txBody>
          <a:bodyPr wrap="none" rtlCol="0">
            <a:spAutoFit/>
          </a:bodyPr>
          <a:lstStyle/>
          <a:p>
            <a:r>
              <a:rPr lang="en-US" b="1">
                <a:solidFill>
                  <a:srgbClr val="012354"/>
                </a:solidFill>
                <a:latin typeface="Aptos" panose="020B0004020202020204" pitchFamily="34" charset="0"/>
              </a:rPr>
              <a:t>Brillio Team</a:t>
            </a:r>
            <a:endParaRPr lang="en-US" sz="1400">
              <a:solidFill>
                <a:srgbClr val="012354"/>
              </a:solidFill>
              <a:latin typeface="Aptos" panose="020B0004020202020204" pitchFamily="34" charset="0"/>
            </a:endParaRPr>
          </a:p>
          <a:p>
            <a:r>
              <a:rPr lang="en-US" sz="1400">
                <a:solidFill>
                  <a:srgbClr val="012354"/>
                </a:solidFill>
                <a:latin typeface="Aptos" panose="020B0004020202020204" pitchFamily="34" charset="0"/>
              </a:rPr>
              <a:t>Oversight role: </a:t>
            </a:r>
            <a:r>
              <a:rPr lang="en-US" sz="1400" b="1">
                <a:solidFill>
                  <a:srgbClr val="012354"/>
                </a:solidFill>
                <a:latin typeface="Aptos" panose="020B0004020202020204" pitchFamily="34" charset="0"/>
              </a:rPr>
              <a:t>Delivery Manager</a:t>
            </a:r>
          </a:p>
        </p:txBody>
      </p:sp>
      <p:cxnSp>
        <p:nvCxnSpPr>
          <p:cNvPr id="16" name="Straight Arrow Connector 15">
            <a:extLst>
              <a:ext uri="{FF2B5EF4-FFF2-40B4-BE49-F238E27FC236}">
                <a16:creationId xmlns:a16="http://schemas.microsoft.com/office/drawing/2014/main" id="{03F41754-21F2-04C9-3206-4F8414CF9644}"/>
              </a:ext>
            </a:extLst>
          </p:cNvPr>
          <p:cNvCxnSpPr/>
          <p:nvPr/>
        </p:nvCxnSpPr>
        <p:spPr bwMode="auto">
          <a:xfrm>
            <a:off x="5391807" y="3614307"/>
            <a:ext cx="1261241" cy="0"/>
          </a:xfrm>
          <a:prstGeom prst="straightConnector1">
            <a:avLst/>
          </a:prstGeom>
          <a:ln w="12700">
            <a:solidFill>
              <a:schemeClr val="bg1"/>
            </a:solidFill>
            <a:headEnd type="triangle"/>
            <a:tailEnd type="triangle"/>
          </a:ln>
          <a:effectLst/>
        </p:spPr>
        <p:style>
          <a:lnRef idx="1">
            <a:schemeClr val="dk1"/>
          </a:lnRef>
          <a:fillRef idx="0">
            <a:schemeClr val="dk1"/>
          </a:fillRef>
          <a:effectRef idx="0">
            <a:schemeClr val="dk1"/>
          </a:effectRef>
          <a:fontRef idx="minor">
            <a:schemeClr val="tx1"/>
          </a:fontRef>
        </p:style>
      </p:cxnSp>
      <p:sp>
        <p:nvSpPr>
          <p:cNvPr id="17" name="TextBox 16">
            <a:extLst>
              <a:ext uri="{FF2B5EF4-FFF2-40B4-BE49-F238E27FC236}">
                <a16:creationId xmlns:a16="http://schemas.microsoft.com/office/drawing/2014/main" id="{0FA8FC9D-F71C-16C2-397F-7EA6AA959E2C}"/>
              </a:ext>
            </a:extLst>
          </p:cNvPr>
          <p:cNvSpPr txBox="1"/>
          <p:nvPr/>
        </p:nvSpPr>
        <p:spPr>
          <a:xfrm>
            <a:off x="7652092" y="1434424"/>
            <a:ext cx="1281889" cy="369332"/>
          </a:xfrm>
          <a:prstGeom prst="rect">
            <a:avLst/>
          </a:prstGeom>
          <a:noFill/>
        </p:spPr>
        <p:txBody>
          <a:bodyPr wrap="none" rtlCol="0">
            <a:spAutoFit/>
          </a:bodyPr>
          <a:lstStyle/>
          <a:p>
            <a:r>
              <a:rPr lang="en-US" b="1">
                <a:latin typeface="Aptos" panose="020B0004020202020204" pitchFamily="34" charset="0"/>
              </a:rPr>
              <a:t>Coty Team</a:t>
            </a:r>
          </a:p>
        </p:txBody>
      </p:sp>
      <p:sp>
        <p:nvSpPr>
          <p:cNvPr id="19" name="Rounded Rectangle 18">
            <a:extLst>
              <a:ext uri="{FF2B5EF4-FFF2-40B4-BE49-F238E27FC236}">
                <a16:creationId xmlns:a16="http://schemas.microsoft.com/office/drawing/2014/main" id="{907A40AE-575E-CB21-656D-8713DA37F5E7}"/>
              </a:ext>
            </a:extLst>
          </p:cNvPr>
          <p:cNvSpPr/>
          <p:nvPr/>
        </p:nvSpPr>
        <p:spPr bwMode="auto">
          <a:xfrm>
            <a:off x="7207568" y="2127587"/>
            <a:ext cx="4118440" cy="710206"/>
          </a:xfrm>
          <a:prstGeom prst="roundRect">
            <a:avLst>
              <a:gd name="adj" fmla="val 5561"/>
            </a:avLst>
          </a:prstGeom>
          <a:solidFill>
            <a:schemeClr val="tx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bg1"/>
              </a:solidFill>
              <a:effectLst/>
              <a:latin typeface="+mn-lt"/>
            </a:endParaRPr>
          </a:p>
        </p:txBody>
      </p:sp>
      <p:sp>
        <p:nvSpPr>
          <p:cNvPr id="20" name="Rectangle 19">
            <a:extLst>
              <a:ext uri="{FF2B5EF4-FFF2-40B4-BE49-F238E27FC236}">
                <a16:creationId xmlns:a16="http://schemas.microsoft.com/office/drawing/2014/main" id="{E66A1A9F-C6D9-3D35-CCC5-53CF940E777F}"/>
              </a:ext>
            </a:extLst>
          </p:cNvPr>
          <p:cNvSpPr/>
          <p:nvPr/>
        </p:nvSpPr>
        <p:spPr>
          <a:xfrm>
            <a:off x="7644658" y="2257334"/>
            <a:ext cx="3571875" cy="44644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600" b="1">
                <a:solidFill>
                  <a:srgbClr val="012354"/>
                </a:solidFill>
                <a:latin typeface="Aptos" panose="020B0004020202020204" pitchFamily="34" charset="0"/>
              </a:rPr>
              <a:t>Business Leadership</a:t>
            </a:r>
            <a:endParaRPr lang="en-US" sz="1200">
              <a:solidFill>
                <a:srgbClr val="012354"/>
              </a:solidFill>
              <a:latin typeface="Aptos" panose="020B0004020202020204" pitchFamily="34" charset="0"/>
            </a:endParaRPr>
          </a:p>
        </p:txBody>
      </p:sp>
      <p:sp>
        <p:nvSpPr>
          <p:cNvPr id="21" name="Rounded Rectangle 20">
            <a:extLst>
              <a:ext uri="{FF2B5EF4-FFF2-40B4-BE49-F238E27FC236}">
                <a16:creationId xmlns:a16="http://schemas.microsoft.com/office/drawing/2014/main" id="{C03BFCF1-DB27-18FD-0033-3479E6DFA583}"/>
              </a:ext>
            </a:extLst>
          </p:cNvPr>
          <p:cNvSpPr/>
          <p:nvPr/>
        </p:nvSpPr>
        <p:spPr bwMode="auto">
          <a:xfrm>
            <a:off x="7207568" y="3031476"/>
            <a:ext cx="4118440" cy="710206"/>
          </a:xfrm>
          <a:prstGeom prst="roundRect">
            <a:avLst>
              <a:gd name="adj" fmla="val 5561"/>
            </a:avLst>
          </a:prstGeom>
          <a:solidFill>
            <a:schemeClr val="tx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bg1"/>
              </a:solidFill>
              <a:effectLst/>
              <a:latin typeface="+mn-lt"/>
            </a:endParaRPr>
          </a:p>
        </p:txBody>
      </p:sp>
      <p:sp>
        <p:nvSpPr>
          <p:cNvPr id="22" name="Rectangle 21">
            <a:extLst>
              <a:ext uri="{FF2B5EF4-FFF2-40B4-BE49-F238E27FC236}">
                <a16:creationId xmlns:a16="http://schemas.microsoft.com/office/drawing/2014/main" id="{79C1676A-F97D-D6E7-7D91-4BB371A7851E}"/>
              </a:ext>
            </a:extLst>
          </p:cNvPr>
          <p:cNvSpPr/>
          <p:nvPr/>
        </p:nvSpPr>
        <p:spPr>
          <a:xfrm>
            <a:off x="7644658" y="3161223"/>
            <a:ext cx="3571875" cy="44644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600" b="1">
                <a:solidFill>
                  <a:srgbClr val="012354"/>
                </a:solidFill>
                <a:latin typeface="Aptos" panose="020B0004020202020204" pitchFamily="34" charset="0"/>
              </a:rPr>
              <a:t>Technical Leadership</a:t>
            </a:r>
            <a:endParaRPr lang="en-US" sz="1200">
              <a:solidFill>
                <a:srgbClr val="012354"/>
              </a:solidFill>
              <a:latin typeface="Aptos" panose="020B0004020202020204" pitchFamily="34" charset="0"/>
            </a:endParaRPr>
          </a:p>
        </p:txBody>
      </p:sp>
      <p:sp>
        <p:nvSpPr>
          <p:cNvPr id="24" name="Rectangle 23">
            <a:extLst>
              <a:ext uri="{FF2B5EF4-FFF2-40B4-BE49-F238E27FC236}">
                <a16:creationId xmlns:a16="http://schemas.microsoft.com/office/drawing/2014/main" id="{19C89F47-18DA-D1B0-D735-4627ADB4C5AB}"/>
              </a:ext>
            </a:extLst>
          </p:cNvPr>
          <p:cNvSpPr/>
          <p:nvPr/>
        </p:nvSpPr>
        <p:spPr>
          <a:xfrm>
            <a:off x="7644658" y="4054602"/>
            <a:ext cx="3571875" cy="44644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600" b="1">
                <a:solidFill>
                  <a:srgbClr val="012354"/>
                </a:solidFill>
                <a:latin typeface="Aptos" panose="020B0004020202020204" pitchFamily="34" charset="0"/>
              </a:rPr>
              <a:t>Product Owners/PMs</a:t>
            </a:r>
            <a:endParaRPr lang="en-US" sz="1200">
              <a:solidFill>
                <a:srgbClr val="012354"/>
              </a:solidFill>
              <a:latin typeface="Aptos" panose="020B0004020202020204" pitchFamily="34" charset="0"/>
            </a:endParaRPr>
          </a:p>
        </p:txBody>
      </p:sp>
      <p:sp>
        <p:nvSpPr>
          <p:cNvPr id="26" name="Rectangle 25">
            <a:extLst>
              <a:ext uri="{FF2B5EF4-FFF2-40B4-BE49-F238E27FC236}">
                <a16:creationId xmlns:a16="http://schemas.microsoft.com/office/drawing/2014/main" id="{0B8DFB9F-FE71-826C-9904-FF1EEF8890A8}"/>
              </a:ext>
            </a:extLst>
          </p:cNvPr>
          <p:cNvSpPr/>
          <p:nvPr/>
        </p:nvSpPr>
        <p:spPr>
          <a:xfrm>
            <a:off x="7644658" y="4969002"/>
            <a:ext cx="3571875" cy="44644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600" b="1">
                <a:solidFill>
                  <a:srgbClr val="012354"/>
                </a:solidFill>
                <a:latin typeface="Aptos" panose="020B0004020202020204" pitchFamily="34" charset="0"/>
              </a:rPr>
              <a:t>Program Managers</a:t>
            </a:r>
            <a:endParaRPr lang="en-US" sz="1200">
              <a:solidFill>
                <a:srgbClr val="012354"/>
              </a:solidFill>
              <a:latin typeface="Aptos" panose="020B0004020202020204" pitchFamily="34" charset="0"/>
            </a:endParaRPr>
          </a:p>
        </p:txBody>
      </p:sp>
    </p:spTree>
    <p:extLst>
      <p:ext uri="{BB962C8B-B14F-4D97-AF65-F5344CB8AC3E}">
        <p14:creationId xmlns:p14="http://schemas.microsoft.com/office/powerpoint/2010/main" val="2723481107"/>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68CFCE-8876-E54D-715B-DFE0E7FDDCA6}"/>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9DCA6C5-4A70-4CF0-3FCA-159A81331115}"/>
              </a:ext>
            </a:extLst>
          </p:cNvPr>
          <p:cNvSpPr>
            <a:spLocks noGrp="1"/>
          </p:cNvSpPr>
          <p:nvPr>
            <p:ph type="title"/>
          </p:nvPr>
        </p:nvSpPr>
        <p:spPr/>
        <p:txBody>
          <a:bodyPr/>
          <a:lstStyle/>
          <a:p>
            <a:r>
              <a:rPr lang="en-US">
                <a:solidFill>
                  <a:srgbClr val="002060"/>
                </a:solidFill>
                <a:latin typeface="Aptos" panose="020B0004020202020204" pitchFamily="34" charset="0"/>
              </a:rPr>
              <a:t>Governance Model</a:t>
            </a:r>
          </a:p>
        </p:txBody>
      </p:sp>
      <p:sp>
        <p:nvSpPr>
          <p:cNvPr id="39" name="Rectangle 38">
            <a:extLst>
              <a:ext uri="{FF2B5EF4-FFF2-40B4-BE49-F238E27FC236}">
                <a16:creationId xmlns:a16="http://schemas.microsoft.com/office/drawing/2014/main" id="{8D8F58FF-7D60-088D-1D1A-6A5A5B0EB832}"/>
              </a:ext>
            </a:extLst>
          </p:cNvPr>
          <p:cNvSpPr/>
          <p:nvPr/>
        </p:nvSpPr>
        <p:spPr>
          <a:xfrm>
            <a:off x="231680" y="5459776"/>
            <a:ext cx="1635381" cy="174217"/>
          </a:xfrm>
          <a:prstGeom prst="rect">
            <a:avLst/>
          </a:prstGeom>
        </p:spPr>
        <p:style>
          <a:lnRef idx="0">
            <a:schemeClr val="dk1">
              <a:alpha val="0"/>
              <a:hueOff val="0"/>
              <a:satOff val="0"/>
              <a:lumOff val="0"/>
              <a:alphaOff val="0"/>
            </a:schemeClr>
          </a:lnRef>
          <a:fillRef idx="0">
            <a:schemeClr val="lt2">
              <a:alpha val="0"/>
              <a:hueOff val="0"/>
              <a:satOff val="0"/>
              <a:lumOff val="0"/>
              <a:alphaOff val="0"/>
            </a:schemeClr>
          </a:fillRef>
          <a:effectRef idx="0">
            <a:schemeClr val="lt2">
              <a:alpha val="0"/>
              <a:hueOff val="0"/>
              <a:satOff val="0"/>
              <a:lumOff val="0"/>
              <a:alphaOff val="0"/>
            </a:schemeClr>
          </a:effectRef>
          <a:fontRef idx="minor">
            <a:schemeClr val="tx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hueOff val="0"/>
                  <a:satOff val="0"/>
                  <a:lumOff val="0"/>
                  <a:alphaOff val="0"/>
                </a:prstClr>
              </a:solidFill>
              <a:effectLst/>
              <a:uLnTx/>
              <a:uFillTx/>
              <a:latin typeface="Aptos" panose="020B0004020202020204" pitchFamily="34" charset="0"/>
            </a:endParaRPr>
          </a:p>
        </p:txBody>
      </p:sp>
      <p:grpSp>
        <p:nvGrpSpPr>
          <p:cNvPr id="45" name="Group 44">
            <a:extLst>
              <a:ext uri="{FF2B5EF4-FFF2-40B4-BE49-F238E27FC236}">
                <a16:creationId xmlns:a16="http://schemas.microsoft.com/office/drawing/2014/main" id="{A2FD80C5-43B3-5C64-3108-88019DB4D5CF}"/>
              </a:ext>
            </a:extLst>
          </p:cNvPr>
          <p:cNvGrpSpPr/>
          <p:nvPr/>
        </p:nvGrpSpPr>
        <p:grpSpPr>
          <a:xfrm>
            <a:off x="8863780" y="1351169"/>
            <a:ext cx="2372214" cy="4430239"/>
            <a:chOff x="8662581" y="1154074"/>
            <a:chExt cx="2372214" cy="4430239"/>
          </a:xfrm>
        </p:grpSpPr>
        <p:sp>
          <p:nvSpPr>
            <p:cNvPr id="5" name="Rounded Rectangle 4">
              <a:extLst>
                <a:ext uri="{FF2B5EF4-FFF2-40B4-BE49-F238E27FC236}">
                  <a16:creationId xmlns:a16="http://schemas.microsoft.com/office/drawing/2014/main" id="{A26D01C1-586A-292C-BE31-F7D43A5178B1}"/>
                </a:ext>
              </a:extLst>
            </p:cNvPr>
            <p:cNvSpPr/>
            <p:nvPr/>
          </p:nvSpPr>
          <p:spPr>
            <a:xfrm>
              <a:off x="8680419" y="1154074"/>
              <a:ext cx="2340384" cy="332399"/>
            </a:xfrm>
            <a:prstGeom prst="roundRect">
              <a:avLst/>
            </a:prstGeom>
            <a:solidFill>
              <a:srgbClr val="6FDC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12354"/>
                  </a:solidFill>
                  <a:effectLst/>
                  <a:uLnTx/>
                  <a:uFillTx/>
                  <a:latin typeface="Aptos" panose="020B0004020202020204" pitchFamily="34" charset="0"/>
                </a:rPr>
                <a:t>Deliverables</a:t>
              </a:r>
              <a:endParaRPr kumimoji="0" lang="en-IN" sz="1200" b="1" i="0" u="none" strike="noStrike" kern="1200" cap="none" spc="0" normalizeH="0" baseline="0" noProof="0">
                <a:ln>
                  <a:noFill/>
                </a:ln>
                <a:solidFill>
                  <a:srgbClr val="012354"/>
                </a:solidFill>
                <a:effectLst/>
                <a:uLnTx/>
                <a:uFillTx/>
                <a:latin typeface="Aptos" panose="020B0004020202020204" pitchFamily="34" charset="0"/>
              </a:endParaRPr>
            </a:p>
          </p:txBody>
        </p:sp>
        <p:sp>
          <p:nvSpPr>
            <p:cNvPr id="70" name="Rounded Rectangle 15">
              <a:extLst>
                <a:ext uri="{FF2B5EF4-FFF2-40B4-BE49-F238E27FC236}">
                  <a16:creationId xmlns:a16="http://schemas.microsoft.com/office/drawing/2014/main" id="{D0107EDD-E88E-601C-0BA8-046B6241164F}"/>
                </a:ext>
              </a:extLst>
            </p:cNvPr>
            <p:cNvSpPr/>
            <p:nvPr/>
          </p:nvSpPr>
          <p:spPr>
            <a:xfrm>
              <a:off x="8670455" y="1588170"/>
              <a:ext cx="2364340" cy="1235512"/>
            </a:xfrm>
            <a:prstGeom prst="roundRect">
              <a:avLst>
                <a:gd name="adj" fmla="val 9782"/>
              </a:avLst>
            </a:prstGeom>
            <a:solidFill>
              <a:srgbClr val="DEFCE6">
                <a:alpha val="57000"/>
              </a:srgbClr>
            </a:solidFill>
            <a:ln w="3175" cap="flat" cmpd="sng" algn="ctr">
              <a:noFill/>
              <a:prstDash val="solid"/>
            </a:ln>
            <a:effectLst/>
          </p:spPr>
          <p:txBody>
            <a:bodyPr lIns="121920" tIns="0" rIns="121920" bIns="0" rtlCol="0" anchor="ctr" anchorCtr="0"/>
            <a:lstStyle/>
            <a:p>
              <a:pPr marL="311143" marR="0" lvl="0" indent="-239178" algn="l" defTabSz="914377" rtl="0" eaLnBrk="1" fontAlgn="auto" latinLnBrk="0" hangingPunct="1">
                <a:lnSpc>
                  <a:spcPct val="100000"/>
                </a:lnSpc>
                <a:spcBef>
                  <a:spcPts val="0"/>
                </a:spcBef>
                <a:spcAft>
                  <a:spcPts val="267"/>
                </a:spcAft>
                <a:buClrTx/>
                <a:buSzTx/>
                <a:buFont typeface="Arial" pitchFamily="34" charset="0"/>
                <a:buChar char="•"/>
                <a:tabLst/>
                <a:defRPr/>
              </a:pPr>
              <a:r>
                <a:rPr kumimoji="0" lang="en-US" sz="1000" b="0" i="0" u="none" strike="noStrike" kern="0" cap="none" spc="0" normalizeH="0" baseline="0" noProof="0">
                  <a:ln>
                    <a:noFill/>
                  </a:ln>
                  <a:solidFill>
                    <a:srgbClr val="000000">
                      <a:lumMod val="75000"/>
                      <a:lumOff val="25000"/>
                    </a:srgbClr>
                  </a:solidFill>
                  <a:effectLst/>
                  <a:uLnTx/>
                  <a:uFillTx/>
                  <a:latin typeface="Aptos" panose="020B0004020202020204" pitchFamily="34" charset="0"/>
                  <a:cs typeface="Arial" panose="020B0604020202020204" pitchFamily="34" charset="0"/>
                </a:rPr>
                <a:t>Program Health</a:t>
              </a:r>
            </a:p>
            <a:p>
              <a:pPr marL="311143" marR="0" lvl="0" indent="-239178" algn="l" defTabSz="914377" rtl="0" eaLnBrk="1" fontAlgn="auto" latinLnBrk="0" hangingPunct="1">
                <a:lnSpc>
                  <a:spcPct val="100000"/>
                </a:lnSpc>
                <a:spcBef>
                  <a:spcPts val="0"/>
                </a:spcBef>
                <a:spcAft>
                  <a:spcPts val="267"/>
                </a:spcAft>
                <a:buClrTx/>
                <a:buSzTx/>
                <a:buFont typeface="Arial" pitchFamily="34" charset="0"/>
                <a:buChar char="•"/>
                <a:tabLst/>
                <a:defRPr/>
              </a:pPr>
              <a:r>
                <a:rPr kumimoji="0" lang="en-US" sz="1000" b="0" i="0" u="none" strike="noStrike" kern="0" cap="none" spc="0" normalizeH="0" baseline="0" noProof="0">
                  <a:ln>
                    <a:noFill/>
                  </a:ln>
                  <a:solidFill>
                    <a:srgbClr val="000000">
                      <a:lumMod val="75000"/>
                      <a:lumOff val="25000"/>
                    </a:srgbClr>
                  </a:solidFill>
                  <a:effectLst/>
                  <a:uLnTx/>
                  <a:uFillTx/>
                  <a:latin typeface="Aptos" panose="020B0004020202020204" pitchFamily="34" charset="0"/>
                  <a:cs typeface="Arial" panose="020B0604020202020204" pitchFamily="34" charset="0"/>
                </a:rPr>
                <a:t>Delivery Roadmap</a:t>
              </a:r>
            </a:p>
            <a:p>
              <a:pPr marL="311143" marR="0" lvl="0" indent="-239178" algn="l" defTabSz="914377" rtl="0" eaLnBrk="1" fontAlgn="auto" latinLnBrk="0" hangingPunct="1">
                <a:lnSpc>
                  <a:spcPct val="100000"/>
                </a:lnSpc>
                <a:spcBef>
                  <a:spcPts val="0"/>
                </a:spcBef>
                <a:spcAft>
                  <a:spcPts val="267"/>
                </a:spcAft>
                <a:buClrTx/>
                <a:buSzTx/>
                <a:buFont typeface="Arial" pitchFamily="34" charset="0"/>
                <a:buChar char="•"/>
                <a:tabLst/>
                <a:defRPr/>
              </a:pPr>
              <a:r>
                <a:rPr kumimoji="0" lang="en-US" sz="1000" b="0" i="0" u="none" strike="noStrike" kern="0" cap="none" spc="0" normalizeH="0" baseline="0" noProof="0">
                  <a:ln>
                    <a:noFill/>
                  </a:ln>
                  <a:solidFill>
                    <a:srgbClr val="000000">
                      <a:lumMod val="75000"/>
                      <a:lumOff val="25000"/>
                    </a:srgbClr>
                  </a:solidFill>
                  <a:effectLst/>
                  <a:uLnTx/>
                  <a:uFillTx/>
                  <a:latin typeface="Aptos" panose="020B0004020202020204" pitchFamily="34" charset="0"/>
                  <a:cs typeface="Arial" panose="020B0604020202020204" pitchFamily="34" charset="0"/>
                </a:rPr>
                <a:t>Value Engineering</a:t>
              </a:r>
            </a:p>
            <a:p>
              <a:pPr marL="311143" marR="0" lvl="0" indent="-239178" algn="l" defTabSz="914377" rtl="0" eaLnBrk="1" fontAlgn="auto" latinLnBrk="0" hangingPunct="1">
                <a:lnSpc>
                  <a:spcPct val="100000"/>
                </a:lnSpc>
                <a:spcBef>
                  <a:spcPts val="0"/>
                </a:spcBef>
                <a:spcAft>
                  <a:spcPts val="267"/>
                </a:spcAft>
                <a:buClrTx/>
                <a:buSzTx/>
                <a:buFont typeface="Arial" pitchFamily="34" charset="0"/>
                <a:buChar char="•"/>
                <a:tabLst/>
                <a:defRPr/>
              </a:pPr>
              <a:r>
                <a:rPr kumimoji="0" lang="en-US" sz="1000" b="0" i="0" u="none" strike="noStrike" kern="0" cap="none" spc="0" normalizeH="0" baseline="0" noProof="0">
                  <a:ln>
                    <a:noFill/>
                  </a:ln>
                  <a:solidFill>
                    <a:srgbClr val="000000">
                      <a:lumMod val="75000"/>
                      <a:lumOff val="25000"/>
                    </a:srgbClr>
                  </a:solidFill>
                  <a:effectLst/>
                  <a:uLnTx/>
                  <a:uFillTx/>
                  <a:latin typeface="Aptos" panose="020B0004020202020204" pitchFamily="34" charset="0"/>
                  <a:cs typeface="Arial" panose="020B0604020202020204" pitchFamily="34" charset="0"/>
                </a:rPr>
                <a:t>Priorities Alignment</a:t>
              </a:r>
            </a:p>
            <a:p>
              <a:pPr marL="311143" marR="0" lvl="0" indent="-239178" algn="l" defTabSz="914377" rtl="0" eaLnBrk="1" fontAlgn="auto" latinLnBrk="0" hangingPunct="1">
                <a:lnSpc>
                  <a:spcPct val="100000"/>
                </a:lnSpc>
                <a:spcBef>
                  <a:spcPts val="0"/>
                </a:spcBef>
                <a:spcAft>
                  <a:spcPts val="267"/>
                </a:spcAft>
                <a:buClrTx/>
                <a:buSzTx/>
                <a:buFont typeface="Arial" pitchFamily="34" charset="0"/>
                <a:buChar char="•"/>
                <a:tabLst/>
                <a:defRPr/>
              </a:pPr>
              <a:r>
                <a:rPr kumimoji="0" lang="en-US" sz="1000" b="0" i="0" u="none" strike="noStrike" kern="0" cap="none" spc="0" normalizeH="0" baseline="0" noProof="0">
                  <a:ln>
                    <a:noFill/>
                  </a:ln>
                  <a:solidFill>
                    <a:srgbClr val="000000">
                      <a:lumMod val="75000"/>
                      <a:lumOff val="25000"/>
                    </a:srgbClr>
                  </a:solidFill>
                  <a:effectLst/>
                  <a:uLnTx/>
                  <a:uFillTx/>
                  <a:latin typeface="Aptos" panose="020B0004020202020204" pitchFamily="34" charset="0"/>
                  <a:cs typeface="Arial" panose="020B0604020202020204" pitchFamily="34" charset="0"/>
                </a:rPr>
                <a:t>Innovation &amp; Transformation</a:t>
              </a:r>
            </a:p>
          </p:txBody>
        </p:sp>
        <p:sp>
          <p:nvSpPr>
            <p:cNvPr id="71" name="Rounded Rectangle 16">
              <a:extLst>
                <a:ext uri="{FF2B5EF4-FFF2-40B4-BE49-F238E27FC236}">
                  <a16:creationId xmlns:a16="http://schemas.microsoft.com/office/drawing/2014/main" id="{76F56CD3-2DB1-1071-7171-B77CD0670CC2}"/>
                </a:ext>
              </a:extLst>
            </p:cNvPr>
            <p:cNvSpPr/>
            <p:nvPr/>
          </p:nvSpPr>
          <p:spPr>
            <a:xfrm>
              <a:off x="8662581" y="3007556"/>
              <a:ext cx="2358222" cy="1157370"/>
            </a:xfrm>
            <a:prstGeom prst="roundRect">
              <a:avLst>
                <a:gd name="adj" fmla="val 10236"/>
              </a:avLst>
            </a:prstGeom>
            <a:solidFill>
              <a:srgbClr val="DEFCE6">
                <a:alpha val="57000"/>
              </a:srgbClr>
            </a:solidFill>
            <a:ln w="3175" cap="flat" cmpd="sng" algn="ctr">
              <a:noFill/>
              <a:prstDash val="solid"/>
            </a:ln>
            <a:effectLst/>
          </p:spPr>
          <p:txBody>
            <a:bodyPr lIns="121920" tIns="0" rIns="121920" bIns="0" rtlCol="0" anchor="ctr" anchorCtr="0"/>
            <a:lstStyle/>
            <a:p>
              <a:pPr marL="311143" marR="0" lvl="0" indent="-239178" algn="l" defTabSz="914377" rtl="0" eaLnBrk="1" fontAlgn="auto" latinLnBrk="0" hangingPunct="1">
                <a:lnSpc>
                  <a:spcPct val="100000"/>
                </a:lnSpc>
                <a:spcBef>
                  <a:spcPts val="0"/>
                </a:spcBef>
                <a:spcAft>
                  <a:spcPts val="267"/>
                </a:spcAft>
                <a:buClrTx/>
                <a:buSzTx/>
                <a:buFont typeface="Arial" pitchFamily="34" charset="0"/>
                <a:buChar char="•"/>
                <a:tabLst/>
                <a:defRPr/>
              </a:pPr>
              <a:r>
                <a:rPr kumimoji="0" lang="en-US" sz="1000" b="0" i="0" u="none" strike="noStrike" kern="0" cap="none" spc="0" normalizeH="0" baseline="0" noProof="0">
                  <a:ln>
                    <a:noFill/>
                  </a:ln>
                  <a:solidFill>
                    <a:srgbClr val="000000">
                      <a:lumMod val="75000"/>
                      <a:lumOff val="25000"/>
                    </a:srgbClr>
                  </a:solidFill>
                  <a:effectLst/>
                  <a:uLnTx/>
                  <a:uFillTx/>
                  <a:latin typeface="Aptos" panose="020B0004020202020204" pitchFamily="34" charset="0"/>
                  <a:cs typeface="Arial" panose="020B0604020202020204" pitchFamily="34" charset="0"/>
                </a:rPr>
                <a:t>Delivery Commitment Review</a:t>
              </a:r>
            </a:p>
            <a:p>
              <a:pPr marL="311143" marR="0" lvl="0" indent="-239178" algn="l" defTabSz="914377" rtl="0" eaLnBrk="1" fontAlgn="auto" latinLnBrk="0" hangingPunct="1">
                <a:lnSpc>
                  <a:spcPct val="100000"/>
                </a:lnSpc>
                <a:spcBef>
                  <a:spcPts val="0"/>
                </a:spcBef>
                <a:spcAft>
                  <a:spcPts val="267"/>
                </a:spcAft>
                <a:buClrTx/>
                <a:buSzTx/>
                <a:buFont typeface="Arial" pitchFamily="34" charset="0"/>
                <a:buChar char="•"/>
                <a:tabLst/>
                <a:defRPr/>
              </a:pPr>
              <a:r>
                <a:rPr kumimoji="0" lang="en-US" sz="1000" b="0" i="0" u="none" strike="noStrike" kern="0" cap="none" spc="0" normalizeH="0" baseline="0" noProof="0">
                  <a:ln>
                    <a:noFill/>
                  </a:ln>
                  <a:solidFill>
                    <a:srgbClr val="000000">
                      <a:lumMod val="75000"/>
                      <a:lumOff val="25000"/>
                    </a:srgbClr>
                  </a:solidFill>
                  <a:effectLst/>
                  <a:uLnTx/>
                  <a:uFillTx/>
                  <a:latin typeface="Aptos" panose="020B0004020202020204" pitchFamily="34" charset="0"/>
                  <a:cs typeface="Arial" panose="020B0604020202020204" pitchFamily="34" charset="0"/>
                </a:rPr>
                <a:t>Escalation Handling</a:t>
              </a:r>
            </a:p>
            <a:p>
              <a:pPr marL="311143" marR="0" lvl="0" indent="-239178" algn="l" defTabSz="914377" rtl="0" eaLnBrk="1" fontAlgn="auto" latinLnBrk="0" hangingPunct="1">
                <a:lnSpc>
                  <a:spcPct val="100000"/>
                </a:lnSpc>
                <a:spcBef>
                  <a:spcPts val="0"/>
                </a:spcBef>
                <a:spcAft>
                  <a:spcPts val="267"/>
                </a:spcAft>
                <a:buClrTx/>
                <a:buSzTx/>
                <a:buFont typeface="Arial" pitchFamily="34" charset="0"/>
                <a:buChar char="•"/>
                <a:tabLst/>
                <a:defRPr/>
              </a:pPr>
              <a:r>
                <a:rPr kumimoji="0" lang="en-US" sz="1000" b="0" i="0" u="none" strike="noStrike" kern="0" cap="none" spc="0" normalizeH="0" baseline="0" noProof="0">
                  <a:ln>
                    <a:noFill/>
                  </a:ln>
                  <a:solidFill>
                    <a:srgbClr val="000000">
                      <a:lumMod val="75000"/>
                      <a:lumOff val="25000"/>
                    </a:srgbClr>
                  </a:solidFill>
                  <a:effectLst/>
                  <a:uLnTx/>
                  <a:uFillTx/>
                  <a:latin typeface="Aptos" panose="020B0004020202020204" pitchFamily="34" charset="0"/>
                  <a:cs typeface="Arial" panose="020B0604020202020204" pitchFamily="34" charset="0"/>
                </a:rPr>
                <a:t>Issue &amp; Risk Management</a:t>
              </a:r>
            </a:p>
          </p:txBody>
        </p:sp>
        <p:sp>
          <p:nvSpPr>
            <p:cNvPr id="72" name="Rounded Rectangle 17">
              <a:extLst>
                <a:ext uri="{FF2B5EF4-FFF2-40B4-BE49-F238E27FC236}">
                  <a16:creationId xmlns:a16="http://schemas.microsoft.com/office/drawing/2014/main" id="{1B9EA600-CAFA-20A3-7C0E-7A6BDDAAA54B}"/>
                </a:ext>
              </a:extLst>
            </p:cNvPr>
            <p:cNvSpPr/>
            <p:nvPr/>
          </p:nvSpPr>
          <p:spPr>
            <a:xfrm>
              <a:off x="8670932" y="4348801"/>
              <a:ext cx="2358221" cy="1235512"/>
            </a:xfrm>
            <a:prstGeom prst="roundRect">
              <a:avLst>
                <a:gd name="adj" fmla="val 9060"/>
              </a:avLst>
            </a:prstGeom>
            <a:solidFill>
              <a:srgbClr val="DEFCE6">
                <a:alpha val="57000"/>
              </a:srgbClr>
            </a:solidFill>
            <a:ln w="3175" cap="flat" cmpd="sng" algn="ctr">
              <a:noFill/>
              <a:prstDash val="solid"/>
            </a:ln>
            <a:effectLst/>
          </p:spPr>
          <p:txBody>
            <a:bodyPr lIns="121920" tIns="0" rIns="121920" bIns="0" rtlCol="0" anchor="ctr" anchorCtr="0"/>
            <a:lstStyle/>
            <a:p>
              <a:pPr marL="311143" marR="0" lvl="0" indent="-239178" algn="l" defTabSz="914377" rtl="0" eaLnBrk="1" fontAlgn="auto" latinLnBrk="0" hangingPunct="1">
                <a:lnSpc>
                  <a:spcPct val="100000"/>
                </a:lnSpc>
                <a:spcBef>
                  <a:spcPts val="0"/>
                </a:spcBef>
                <a:spcAft>
                  <a:spcPts val="267"/>
                </a:spcAft>
                <a:buClrTx/>
                <a:buSzTx/>
                <a:buFont typeface="Arial" pitchFamily="34" charset="0"/>
                <a:buChar char="•"/>
                <a:tabLst/>
                <a:defRPr/>
              </a:pPr>
              <a:r>
                <a:rPr kumimoji="0" lang="en-US" sz="1000" b="0" i="0" u="none" strike="noStrike" kern="0" cap="none" spc="0" normalizeH="0" baseline="0" noProof="0">
                  <a:ln>
                    <a:noFill/>
                  </a:ln>
                  <a:solidFill>
                    <a:srgbClr val="000000">
                      <a:lumMod val="75000"/>
                      <a:lumOff val="25000"/>
                    </a:srgbClr>
                  </a:solidFill>
                  <a:effectLst/>
                  <a:uLnTx/>
                  <a:uFillTx/>
                  <a:latin typeface="Aptos" panose="020B0004020202020204" pitchFamily="34" charset="0"/>
                  <a:cs typeface="Arial" panose="020B0604020202020204" pitchFamily="34" charset="0"/>
                </a:rPr>
                <a:t>Customer Satisfaction</a:t>
              </a:r>
            </a:p>
            <a:p>
              <a:pPr marL="311143" marR="0" lvl="0" indent="-239178" algn="l" defTabSz="914377" rtl="0" eaLnBrk="1" fontAlgn="auto" latinLnBrk="0" hangingPunct="1">
                <a:lnSpc>
                  <a:spcPct val="100000"/>
                </a:lnSpc>
                <a:spcBef>
                  <a:spcPts val="0"/>
                </a:spcBef>
                <a:spcAft>
                  <a:spcPts val="267"/>
                </a:spcAft>
                <a:buClrTx/>
                <a:buSzTx/>
                <a:buFont typeface="Arial" pitchFamily="34" charset="0"/>
                <a:buChar char="•"/>
                <a:tabLst/>
                <a:defRPr/>
              </a:pPr>
              <a:r>
                <a:rPr kumimoji="0" lang="en-US" sz="1000" b="0" i="0" u="none" strike="noStrike" kern="0" cap="none" spc="0" normalizeH="0" baseline="0" noProof="0">
                  <a:ln>
                    <a:noFill/>
                  </a:ln>
                  <a:solidFill>
                    <a:srgbClr val="000000">
                      <a:lumMod val="75000"/>
                      <a:lumOff val="25000"/>
                    </a:srgbClr>
                  </a:solidFill>
                  <a:effectLst/>
                  <a:uLnTx/>
                  <a:uFillTx/>
                  <a:latin typeface="Aptos" panose="020B0004020202020204" pitchFamily="34" charset="0"/>
                  <a:cs typeface="Arial" panose="020B0604020202020204" pitchFamily="34" charset="0"/>
                </a:rPr>
                <a:t>SLA Review</a:t>
              </a:r>
            </a:p>
            <a:p>
              <a:pPr marL="311143" marR="0" lvl="0" indent="-239178" algn="l" defTabSz="914377" rtl="0" eaLnBrk="1" fontAlgn="auto" latinLnBrk="0" hangingPunct="1">
                <a:lnSpc>
                  <a:spcPct val="100000"/>
                </a:lnSpc>
                <a:spcBef>
                  <a:spcPts val="0"/>
                </a:spcBef>
                <a:spcAft>
                  <a:spcPts val="267"/>
                </a:spcAft>
                <a:buClrTx/>
                <a:buSzTx/>
                <a:buFont typeface="Arial" pitchFamily="34" charset="0"/>
                <a:buChar char="•"/>
                <a:tabLst/>
                <a:defRPr/>
              </a:pPr>
              <a:r>
                <a:rPr kumimoji="0" lang="en-US" sz="1000" b="0" i="0" u="none" strike="noStrike" kern="0" cap="none" spc="0" normalizeH="0" baseline="0" noProof="0">
                  <a:ln>
                    <a:noFill/>
                  </a:ln>
                  <a:solidFill>
                    <a:srgbClr val="000000">
                      <a:lumMod val="75000"/>
                      <a:lumOff val="25000"/>
                    </a:srgbClr>
                  </a:solidFill>
                  <a:effectLst/>
                  <a:uLnTx/>
                  <a:uFillTx/>
                  <a:latin typeface="Aptos" panose="020B0004020202020204" pitchFamily="34" charset="0"/>
                  <a:cs typeface="Arial" panose="020B0604020202020204" pitchFamily="34" charset="0"/>
                </a:rPr>
                <a:t>Quality Assurance</a:t>
              </a:r>
            </a:p>
            <a:p>
              <a:pPr marL="311143" marR="0" lvl="0" indent="-239178" algn="l" defTabSz="914377" rtl="0" eaLnBrk="1" fontAlgn="auto" latinLnBrk="0" hangingPunct="1">
                <a:lnSpc>
                  <a:spcPct val="100000"/>
                </a:lnSpc>
                <a:spcBef>
                  <a:spcPts val="0"/>
                </a:spcBef>
                <a:spcAft>
                  <a:spcPts val="267"/>
                </a:spcAft>
                <a:buClrTx/>
                <a:buSzTx/>
                <a:buFont typeface="Arial" pitchFamily="34" charset="0"/>
                <a:buChar char="•"/>
                <a:tabLst/>
                <a:defRPr/>
              </a:pPr>
              <a:r>
                <a:rPr kumimoji="0" lang="en-US" sz="1000" b="0" i="0" u="none" strike="noStrike" kern="0" cap="none" spc="0" normalizeH="0" baseline="0" noProof="0">
                  <a:ln>
                    <a:noFill/>
                  </a:ln>
                  <a:solidFill>
                    <a:srgbClr val="000000">
                      <a:lumMod val="75000"/>
                      <a:lumOff val="25000"/>
                    </a:srgbClr>
                  </a:solidFill>
                  <a:effectLst/>
                  <a:uLnTx/>
                  <a:uFillTx/>
                  <a:latin typeface="Aptos" panose="020B0004020202020204" pitchFamily="34" charset="0"/>
                  <a:cs typeface="Arial" panose="020B0604020202020204" pitchFamily="34" charset="0"/>
                </a:rPr>
                <a:t>Service Management</a:t>
              </a:r>
            </a:p>
            <a:p>
              <a:pPr marL="311143" marR="0" lvl="0" indent="-239178" algn="l" defTabSz="914377" rtl="0" eaLnBrk="1" fontAlgn="auto" latinLnBrk="0" hangingPunct="1">
                <a:lnSpc>
                  <a:spcPct val="100000"/>
                </a:lnSpc>
                <a:spcBef>
                  <a:spcPts val="0"/>
                </a:spcBef>
                <a:spcAft>
                  <a:spcPts val="267"/>
                </a:spcAft>
                <a:buClrTx/>
                <a:buSzTx/>
                <a:buFont typeface="Arial" pitchFamily="34" charset="0"/>
                <a:buChar char="•"/>
                <a:tabLst/>
                <a:defRPr/>
              </a:pPr>
              <a:r>
                <a:rPr kumimoji="0" lang="en-US" sz="1000" b="0" i="0" u="none" strike="noStrike" kern="0" cap="none" spc="0" normalizeH="0" baseline="0" noProof="0">
                  <a:ln>
                    <a:noFill/>
                  </a:ln>
                  <a:solidFill>
                    <a:srgbClr val="000000">
                      <a:lumMod val="75000"/>
                      <a:lumOff val="25000"/>
                    </a:srgbClr>
                  </a:solidFill>
                  <a:effectLst/>
                  <a:uLnTx/>
                  <a:uFillTx/>
                  <a:latin typeface="Aptos" panose="020B0004020202020204" pitchFamily="34" charset="0"/>
                  <a:cs typeface="Arial" panose="020B0604020202020204" pitchFamily="34" charset="0"/>
                </a:rPr>
                <a:t>Resource Management</a:t>
              </a:r>
            </a:p>
          </p:txBody>
        </p:sp>
      </p:grpSp>
      <p:grpSp>
        <p:nvGrpSpPr>
          <p:cNvPr id="38" name="Group 37">
            <a:extLst>
              <a:ext uri="{FF2B5EF4-FFF2-40B4-BE49-F238E27FC236}">
                <a16:creationId xmlns:a16="http://schemas.microsoft.com/office/drawing/2014/main" id="{FB3ED847-5F78-859E-9513-84EFF497D9BB}"/>
              </a:ext>
            </a:extLst>
          </p:cNvPr>
          <p:cNvGrpSpPr/>
          <p:nvPr/>
        </p:nvGrpSpPr>
        <p:grpSpPr>
          <a:xfrm>
            <a:off x="1685588" y="925984"/>
            <a:ext cx="6079342" cy="4451146"/>
            <a:chOff x="638907" y="1063870"/>
            <a:chExt cx="6079342" cy="4451146"/>
          </a:xfrm>
        </p:grpSpPr>
        <p:sp>
          <p:nvSpPr>
            <p:cNvPr id="6" name="Isosceles Triangle 5">
              <a:extLst>
                <a:ext uri="{FF2B5EF4-FFF2-40B4-BE49-F238E27FC236}">
                  <a16:creationId xmlns:a16="http://schemas.microsoft.com/office/drawing/2014/main" id="{1C385724-EE20-F892-1C44-99AD83574832}"/>
                </a:ext>
              </a:extLst>
            </p:cNvPr>
            <p:cNvSpPr/>
            <p:nvPr/>
          </p:nvSpPr>
          <p:spPr>
            <a:xfrm>
              <a:off x="862567" y="1096011"/>
              <a:ext cx="5821820" cy="4419005"/>
            </a:xfrm>
            <a:prstGeom prst="triangle">
              <a:avLst/>
            </a:prstGeom>
            <a:solidFill>
              <a:srgbClr val="B5C1CE">
                <a:alpha val="46000"/>
              </a:srgbClr>
            </a:solidFill>
            <a:ln w="25400" cap="flat" cmpd="sng" algn="ctr">
              <a:noFill/>
              <a:prstDash val="solid"/>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201646"/>
                </a:solidFill>
                <a:effectLst/>
                <a:uLnTx/>
                <a:uFillTx/>
                <a:latin typeface="Aptos" panose="020B0004020202020204" pitchFamily="34" charset="0"/>
                <a:cs typeface="Arial" panose="020B0604020202020204" pitchFamily="34" charset="0"/>
              </a:endParaRPr>
            </a:p>
          </p:txBody>
        </p:sp>
        <p:grpSp>
          <p:nvGrpSpPr>
            <p:cNvPr id="30" name="Group 29">
              <a:extLst>
                <a:ext uri="{FF2B5EF4-FFF2-40B4-BE49-F238E27FC236}">
                  <a16:creationId xmlns:a16="http://schemas.microsoft.com/office/drawing/2014/main" id="{E1F8794B-3447-59D7-2984-D045568C26BA}"/>
                </a:ext>
              </a:extLst>
            </p:cNvPr>
            <p:cNvGrpSpPr/>
            <p:nvPr/>
          </p:nvGrpSpPr>
          <p:grpSpPr>
            <a:xfrm>
              <a:off x="638907" y="1063870"/>
              <a:ext cx="6079342" cy="4293322"/>
              <a:chOff x="638907" y="1063870"/>
              <a:chExt cx="6079342" cy="4293322"/>
            </a:xfrm>
          </p:grpSpPr>
          <p:sp>
            <p:nvSpPr>
              <p:cNvPr id="7" name="TextBox 6">
                <a:extLst>
                  <a:ext uri="{FF2B5EF4-FFF2-40B4-BE49-F238E27FC236}">
                    <a16:creationId xmlns:a16="http://schemas.microsoft.com/office/drawing/2014/main" id="{FD7C3A94-A662-BBA9-E5C5-5F3374826320}"/>
                  </a:ext>
                </a:extLst>
              </p:cNvPr>
              <p:cNvSpPr txBox="1"/>
              <p:nvPr/>
            </p:nvSpPr>
            <p:spPr>
              <a:xfrm>
                <a:off x="949167" y="3860028"/>
                <a:ext cx="5744186" cy="261610"/>
              </a:xfrm>
              <a:prstGeom prst="rect">
                <a:avLst/>
              </a:prstGeom>
              <a:solidFill>
                <a:srgbClr val="012354">
                  <a:alpha val="67925"/>
                </a:srgb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Aptos" panose="020B0004020202020204" pitchFamily="34" charset="0"/>
                    <a:cs typeface="Arial" panose="020B0604020202020204" pitchFamily="34" charset="0"/>
                  </a:rPr>
                  <a:t>Program Level Planning, Dependency and Prioritization – POD health, Risk / Issues</a:t>
                </a:r>
              </a:p>
            </p:txBody>
          </p:sp>
          <p:sp>
            <p:nvSpPr>
              <p:cNvPr id="8" name="TextBox 7">
                <a:extLst>
                  <a:ext uri="{FF2B5EF4-FFF2-40B4-BE49-F238E27FC236}">
                    <a16:creationId xmlns:a16="http://schemas.microsoft.com/office/drawing/2014/main" id="{A6FC790A-5318-229F-A0B7-0F9A065534BB}"/>
                  </a:ext>
                </a:extLst>
              </p:cNvPr>
              <p:cNvSpPr txBox="1"/>
              <p:nvPr/>
            </p:nvSpPr>
            <p:spPr>
              <a:xfrm>
                <a:off x="949168" y="2322384"/>
                <a:ext cx="5735220" cy="265176"/>
              </a:xfrm>
              <a:prstGeom prst="rect">
                <a:avLst/>
              </a:prstGeom>
              <a:solidFill>
                <a:srgbClr val="012354">
                  <a:alpha val="67925"/>
                </a:srgbClr>
              </a:solidFill>
              <a:ln>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Aptos" panose="020B0004020202020204" pitchFamily="34" charset="0"/>
                    <a:cs typeface="Arial" panose="020B0604020202020204" pitchFamily="34" charset="0"/>
                  </a:rPr>
                  <a:t>Engagement Relationship, Health of Program, Escalated Issues, Strategic Planning</a:t>
                </a:r>
              </a:p>
            </p:txBody>
          </p:sp>
          <p:sp>
            <p:nvSpPr>
              <p:cNvPr id="9" name="Left-Right Arrow 6">
                <a:extLst>
                  <a:ext uri="{FF2B5EF4-FFF2-40B4-BE49-F238E27FC236}">
                    <a16:creationId xmlns:a16="http://schemas.microsoft.com/office/drawing/2014/main" id="{0A151C9E-B44C-41D1-C573-5E8FF95F64B9}"/>
                  </a:ext>
                </a:extLst>
              </p:cNvPr>
              <p:cNvSpPr/>
              <p:nvPr/>
            </p:nvSpPr>
            <p:spPr bwMode="auto">
              <a:xfrm>
                <a:off x="2378321" y="4848049"/>
                <a:ext cx="2791124" cy="94440"/>
              </a:xfrm>
              <a:prstGeom prst="leftRightArrow">
                <a:avLst/>
              </a:prstGeom>
              <a:solidFill>
                <a:sysClr val="window" lastClr="FFFFFF"/>
              </a:solidFill>
              <a:ln w="25400" cap="flat" cmpd="sng" algn="ctr">
                <a:noFill/>
                <a:prstDash val="solid"/>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201646"/>
                  </a:solidFill>
                  <a:effectLst/>
                  <a:uLnTx/>
                  <a:uFillTx/>
                  <a:latin typeface="Aptos" panose="020B00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63593A4E-CE00-2114-5E90-59187514E297}"/>
                  </a:ext>
                </a:extLst>
              </p:cNvPr>
              <p:cNvSpPr txBox="1"/>
              <p:nvPr/>
            </p:nvSpPr>
            <p:spPr bwMode="auto">
              <a:xfrm>
                <a:off x="638907" y="4734854"/>
                <a:ext cx="1779709" cy="261610"/>
              </a:xfrm>
              <a:prstGeom prst="rect">
                <a:avLst/>
              </a:prstGeom>
              <a:noFill/>
              <a:ln>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201646"/>
                    </a:solidFill>
                    <a:effectLst/>
                    <a:uLnTx/>
                    <a:uFillTx/>
                    <a:latin typeface="Aptos" panose="020B0004020202020204" pitchFamily="34" charset="0"/>
                    <a:cs typeface="Arial" panose="020B0604020202020204" pitchFamily="34" charset="0"/>
                  </a:rPr>
                  <a:t>Product Owner / </a:t>
                </a:r>
                <a:r>
                  <a:rPr kumimoji="0" lang="en-US" sz="1100" b="0" i="0" u="none" strike="noStrike" kern="0" cap="none" spc="0" normalizeH="0" baseline="0" noProof="0" err="1">
                    <a:ln>
                      <a:noFill/>
                    </a:ln>
                    <a:solidFill>
                      <a:srgbClr val="201646"/>
                    </a:solidFill>
                    <a:effectLst/>
                    <a:uLnTx/>
                    <a:uFillTx/>
                    <a:latin typeface="Aptos" panose="020B0004020202020204" pitchFamily="34" charset="0"/>
                    <a:cs typeface="Arial" panose="020B0604020202020204" pitchFamily="34" charset="0"/>
                  </a:rPr>
                  <a:t>SPoC</a:t>
                </a:r>
                <a:endParaRPr kumimoji="0" lang="en-US" sz="1100" b="0" i="0" u="none" strike="noStrike" kern="0" cap="none" spc="0" normalizeH="0" baseline="0" noProof="0">
                  <a:ln>
                    <a:noFill/>
                  </a:ln>
                  <a:solidFill>
                    <a:srgbClr val="201646"/>
                  </a:solidFill>
                  <a:effectLst/>
                  <a:uLnTx/>
                  <a:uFillTx/>
                  <a:latin typeface="Aptos" panose="020B00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F12910A1-86AD-48DF-9472-451A2A19ADFC}"/>
                  </a:ext>
                </a:extLst>
              </p:cNvPr>
              <p:cNvSpPr txBox="1"/>
              <p:nvPr/>
            </p:nvSpPr>
            <p:spPr bwMode="auto">
              <a:xfrm>
                <a:off x="5239432" y="4692152"/>
                <a:ext cx="1328108" cy="261610"/>
              </a:xfrm>
              <a:prstGeom prst="rect">
                <a:avLst/>
              </a:prstGeom>
              <a:noFill/>
              <a:ln>
                <a:noFill/>
              </a:ln>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201646"/>
                    </a:solidFill>
                    <a:effectLst/>
                    <a:uLnTx/>
                    <a:uFillTx/>
                    <a:latin typeface="Aptos" panose="020B0004020202020204" pitchFamily="34" charset="0"/>
                    <a:cs typeface="Arial" panose="020B0604020202020204" pitchFamily="34" charset="0"/>
                  </a:rPr>
                  <a:t>Project Team</a:t>
                </a:r>
              </a:p>
            </p:txBody>
          </p:sp>
          <p:sp>
            <p:nvSpPr>
              <p:cNvPr id="12" name="TextBox 11">
                <a:extLst>
                  <a:ext uri="{FF2B5EF4-FFF2-40B4-BE49-F238E27FC236}">
                    <a16:creationId xmlns:a16="http://schemas.microsoft.com/office/drawing/2014/main" id="{6F80E683-1CA1-1F57-1730-E168038E0A59}"/>
                  </a:ext>
                </a:extLst>
              </p:cNvPr>
              <p:cNvSpPr txBox="1">
                <a:spLocks noChangeArrowheads="1"/>
              </p:cNvSpPr>
              <p:nvPr/>
            </p:nvSpPr>
            <p:spPr bwMode="auto">
              <a:xfrm>
                <a:off x="4508960" y="1797991"/>
                <a:ext cx="1862610" cy="43088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eaLnBrk="0" hangingPunct="0">
                  <a:spcBef>
                    <a:spcPct val="100000"/>
                  </a:spcBef>
                  <a:buClr>
                    <a:schemeClr val="tx1"/>
                  </a:buClr>
                  <a:buFont typeface="Wingdings 2" pitchFamily="18" charset="2"/>
                  <a:buChar char="¡"/>
                  <a:defRPr sz="1600">
                    <a:solidFill>
                      <a:schemeClr val="tx1"/>
                    </a:solidFill>
                    <a:latin typeface="Arial" pitchFamily="34" charset="0"/>
                    <a:ea typeface="MS PGothic" pitchFamily="34" charset="-128"/>
                  </a:defRPr>
                </a:lvl1pPr>
                <a:lvl2pPr marL="742950" indent="-285750" eaLnBrk="0" hangingPunct="0">
                  <a:spcBef>
                    <a:spcPct val="50000"/>
                  </a:spcBef>
                  <a:buClr>
                    <a:schemeClr val="tx1"/>
                  </a:buClr>
                  <a:buFont typeface="Wingdings" pitchFamily="2" charset="2"/>
                  <a:buChar char="§"/>
                  <a:defRPr sz="1400">
                    <a:solidFill>
                      <a:schemeClr val="tx1"/>
                    </a:solidFill>
                    <a:latin typeface="Arial" pitchFamily="34" charset="0"/>
                    <a:ea typeface="MS PGothic" pitchFamily="34" charset="-128"/>
                  </a:defRPr>
                </a:lvl2pPr>
                <a:lvl3pPr marL="1143000" indent="-228600" eaLnBrk="0" hangingPunct="0">
                  <a:spcBef>
                    <a:spcPct val="50000"/>
                  </a:spcBef>
                  <a:buClr>
                    <a:schemeClr val="tx1"/>
                  </a:buClr>
                  <a:buFont typeface="Wingdings" pitchFamily="2" charset="2"/>
                  <a:buChar char="§"/>
                  <a:defRPr sz="1400">
                    <a:solidFill>
                      <a:schemeClr val="tx1"/>
                    </a:solidFill>
                    <a:latin typeface="Arial" pitchFamily="34" charset="0"/>
                    <a:ea typeface="MS PGothic" pitchFamily="34" charset="-128"/>
                  </a:defRPr>
                </a:lvl3pPr>
                <a:lvl4pPr marL="1600200" indent="-228600" eaLnBrk="0" hangingPunct="0">
                  <a:spcBef>
                    <a:spcPct val="50000"/>
                  </a:spcBef>
                  <a:buClr>
                    <a:schemeClr val="tx1"/>
                  </a:buClr>
                  <a:buFont typeface="Wingdings" pitchFamily="2" charset="2"/>
                  <a:buChar char="§"/>
                  <a:defRPr sz="1400">
                    <a:solidFill>
                      <a:schemeClr val="tx1"/>
                    </a:solidFill>
                    <a:latin typeface="Arial" pitchFamily="34" charset="0"/>
                    <a:ea typeface="MS PGothic" pitchFamily="34" charset="-128"/>
                  </a:defRPr>
                </a:lvl4pPr>
                <a:lvl5pPr marL="2057400" indent="-228600" eaLnBrk="0" hangingPunct="0">
                  <a:spcBef>
                    <a:spcPct val="50000"/>
                  </a:spcBef>
                  <a:buClr>
                    <a:schemeClr val="tx1"/>
                  </a:buClr>
                  <a:buFont typeface="Wingdings" pitchFamily="2" charset="2"/>
                  <a:buChar char="§"/>
                  <a:defRPr sz="1400">
                    <a:solidFill>
                      <a:schemeClr val="tx1"/>
                    </a:solidFill>
                    <a:latin typeface="Arial" pitchFamily="34" charset="0"/>
                    <a:ea typeface="MS PGothic" pitchFamily="34" charset="-128"/>
                  </a:defRPr>
                </a:lvl5pPr>
                <a:lvl6pPr marL="2514600" indent="-228600" eaLnBrk="0" fontAlgn="base" hangingPunct="0">
                  <a:spcBef>
                    <a:spcPct val="50000"/>
                  </a:spcBef>
                  <a:spcAft>
                    <a:spcPct val="0"/>
                  </a:spcAft>
                  <a:buClr>
                    <a:schemeClr val="tx1"/>
                  </a:buClr>
                  <a:buFont typeface="Wingdings" pitchFamily="2" charset="2"/>
                  <a:buChar char="§"/>
                  <a:defRPr sz="1400">
                    <a:solidFill>
                      <a:schemeClr val="tx1"/>
                    </a:solidFill>
                    <a:latin typeface="Arial" pitchFamily="34" charset="0"/>
                    <a:ea typeface="MS PGothic" pitchFamily="34" charset="-128"/>
                  </a:defRPr>
                </a:lvl6pPr>
                <a:lvl7pPr marL="2971800" indent="-228600" eaLnBrk="0" fontAlgn="base" hangingPunct="0">
                  <a:spcBef>
                    <a:spcPct val="50000"/>
                  </a:spcBef>
                  <a:spcAft>
                    <a:spcPct val="0"/>
                  </a:spcAft>
                  <a:buClr>
                    <a:schemeClr val="tx1"/>
                  </a:buClr>
                  <a:buFont typeface="Wingdings" pitchFamily="2" charset="2"/>
                  <a:buChar char="§"/>
                  <a:defRPr sz="1400">
                    <a:solidFill>
                      <a:schemeClr val="tx1"/>
                    </a:solidFill>
                    <a:latin typeface="Arial" pitchFamily="34" charset="0"/>
                    <a:ea typeface="MS PGothic" pitchFamily="34" charset="-128"/>
                  </a:defRPr>
                </a:lvl7pPr>
                <a:lvl8pPr marL="3429000" indent="-228600" eaLnBrk="0" fontAlgn="base" hangingPunct="0">
                  <a:spcBef>
                    <a:spcPct val="50000"/>
                  </a:spcBef>
                  <a:spcAft>
                    <a:spcPct val="0"/>
                  </a:spcAft>
                  <a:buClr>
                    <a:schemeClr val="tx1"/>
                  </a:buClr>
                  <a:buFont typeface="Wingdings" pitchFamily="2" charset="2"/>
                  <a:buChar char="§"/>
                  <a:defRPr sz="1400">
                    <a:solidFill>
                      <a:schemeClr val="tx1"/>
                    </a:solidFill>
                    <a:latin typeface="Arial" pitchFamily="34" charset="0"/>
                    <a:ea typeface="MS PGothic" pitchFamily="34" charset="-128"/>
                  </a:defRPr>
                </a:lvl8pPr>
                <a:lvl9pPr marL="3886200" indent="-228600" eaLnBrk="0" fontAlgn="base" hangingPunct="0">
                  <a:spcBef>
                    <a:spcPct val="50000"/>
                  </a:spcBef>
                  <a:spcAft>
                    <a:spcPct val="0"/>
                  </a:spcAft>
                  <a:buClr>
                    <a:schemeClr val="tx1"/>
                  </a:buClr>
                  <a:buFont typeface="Wingdings" pitchFamily="2" charset="2"/>
                  <a:buChar char="§"/>
                  <a:defRPr sz="1400">
                    <a:solidFill>
                      <a:schemeClr val="tx1"/>
                    </a:solidFill>
                    <a:latin typeface="Arial" pitchFamily="34" charset="0"/>
                    <a:ea typeface="MS PGothic" pitchFamily="34" charset="-128"/>
                  </a:defRPr>
                </a:lvl9pPr>
              </a:lstStyle>
              <a:p>
                <a:pPr marL="0" marR="0" lvl="0" indent="0" algn="ctr" defTabSz="914400" rtl="0" eaLnBrk="1" fontAlgn="auto" latinLnBrk="0" hangingPunct="1">
                  <a:lnSpc>
                    <a:spcPct val="100000"/>
                  </a:lnSpc>
                  <a:spcBef>
                    <a:spcPct val="0"/>
                  </a:spcBef>
                  <a:spcAft>
                    <a:spcPts val="0"/>
                  </a:spcAft>
                  <a:buClrTx/>
                  <a:buSzTx/>
                  <a:buFont typeface="Wingdings 2" pitchFamily="18" charset="2"/>
                  <a:buNone/>
                  <a:tabLst/>
                  <a:defRPr/>
                </a:pPr>
                <a:r>
                  <a:rPr kumimoji="0" lang="en-US" altLang="en-US" sz="1100" b="0" i="0" u="none" strike="noStrike" kern="1200" cap="none" spc="0" normalizeH="0" baseline="0" noProof="0">
                    <a:ln>
                      <a:noFill/>
                    </a:ln>
                    <a:solidFill>
                      <a:srgbClr val="201646"/>
                    </a:solidFill>
                    <a:effectLst/>
                    <a:uLnTx/>
                    <a:uFillTx/>
                    <a:latin typeface="Aptos" panose="020B0004020202020204" pitchFamily="34" charset="0"/>
                    <a:ea typeface="MS PGothic"/>
                    <a:cs typeface="Arial" panose="020B0604020202020204" pitchFamily="34" charset="0"/>
                  </a:rPr>
                  <a:t>Client Partner</a:t>
                </a:r>
              </a:p>
              <a:p>
                <a:pPr marL="0" marR="0" lvl="0" indent="0" algn="ctr" defTabSz="914400" rtl="0" eaLnBrk="1" fontAlgn="auto" latinLnBrk="0" hangingPunct="1">
                  <a:lnSpc>
                    <a:spcPct val="100000"/>
                  </a:lnSpc>
                  <a:spcBef>
                    <a:spcPct val="0"/>
                  </a:spcBef>
                  <a:spcAft>
                    <a:spcPts val="0"/>
                  </a:spcAft>
                  <a:buClrTx/>
                  <a:buSzTx/>
                  <a:buFont typeface="Wingdings 2" pitchFamily="18" charset="2"/>
                  <a:buNone/>
                  <a:tabLst/>
                  <a:defRPr/>
                </a:pPr>
                <a:r>
                  <a:rPr kumimoji="0" lang="en-US" sz="1100" b="0" i="0" u="none" strike="noStrike" kern="1200" cap="none" spc="0" normalizeH="0" baseline="0" noProof="0">
                    <a:ln>
                      <a:noFill/>
                    </a:ln>
                    <a:solidFill>
                      <a:srgbClr val="201646"/>
                    </a:solidFill>
                    <a:effectLst/>
                    <a:uLnTx/>
                    <a:uFillTx/>
                    <a:latin typeface="Aptos" panose="020B0004020202020204" pitchFamily="34" charset="0"/>
                    <a:ea typeface="MS PGothic"/>
                    <a:cs typeface="Arial" panose="020B0604020202020204" pitchFamily="34" charset="0"/>
                  </a:rPr>
                  <a:t>Delivery Partner</a:t>
                </a:r>
              </a:p>
            </p:txBody>
          </p:sp>
          <p:sp>
            <p:nvSpPr>
              <p:cNvPr id="13" name="TextBox 12">
                <a:extLst>
                  <a:ext uri="{FF2B5EF4-FFF2-40B4-BE49-F238E27FC236}">
                    <a16:creationId xmlns:a16="http://schemas.microsoft.com/office/drawing/2014/main" id="{01C9AA81-ABB9-3101-346F-9637F470B4A2}"/>
                  </a:ext>
                </a:extLst>
              </p:cNvPr>
              <p:cNvSpPr txBox="1">
                <a:spLocks noChangeArrowheads="1"/>
              </p:cNvSpPr>
              <p:nvPr/>
            </p:nvSpPr>
            <p:spPr bwMode="auto">
              <a:xfrm>
                <a:off x="1545325" y="1810652"/>
                <a:ext cx="1733523" cy="26161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100000"/>
                  </a:spcBef>
                  <a:buClr>
                    <a:schemeClr val="tx1"/>
                  </a:buClr>
                  <a:buFont typeface="Wingdings 2" pitchFamily="18" charset="2"/>
                  <a:buChar char="¡"/>
                  <a:defRPr sz="1600">
                    <a:solidFill>
                      <a:schemeClr val="tx1"/>
                    </a:solidFill>
                    <a:latin typeface="Arial" pitchFamily="34" charset="0"/>
                    <a:ea typeface="MS PGothic" pitchFamily="34" charset="-128"/>
                  </a:defRPr>
                </a:lvl1pPr>
                <a:lvl2pPr marL="742950" indent="-285750" eaLnBrk="0" hangingPunct="0">
                  <a:spcBef>
                    <a:spcPct val="50000"/>
                  </a:spcBef>
                  <a:buClr>
                    <a:schemeClr val="tx1"/>
                  </a:buClr>
                  <a:buFont typeface="Wingdings" pitchFamily="2" charset="2"/>
                  <a:buChar char="§"/>
                  <a:defRPr sz="1400">
                    <a:solidFill>
                      <a:schemeClr val="tx1"/>
                    </a:solidFill>
                    <a:latin typeface="Arial" pitchFamily="34" charset="0"/>
                    <a:ea typeface="MS PGothic" pitchFamily="34" charset="-128"/>
                  </a:defRPr>
                </a:lvl2pPr>
                <a:lvl3pPr marL="1143000" indent="-228600" eaLnBrk="0" hangingPunct="0">
                  <a:spcBef>
                    <a:spcPct val="50000"/>
                  </a:spcBef>
                  <a:buClr>
                    <a:schemeClr val="tx1"/>
                  </a:buClr>
                  <a:buFont typeface="Wingdings" pitchFamily="2" charset="2"/>
                  <a:buChar char="§"/>
                  <a:defRPr sz="1400">
                    <a:solidFill>
                      <a:schemeClr val="tx1"/>
                    </a:solidFill>
                    <a:latin typeface="Arial" pitchFamily="34" charset="0"/>
                    <a:ea typeface="MS PGothic" pitchFamily="34" charset="-128"/>
                  </a:defRPr>
                </a:lvl3pPr>
                <a:lvl4pPr marL="1600200" indent="-228600" eaLnBrk="0" hangingPunct="0">
                  <a:spcBef>
                    <a:spcPct val="50000"/>
                  </a:spcBef>
                  <a:buClr>
                    <a:schemeClr val="tx1"/>
                  </a:buClr>
                  <a:buFont typeface="Wingdings" pitchFamily="2" charset="2"/>
                  <a:buChar char="§"/>
                  <a:defRPr sz="1400">
                    <a:solidFill>
                      <a:schemeClr val="tx1"/>
                    </a:solidFill>
                    <a:latin typeface="Arial" pitchFamily="34" charset="0"/>
                    <a:ea typeface="MS PGothic" pitchFamily="34" charset="-128"/>
                  </a:defRPr>
                </a:lvl4pPr>
                <a:lvl5pPr marL="2057400" indent="-228600" eaLnBrk="0" hangingPunct="0">
                  <a:spcBef>
                    <a:spcPct val="50000"/>
                  </a:spcBef>
                  <a:buClr>
                    <a:schemeClr val="tx1"/>
                  </a:buClr>
                  <a:buFont typeface="Wingdings" pitchFamily="2" charset="2"/>
                  <a:buChar char="§"/>
                  <a:defRPr sz="1400">
                    <a:solidFill>
                      <a:schemeClr val="tx1"/>
                    </a:solidFill>
                    <a:latin typeface="Arial" pitchFamily="34" charset="0"/>
                    <a:ea typeface="MS PGothic" pitchFamily="34" charset="-128"/>
                  </a:defRPr>
                </a:lvl5pPr>
                <a:lvl6pPr marL="2514600" indent="-228600" eaLnBrk="0" fontAlgn="base" hangingPunct="0">
                  <a:spcBef>
                    <a:spcPct val="50000"/>
                  </a:spcBef>
                  <a:spcAft>
                    <a:spcPct val="0"/>
                  </a:spcAft>
                  <a:buClr>
                    <a:schemeClr val="tx1"/>
                  </a:buClr>
                  <a:buFont typeface="Wingdings" pitchFamily="2" charset="2"/>
                  <a:buChar char="§"/>
                  <a:defRPr sz="1400">
                    <a:solidFill>
                      <a:schemeClr val="tx1"/>
                    </a:solidFill>
                    <a:latin typeface="Arial" pitchFamily="34" charset="0"/>
                    <a:ea typeface="MS PGothic" pitchFamily="34" charset="-128"/>
                  </a:defRPr>
                </a:lvl6pPr>
                <a:lvl7pPr marL="2971800" indent="-228600" eaLnBrk="0" fontAlgn="base" hangingPunct="0">
                  <a:spcBef>
                    <a:spcPct val="50000"/>
                  </a:spcBef>
                  <a:spcAft>
                    <a:spcPct val="0"/>
                  </a:spcAft>
                  <a:buClr>
                    <a:schemeClr val="tx1"/>
                  </a:buClr>
                  <a:buFont typeface="Wingdings" pitchFamily="2" charset="2"/>
                  <a:buChar char="§"/>
                  <a:defRPr sz="1400">
                    <a:solidFill>
                      <a:schemeClr val="tx1"/>
                    </a:solidFill>
                    <a:latin typeface="Arial" pitchFamily="34" charset="0"/>
                    <a:ea typeface="MS PGothic" pitchFamily="34" charset="-128"/>
                  </a:defRPr>
                </a:lvl7pPr>
                <a:lvl8pPr marL="3429000" indent="-228600" eaLnBrk="0" fontAlgn="base" hangingPunct="0">
                  <a:spcBef>
                    <a:spcPct val="50000"/>
                  </a:spcBef>
                  <a:spcAft>
                    <a:spcPct val="0"/>
                  </a:spcAft>
                  <a:buClr>
                    <a:schemeClr val="tx1"/>
                  </a:buClr>
                  <a:buFont typeface="Wingdings" pitchFamily="2" charset="2"/>
                  <a:buChar char="§"/>
                  <a:defRPr sz="1400">
                    <a:solidFill>
                      <a:schemeClr val="tx1"/>
                    </a:solidFill>
                    <a:latin typeface="Arial" pitchFamily="34" charset="0"/>
                    <a:ea typeface="MS PGothic" pitchFamily="34" charset="-128"/>
                  </a:defRPr>
                </a:lvl8pPr>
                <a:lvl9pPr marL="3886200" indent="-228600" eaLnBrk="0" fontAlgn="base" hangingPunct="0">
                  <a:spcBef>
                    <a:spcPct val="50000"/>
                  </a:spcBef>
                  <a:spcAft>
                    <a:spcPct val="0"/>
                  </a:spcAft>
                  <a:buClr>
                    <a:schemeClr val="tx1"/>
                  </a:buClr>
                  <a:buFont typeface="Wingdings" pitchFamily="2" charset="2"/>
                  <a:buChar char="§"/>
                  <a:defRPr sz="1400">
                    <a:solidFill>
                      <a:schemeClr val="tx1"/>
                    </a:solidFill>
                    <a:latin typeface="Arial" pitchFamily="34" charset="0"/>
                    <a:ea typeface="MS PGothic" pitchFamily="34" charset="-128"/>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1100" b="0" i="0" u="none" strike="noStrike" kern="1200" cap="none" spc="0" normalizeH="0" baseline="0" noProof="0">
                    <a:ln>
                      <a:noFill/>
                    </a:ln>
                    <a:solidFill>
                      <a:srgbClr val="201646"/>
                    </a:solidFill>
                    <a:effectLst/>
                    <a:uLnTx/>
                    <a:uFillTx/>
                    <a:latin typeface="Aptos" panose="020B0004020202020204" pitchFamily="34" charset="0"/>
                    <a:cs typeface="Arial" panose="020B0604020202020204" pitchFamily="34" charset="0"/>
                  </a:rPr>
                  <a:t>Coty Leadership</a:t>
                </a:r>
              </a:p>
            </p:txBody>
          </p:sp>
          <p:sp>
            <p:nvSpPr>
              <p:cNvPr id="14" name="TextBox 13">
                <a:extLst>
                  <a:ext uri="{FF2B5EF4-FFF2-40B4-BE49-F238E27FC236}">
                    <a16:creationId xmlns:a16="http://schemas.microsoft.com/office/drawing/2014/main" id="{9F7548CF-80F3-FEE6-C282-0DD03765EB15}"/>
                  </a:ext>
                </a:extLst>
              </p:cNvPr>
              <p:cNvSpPr txBox="1"/>
              <p:nvPr/>
            </p:nvSpPr>
            <p:spPr>
              <a:xfrm>
                <a:off x="949167" y="5095582"/>
                <a:ext cx="5735220" cy="261610"/>
              </a:xfrm>
              <a:prstGeom prst="rect">
                <a:avLst/>
              </a:prstGeom>
              <a:solidFill>
                <a:srgbClr val="012354">
                  <a:alpha val="67925"/>
                </a:srgbClr>
              </a:solidFill>
            </p:spPr>
            <p:txBody>
              <a:bodyPr wrap="square">
                <a:spAutoFit/>
              </a:body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ptos" panose="020B0004020202020204" pitchFamily="34" charset="0"/>
                    <a:cs typeface="Arial" panose="020B0604020202020204" pitchFamily="34" charset="0"/>
                  </a:rPr>
                  <a:t>Track day-to-day Progress &amp; Impediments, Quality metrics and KPIs</a:t>
                </a:r>
              </a:p>
            </p:txBody>
          </p:sp>
          <p:sp>
            <p:nvSpPr>
              <p:cNvPr id="15" name="Left-Right Arrow 20">
                <a:extLst>
                  <a:ext uri="{FF2B5EF4-FFF2-40B4-BE49-F238E27FC236}">
                    <a16:creationId xmlns:a16="http://schemas.microsoft.com/office/drawing/2014/main" id="{636F862D-F114-3624-594B-68E662EE1EB0}"/>
                  </a:ext>
                </a:extLst>
              </p:cNvPr>
              <p:cNvSpPr/>
              <p:nvPr/>
            </p:nvSpPr>
            <p:spPr>
              <a:xfrm>
                <a:off x="3569483" y="2166632"/>
                <a:ext cx="458025" cy="94440"/>
              </a:xfrm>
              <a:prstGeom prst="leftRightArrow">
                <a:avLst/>
              </a:prstGeom>
              <a:solidFill>
                <a:sysClr val="window" lastClr="FFFFFF"/>
              </a:solidFill>
              <a:ln w="25400" cap="flat" cmpd="sng" algn="ctr">
                <a:noFill/>
                <a:prstDash val="solid"/>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201646"/>
                  </a:solidFill>
                  <a:effectLst/>
                  <a:uLnTx/>
                  <a:uFillTx/>
                  <a:latin typeface="Aptos" panose="020B00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087A87BD-EF15-20A3-82B3-B1BA66A4027B}"/>
                  </a:ext>
                </a:extLst>
              </p:cNvPr>
              <p:cNvSpPr txBox="1">
                <a:spLocks noChangeArrowheads="1"/>
              </p:cNvSpPr>
              <p:nvPr/>
            </p:nvSpPr>
            <p:spPr bwMode="auto">
              <a:xfrm>
                <a:off x="3109906" y="1739467"/>
                <a:ext cx="1377179" cy="43088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100000"/>
                  </a:spcBef>
                  <a:buClr>
                    <a:schemeClr val="tx1"/>
                  </a:buClr>
                  <a:buFont typeface="Wingdings 2" pitchFamily="18" charset="2"/>
                  <a:buChar char="¡"/>
                  <a:defRPr sz="1600">
                    <a:solidFill>
                      <a:schemeClr val="tx1"/>
                    </a:solidFill>
                    <a:latin typeface="Arial" pitchFamily="34" charset="0"/>
                    <a:ea typeface="MS PGothic" pitchFamily="34" charset="-128"/>
                  </a:defRPr>
                </a:lvl1pPr>
                <a:lvl2pPr marL="742950" indent="-285750" eaLnBrk="0" hangingPunct="0">
                  <a:spcBef>
                    <a:spcPct val="50000"/>
                  </a:spcBef>
                  <a:buClr>
                    <a:schemeClr val="tx1"/>
                  </a:buClr>
                  <a:buFont typeface="Wingdings" pitchFamily="2" charset="2"/>
                  <a:buChar char="§"/>
                  <a:defRPr sz="1400">
                    <a:solidFill>
                      <a:schemeClr val="tx1"/>
                    </a:solidFill>
                    <a:latin typeface="Arial" pitchFamily="34" charset="0"/>
                    <a:ea typeface="MS PGothic" pitchFamily="34" charset="-128"/>
                  </a:defRPr>
                </a:lvl2pPr>
                <a:lvl3pPr marL="1143000" indent="-228600" eaLnBrk="0" hangingPunct="0">
                  <a:spcBef>
                    <a:spcPct val="50000"/>
                  </a:spcBef>
                  <a:buClr>
                    <a:schemeClr val="tx1"/>
                  </a:buClr>
                  <a:buFont typeface="Wingdings" pitchFamily="2" charset="2"/>
                  <a:buChar char="§"/>
                  <a:defRPr sz="1400">
                    <a:solidFill>
                      <a:schemeClr val="tx1"/>
                    </a:solidFill>
                    <a:latin typeface="Arial" pitchFamily="34" charset="0"/>
                    <a:ea typeface="MS PGothic" pitchFamily="34" charset="-128"/>
                  </a:defRPr>
                </a:lvl3pPr>
                <a:lvl4pPr marL="1600200" indent="-228600" eaLnBrk="0" hangingPunct="0">
                  <a:spcBef>
                    <a:spcPct val="50000"/>
                  </a:spcBef>
                  <a:buClr>
                    <a:schemeClr val="tx1"/>
                  </a:buClr>
                  <a:buFont typeface="Wingdings" pitchFamily="2" charset="2"/>
                  <a:buChar char="§"/>
                  <a:defRPr sz="1400">
                    <a:solidFill>
                      <a:schemeClr val="tx1"/>
                    </a:solidFill>
                    <a:latin typeface="Arial" pitchFamily="34" charset="0"/>
                    <a:ea typeface="MS PGothic" pitchFamily="34" charset="-128"/>
                  </a:defRPr>
                </a:lvl4pPr>
                <a:lvl5pPr marL="2057400" indent="-228600" eaLnBrk="0" hangingPunct="0">
                  <a:spcBef>
                    <a:spcPct val="50000"/>
                  </a:spcBef>
                  <a:buClr>
                    <a:schemeClr val="tx1"/>
                  </a:buClr>
                  <a:buFont typeface="Wingdings" pitchFamily="2" charset="2"/>
                  <a:buChar char="§"/>
                  <a:defRPr sz="1400">
                    <a:solidFill>
                      <a:schemeClr val="tx1"/>
                    </a:solidFill>
                    <a:latin typeface="Arial" pitchFamily="34" charset="0"/>
                    <a:ea typeface="MS PGothic" pitchFamily="34" charset="-128"/>
                  </a:defRPr>
                </a:lvl5pPr>
                <a:lvl6pPr marL="2514600" indent="-228600" eaLnBrk="0" fontAlgn="base" hangingPunct="0">
                  <a:spcBef>
                    <a:spcPct val="50000"/>
                  </a:spcBef>
                  <a:spcAft>
                    <a:spcPct val="0"/>
                  </a:spcAft>
                  <a:buClr>
                    <a:schemeClr val="tx1"/>
                  </a:buClr>
                  <a:buFont typeface="Wingdings" pitchFamily="2" charset="2"/>
                  <a:buChar char="§"/>
                  <a:defRPr sz="1400">
                    <a:solidFill>
                      <a:schemeClr val="tx1"/>
                    </a:solidFill>
                    <a:latin typeface="Arial" pitchFamily="34" charset="0"/>
                    <a:ea typeface="MS PGothic" pitchFamily="34" charset="-128"/>
                  </a:defRPr>
                </a:lvl6pPr>
                <a:lvl7pPr marL="2971800" indent="-228600" eaLnBrk="0" fontAlgn="base" hangingPunct="0">
                  <a:spcBef>
                    <a:spcPct val="50000"/>
                  </a:spcBef>
                  <a:spcAft>
                    <a:spcPct val="0"/>
                  </a:spcAft>
                  <a:buClr>
                    <a:schemeClr val="tx1"/>
                  </a:buClr>
                  <a:buFont typeface="Wingdings" pitchFamily="2" charset="2"/>
                  <a:buChar char="§"/>
                  <a:defRPr sz="1400">
                    <a:solidFill>
                      <a:schemeClr val="tx1"/>
                    </a:solidFill>
                    <a:latin typeface="Arial" pitchFamily="34" charset="0"/>
                    <a:ea typeface="MS PGothic" pitchFamily="34" charset="-128"/>
                  </a:defRPr>
                </a:lvl7pPr>
                <a:lvl8pPr marL="3429000" indent="-228600" eaLnBrk="0" fontAlgn="base" hangingPunct="0">
                  <a:spcBef>
                    <a:spcPct val="50000"/>
                  </a:spcBef>
                  <a:spcAft>
                    <a:spcPct val="0"/>
                  </a:spcAft>
                  <a:buClr>
                    <a:schemeClr val="tx1"/>
                  </a:buClr>
                  <a:buFont typeface="Wingdings" pitchFamily="2" charset="2"/>
                  <a:buChar char="§"/>
                  <a:defRPr sz="1400">
                    <a:solidFill>
                      <a:schemeClr val="tx1"/>
                    </a:solidFill>
                    <a:latin typeface="Arial" pitchFamily="34" charset="0"/>
                    <a:ea typeface="MS PGothic" pitchFamily="34" charset="-128"/>
                  </a:defRPr>
                </a:lvl8pPr>
                <a:lvl9pPr marL="3886200" indent="-228600" eaLnBrk="0" fontAlgn="base" hangingPunct="0">
                  <a:spcBef>
                    <a:spcPct val="50000"/>
                  </a:spcBef>
                  <a:spcAft>
                    <a:spcPct val="0"/>
                  </a:spcAft>
                  <a:buClr>
                    <a:schemeClr val="tx1"/>
                  </a:buClr>
                  <a:buFont typeface="Wingdings" pitchFamily="2" charset="2"/>
                  <a:buChar char="§"/>
                  <a:defRPr sz="1400">
                    <a:solidFill>
                      <a:schemeClr val="tx1"/>
                    </a:solidFill>
                    <a:latin typeface="Arial" pitchFamily="34" charset="0"/>
                    <a:ea typeface="MS PGothic" pitchFamily="34" charset="-128"/>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1100" b="1" i="0" u="none" strike="noStrike" kern="1200" cap="none" spc="0" normalizeH="0" baseline="0" noProof="0">
                    <a:ln>
                      <a:noFill/>
                    </a:ln>
                    <a:solidFill>
                      <a:srgbClr val="201646"/>
                    </a:solidFill>
                    <a:effectLst/>
                    <a:uLnTx/>
                    <a:uFillTx/>
                    <a:latin typeface="Aptos" panose="020B0004020202020204" pitchFamily="34" charset="0"/>
                    <a:cs typeface="Arial" panose="020B0604020202020204" pitchFamily="34" charset="0"/>
                  </a:rPr>
                  <a:t>Monthly/</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1100" b="1" i="0" u="none" strike="noStrike" kern="1200" cap="none" spc="0" normalizeH="0" baseline="0" noProof="0">
                    <a:ln>
                      <a:noFill/>
                    </a:ln>
                    <a:solidFill>
                      <a:srgbClr val="201646"/>
                    </a:solidFill>
                    <a:effectLst/>
                    <a:uLnTx/>
                    <a:uFillTx/>
                    <a:latin typeface="Aptos" panose="020B0004020202020204" pitchFamily="34" charset="0"/>
                    <a:cs typeface="Arial" panose="020B0604020202020204" pitchFamily="34" charset="0"/>
                  </a:rPr>
                  <a:t>Bimonthly</a:t>
                </a:r>
              </a:p>
            </p:txBody>
          </p:sp>
          <p:sp>
            <p:nvSpPr>
              <p:cNvPr id="17" name="Left-Right Arrow 11">
                <a:extLst>
                  <a:ext uri="{FF2B5EF4-FFF2-40B4-BE49-F238E27FC236}">
                    <a16:creationId xmlns:a16="http://schemas.microsoft.com/office/drawing/2014/main" id="{A419C90F-274C-899B-6FB5-F9FAD3BEA510}"/>
                  </a:ext>
                </a:extLst>
              </p:cNvPr>
              <p:cNvSpPr/>
              <p:nvPr/>
            </p:nvSpPr>
            <p:spPr>
              <a:xfrm>
                <a:off x="2953817" y="3548916"/>
                <a:ext cx="1656618" cy="94440"/>
              </a:xfrm>
              <a:prstGeom prst="leftRightArrow">
                <a:avLst/>
              </a:prstGeom>
              <a:solidFill>
                <a:sysClr val="window" lastClr="FFFFFF"/>
              </a:solidFill>
              <a:ln w="25400" cap="flat" cmpd="sng" algn="ctr">
                <a:noFill/>
                <a:prstDash val="solid"/>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201646"/>
                  </a:solidFill>
                  <a:effectLst/>
                  <a:uLnTx/>
                  <a:uFillTx/>
                  <a:latin typeface="Aptos" panose="020B00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E634D078-729A-D1AF-3199-10D224981380}"/>
                  </a:ext>
                </a:extLst>
              </p:cNvPr>
              <p:cNvSpPr txBox="1"/>
              <p:nvPr/>
            </p:nvSpPr>
            <p:spPr>
              <a:xfrm>
                <a:off x="1124694" y="3198472"/>
                <a:ext cx="1670946" cy="600164"/>
              </a:xfrm>
              <a:prstGeom prst="rect">
                <a:avLst/>
              </a:prstGeom>
              <a:noFill/>
              <a:ln>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201646"/>
                    </a:solidFill>
                    <a:effectLst/>
                    <a:uLnTx/>
                    <a:uFillTx/>
                    <a:latin typeface="Aptos" panose="020B0004020202020204" pitchFamily="34" charset="0"/>
                    <a:cs typeface="Arial" panose="020B0604020202020204" pitchFamily="34" charset="0"/>
                  </a:rPr>
                  <a:t>Product Own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201646"/>
                    </a:solidFill>
                    <a:effectLst/>
                    <a:uLnTx/>
                    <a:uFillTx/>
                    <a:latin typeface="Aptos" panose="020B0004020202020204" pitchFamily="34" charset="0"/>
                    <a:cs typeface="Arial" panose="020B0604020202020204" pitchFamily="34" charset="0"/>
                  </a:rPr>
                  <a:t>Business SM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201646"/>
                    </a:solidFill>
                    <a:effectLst/>
                    <a:uLnTx/>
                    <a:uFillTx/>
                    <a:latin typeface="Aptos" panose="020B0004020202020204" pitchFamily="34" charset="0"/>
                    <a:cs typeface="Arial" panose="020B0604020202020204" pitchFamily="34" charset="0"/>
                  </a:rPr>
                  <a:t>Program Manager</a:t>
                </a:r>
              </a:p>
            </p:txBody>
          </p:sp>
          <p:sp>
            <p:nvSpPr>
              <p:cNvPr id="19" name="TextBox 18">
                <a:extLst>
                  <a:ext uri="{FF2B5EF4-FFF2-40B4-BE49-F238E27FC236}">
                    <a16:creationId xmlns:a16="http://schemas.microsoft.com/office/drawing/2014/main" id="{BA81237A-FEDF-DFD4-ED72-1B695CEE448D}"/>
                  </a:ext>
                </a:extLst>
              </p:cNvPr>
              <p:cNvSpPr txBox="1"/>
              <p:nvPr/>
            </p:nvSpPr>
            <p:spPr>
              <a:xfrm>
                <a:off x="4686697" y="3269723"/>
                <a:ext cx="878509" cy="261610"/>
              </a:xfrm>
              <a:prstGeom prst="rect">
                <a:avLst/>
              </a:prstGeom>
              <a:noFill/>
              <a:ln>
                <a:noFill/>
              </a:ln>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201646"/>
                  </a:solidFill>
                  <a:effectLst/>
                  <a:uLnTx/>
                  <a:uFillTx/>
                  <a:latin typeface="Aptos" panose="020B00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5E1C15A2-B97E-47DE-E81B-D4B0D4D6F1FC}"/>
                  </a:ext>
                </a:extLst>
              </p:cNvPr>
              <p:cNvSpPr txBox="1">
                <a:spLocks noChangeArrowheads="1"/>
              </p:cNvSpPr>
              <p:nvPr/>
            </p:nvSpPr>
            <p:spPr bwMode="auto">
              <a:xfrm>
                <a:off x="4985381" y="3218985"/>
                <a:ext cx="1732868" cy="43088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100000"/>
                  </a:spcBef>
                  <a:buClr>
                    <a:schemeClr val="tx1"/>
                  </a:buClr>
                  <a:buFont typeface="Wingdings 2" pitchFamily="18" charset="2"/>
                  <a:buChar char="¡"/>
                  <a:defRPr sz="1600">
                    <a:solidFill>
                      <a:schemeClr val="tx1"/>
                    </a:solidFill>
                    <a:latin typeface="Arial" pitchFamily="34" charset="0"/>
                    <a:ea typeface="MS PGothic" pitchFamily="34" charset="-128"/>
                  </a:defRPr>
                </a:lvl1pPr>
                <a:lvl2pPr marL="742950" indent="-285750" eaLnBrk="0" hangingPunct="0">
                  <a:spcBef>
                    <a:spcPct val="50000"/>
                  </a:spcBef>
                  <a:buClr>
                    <a:schemeClr val="tx1"/>
                  </a:buClr>
                  <a:buFont typeface="Wingdings" pitchFamily="2" charset="2"/>
                  <a:buChar char="§"/>
                  <a:defRPr sz="1400">
                    <a:solidFill>
                      <a:schemeClr val="tx1"/>
                    </a:solidFill>
                    <a:latin typeface="Arial" pitchFamily="34" charset="0"/>
                    <a:ea typeface="MS PGothic" pitchFamily="34" charset="-128"/>
                  </a:defRPr>
                </a:lvl2pPr>
                <a:lvl3pPr marL="1143000" indent="-228600" eaLnBrk="0" hangingPunct="0">
                  <a:spcBef>
                    <a:spcPct val="50000"/>
                  </a:spcBef>
                  <a:buClr>
                    <a:schemeClr val="tx1"/>
                  </a:buClr>
                  <a:buFont typeface="Wingdings" pitchFamily="2" charset="2"/>
                  <a:buChar char="§"/>
                  <a:defRPr sz="1400">
                    <a:solidFill>
                      <a:schemeClr val="tx1"/>
                    </a:solidFill>
                    <a:latin typeface="Arial" pitchFamily="34" charset="0"/>
                    <a:ea typeface="MS PGothic" pitchFamily="34" charset="-128"/>
                  </a:defRPr>
                </a:lvl3pPr>
                <a:lvl4pPr marL="1600200" indent="-228600" eaLnBrk="0" hangingPunct="0">
                  <a:spcBef>
                    <a:spcPct val="50000"/>
                  </a:spcBef>
                  <a:buClr>
                    <a:schemeClr val="tx1"/>
                  </a:buClr>
                  <a:buFont typeface="Wingdings" pitchFamily="2" charset="2"/>
                  <a:buChar char="§"/>
                  <a:defRPr sz="1400">
                    <a:solidFill>
                      <a:schemeClr val="tx1"/>
                    </a:solidFill>
                    <a:latin typeface="Arial" pitchFamily="34" charset="0"/>
                    <a:ea typeface="MS PGothic" pitchFamily="34" charset="-128"/>
                  </a:defRPr>
                </a:lvl4pPr>
                <a:lvl5pPr marL="2057400" indent="-228600" eaLnBrk="0" hangingPunct="0">
                  <a:spcBef>
                    <a:spcPct val="50000"/>
                  </a:spcBef>
                  <a:buClr>
                    <a:schemeClr val="tx1"/>
                  </a:buClr>
                  <a:buFont typeface="Wingdings" pitchFamily="2" charset="2"/>
                  <a:buChar char="§"/>
                  <a:defRPr sz="1400">
                    <a:solidFill>
                      <a:schemeClr val="tx1"/>
                    </a:solidFill>
                    <a:latin typeface="Arial" pitchFamily="34" charset="0"/>
                    <a:ea typeface="MS PGothic" pitchFamily="34" charset="-128"/>
                  </a:defRPr>
                </a:lvl5pPr>
                <a:lvl6pPr marL="2514600" indent="-228600" eaLnBrk="0" fontAlgn="base" hangingPunct="0">
                  <a:spcBef>
                    <a:spcPct val="50000"/>
                  </a:spcBef>
                  <a:spcAft>
                    <a:spcPct val="0"/>
                  </a:spcAft>
                  <a:buClr>
                    <a:schemeClr val="tx1"/>
                  </a:buClr>
                  <a:buFont typeface="Wingdings" pitchFamily="2" charset="2"/>
                  <a:buChar char="§"/>
                  <a:defRPr sz="1400">
                    <a:solidFill>
                      <a:schemeClr val="tx1"/>
                    </a:solidFill>
                    <a:latin typeface="Arial" pitchFamily="34" charset="0"/>
                    <a:ea typeface="MS PGothic" pitchFamily="34" charset="-128"/>
                  </a:defRPr>
                </a:lvl6pPr>
                <a:lvl7pPr marL="2971800" indent="-228600" eaLnBrk="0" fontAlgn="base" hangingPunct="0">
                  <a:spcBef>
                    <a:spcPct val="50000"/>
                  </a:spcBef>
                  <a:spcAft>
                    <a:spcPct val="0"/>
                  </a:spcAft>
                  <a:buClr>
                    <a:schemeClr val="tx1"/>
                  </a:buClr>
                  <a:buFont typeface="Wingdings" pitchFamily="2" charset="2"/>
                  <a:buChar char="§"/>
                  <a:defRPr sz="1400">
                    <a:solidFill>
                      <a:schemeClr val="tx1"/>
                    </a:solidFill>
                    <a:latin typeface="Arial" pitchFamily="34" charset="0"/>
                    <a:ea typeface="MS PGothic" pitchFamily="34" charset="-128"/>
                  </a:defRPr>
                </a:lvl7pPr>
                <a:lvl8pPr marL="3429000" indent="-228600" eaLnBrk="0" fontAlgn="base" hangingPunct="0">
                  <a:spcBef>
                    <a:spcPct val="50000"/>
                  </a:spcBef>
                  <a:spcAft>
                    <a:spcPct val="0"/>
                  </a:spcAft>
                  <a:buClr>
                    <a:schemeClr val="tx1"/>
                  </a:buClr>
                  <a:buFont typeface="Wingdings" pitchFamily="2" charset="2"/>
                  <a:buChar char="§"/>
                  <a:defRPr sz="1400">
                    <a:solidFill>
                      <a:schemeClr val="tx1"/>
                    </a:solidFill>
                    <a:latin typeface="Arial" pitchFamily="34" charset="0"/>
                    <a:ea typeface="MS PGothic" pitchFamily="34" charset="-128"/>
                  </a:defRPr>
                </a:lvl8pPr>
                <a:lvl9pPr marL="3886200" indent="-228600" eaLnBrk="0" fontAlgn="base" hangingPunct="0">
                  <a:spcBef>
                    <a:spcPct val="50000"/>
                  </a:spcBef>
                  <a:spcAft>
                    <a:spcPct val="0"/>
                  </a:spcAft>
                  <a:buClr>
                    <a:schemeClr val="tx1"/>
                  </a:buClr>
                  <a:buFont typeface="Wingdings" pitchFamily="2" charset="2"/>
                  <a:buChar char="§"/>
                  <a:defRPr sz="1400">
                    <a:solidFill>
                      <a:schemeClr val="tx1"/>
                    </a:solidFill>
                    <a:latin typeface="Arial" pitchFamily="34" charset="0"/>
                    <a:ea typeface="MS PGothic" pitchFamily="34" charset="-128"/>
                  </a:defRPr>
                </a:lvl9pPr>
              </a:lstStyle>
              <a:p>
                <a:pPr marL="0" marR="0" lvl="0" indent="0" algn="ctr" defTabSz="914400" rtl="0" eaLnBrk="1" fontAlgn="auto" latinLnBrk="0" hangingPunct="1">
                  <a:lnSpc>
                    <a:spcPct val="100000"/>
                  </a:lnSpc>
                  <a:spcBef>
                    <a:spcPct val="0"/>
                  </a:spcBef>
                  <a:spcAft>
                    <a:spcPts val="0"/>
                  </a:spcAft>
                  <a:buClrTx/>
                  <a:buSzTx/>
                  <a:buFont typeface="Wingdings 2" pitchFamily="18" charset="2"/>
                  <a:buNone/>
                  <a:tabLst/>
                  <a:defRPr/>
                </a:pPr>
                <a:r>
                  <a:rPr kumimoji="0" lang="en-US" altLang="en-US" sz="1100" b="0" i="0" u="none" strike="noStrike" kern="1200" cap="none" spc="0" normalizeH="0" baseline="0" noProof="0">
                    <a:ln>
                      <a:noFill/>
                    </a:ln>
                    <a:solidFill>
                      <a:srgbClr val="201646"/>
                    </a:solidFill>
                    <a:effectLst/>
                    <a:uLnTx/>
                    <a:uFillTx/>
                    <a:latin typeface="Aptos" panose="020B0004020202020204" pitchFamily="34" charset="0"/>
                    <a:cs typeface="Arial" panose="020B0604020202020204" pitchFamily="34" charset="0"/>
                  </a:rPr>
                  <a:t>Delivery Partner</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1100" b="0" i="0" u="none" strike="noStrike" kern="1200" cap="none" spc="0" normalizeH="0" baseline="0" noProof="0">
                    <a:ln>
                      <a:noFill/>
                    </a:ln>
                    <a:solidFill>
                      <a:srgbClr val="201646"/>
                    </a:solidFill>
                    <a:effectLst/>
                    <a:uLnTx/>
                    <a:uFillTx/>
                    <a:latin typeface="Aptos" panose="020B0004020202020204" pitchFamily="34" charset="0"/>
                    <a:cs typeface="Arial" panose="020B0604020202020204" pitchFamily="34" charset="0"/>
                  </a:rPr>
                  <a:t>BA, Lead</a:t>
                </a:r>
              </a:p>
            </p:txBody>
          </p:sp>
          <p:sp>
            <p:nvSpPr>
              <p:cNvPr id="21" name="TextBox 20">
                <a:extLst>
                  <a:ext uri="{FF2B5EF4-FFF2-40B4-BE49-F238E27FC236}">
                    <a16:creationId xmlns:a16="http://schemas.microsoft.com/office/drawing/2014/main" id="{BC6E9741-5D3F-E05C-E3B8-8411139D2838}"/>
                  </a:ext>
                </a:extLst>
              </p:cNvPr>
              <p:cNvSpPr txBox="1">
                <a:spLocks noChangeArrowheads="1"/>
              </p:cNvSpPr>
              <p:nvPr/>
            </p:nvSpPr>
            <p:spPr bwMode="auto">
              <a:xfrm>
                <a:off x="3391923" y="3260336"/>
                <a:ext cx="813144" cy="26161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100000"/>
                  </a:spcBef>
                  <a:buClr>
                    <a:schemeClr val="tx1"/>
                  </a:buClr>
                  <a:buFont typeface="Wingdings 2" pitchFamily="18" charset="2"/>
                  <a:buChar char="¡"/>
                  <a:defRPr sz="1600">
                    <a:solidFill>
                      <a:schemeClr val="tx1"/>
                    </a:solidFill>
                    <a:latin typeface="Arial" pitchFamily="34" charset="0"/>
                    <a:ea typeface="MS PGothic" pitchFamily="34" charset="-128"/>
                  </a:defRPr>
                </a:lvl1pPr>
                <a:lvl2pPr marL="742950" indent="-285750" eaLnBrk="0" hangingPunct="0">
                  <a:spcBef>
                    <a:spcPct val="50000"/>
                  </a:spcBef>
                  <a:buClr>
                    <a:schemeClr val="tx1"/>
                  </a:buClr>
                  <a:buFont typeface="Wingdings" pitchFamily="2" charset="2"/>
                  <a:buChar char="§"/>
                  <a:defRPr sz="1400">
                    <a:solidFill>
                      <a:schemeClr val="tx1"/>
                    </a:solidFill>
                    <a:latin typeface="Arial" pitchFamily="34" charset="0"/>
                    <a:ea typeface="MS PGothic" pitchFamily="34" charset="-128"/>
                  </a:defRPr>
                </a:lvl2pPr>
                <a:lvl3pPr marL="1143000" indent="-228600" eaLnBrk="0" hangingPunct="0">
                  <a:spcBef>
                    <a:spcPct val="50000"/>
                  </a:spcBef>
                  <a:buClr>
                    <a:schemeClr val="tx1"/>
                  </a:buClr>
                  <a:buFont typeface="Wingdings" pitchFamily="2" charset="2"/>
                  <a:buChar char="§"/>
                  <a:defRPr sz="1400">
                    <a:solidFill>
                      <a:schemeClr val="tx1"/>
                    </a:solidFill>
                    <a:latin typeface="Arial" pitchFamily="34" charset="0"/>
                    <a:ea typeface="MS PGothic" pitchFamily="34" charset="-128"/>
                  </a:defRPr>
                </a:lvl3pPr>
                <a:lvl4pPr marL="1600200" indent="-228600" eaLnBrk="0" hangingPunct="0">
                  <a:spcBef>
                    <a:spcPct val="50000"/>
                  </a:spcBef>
                  <a:buClr>
                    <a:schemeClr val="tx1"/>
                  </a:buClr>
                  <a:buFont typeface="Wingdings" pitchFamily="2" charset="2"/>
                  <a:buChar char="§"/>
                  <a:defRPr sz="1400">
                    <a:solidFill>
                      <a:schemeClr val="tx1"/>
                    </a:solidFill>
                    <a:latin typeface="Arial" pitchFamily="34" charset="0"/>
                    <a:ea typeface="MS PGothic" pitchFamily="34" charset="-128"/>
                  </a:defRPr>
                </a:lvl4pPr>
                <a:lvl5pPr marL="2057400" indent="-228600" eaLnBrk="0" hangingPunct="0">
                  <a:spcBef>
                    <a:spcPct val="50000"/>
                  </a:spcBef>
                  <a:buClr>
                    <a:schemeClr val="tx1"/>
                  </a:buClr>
                  <a:buFont typeface="Wingdings" pitchFamily="2" charset="2"/>
                  <a:buChar char="§"/>
                  <a:defRPr sz="1400">
                    <a:solidFill>
                      <a:schemeClr val="tx1"/>
                    </a:solidFill>
                    <a:latin typeface="Arial" pitchFamily="34" charset="0"/>
                    <a:ea typeface="MS PGothic" pitchFamily="34" charset="-128"/>
                  </a:defRPr>
                </a:lvl5pPr>
                <a:lvl6pPr marL="2514600" indent="-228600" eaLnBrk="0" fontAlgn="base" hangingPunct="0">
                  <a:spcBef>
                    <a:spcPct val="50000"/>
                  </a:spcBef>
                  <a:spcAft>
                    <a:spcPct val="0"/>
                  </a:spcAft>
                  <a:buClr>
                    <a:schemeClr val="tx1"/>
                  </a:buClr>
                  <a:buFont typeface="Wingdings" pitchFamily="2" charset="2"/>
                  <a:buChar char="§"/>
                  <a:defRPr sz="1400">
                    <a:solidFill>
                      <a:schemeClr val="tx1"/>
                    </a:solidFill>
                    <a:latin typeface="Arial" pitchFamily="34" charset="0"/>
                    <a:ea typeface="MS PGothic" pitchFamily="34" charset="-128"/>
                  </a:defRPr>
                </a:lvl6pPr>
                <a:lvl7pPr marL="2971800" indent="-228600" eaLnBrk="0" fontAlgn="base" hangingPunct="0">
                  <a:spcBef>
                    <a:spcPct val="50000"/>
                  </a:spcBef>
                  <a:spcAft>
                    <a:spcPct val="0"/>
                  </a:spcAft>
                  <a:buClr>
                    <a:schemeClr val="tx1"/>
                  </a:buClr>
                  <a:buFont typeface="Wingdings" pitchFamily="2" charset="2"/>
                  <a:buChar char="§"/>
                  <a:defRPr sz="1400">
                    <a:solidFill>
                      <a:schemeClr val="tx1"/>
                    </a:solidFill>
                    <a:latin typeface="Arial" pitchFamily="34" charset="0"/>
                    <a:ea typeface="MS PGothic" pitchFamily="34" charset="-128"/>
                  </a:defRPr>
                </a:lvl7pPr>
                <a:lvl8pPr marL="3429000" indent="-228600" eaLnBrk="0" fontAlgn="base" hangingPunct="0">
                  <a:spcBef>
                    <a:spcPct val="50000"/>
                  </a:spcBef>
                  <a:spcAft>
                    <a:spcPct val="0"/>
                  </a:spcAft>
                  <a:buClr>
                    <a:schemeClr val="tx1"/>
                  </a:buClr>
                  <a:buFont typeface="Wingdings" pitchFamily="2" charset="2"/>
                  <a:buChar char="§"/>
                  <a:defRPr sz="1400">
                    <a:solidFill>
                      <a:schemeClr val="tx1"/>
                    </a:solidFill>
                    <a:latin typeface="Arial" pitchFamily="34" charset="0"/>
                    <a:ea typeface="MS PGothic" pitchFamily="34" charset="-128"/>
                  </a:defRPr>
                </a:lvl8pPr>
                <a:lvl9pPr marL="3886200" indent="-228600" eaLnBrk="0" fontAlgn="base" hangingPunct="0">
                  <a:spcBef>
                    <a:spcPct val="50000"/>
                  </a:spcBef>
                  <a:spcAft>
                    <a:spcPct val="0"/>
                  </a:spcAft>
                  <a:buClr>
                    <a:schemeClr val="tx1"/>
                  </a:buClr>
                  <a:buFont typeface="Wingdings" pitchFamily="2" charset="2"/>
                  <a:buChar char="§"/>
                  <a:defRPr sz="1400">
                    <a:solidFill>
                      <a:schemeClr val="tx1"/>
                    </a:solidFill>
                    <a:latin typeface="Arial" pitchFamily="34" charset="0"/>
                    <a:ea typeface="MS PGothic" pitchFamily="34" charset="-128"/>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1100" b="1" i="0" u="none" strike="noStrike" kern="1200" cap="none" spc="0" normalizeH="0" baseline="0" noProof="0">
                    <a:ln>
                      <a:noFill/>
                    </a:ln>
                    <a:solidFill>
                      <a:srgbClr val="201646"/>
                    </a:solidFill>
                    <a:effectLst/>
                    <a:uLnTx/>
                    <a:uFillTx/>
                    <a:latin typeface="Aptos" panose="020B0004020202020204" pitchFamily="34" charset="0"/>
                    <a:cs typeface="Arial" panose="020B0604020202020204" pitchFamily="34" charset="0"/>
                  </a:rPr>
                  <a:t>Weekly</a:t>
                </a:r>
              </a:p>
            </p:txBody>
          </p:sp>
          <p:sp>
            <p:nvSpPr>
              <p:cNvPr id="22" name="TextBox 21">
                <a:extLst>
                  <a:ext uri="{FF2B5EF4-FFF2-40B4-BE49-F238E27FC236}">
                    <a16:creationId xmlns:a16="http://schemas.microsoft.com/office/drawing/2014/main" id="{5FA9662A-960C-E36F-8015-9E1942B97270}"/>
                  </a:ext>
                </a:extLst>
              </p:cNvPr>
              <p:cNvSpPr txBox="1">
                <a:spLocks noChangeArrowheads="1"/>
              </p:cNvSpPr>
              <p:nvPr/>
            </p:nvSpPr>
            <p:spPr bwMode="auto">
              <a:xfrm>
                <a:off x="3172420" y="4611817"/>
                <a:ext cx="1252151" cy="26161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100000"/>
                  </a:spcBef>
                  <a:buClr>
                    <a:schemeClr val="tx1"/>
                  </a:buClr>
                  <a:buFont typeface="Wingdings 2" pitchFamily="18" charset="2"/>
                  <a:buChar char="¡"/>
                  <a:defRPr sz="1600">
                    <a:solidFill>
                      <a:schemeClr val="tx1"/>
                    </a:solidFill>
                    <a:latin typeface="Arial" pitchFamily="34" charset="0"/>
                    <a:ea typeface="MS PGothic" pitchFamily="34" charset="-128"/>
                  </a:defRPr>
                </a:lvl1pPr>
                <a:lvl2pPr marL="742950" indent="-285750" eaLnBrk="0" hangingPunct="0">
                  <a:spcBef>
                    <a:spcPct val="50000"/>
                  </a:spcBef>
                  <a:buClr>
                    <a:schemeClr val="tx1"/>
                  </a:buClr>
                  <a:buFont typeface="Wingdings" pitchFamily="2" charset="2"/>
                  <a:buChar char="§"/>
                  <a:defRPr sz="1400">
                    <a:solidFill>
                      <a:schemeClr val="tx1"/>
                    </a:solidFill>
                    <a:latin typeface="Arial" pitchFamily="34" charset="0"/>
                    <a:ea typeface="MS PGothic" pitchFamily="34" charset="-128"/>
                  </a:defRPr>
                </a:lvl2pPr>
                <a:lvl3pPr marL="1143000" indent="-228600" eaLnBrk="0" hangingPunct="0">
                  <a:spcBef>
                    <a:spcPct val="50000"/>
                  </a:spcBef>
                  <a:buClr>
                    <a:schemeClr val="tx1"/>
                  </a:buClr>
                  <a:buFont typeface="Wingdings" pitchFamily="2" charset="2"/>
                  <a:buChar char="§"/>
                  <a:defRPr sz="1400">
                    <a:solidFill>
                      <a:schemeClr val="tx1"/>
                    </a:solidFill>
                    <a:latin typeface="Arial" pitchFamily="34" charset="0"/>
                    <a:ea typeface="MS PGothic" pitchFamily="34" charset="-128"/>
                  </a:defRPr>
                </a:lvl3pPr>
                <a:lvl4pPr marL="1600200" indent="-228600" eaLnBrk="0" hangingPunct="0">
                  <a:spcBef>
                    <a:spcPct val="50000"/>
                  </a:spcBef>
                  <a:buClr>
                    <a:schemeClr val="tx1"/>
                  </a:buClr>
                  <a:buFont typeface="Wingdings" pitchFamily="2" charset="2"/>
                  <a:buChar char="§"/>
                  <a:defRPr sz="1400">
                    <a:solidFill>
                      <a:schemeClr val="tx1"/>
                    </a:solidFill>
                    <a:latin typeface="Arial" pitchFamily="34" charset="0"/>
                    <a:ea typeface="MS PGothic" pitchFamily="34" charset="-128"/>
                  </a:defRPr>
                </a:lvl4pPr>
                <a:lvl5pPr marL="2057400" indent="-228600" eaLnBrk="0" hangingPunct="0">
                  <a:spcBef>
                    <a:spcPct val="50000"/>
                  </a:spcBef>
                  <a:buClr>
                    <a:schemeClr val="tx1"/>
                  </a:buClr>
                  <a:buFont typeface="Wingdings" pitchFamily="2" charset="2"/>
                  <a:buChar char="§"/>
                  <a:defRPr sz="1400">
                    <a:solidFill>
                      <a:schemeClr val="tx1"/>
                    </a:solidFill>
                    <a:latin typeface="Arial" pitchFamily="34" charset="0"/>
                    <a:ea typeface="MS PGothic" pitchFamily="34" charset="-128"/>
                  </a:defRPr>
                </a:lvl5pPr>
                <a:lvl6pPr marL="2514600" indent="-228600" eaLnBrk="0" fontAlgn="base" hangingPunct="0">
                  <a:spcBef>
                    <a:spcPct val="50000"/>
                  </a:spcBef>
                  <a:spcAft>
                    <a:spcPct val="0"/>
                  </a:spcAft>
                  <a:buClr>
                    <a:schemeClr val="tx1"/>
                  </a:buClr>
                  <a:buFont typeface="Wingdings" pitchFamily="2" charset="2"/>
                  <a:buChar char="§"/>
                  <a:defRPr sz="1400">
                    <a:solidFill>
                      <a:schemeClr val="tx1"/>
                    </a:solidFill>
                    <a:latin typeface="Arial" pitchFamily="34" charset="0"/>
                    <a:ea typeface="MS PGothic" pitchFamily="34" charset="-128"/>
                  </a:defRPr>
                </a:lvl6pPr>
                <a:lvl7pPr marL="2971800" indent="-228600" eaLnBrk="0" fontAlgn="base" hangingPunct="0">
                  <a:spcBef>
                    <a:spcPct val="50000"/>
                  </a:spcBef>
                  <a:spcAft>
                    <a:spcPct val="0"/>
                  </a:spcAft>
                  <a:buClr>
                    <a:schemeClr val="tx1"/>
                  </a:buClr>
                  <a:buFont typeface="Wingdings" pitchFamily="2" charset="2"/>
                  <a:buChar char="§"/>
                  <a:defRPr sz="1400">
                    <a:solidFill>
                      <a:schemeClr val="tx1"/>
                    </a:solidFill>
                    <a:latin typeface="Arial" pitchFamily="34" charset="0"/>
                    <a:ea typeface="MS PGothic" pitchFamily="34" charset="-128"/>
                  </a:defRPr>
                </a:lvl7pPr>
                <a:lvl8pPr marL="3429000" indent="-228600" eaLnBrk="0" fontAlgn="base" hangingPunct="0">
                  <a:spcBef>
                    <a:spcPct val="50000"/>
                  </a:spcBef>
                  <a:spcAft>
                    <a:spcPct val="0"/>
                  </a:spcAft>
                  <a:buClr>
                    <a:schemeClr val="tx1"/>
                  </a:buClr>
                  <a:buFont typeface="Wingdings" pitchFamily="2" charset="2"/>
                  <a:buChar char="§"/>
                  <a:defRPr sz="1400">
                    <a:solidFill>
                      <a:schemeClr val="tx1"/>
                    </a:solidFill>
                    <a:latin typeface="Arial" pitchFamily="34" charset="0"/>
                    <a:ea typeface="MS PGothic" pitchFamily="34" charset="-128"/>
                  </a:defRPr>
                </a:lvl8pPr>
                <a:lvl9pPr marL="3886200" indent="-228600" eaLnBrk="0" fontAlgn="base" hangingPunct="0">
                  <a:spcBef>
                    <a:spcPct val="50000"/>
                  </a:spcBef>
                  <a:spcAft>
                    <a:spcPct val="0"/>
                  </a:spcAft>
                  <a:buClr>
                    <a:schemeClr val="tx1"/>
                  </a:buClr>
                  <a:buFont typeface="Wingdings" pitchFamily="2" charset="2"/>
                  <a:buChar char="§"/>
                  <a:defRPr sz="1400">
                    <a:solidFill>
                      <a:schemeClr val="tx1"/>
                    </a:solidFill>
                    <a:latin typeface="Arial" pitchFamily="34" charset="0"/>
                    <a:ea typeface="MS PGothic" pitchFamily="34" charset="-128"/>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1100" b="1" i="0" u="none" strike="noStrike" kern="1200" cap="none" spc="0" normalizeH="0" baseline="0" noProof="0">
                    <a:ln>
                      <a:noFill/>
                    </a:ln>
                    <a:solidFill>
                      <a:srgbClr val="201646"/>
                    </a:solidFill>
                    <a:effectLst/>
                    <a:uLnTx/>
                    <a:uFillTx/>
                    <a:latin typeface="Aptos" panose="020B0004020202020204" pitchFamily="34" charset="0"/>
                    <a:cs typeface="Arial" panose="020B0604020202020204" pitchFamily="34" charset="0"/>
                  </a:rPr>
                  <a:t>Daily</a:t>
                </a:r>
              </a:p>
            </p:txBody>
          </p:sp>
          <p:sp>
            <p:nvSpPr>
              <p:cNvPr id="23" name="Rectangle 22">
                <a:extLst>
                  <a:ext uri="{FF2B5EF4-FFF2-40B4-BE49-F238E27FC236}">
                    <a16:creationId xmlns:a16="http://schemas.microsoft.com/office/drawing/2014/main" id="{AF257A59-B9BA-C5FD-B6C5-3DDC993FB514}"/>
                  </a:ext>
                </a:extLst>
              </p:cNvPr>
              <p:cNvSpPr/>
              <p:nvPr/>
            </p:nvSpPr>
            <p:spPr>
              <a:xfrm>
                <a:off x="1507466" y="2845079"/>
                <a:ext cx="2496783" cy="586399"/>
              </a:xfrm>
              <a:prstGeom prst="rect">
                <a:avLst/>
              </a:prstGeom>
            </p:spPr>
            <p:style>
              <a:lnRef idx="0">
                <a:schemeClr val="dk1">
                  <a:alpha val="0"/>
                  <a:hueOff val="0"/>
                  <a:satOff val="0"/>
                  <a:lumOff val="0"/>
                  <a:alphaOff val="0"/>
                </a:schemeClr>
              </a:lnRef>
              <a:fillRef idx="0">
                <a:schemeClr val="lt2">
                  <a:alpha val="0"/>
                  <a:hueOff val="0"/>
                  <a:satOff val="0"/>
                  <a:lumOff val="0"/>
                  <a:alphaOff val="0"/>
                </a:schemeClr>
              </a:fillRef>
              <a:effectRef idx="0">
                <a:schemeClr val="lt2">
                  <a:alpha val="0"/>
                  <a:hueOff val="0"/>
                  <a:satOff val="0"/>
                  <a:lumOff val="0"/>
                  <a:alphaOff val="0"/>
                </a:schemeClr>
              </a:effectRef>
              <a:fontRef idx="minor">
                <a:schemeClr val="tx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hueOff val="0"/>
                      <a:satOff val="0"/>
                      <a:lumOff val="0"/>
                      <a:alphaOff val="0"/>
                    </a:prstClr>
                  </a:solidFill>
                  <a:effectLst/>
                  <a:uLnTx/>
                  <a:uFillTx/>
                  <a:latin typeface="Aptos" panose="020B0004020202020204" pitchFamily="34" charset="0"/>
                </a:endParaRPr>
              </a:p>
            </p:txBody>
          </p:sp>
          <p:sp>
            <p:nvSpPr>
              <p:cNvPr id="24" name="Rectangle 23">
                <a:extLst>
                  <a:ext uri="{FF2B5EF4-FFF2-40B4-BE49-F238E27FC236}">
                    <a16:creationId xmlns:a16="http://schemas.microsoft.com/office/drawing/2014/main" id="{4DD27036-7B57-09E0-989D-F44BD8BA806F}"/>
                  </a:ext>
                </a:extLst>
              </p:cNvPr>
              <p:cNvSpPr/>
              <p:nvPr/>
            </p:nvSpPr>
            <p:spPr>
              <a:xfrm>
                <a:off x="1438786" y="1088231"/>
                <a:ext cx="1778659" cy="311067"/>
              </a:xfrm>
              <a:prstGeom prst="rect">
                <a:avLst/>
              </a:prstGeom>
              <a:solidFill>
                <a:srgbClr val="6FDC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bg2"/>
                    </a:solidFill>
                    <a:effectLst/>
                    <a:uLnTx/>
                    <a:uFillTx/>
                    <a:latin typeface="Aptos" panose="020B0004020202020204" pitchFamily="34" charset="0"/>
                  </a:rPr>
                  <a:t>Coty</a:t>
                </a:r>
                <a:endParaRPr kumimoji="0" lang="en-IN" sz="1200" b="0" i="0" u="none" strike="noStrike" kern="1200" cap="none" spc="0" normalizeH="0" baseline="0" noProof="0">
                  <a:ln>
                    <a:noFill/>
                  </a:ln>
                  <a:solidFill>
                    <a:schemeClr val="bg2"/>
                  </a:solidFill>
                  <a:effectLst/>
                  <a:uLnTx/>
                  <a:uFillTx/>
                  <a:latin typeface="Aptos" panose="020B0004020202020204" pitchFamily="34" charset="0"/>
                </a:endParaRPr>
              </a:p>
            </p:txBody>
          </p:sp>
          <p:sp>
            <p:nvSpPr>
              <p:cNvPr id="25" name="Rectangle 24">
                <a:extLst>
                  <a:ext uri="{FF2B5EF4-FFF2-40B4-BE49-F238E27FC236}">
                    <a16:creationId xmlns:a16="http://schemas.microsoft.com/office/drawing/2014/main" id="{B9DED259-F9E2-D048-98E8-4F65351CFDDB}"/>
                  </a:ext>
                </a:extLst>
              </p:cNvPr>
              <p:cNvSpPr/>
              <p:nvPr/>
            </p:nvSpPr>
            <p:spPr>
              <a:xfrm>
                <a:off x="4325964" y="1063870"/>
                <a:ext cx="1778659" cy="311067"/>
              </a:xfrm>
              <a:prstGeom prst="rect">
                <a:avLst/>
              </a:prstGeom>
              <a:solidFill>
                <a:srgbClr val="0123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ptos" panose="020B0004020202020204" pitchFamily="34" charset="0"/>
                    <a:cs typeface="Arial" panose="020B0604020202020204" pitchFamily="34" charset="0"/>
                  </a:rPr>
                  <a:t>Brillio</a:t>
                </a:r>
                <a:endParaRPr kumimoji="0" lang="en-IN" sz="1200" b="0" i="0" u="none" strike="noStrike" kern="1200" cap="none" spc="0" normalizeH="0" baseline="0" noProof="0">
                  <a:ln>
                    <a:noFill/>
                  </a:ln>
                  <a:solidFill>
                    <a:srgbClr val="FFFFFF"/>
                  </a:solidFill>
                  <a:effectLst/>
                  <a:uLnTx/>
                  <a:uFillTx/>
                  <a:latin typeface="Aptos" panose="020B0004020202020204" pitchFamily="34" charset="0"/>
                  <a:cs typeface="Arial" panose="020B0604020202020204" pitchFamily="34" charset="0"/>
                </a:endParaRPr>
              </a:p>
            </p:txBody>
          </p:sp>
          <p:sp>
            <p:nvSpPr>
              <p:cNvPr id="43" name="Rectangle 42">
                <a:extLst>
                  <a:ext uri="{FF2B5EF4-FFF2-40B4-BE49-F238E27FC236}">
                    <a16:creationId xmlns:a16="http://schemas.microsoft.com/office/drawing/2014/main" id="{C2308BB6-B44A-42CD-0E59-DBBCAB8AE8C7}"/>
                  </a:ext>
                </a:extLst>
              </p:cNvPr>
              <p:cNvSpPr/>
              <p:nvPr/>
            </p:nvSpPr>
            <p:spPr>
              <a:xfrm>
                <a:off x="975842" y="1801210"/>
                <a:ext cx="1890403" cy="492524"/>
              </a:xfrm>
              <a:prstGeom prst="rect">
                <a:avLst/>
              </a:prstGeom>
            </p:spPr>
            <p:style>
              <a:lnRef idx="0">
                <a:schemeClr val="dk1">
                  <a:alpha val="0"/>
                  <a:hueOff val="0"/>
                  <a:satOff val="0"/>
                  <a:lumOff val="0"/>
                  <a:alphaOff val="0"/>
                </a:schemeClr>
              </a:lnRef>
              <a:fillRef idx="0">
                <a:schemeClr val="lt2">
                  <a:alpha val="0"/>
                  <a:hueOff val="0"/>
                  <a:satOff val="0"/>
                  <a:lumOff val="0"/>
                  <a:alphaOff val="0"/>
                </a:schemeClr>
              </a:fillRef>
              <a:effectRef idx="0">
                <a:schemeClr val="lt2">
                  <a:alpha val="0"/>
                  <a:hueOff val="0"/>
                  <a:satOff val="0"/>
                  <a:lumOff val="0"/>
                  <a:alphaOff val="0"/>
                </a:schemeClr>
              </a:effectRef>
              <a:fontRef idx="minor">
                <a:schemeClr val="tx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hueOff val="0"/>
                      <a:satOff val="0"/>
                      <a:lumOff val="0"/>
                      <a:alphaOff val="0"/>
                    </a:prstClr>
                  </a:solidFill>
                  <a:effectLst/>
                  <a:uLnTx/>
                  <a:uFillTx/>
                  <a:latin typeface="Aptos" panose="020B0004020202020204" pitchFamily="34" charset="0"/>
                </a:endParaRPr>
              </a:p>
            </p:txBody>
          </p:sp>
          <p:sp>
            <p:nvSpPr>
              <p:cNvPr id="46" name="Rectangle 45">
                <a:extLst>
                  <a:ext uri="{FF2B5EF4-FFF2-40B4-BE49-F238E27FC236}">
                    <a16:creationId xmlns:a16="http://schemas.microsoft.com/office/drawing/2014/main" id="{042A0E62-BBED-50CF-744F-4C8565277C5F}"/>
                  </a:ext>
                </a:extLst>
              </p:cNvPr>
              <p:cNvSpPr/>
              <p:nvPr/>
            </p:nvSpPr>
            <p:spPr>
              <a:xfrm>
                <a:off x="715506" y="3046413"/>
                <a:ext cx="2496783" cy="586399"/>
              </a:xfrm>
              <a:prstGeom prst="rect">
                <a:avLst/>
              </a:prstGeom>
            </p:spPr>
            <p:style>
              <a:lnRef idx="0">
                <a:schemeClr val="dk1">
                  <a:alpha val="0"/>
                  <a:hueOff val="0"/>
                  <a:satOff val="0"/>
                  <a:lumOff val="0"/>
                  <a:alphaOff val="0"/>
                </a:schemeClr>
              </a:lnRef>
              <a:fillRef idx="0">
                <a:schemeClr val="lt2">
                  <a:alpha val="0"/>
                  <a:hueOff val="0"/>
                  <a:satOff val="0"/>
                  <a:lumOff val="0"/>
                  <a:alphaOff val="0"/>
                </a:schemeClr>
              </a:fillRef>
              <a:effectRef idx="0">
                <a:schemeClr val="lt2">
                  <a:alpha val="0"/>
                  <a:hueOff val="0"/>
                  <a:satOff val="0"/>
                  <a:lumOff val="0"/>
                  <a:alphaOff val="0"/>
                </a:schemeClr>
              </a:effectRef>
              <a:fontRef idx="minor">
                <a:schemeClr val="tx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hueOff val="0"/>
                      <a:satOff val="0"/>
                      <a:lumOff val="0"/>
                      <a:alphaOff val="0"/>
                    </a:prstClr>
                  </a:solidFill>
                  <a:effectLst/>
                  <a:uLnTx/>
                  <a:uFillTx/>
                  <a:latin typeface="Aptos" panose="020B0004020202020204" pitchFamily="34" charset="0"/>
                </a:endParaRPr>
              </a:p>
            </p:txBody>
          </p:sp>
          <p:sp>
            <p:nvSpPr>
              <p:cNvPr id="84" name="TextBox 83">
                <a:extLst>
                  <a:ext uri="{FF2B5EF4-FFF2-40B4-BE49-F238E27FC236}">
                    <a16:creationId xmlns:a16="http://schemas.microsoft.com/office/drawing/2014/main" id="{B136BF86-2072-51E8-636E-9EB8DF8F2951}"/>
                  </a:ext>
                </a:extLst>
              </p:cNvPr>
              <p:cNvSpPr txBox="1"/>
              <p:nvPr/>
            </p:nvSpPr>
            <p:spPr>
              <a:xfrm>
                <a:off x="4712516" y="2961589"/>
                <a:ext cx="878509" cy="261610"/>
              </a:xfrm>
              <a:prstGeom prst="rect">
                <a:avLst/>
              </a:prstGeom>
              <a:noFill/>
              <a:ln>
                <a:noFill/>
              </a:ln>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201646"/>
                  </a:solidFill>
                  <a:effectLst/>
                  <a:uLnTx/>
                  <a:uFillTx/>
                  <a:latin typeface="Aptos" panose="020B0004020202020204" pitchFamily="34" charset="0"/>
                  <a:cs typeface="Arial" panose="020B0604020202020204" pitchFamily="34" charset="0"/>
                </a:endParaRPr>
              </a:p>
            </p:txBody>
          </p:sp>
        </p:grpSp>
      </p:grpSp>
      <p:grpSp>
        <p:nvGrpSpPr>
          <p:cNvPr id="2" name="Group 1">
            <a:extLst>
              <a:ext uri="{FF2B5EF4-FFF2-40B4-BE49-F238E27FC236}">
                <a16:creationId xmlns:a16="http://schemas.microsoft.com/office/drawing/2014/main" id="{77F7DA38-D492-89E4-1674-67E4345B2E9A}"/>
              </a:ext>
            </a:extLst>
          </p:cNvPr>
          <p:cNvGrpSpPr/>
          <p:nvPr/>
        </p:nvGrpSpPr>
        <p:grpSpPr>
          <a:xfrm>
            <a:off x="1491391" y="5519798"/>
            <a:ext cx="6987980" cy="1118623"/>
            <a:chOff x="2305163" y="5732558"/>
            <a:chExt cx="6987980" cy="1118623"/>
          </a:xfrm>
        </p:grpSpPr>
        <p:grpSp>
          <p:nvGrpSpPr>
            <p:cNvPr id="74" name="Group 73">
              <a:extLst>
                <a:ext uri="{FF2B5EF4-FFF2-40B4-BE49-F238E27FC236}">
                  <a16:creationId xmlns:a16="http://schemas.microsoft.com/office/drawing/2014/main" id="{51721A79-8377-AE8D-40C4-7F034C907619}"/>
                </a:ext>
              </a:extLst>
            </p:cNvPr>
            <p:cNvGrpSpPr/>
            <p:nvPr/>
          </p:nvGrpSpPr>
          <p:grpSpPr>
            <a:xfrm>
              <a:off x="2499360" y="6079473"/>
              <a:ext cx="1410277" cy="771708"/>
              <a:chOff x="6464160" y="2501147"/>
              <a:chExt cx="2927867" cy="1455402"/>
            </a:xfrm>
          </p:grpSpPr>
          <p:sp>
            <p:nvSpPr>
              <p:cNvPr id="76" name="Rounded Rectangle 1">
                <a:hlinkClick r:id="" action="ppaction://noaction"/>
                <a:extLst>
                  <a:ext uri="{FF2B5EF4-FFF2-40B4-BE49-F238E27FC236}">
                    <a16:creationId xmlns:a16="http://schemas.microsoft.com/office/drawing/2014/main" id="{9EB58160-216F-1872-DD27-1298743F0251}"/>
                  </a:ext>
                </a:extLst>
              </p:cNvPr>
              <p:cNvSpPr/>
              <p:nvPr/>
            </p:nvSpPr>
            <p:spPr>
              <a:xfrm>
                <a:off x="6610981" y="2501147"/>
                <a:ext cx="2618491" cy="671794"/>
              </a:xfrm>
              <a:prstGeom prst="roundRect">
                <a:avLst/>
              </a:prstGeom>
              <a:noFill/>
              <a:ln w="3175" cap="flat" cmpd="sng" algn="ctr">
                <a:solidFill>
                  <a:srgbClr val="17807B"/>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3600" b="0" i="0" u="none" strike="noStrike" kern="0" cap="none" spc="0" normalizeH="0" baseline="0" noProof="0">
                  <a:ln>
                    <a:noFill/>
                  </a:ln>
                  <a:solidFill>
                    <a:srgbClr val="000000"/>
                  </a:solidFill>
                  <a:effectLst/>
                  <a:uLnTx/>
                  <a:uFillTx/>
                  <a:latin typeface="Aptos" panose="020B0004020202020204" pitchFamily="34" charset="0"/>
                  <a:cs typeface="Arial" panose="020B0604020202020204" pitchFamily="34" charset="0"/>
                </a:endParaRPr>
              </a:p>
            </p:txBody>
          </p:sp>
          <p:pic>
            <p:nvPicPr>
              <p:cNvPr id="77" name="Picture 76">
                <a:extLst>
                  <a:ext uri="{FF2B5EF4-FFF2-40B4-BE49-F238E27FC236}">
                    <a16:creationId xmlns:a16="http://schemas.microsoft.com/office/drawing/2014/main" id="{E4D5A47D-56C7-1484-4188-EAC14582AB3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685392" y="2661699"/>
                <a:ext cx="887944" cy="385469"/>
              </a:xfrm>
              <a:prstGeom prst="rect">
                <a:avLst/>
              </a:prstGeom>
            </p:spPr>
          </p:pic>
          <p:sp>
            <p:nvSpPr>
              <p:cNvPr id="78" name="TextBox 77">
                <a:extLst>
                  <a:ext uri="{FF2B5EF4-FFF2-40B4-BE49-F238E27FC236}">
                    <a16:creationId xmlns:a16="http://schemas.microsoft.com/office/drawing/2014/main" id="{7659F30E-CD57-7B22-E275-5B95E50706C6}"/>
                  </a:ext>
                </a:extLst>
              </p:cNvPr>
              <p:cNvSpPr txBox="1"/>
              <p:nvPr/>
            </p:nvSpPr>
            <p:spPr>
              <a:xfrm>
                <a:off x="6464160" y="3172941"/>
                <a:ext cx="2927867" cy="783608"/>
              </a:xfrm>
              <a:prstGeom prst="rect">
                <a:avLst/>
              </a:prstGeom>
              <a:noFill/>
            </p:spPr>
            <p:txBody>
              <a:bodyPr wrap="square" rtlCol="0">
                <a:spAutoFit/>
              </a:bodyPr>
              <a:lstStyle/>
              <a:p>
                <a:pPr marL="0" marR="0" lvl="0" indent="0" algn="ctr" defTabSz="121896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000000"/>
                    </a:solidFill>
                    <a:effectLst/>
                    <a:uLnTx/>
                    <a:uFillTx/>
                    <a:latin typeface="Aptos" panose="020B0004020202020204" pitchFamily="34" charset="0"/>
                    <a:cs typeface="Arial" panose="020B0604020202020204" pitchFamily="34" charset="0"/>
                  </a:rPr>
                  <a:t>Customer Pulse Platform</a:t>
                </a:r>
              </a:p>
            </p:txBody>
          </p:sp>
        </p:grpSp>
        <p:sp>
          <p:nvSpPr>
            <p:cNvPr id="79" name="Rectangle 78">
              <a:extLst>
                <a:ext uri="{FF2B5EF4-FFF2-40B4-BE49-F238E27FC236}">
                  <a16:creationId xmlns:a16="http://schemas.microsoft.com/office/drawing/2014/main" id="{55D6C1E9-191C-83F0-FF97-AE3DA693564E}"/>
                </a:ext>
              </a:extLst>
            </p:cNvPr>
            <p:cNvSpPr/>
            <p:nvPr/>
          </p:nvSpPr>
          <p:spPr>
            <a:xfrm>
              <a:off x="4188569" y="6094389"/>
              <a:ext cx="1969451" cy="57708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000000"/>
                  </a:solidFill>
                  <a:effectLst/>
                  <a:uLnTx/>
                  <a:uFillTx/>
                  <a:latin typeface="Aptos" panose="020B0004020202020204" pitchFamily="34" charset="0"/>
                  <a:cs typeface="Arial" panose="020B0604020202020204" pitchFamily="34" charset="0"/>
                </a:rPr>
                <a:t>The engagement reporting will be sent to Coty stakeholders through CODEX</a:t>
              </a:r>
            </a:p>
          </p:txBody>
        </p:sp>
        <p:sp>
          <p:nvSpPr>
            <p:cNvPr id="80" name="Rectangle 79">
              <a:extLst>
                <a:ext uri="{FF2B5EF4-FFF2-40B4-BE49-F238E27FC236}">
                  <a16:creationId xmlns:a16="http://schemas.microsoft.com/office/drawing/2014/main" id="{71F184D1-4689-85B2-0E6A-B2809ACD512F}"/>
                </a:ext>
              </a:extLst>
            </p:cNvPr>
            <p:cNvSpPr/>
            <p:nvPr/>
          </p:nvSpPr>
          <p:spPr>
            <a:xfrm>
              <a:off x="6365211" y="6085188"/>
              <a:ext cx="2927932" cy="57708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000000"/>
                  </a:solidFill>
                  <a:effectLst/>
                  <a:uLnTx/>
                  <a:uFillTx/>
                  <a:latin typeface="Aptos" panose="020B0004020202020204" pitchFamily="34" charset="0"/>
                  <a:cs typeface="Arial" panose="020B0604020202020204" pitchFamily="34" charset="0"/>
                </a:rPr>
                <a:t>Senior management at Brillio monitor project status on this platform and provide remedial action in-case there is any slippage.</a:t>
              </a:r>
            </a:p>
          </p:txBody>
        </p:sp>
        <p:sp>
          <p:nvSpPr>
            <p:cNvPr id="81" name="TextBox 80">
              <a:extLst>
                <a:ext uri="{FF2B5EF4-FFF2-40B4-BE49-F238E27FC236}">
                  <a16:creationId xmlns:a16="http://schemas.microsoft.com/office/drawing/2014/main" id="{4936FDEA-8C95-85C3-B99D-0EA2766F7570}"/>
                </a:ext>
              </a:extLst>
            </p:cNvPr>
            <p:cNvSpPr txBox="1"/>
            <p:nvPr/>
          </p:nvSpPr>
          <p:spPr>
            <a:xfrm>
              <a:off x="2305163" y="5732558"/>
              <a:ext cx="6590920" cy="261610"/>
            </a:xfrm>
            <a:prstGeom prst="rect">
              <a:avLst/>
            </a:prstGeom>
            <a:noFill/>
          </p:spPr>
          <p:txBody>
            <a:bodyPr>
              <a:spAutoFit/>
            </a:body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ptos" panose="020B0004020202020204" pitchFamily="34" charset="0"/>
                  <a:cs typeface="Arial" panose="020B0604020202020204" pitchFamily="34" charset="0"/>
                </a:rPr>
                <a:t>Operations – Day-to-day operations, Quality, CSAT, SLA-based performance management </a:t>
              </a:r>
            </a:p>
          </p:txBody>
        </p:sp>
        <p:pic>
          <p:nvPicPr>
            <p:cNvPr id="3" name="Picture 2">
              <a:extLst>
                <a:ext uri="{FF2B5EF4-FFF2-40B4-BE49-F238E27FC236}">
                  <a16:creationId xmlns:a16="http://schemas.microsoft.com/office/drawing/2014/main" id="{CE905A37-B8CF-3349-72D9-ACA466FD3B90}"/>
                </a:ext>
              </a:extLst>
            </p:cNvPr>
            <p:cNvPicPr>
              <a:picLocks noChangeAspect="1"/>
            </p:cNvPicPr>
            <p:nvPr/>
          </p:nvPicPr>
          <p:blipFill>
            <a:blip r:embed="rId4"/>
            <a:stretch>
              <a:fillRect/>
            </a:stretch>
          </p:blipFill>
          <p:spPr>
            <a:xfrm>
              <a:off x="3069714" y="6167511"/>
              <a:ext cx="728781" cy="209187"/>
            </a:xfrm>
            <a:prstGeom prst="rect">
              <a:avLst/>
            </a:prstGeom>
          </p:spPr>
        </p:pic>
      </p:grpSp>
    </p:spTree>
    <p:extLst>
      <p:ext uri="{BB962C8B-B14F-4D97-AF65-F5344CB8AC3E}">
        <p14:creationId xmlns:p14="http://schemas.microsoft.com/office/powerpoint/2010/main" val="2921276079"/>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4D0283-C2A8-9DB9-5EE2-795922B452D4}"/>
            </a:ext>
          </a:extLst>
        </p:cNvPr>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372D4ADC-302B-4E41-5E56-06456EBEBF60}"/>
              </a:ext>
            </a:extLst>
          </p:cNvPr>
          <p:cNvSpPr/>
          <p:nvPr/>
        </p:nvSpPr>
        <p:spPr>
          <a:xfrm>
            <a:off x="0" y="1133657"/>
            <a:ext cx="12192000" cy="5092972"/>
          </a:xfrm>
          <a:prstGeom prst="roundRect">
            <a:avLst>
              <a:gd name="adj" fmla="val 0"/>
            </a:avLst>
          </a:prstGeom>
          <a:solidFill>
            <a:schemeClr val="accent2">
              <a:lumMod val="20000"/>
              <a:lumOff val="80000"/>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85A26AE0-6911-BDDA-114A-2D385EF6DC6C}"/>
              </a:ext>
            </a:extLst>
          </p:cNvPr>
          <p:cNvSpPr>
            <a:spLocks noGrp="1"/>
          </p:cNvSpPr>
          <p:nvPr>
            <p:ph type="title"/>
          </p:nvPr>
        </p:nvSpPr>
        <p:spPr>
          <a:xfrm>
            <a:off x="263583" y="-1679037"/>
            <a:ext cx="11606656" cy="386603"/>
          </a:xfrm>
        </p:spPr>
        <p:txBody>
          <a:bodyPr/>
          <a:lstStyle/>
          <a:p>
            <a:r>
              <a:rPr lang="en-US">
                <a:solidFill>
                  <a:srgbClr val="002060"/>
                </a:solidFill>
              </a:rPr>
              <a:t>Dependencies </a:t>
            </a:r>
          </a:p>
        </p:txBody>
      </p:sp>
      <p:sp>
        <p:nvSpPr>
          <p:cNvPr id="9" name="Title 1">
            <a:extLst>
              <a:ext uri="{FF2B5EF4-FFF2-40B4-BE49-F238E27FC236}">
                <a16:creationId xmlns:a16="http://schemas.microsoft.com/office/drawing/2014/main" id="{ABF5E307-C06B-4071-D5A1-90C0454A7B01}"/>
              </a:ext>
            </a:extLst>
          </p:cNvPr>
          <p:cNvSpPr txBox="1">
            <a:spLocks/>
          </p:cNvSpPr>
          <p:nvPr/>
        </p:nvSpPr>
        <p:spPr>
          <a:xfrm>
            <a:off x="288555" y="299392"/>
            <a:ext cx="11606656" cy="386603"/>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73152" rIns="0" bIns="0"/>
          <a:lstStyle>
            <a:lvl1pPr marL="0" marR="0" indent="0" algn="l" defTabSz="1218948" rtl="0" eaLnBrk="1" latinLnBrk="0" hangingPunct="1">
              <a:lnSpc>
                <a:spcPct val="80000"/>
              </a:lnSpc>
              <a:spcBef>
                <a:spcPts val="0"/>
              </a:spcBef>
              <a:spcAft>
                <a:spcPts val="0"/>
              </a:spcAft>
              <a:buClrTx/>
              <a:buSzTx/>
              <a:buFontTx/>
              <a:buNone/>
              <a:tabLst/>
              <a:defRPr sz="3500" b="0" i="0" u="none" strike="noStrike" cap="none" spc="0" baseline="0">
                <a:solidFill>
                  <a:schemeClr val="bg1"/>
                </a:solidFill>
                <a:uFillTx/>
                <a:latin typeface="Aptos Light" panose="020B0004020202020204" pitchFamily="34" charset="0"/>
                <a:ea typeface="+mj-ea"/>
                <a:cs typeface="+mj-cs"/>
                <a:sym typeface="IBM Plex Sans Light"/>
              </a:defRPr>
            </a:lvl1pPr>
            <a:lvl2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7"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5"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1"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88"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r>
              <a:rPr lang="en-US" kern="0">
                <a:solidFill>
                  <a:srgbClr val="002060"/>
                </a:solidFill>
                <a:latin typeface="+mj-lt"/>
              </a:rPr>
              <a:t>Assumptions for Phase 1</a:t>
            </a:r>
          </a:p>
        </p:txBody>
      </p:sp>
      <p:sp>
        <p:nvSpPr>
          <p:cNvPr id="3" name="TextBox 2">
            <a:extLst>
              <a:ext uri="{FF2B5EF4-FFF2-40B4-BE49-F238E27FC236}">
                <a16:creationId xmlns:a16="http://schemas.microsoft.com/office/drawing/2014/main" id="{6FAF2BE4-9C90-C04B-5F78-BBBDE63578DE}"/>
              </a:ext>
            </a:extLst>
          </p:cNvPr>
          <p:cNvSpPr txBox="1"/>
          <p:nvPr/>
        </p:nvSpPr>
        <p:spPr>
          <a:xfrm>
            <a:off x="331861" y="1417985"/>
            <a:ext cx="11670842" cy="3647152"/>
          </a:xfrm>
          <a:prstGeom prst="rect">
            <a:avLst/>
          </a:prstGeom>
          <a:noFill/>
        </p:spPr>
        <p:txBody>
          <a:bodyPr wrap="square" lIns="91440" tIns="45720" rIns="91440" bIns="45720" anchor="t">
            <a:spAutoFit/>
          </a:bodyPr>
          <a:lstStyle/>
          <a:p>
            <a:pPr marL="223520" marR="0" lvl="0" indent="-223520" algn="l" defTabSz="914400" rtl="0" eaLnBrk="1" fontAlgn="auto" latinLnBrk="0" hangingPunct="1">
              <a:lnSpc>
                <a:spcPct val="100000"/>
              </a:lnSpc>
              <a:spcBef>
                <a:spcPts val="0"/>
              </a:spcBef>
              <a:spcAft>
                <a:spcPts val="600"/>
              </a:spcAft>
              <a:buClrTx/>
              <a:buSzTx/>
              <a:buFont typeface="Arial,Sans-Serif" panose="020B0604020202020204" pitchFamily="34" charset="0"/>
              <a:buChar char="•"/>
              <a:tabLst/>
              <a:defRPr/>
            </a:pPr>
            <a:r>
              <a:rPr kumimoji="0" lang="en-IN" sz="1400" b="0" i="0" u="none" strike="noStrike" kern="1200" cap="none" spc="0" normalizeH="0" baseline="0" noProof="0">
                <a:ln>
                  <a:noFill/>
                </a:ln>
                <a:solidFill>
                  <a:schemeClr val="bg1"/>
                </a:solidFill>
                <a:effectLst/>
                <a:uLnTx/>
                <a:uFillTx/>
                <a:latin typeface="Aptos"/>
                <a:cs typeface="Arial"/>
              </a:rPr>
              <a:t>Customer order flow – SAP is considered in Phase 1 . Customer order flow TMS and WMS are considered for Phase 2.</a:t>
            </a:r>
          </a:p>
          <a:p>
            <a:pPr marL="223520" marR="0" lvl="0" indent="-223520" algn="l" defTabSz="914400" rtl="0" eaLnBrk="1" fontAlgn="auto" latinLnBrk="0" hangingPunct="1">
              <a:lnSpc>
                <a:spcPct val="100000"/>
              </a:lnSpc>
              <a:spcBef>
                <a:spcPts val="0"/>
              </a:spcBef>
              <a:spcAft>
                <a:spcPts val="600"/>
              </a:spcAft>
              <a:buClrTx/>
              <a:buSzTx/>
              <a:buFont typeface="Arial,Sans-Serif" panose="020B0604020202020204" pitchFamily="34" charset="0"/>
              <a:buChar char="•"/>
              <a:tabLst/>
              <a:defRPr/>
            </a:pPr>
            <a:r>
              <a:rPr kumimoji="0" lang="en-IN" sz="1400" b="0" i="0" u="none" strike="noStrike" kern="1200" cap="none" spc="0" normalizeH="0" baseline="0" noProof="0">
                <a:ln>
                  <a:noFill/>
                </a:ln>
                <a:solidFill>
                  <a:schemeClr val="bg1"/>
                </a:solidFill>
                <a:effectLst/>
                <a:uLnTx/>
                <a:uFillTx/>
                <a:latin typeface="Aptos"/>
                <a:cs typeface="Arial"/>
              </a:rPr>
              <a:t>Coty team will provide qualified source data required to build Customer 360 on Data Lake (Databricks) with bronze (raw), silver (cleansed), and gold (curated) layer already in place.</a:t>
            </a:r>
            <a:endParaRPr lang="en-IN" sz="1400" b="0" i="0" u="none" strike="noStrike" kern="1200" cap="none" spc="0" normalizeH="0" baseline="0" noProof="0">
              <a:ln>
                <a:noFill/>
              </a:ln>
              <a:solidFill>
                <a:schemeClr val="bg1"/>
              </a:solidFill>
              <a:effectLst/>
              <a:uLnTx/>
              <a:uFillTx/>
              <a:latin typeface="Aptos"/>
              <a:cs typeface="Arial"/>
            </a:endParaRPr>
          </a:p>
          <a:p>
            <a:pPr marL="223520" indent="-223520">
              <a:spcAft>
                <a:spcPts val="600"/>
              </a:spcAft>
              <a:buFont typeface="Arial,Sans-Serif" panose="020B0604020202020204" pitchFamily="34" charset="0"/>
              <a:buChar char="•"/>
              <a:defRPr/>
            </a:pPr>
            <a:r>
              <a:rPr lang="en-IN" sz="1400">
                <a:solidFill>
                  <a:schemeClr val="bg1"/>
                </a:solidFill>
                <a:latin typeface="Aptos"/>
                <a:cs typeface="Arial"/>
              </a:rPr>
              <a:t>Coty will grant access to its Power BI platform  </a:t>
            </a:r>
            <a:endParaRPr lang="en-IN" sz="1400" b="0" i="0" u="none" strike="noStrike" kern="1200" cap="none" spc="0" normalizeH="0" baseline="0" noProof="0">
              <a:ln>
                <a:noFill/>
              </a:ln>
              <a:solidFill>
                <a:schemeClr val="bg1"/>
              </a:solidFill>
              <a:effectLst/>
              <a:uLnTx/>
              <a:uFillTx/>
              <a:latin typeface="Aptos"/>
              <a:cs typeface="Arial"/>
            </a:endParaRPr>
          </a:p>
          <a:p>
            <a:pPr marL="223520" indent="-223520">
              <a:spcAft>
                <a:spcPts val="600"/>
              </a:spcAft>
              <a:buFont typeface="Arial,Sans-Serif" panose="020B0604020202020204" pitchFamily="34" charset="0"/>
              <a:buChar char="•"/>
              <a:defRPr/>
            </a:pPr>
            <a:r>
              <a:rPr kumimoji="0" lang="en-IN" sz="1400" b="0" i="0" u="none" strike="noStrike" kern="1200" cap="none" spc="0" normalizeH="0" baseline="0" noProof="0">
                <a:ln>
                  <a:noFill/>
                </a:ln>
                <a:solidFill>
                  <a:schemeClr val="bg1"/>
                </a:solidFill>
                <a:effectLst/>
                <a:uLnTx/>
                <a:uFillTx/>
                <a:latin typeface="Aptos"/>
                <a:ea typeface="+mn-lt"/>
                <a:cs typeface="Arial" panose="020B0604020202020204"/>
              </a:rPr>
              <a:t>Coty team manages DevOps to deployment code to higher environments</a:t>
            </a:r>
            <a:r>
              <a:rPr lang="en-IN" sz="1400">
                <a:solidFill>
                  <a:schemeClr val="bg1"/>
                </a:solidFill>
                <a:latin typeface="Aptos"/>
                <a:ea typeface="+mn-lt"/>
                <a:cs typeface="Arial" panose="020B0604020202020204"/>
              </a:rPr>
              <a:t> from Development Environment.</a:t>
            </a:r>
            <a:endParaRPr lang="en-IN" sz="1400" b="0" i="0" u="none" strike="noStrike" kern="1200" cap="none" spc="0" normalizeH="0" baseline="0" noProof="0">
              <a:ln>
                <a:noFill/>
              </a:ln>
              <a:solidFill>
                <a:schemeClr val="bg1"/>
              </a:solidFill>
              <a:effectLst/>
              <a:uLnTx/>
              <a:uFillTx/>
              <a:latin typeface="Aptos"/>
              <a:ea typeface="+mn-lt"/>
              <a:cs typeface="Arial" panose="020B0604020202020204"/>
            </a:endParaRPr>
          </a:p>
          <a:p>
            <a:pPr marL="223520" marR="0" lvl="0" indent="-22352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400" b="1">
                <a:solidFill>
                  <a:schemeClr val="bg1"/>
                </a:solidFill>
                <a:latin typeface="Aptos"/>
              </a:rPr>
              <a:t>Phase 1 scope contains transformation of total of ~80 tables in scope from gold layer to semantic layer , ~ 5 semantic data models at presentation layer ; Power BI - 2 data model builds , 50 metrics calculation . Phase 2 &amp; 3 combined consists of total of ~380 tables transformation. All tables are assumed to contain up to 40 columns on average.</a:t>
            </a:r>
          </a:p>
          <a:p>
            <a:pPr marL="223520" marR="0" lvl="0" indent="-22352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400">
                <a:solidFill>
                  <a:schemeClr val="bg1"/>
                </a:solidFill>
                <a:latin typeface="Aptos"/>
                <a:ea typeface="+mn-lt"/>
                <a:cs typeface="Arial" panose="020B0604020202020204"/>
              </a:rPr>
              <a:t>Total 4 Power BI screens with 2 data model, 50 metrics calculation and 15 charts/ graph/ visuals are considered for development based on requirement analyzed at high level</a:t>
            </a:r>
          </a:p>
          <a:p>
            <a:pPr marL="223520" marR="0" lvl="0" indent="-22352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IN" sz="1400">
                <a:solidFill>
                  <a:schemeClr val="bg1"/>
                </a:solidFill>
                <a:latin typeface="Aptos"/>
                <a:ea typeface="+mn-lt"/>
                <a:cs typeface="Arial" panose="020B0604020202020204"/>
              </a:rPr>
              <a:t>Currency </a:t>
            </a:r>
            <a:r>
              <a:rPr lang="en-IN" sz="1400" b="0" i="0" u="none" strike="noStrike" kern="1200" cap="none" spc="0" normalizeH="0" baseline="0" noProof="0">
                <a:ln>
                  <a:noFill/>
                </a:ln>
                <a:solidFill>
                  <a:schemeClr val="bg1"/>
                </a:solidFill>
                <a:effectLst/>
                <a:uLnTx/>
                <a:uFillTx/>
                <a:latin typeface="Aptos"/>
                <a:ea typeface="+mn-lt"/>
                <a:cs typeface="Arial" panose="020B0604020202020204"/>
              </a:rPr>
              <a:t>and currency conversion data received from SAP/ raw/ silver/ gold layers will be considered the source of truth and used as is for reporting purposes.</a:t>
            </a:r>
          </a:p>
          <a:p>
            <a:pPr marL="223520" marR="0" lvl="0" indent="-223520" algn="l" defTabSz="914400" rtl="0" eaLnBrk="1" fontAlgn="auto" latinLnBrk="0" hangingPunct="1">
              <a:lnSpc>
                <a:spcPct val="100000"/>
              </a:lnSpc>
              <a:spcBef>
                <a:spcPts val="0"/>
              </a:spcBef>
              <a:spcAft>
                <a:spcPts val="600"/>
              </a:spcAft>
              <a:buClrTx/>
              <a:buSzTx/>
              <a:buFont typeface="Arial,Sans-Serif" panose="020B0604020202020204" pitchFamily="34" charset="0"/>
              <a:buChar char="•"/>
              <a:tabLst/>
              <a:defRPr/>
            </a:pPr>
            <a:r>
              <a:rPr lang="en-IN" sz="1400">
                <a:solidFill>
                  <a:schemeClr val="bg1"/>
                </a:solidFill>
                <a:latin typeface="Aptos"/>
                <a:ea typeface="+mn-lt"/>
                <a:cs typeface="Arial" panose="020B0604020202020204"/>
              </a:rPr>
              <a:t>Data quality and validation (including flat files) is considered only in the operations performed to transform and load data in semantic layer. The original data received by Brillio team is considered source of truth.</a:t>
            </a:r>
            <a:endParaRPr lang="en-IN" sz="1400" b="0" i="0" u="none" strike="noStrike" kern="1200" cap="none" spc="0" normalizeH="0" baseline="0" noProof="0">
              <a:ln>
                <a:noFill/>
              </a:ln>
              <a:solidFill>
                <a:schemeClr val="bg1"/>
              </a:solidFill>
              <a:effectLst/>
              <a:uLnTx/>
              <a:uFillTx/>
              <a:latin typeface="Aptos"/>
              <a:cs typeface="Arial"/>
            </a:endParaRPr>
          </a:p>
        </p:txBody>
      </p:sp>
    </p:spTree>
    <p:extLst>
      <p:ext uri="{BB962C8B-B14F-4D97-AF65-F5344CB8AC3E}">
        <p14:creationId xmlns:p14="http://schemas.microsoft.com/office/powerpoint/2010/main" val="508278704"/>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4D0283-C2A8-9DB9-5EE2-795922B452D4}"/>
            </a:ext>
          </a:extLst>
        </p:cNvPr>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372D4ADC-302B-4E41-5E56-06456EBEBF60}"/>
              </a:ext>
            </a:extLst>
          </p:cNvPr>
          <p:cNvSpPr/>
          <p:nvPr/>
        </p:nvSpPr>
        <p:spPr>
          <a:xfrm>
            <a:off x="0" y="1133657"/>
            <a:ext cx="12192000" cy="5092972"/>
          </a:xfrm>
          <a:prstGeom prst="roundRect">
            <a:avLst>
              <a:gd name="adj" fmla="val 0"/>
            </a:avLst>
          </a:prstGeom>
          <a:solidFill>
            <a:schemeClr val="accent2">
              <a:lumMod val="20000"/>
              <a:lumOff val="80000"/>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85A26AE0-6911-BDDA-114A-2D385EF6DC6C}"/>
              </a:ext>
            </a:extLst>
          </p:cNvPr>
          <p:cNvSpPr>
            <a:spLocks noGrp="1"/>
          </p:cNvSpPr>
          <p:nvPr>
            <p:ph type="title"/>
          </p:nvPr>
        </p:nvSpPr>
        <p:spPr>
          <a:xfrm>
            <a:off x="263583" y="-1679037"/>
            <a:ext cx="11606656" cy="386603"/>
          </a:xfrm>
        </p:spPr>
        <p:txBody>
          <a:bodyPr/>
          <a:lstStyle/>
          <a:p>
            <a:r>
              <a:rPr lang="en-US">
                <a:solidFill>
                  <a:srgbClr val="002060"/>
                </a:solidFill>
              </a:rPr>
              <a:t>Dependencies </a:t>
            </a:r>
          </a:p>
        </p:txBody>
      </p:sp>
      <p:sp>
        <p:nvSpPr>
          <p:cNvPr id="9" name="Title 1">
            <a:extLst>
              <a:ext uri="{FF2B5EF4-FFF2-40B4-BE49-F238E27FC236}">
                <a16:creationId xmlns:a16="http://schemas.microsoft.com/office/drawing/2014/main" id="{ABF5E307-C06B-4071-D5A1-90C0454A7B01}"/>
              </a:ext>
            </a:extLst>
          </p:cNvPr>
          <p:cNvSpPr txBox="1">
            <a:spLocks/>
          </p:cNvSpPr>
          <p:nvPr/>
        </p:nvSpPr>
        <p:spPr>
          <a:xfrm>
            <a:off x="288555" y="299392"/>
            <a:ext cx="11606656" cy="386603"/>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73152" rIns="0" bIns="0"/>
          <a:lstStyle>
            <a:lvl1pPr marL="0" marR="0" indent="0" algn="l" defTabSz="1218948" rtl="0" eaLnBrk="1" latinLnBrk="0" hangingPunct="1">
              <a:lnSpc>
                <a:spcPct val="80000"/>
              </a:lnSpc>
              <a:spcBef>
                <a:spcPts val="0"/>
              </a:spcBef>
              <a:spcAft>
                <a:spcPts val="0"/>
              </a:spcAft>
              <a:buClrTx/>
              <a:buSzTx/>
              <a:buFontTx/>
              <a:buNone/>
              <a:tabLst/>
              <a:defRPr sz="3500" b="0" i="0" u="none" strike="noStrike" cap="none" spc="0" baseline="0">
                <a:solidFill>
                  <a:schemeClr val="bg1"/>
                </a:solidFill>
                <a:uFillTx/>
                <a:latin typeface="Aptos Light" panose="020B0004020202020204" pitchFamily="34" charset="0"/>
                <a:ea typeface="+mj-ea"/>
                <a:cs typeface="+mj-cs"/>
                <a:sym typeface="IBM Plex Sans Light"/>
              </a:defRPr>
            </a:lvl1pPr>
            <a:lvl2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7"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5"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1"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88"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r>
              <a:rPr lang="en-US" kern="0">
                <a:solidFill>
                  <a:srgbClr val="002060"/>
                </a:solidFill>
                <a:latin typeface="+mj-lt"/>
              </a:rPr>
              <a:t>Dependencies</a:t>
            </a:r>
          </a:p>
        </p:txBody>
      </p:sp>
      <p:sp>
        <p:nvSpPr>
          <p:cNvPr id="3" name="TextBox 2">
            <a:extLst>
              <a:ext uri="{FF2B5EF4-FFF2-40B4-BE49-F238E27FC236}">
                <a16:creationId xmlns:a16="http://schemas.microsoft.com/office/drawing/2014/main" id="{6FAF2BE4-9C90-C04B-5F78-BBBDE63578DE}"/>
              </a:ext>
            </a:extLst>
          </p:cNvPr>
          <p:cNvSpPr txBox="1"/>
          <p:nvPr/>
        </p:nvSpPr>
        <p:spPr>
          <a:xfrm>
            <a:off x="342900" y="1410729"/>
            <a:ext cx="11563350" cy="2200602"/>
          </a:xfrm>
          <a:prstGeom prst="rect">
            <a:avLst/>
          </a:prstGeom>
          <a:noFill/>
        </p:spPr>
        <p:txBody>
          <a:bodyPr wrap="square" lIns="91440" tIns="45720" rIns="91440" bIns="45720" anchor="t">
            <a:spAutoFit/>
          </a:bodyPr>
          <a:lstStyle/>
          <a:p>
            <a:pPr marL="285750" indent="-285750">
              <a:spcAft>
                <a:spcPts val="600"/>
              </a:spcAft>
              <a:buFont typeface="Arial" panose="020B0604020202020204" pitchFamily="34" charset="0"/>
              <a:buChar char="•"/>
              <a:defRPr/>
            </a:pPr>
            <a:r>
              <a:rPr lang="en-IN" sz="1400">
                <a:solidFill>
                  <a:schemeClr val="bg1"/>
                </a:solidFill>
                <a:latin typeface="Aptos" panose="020B0004020202020204" pitchFamily="34" charset="0"/>
                <a:cs typeface="Arial"/>
              </a:rPr>
              <a:t>All users to possess M365 E5 with Power BI Pro licenses for working with the dashboard.</a:t>
            </a:r>
            <a:endParaRPr lang="en-IN" sz="1400">
              <a:solidFill>
                <a:schemeClr val="bg1"/>
              </a:solidFill>
              <a:latin typeface="Aptos" panose="020B0004020202020204" pitchFamily="34" charset="0"/>
              <a:ea typeface="+mn-lt"/>
              <a:cs typeface="+mn-lt"/>
            </a:endParaRPr>
          </a:p>
          <a:p>
            <a:pPr marL="285750" indent="-285750">
              <a:spcAft>
                <a:spcPts val="600"/>
              </a:spcAft>
              <a:buFont typeface="Arial" panose="020B0604020202020204" pitchFamily="34" charset="0"/>
              <a:buChar char="•"/>
              <a:defRPr/>
            </a:pPr>
            <a:r>
              <a:rPr lang="en-IN" sz="1400">
                <a:solidFill>
                  <a:schemeClr val="bg1"/>
                </a:solidFill>
                <a:latin typeface="Aptos" panose="020B0004020202020204" pitchFamily="34" charset="0"/>
                <a:ea typeface="+mn-lt"/>
                <a:cs typeface="+mn-lt"/>
              </a:rPr>
              <a:t>Coty will share prior findings / research / inferences / code / use cases / design documents / features – architecture and design already explored before the start of the engagement – if available.</a:t>
            </a:r>
          </a:p>
          <a:p>
            <a:pPr marL="285750" indent="-285750">
              <a:spcAft>
                <a:spcPts val="600"/>
              </a:spcAft>
              <a:buFont typeface="Arial" panose="020B0604020202020204" pitchFamily="34" charset="0"/>
              <a:buChar char="•"/>
              <a:defRPr/>
            </a:pPr>
            <a:r>
              <a:rPr lang="en-IN" sz="1400">
                <a:solidFill>
                  <a:schemeClr val="bg1"/>
                </a:solidFill>
                <a:latin typeface="Aptos" panose="020B0004020202020204" pitchFamily="34" charset="0"/>
                <a:ea typeface="+mn-lt"/>
                <a:cs typeface="+mn-lt"/>
              </a:rPr>
              <a:t>Coty stakeholders perform reviews and provide approvals (architecture, data model, UI/UX, technology stack), within reasonable time.</a:t>
            </a:r>
          </a:p>
          <a:p>
            <a:pPr marL="285750" indent="-285750">
              <a:spcAft>
                <a:spcPts val="600"/>
              </a:spcAft>
              <a:buFont typeface="Arial" panose="020B0604020202020204" pitchFamily="34" charset="0"/>
              <a:buChar char="•"/>
              <a:defRPr/>
            </a:pPr>
            <a:r>
              <a:rPr lang="en-IN" sz="1400">
                <a:solidFill>
                  <a:schemeClr val="bg1"/>
                </a:solidFill>
                <a:latin typeface="Aptos" panose="020B0004020202020204" pitchFamily="34" charset="0"/>
                <a:ea typeface="+mn-lt"/>
                <a:cs typeface="+mn-lt"/>
              </a:rPr>
              <a:t>Coty to provide all necessary brand guidelines and digital design guidelines.</a:t>
            </a:r>
            <a:endParaRPr lang="en-IN" sz="1400">
              <a:solidFill>
                <a:schemeClr val="bg1"/>
              </a:solidFill>
              <a:latin typeface="Aptos" panose="020B0004020202020204" pitchFamily="34" charset="0"/>
              <a:cs typeface="Arial" panose="020B0604020202020204" pitchFamily="34" charset="0"/>
            </a:endParaRPr>
          </a:p>
          <a:p>
            <a:pPr marL="285750" indent="-285750">
              <a:spcAft>
                <a:spcPts val="600"/>
              </a:spcAft>
              <a:buFont typeface="Arial" panose="020B0604020202020204" pitchFamily="34" charset="0"/>
              <a:buChar char="•"/>
              <a:defRPr/>
            </a:pPr>
            <a:r>
              <a:rPr lang="en-IN" sz="1400">
                <a:solidFill>
                  <a:schemeClr val="bg1"/>
                </a:solidFill>
                <a:latin typeface="Aptos" panose="020B0004020202020204" pitchFamily="34" charset="0"/>
                <a:cs typeface="Arial"/>
              </a:rPr>
              <a:t>Coty business owners to identify the key stakeholders for clarifying requirements, reviewing all deliverables, participate in UAT and grant sign-off on deliverables.</a:t>
            </a:r>
          </a:p>
          <a:p>
            <a:pPr marL="285750" indent="-285750">
              <a:spcAft>
                <a:spcPts val="600"/>
              </a:spcAft>
              <a:buFont typeface="Arial" panose="020B0604020202020204" pitchFamily="34" charset="0"/>
              <a:buChar char="•"/>
              <a:defRPr/>
            </a:pPr>
            <a:r>
              <a:rPr lang="en-IN" sz="1400">
                <a:solidFill>
                  <a:schemeClr val="bg1"/>
                </a:solidFill>
                <a:latin typeface="Aptos" panose="020B0004020202020204" pitchFamily="34" charset="0"/>
                <a:cs typeface="Arial"/>
              </a:rPr>
              <a:t>Coty to onboard the team and provide access for the development purpose</a:t>
            </a:r>
            <a:endParaRPr lang="en-IN" sz="1400">
              <a:solidFill>
                <a:schemeClr val="bg1"/>
              </a:solidFill>
              <a:latin typeface="Aptos" panose="020B0004020202020204" pitchFamily="34" charset="0"/>
              <a:cs typeface="Arial" panose="020B0604020202020204" pitchFamily="34" charset="0"/>
            </a:endParaRPr>
          </a:p>
        </p:txBody>
      </p:sp>
    </p:spTree>
    <p:extLst>
      <p:ext uri="{BB962C8B-B14F-4D97-AF65-F5344CB8AC3E}">
        <p14:creationId xmlns:p14="http://schemas.microsoft.com/office/powerpoint/2010/main" val="311268368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1C1598-BA84-E63E-524E-9C157D6636D8}"/>
            </a:ext>
          </a:extLst>
        </p:cNvPr>
        <p:cNvGrpSpPr/>
        <p:nvPr/>
      </p:nvGrpSpPr>
      <p:grpSpPr>
        <a:xfrm>
          <a:off x="0" y="0"/>
          <a:ext cx="0" cy="0"/>
          <a:chOff x="0" y="0"/>
          <a:chExt cx="0" cy="0"/>
        </a:xfrm>
      </p:grpSpPr>
      <p:sp>
        <p:nvSpPr>
          <p:cNvPr id="5" name="Graphic 12">
            <a:extLst>
              <a:ext uri="{FF2B5EF4-FFF2-40B4-BE49-F238E27FC236}">
                <a16:creationId xmlns:a16="http://schemas.microsoft.com/office/drawing/2014/main" id="{8C5BC995-B354-AC5F-E828-E745203D04FE}"/>
              </a:ext>
            </a:extLst>
          </p:cNvPr>
          <p:cNvSpPr/>
          <p:nvPr/>
        </p:nvSpPr>
        <p:spPr>
          <a:xfrm>
            <a:off x="5146520" y="0"/>
            <a:ext cx="7083354" cy="6858000"/>
          </a:xfrm>
          <a:custGeom>
            <a:avLst/>
            <a:gdLst>
              <a:gd name="connsiteX0" fmla="*/ 7083355 w 7083354"/>
              <a:gd name="connsiteY0" fmla="*/ 6858000 h 6858000"/>
              <a:gd name="connsiteX1" fmla="*/ 551850 w 7083354"/>
              <a:gd name="connsiteY1" fmla="*/ 6858000 h 6858000"/>
              <a:gd name="connsiteX2" fmla="*/ 423157 w 7083354"/>
              <a:gd name="connsiteY2" fmla="*/ 4811395 h 6858000"/>
              <a:gd name="connsiteX3" fmla="*/ 4471599 w 7083354"/>
              <a:gd name="connsiteY3" fmla="*/ 0 h 6858000"/>
              <a:gd name="connsiteX4" fmla="*/ 7083355 w 708335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3354" h="6858000">
                <a:moveTo>
                  <a:pt x="7083355" y="6858000"/>
                </a:moveTo>
                <a:lnTo>
                  <a:pt x="551850" y="6858000"/>
                </a:lnTo>
                <a:cubicBezTo>
                  <a:pt x="-212161" y="6355610"/>
                  <a:pt x="-112677" y="5450629"/>
                  <a:pt x="423157" y="4811395"/>
                </a:cubicBezTo>
                <a:lnTo>
                  <a:pt x="4471599" y="0"/>
                </a:lnTo>
                <a:lnTo>
                  <a:pt x="7083355" y="0"/>
                </a:lnTo>
              </a:path>
            </a:pathLst>
          </a:custGeom>
          <a:solidFill>
            <a:schemeClr val="bg1">
              <a:lumMod val="25000"/>
              <a:lumOff val="75000"/>
              <a:alpha val="19000"/>
            </a:schemeClr>
          </a:solidFill>
          <a:ln w="105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14" name="Graphic 5">
            <a:extLst>
              <a:ext uri="{FF2B5EF4-FFF2-40B4-BE49-F238E27FC236}">
                <a16:creationId xmlns:a16="http://schemas.microsoft.com/office/drawing/2014/main" id="{596754B7-0053-49ED-2E91-3394B192FB13}"/>
              </a:ext>
            </a:extLst>
          </p:cNvPr>
          <p:cNvSpPr/>
          <p:nvPr/>
        </p:nvSpPr>
        <p:spPr>
          <a:xfrm>
            <a:off x="7695096" y="9063"/>
            <a:ext cx="7072843" cy="6854700"/>
          </a:xfrm>
          <a:custGeom>
            <a:avLst/>
            <a:gdLst>
              <a:gd name="connsiteX0" fmla="*/ 422520 w 7072842"/>
              <a:gd name="connsiteY0" fmla="*/ 4804219 h 6847772"/>
              <a:gd name="connsiteX1" fmla="*/ 4464987 w 7072842"/>
              <a:gd name="connsiteY1" fmla="*/ 0 h 6847772"/>
              <a:gd name="connsiteX2" fmla="*/ 7072843 w 7072842"/>
              <a:gd name="connsiteY2" fmla="*/ 0 h 6847772"/>
              <a:gd name="connsiteX3" fmla="*/ 2827236 w 7072842"/>
              <a:gd name="connsiteY3" fmla="*/ 5023934 h 6847772"/>
              <a:gd name="connsiteX4" fmla="*/ 2814860 w 7072842"/>
              <a:gd name="connsiteY4" fmla="*/ 6847773 h 6847772"/>
              <a:gd name="connsiteX5" fmla="*/ 551057 w 7072842"/>
              <a:gd name="connsiteY5" fmla="*/ 6847773 h 6847772"/>
              <a:gd name="connsiteX6" fmla="*/ 422520 w 7072842"/>
              <a:gd name="connsiteY6" fmla="*/ 4804219 h 6847772"/>
              <a:gd name="connsiteX0" fmla="*/ 422520 w 7072843"/>
              <a:gd name="connsiteY0" fmla="*/ 4804219 h 6854700"/>
              <a:gd name="connsiteX1" fmla="*/ 4464987 w 7072843"/>
              <a:gd name="connsiteY1" fmla="*/ 0 h 6854700"/>
              <a:gd name="connsiteX2" fmla="*/ 7072843 w 7072843"/>
              <a:gd name="connsiteY2" fmla="*/ 0 h 6854700"/>
              <a:gd name="connsiteX3" fmla="*/ 2827236 w 7072843"/>
              <a:gd name="connsiteY3" fmla="*/ 5023934 h 6854700"/>
              <a:gd name="connsiteX4" fmla="*/ 2825251 w 7072843"/>
              <a:gd name="connsiteY4" fmla="*/ 6854700 h 6854700"/>
              <a:gd name="connsiteX5" fmla="*/ 551057 w 7072843"/>
              <a:gd name="connsiteY5" fmla="*/ 6847773 h 6854700"/>
              <a:gd name="connsiteX6" fmla="*/ 422520 w 7072843"/>
              <a:gd name="connsiteY6" fmla="*/ 4804219 h 6854700"/>
              <a:gd name="connsiteX0" fmla="*/ 422520 w 7072843"/>
              <a:gd name="connsiteY0" fmla="*/ 4804219 h 6854700"/>
              <a:gd name="connsiteX1" fmla="*/ 4464987 w 7072843"/>
              <a:gd name="connsiteY1" fmla="*/ 0 h 6854700"/>
              <a:gd name="connsiteX2" fmla="*/ 7072843 w 7072843"/>
              <a:gd name="connsiteY2" fmla="*/ 0 h 6854700"/>
              <a:gd name="connsiteX3" fmla="*/ 2827236 w 7072843"/>
              <a:gd name="connsiteY3" fmla="*/ 5023934 h 6854700"/>
              <a:gd name="connsiteX4" fmla="*/ 2825251 w 7072843"/>
              <a:gd name="connsiteY4" fmla="*/ 6854700 h 6854700"/>
              <a:gd name="connsiteX5" fmla="*/ 551057 w 7072843"/>
              <a:gd name="connsiteY5" fmla="*/ 6847773 h 6854700"/>
              <a:gd name="connsiteX6" fmla="*/ 422520 w 7072843"/>
              <a:gd name="connsiteY6" fmla="*/ 4804219 h 6854700"/>
              <a:gd name="connsiteX0" fmla="*/ 422520 w 7072843"/>
              <a:gd name="connsiteY0" fmla="*/ 4804219 h 6854700"/>
              <a:gd name="connsiteX1" fmla="*/ 4464987 w 7072843"/>
              <a:gd name="connsiteY1" fmla="*/ 0 h 6854700"/>
              <a:gd name="connsiteX2" fmla="*/ 7072843 w 7072843"/>
              <a:gd name="connsiteY2" fmla="*/ 0 h 6854700"/>
              <a:gd name="connsiteX3" fmla="*/ 2827236 w 7072843"/>
              <a:gd name="connsiteY3" fmla="*/ 5023934 h 6854700"/>
              <a:gd name="connsiteX4" fmla="*/ 2825251 w 7072843"/>
              <a:gd name="connsiteY4" fmla="*/ 6854700 h 6854700"/>
              <a:gd name="connsiteX5" fmla="*/ 551057 w 7072843"/>
              <a:gd name="connsiteY5" fmla="*/ 6847773 h 6854700"/>
              <a:gd name="connsiteX6" fmla="*/ 422520 w 7072843"/>
              <a:gd name="connsiteY6" fmla="*/ 4804219 h 6854700"/>
              <a:gd name="connsiteX0" fmla="*/ 422520 w 7072843"/>
              <a:gd name="connsiteY0" fmla="*/ 4804219 h 6854700"/>
              <a:gd name="connsiteX1" fmla="*/ 4464987 w 7072843"/>
              <a:gd name="connsiteY1" fmla="*/ 0 h 6854700"/>
              <a:gd name="connsiteX2" fmla="*/ 7072843 w 7072843"/>
              <a:gd name="connsiteY2" fmla="*/ 0 h 6854700"/>
              <a:gd name="connsiteX3" fmla="*/ 2827236 w 7072843"/>
              <a:gd name="connsiteY3" fmla="*/ 5023934 h 6854700"/>
              <a:gd name="connsiteX4" fmla="*/ 2825251 w 7072843"/>
              <a:gd name="connsiteY4" fmla="*/ 6854700 h 6854700"/>
              <a:gd name="connsiteX5" fmla="*/ 551057 w 7072843"/>
              <a:gd name="connsiteY5" fmla="*/ 6847773 h 6854700"/>
              <a:gd name="connsiteX6" fmla="*/ 422520 w 7072843"/>
              <a:gd name="connsiteY6" fmla="*/ 4804219 h 6854700"/>
              <a:gd name="connsiteX0" fmla="*/ 422520 w 7072843"/>
              <a:gd name="connsiteY0" fmla="*/ 4804219 h 6854700"/>
              <a:gd name="connsiteX1" fmla="*/ 4464987 w 7072843"/>
              <a:gd name="connsiteY1" fmla="*/ 0 h 6854700"/>
              <a:gd name="connsiteX2" fmla="*/ 7072843 w 7072843"/>
              <a:gd name="connsiteY2" fmla="*/ 0 h 6854700"/>
              <a:gd name="connsiteX3" fmla="*/ 2827236 w 7072843"/>
              <a:gd name="connsiteY3" fmla="*/ 5023934 h 6854700"/>
              <a:gd name="connsiteX4" fmla="*/ 2825251 w 7072843"/>
              <a:gd name="connsiteY4" fmla="*/ 6854700 h 6854700"/>
              <a:gd name="connsiteX5" fmla="*/ 551057 w 7072843"/>
              <a:gd name="connsiteY5" fmla="*/ 6847773 h 6854700"/>
              <a:gd name="connsiteX6" fmla="*/ 422520 w 7072843"/>
              <a:gd name="connsiteY6" fmla="*/ 4804219 h 6854700"/>
              <a:gd name="connsiteX0" fmla="*/ 422520 w 7072843"/>
              <a:gd name="connsiteY0" fmla="*/ 4804219 h 6854700"/>
              <a:gd name="connsiteX1" fmla="*/ 4464987 w 7072843"/>
              <a:gd name="connsiteY1" fmla="*/ 0 h 6854700"/>
              <a:gd name="connsiteX2" fmla="*/ 7072843 w 7072843"/>
              <a:gd name="connsiteY2" fmla="*/ 0 h 6854700"/>
              <a:gd name="connsiteX3" fmla="*/ 2827236 w 7072843"/>
              <a:gd name="connsiteY3" fmla="*/ 5023934 h 6854700"/>
              <a:gd name="connsiteX4" fmla="*/ 2825251 w 7072843"/>
              <a:gd name="connsiteY4" fmla="*/ 6854700 h 6854700"/>
              <a:gd name="connsiteX5" fmla="*/ 551057 w 7072843"/>
              <a:gd name="connsiteY5" fmla="*/ 6847773 h 6854700"/>
              <a:gd name="connsiteX6" fmla="*/ 422520 w 7072843"/>
              <a:gd name="connsiteY6" fmla="*/ 4804219 h 6854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72843" h="6854700">
                <a:moveTo>
                  <a:pt x="422520" y="4804219"/>
                </a:moveTo>
                <a:lnTo>
                  <a:pt x="4464987" y="0"/>
                </a:lnTo>
                <a:lnTo>
                  <a:pt x="7072843" y="0"/>
                </a:lnTo>
                <a:lnTo>
                  <a:pt x="2827236" y="5023934"/>
                </a:lnTo>
                <a:cubicBezTo>
                  <a:pt x="2405702" y="5562918"/>
                  <a:pt x="2292307" y="6311373"/>
                  <a:pt x="2825251" y="6854700"/>
                </a:cubicBezTo>
                <a:lnTo>
                  <a:pt x="551057" y="6847773"/>
                </a:lnTo>
                <a:cubicBezTo>
                  <a:pt x="-211856" y="6346116"/>
                  <a:pt x="-112505" y="5442503"/>
                  <a:pt x="422520" y="4804219"/>
                </a:cubicBezTo>
                <a:close/>
              </a:path>
            </a:pathLst>
          </a:custGeom>
          <a:solidFill>
            <a:schemeClr val="bg1">
              <a:lumMod val="10000"/>
              <a:lumOff val="90000"/>
              <a:alpha val="54000"/>
            </a:schemeClr>
          </a:solidFill>
          <a:ln w="1440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3" name="Title 4">
            <a:extLst>
              <a:ext uri="{FF2B5EF4-FFF2-40B4-BE49-F238E27FC236}">
                <a16:creationId xmlns:a16="http://schemas.microsoft.com/office/drawing/2014/main" id="{A83BEC71-3D90-587B-0743-9DB08B643EF9}"/>
              </a:ext>
            </a:extLst>
          </p:cNvPr>
          <p:cNvSpPr txBox="1">
            <a:spLocks/>
          </p:cNvSpPr>
          <p:nvPr/>
        </p:nvSpPr>
        <p:spPr>
          <a:xfrm>
            <a:off x="890844" y="2559553"/>
            <a:ext cx="6032383" cy="1648630"/>
          </a:xfrm>
          <a:prstGeom prst="rect">
            <a:avLst/>
          </a:prstGeom>
        </p:spPr>
        <p:txBody>
          <a:bodyPr>
            <a:noAutofit/>
          </a:bodyPr>
          <a:lstStyle>
            <a:lvl1pPr marL="0" marR="0" indent="0" algn="l" defTabSz="1462796" rtl="0" eaLnBrk="1" latinLnBrk="0" hangingPunct="1">
              <a:lnSpc>
                <a:spcPct val="80000"/>
              </a:lnSpc>
              <a:spcBef>
                <a:spcPts val="0"/>
              </a:spcBef>
              <a:spcAft>
                <a:spcPts val="0"/>
              </a:spcAft>
              <a:buClrTx/>
              <a:buSzTx/>
              <a:buFontTx/>
              <a:buNone/>
              <a:tabLst/>
              <a:defRPr sz="3800" b="0" i="0" u="none" strike="noStrike" cap="none" spc="0" baseline="0">
                <a:solidFill>
                  <a:schemeClr val="bg1"/>
                </a:solidFill>
                <a:uFillTx/>
                <a:latin typeface="Aptos" panose="020B0004020202020204" pitchFamily="34" charset="0"/>
                <a:ea typeface="+mj-ea"/>
                <a:cs typeface="+mj-cs"/>
                <a:sym typeface="IBM Plex Sans Light"/>
              </a:defRPr>
            </a:lvl1pPr>
            <a:lvl2pPr marL="0" marR="0" indent="0"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2pPr>
            <a:lvl3pPr marL="0" marR="0" indent="0"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3pPr>
            <a:lvl4pPr marL="0" marR="0" indent="0"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4pPr>
            <a:lvl5pPr marL="0" marR="0" indent="0"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5pPr>
            <a:lvl6pPr marL="0" marR="0" indent="217505"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6pPr>
            <a:lvl7pPr marL="0" marR="0" indent="435011"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7pPr>
            <a:lvl8pPr marL="0" marR="0" indent="652515"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8pPr>
            <a:lvl9pPr marL="0" marR="0" indent="870021"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9pPr>
          </a:lstStyle>
          <a:p>
            <a:pPr marL="0" marR="0" lvl="0" indent="0" algn="l" defTabSz="1218948" rtl="0" eaLnBrk="1" fontAlgn="auto" latinLnBrk="0" hangingPunct="1">
              <a:lnSpc>
                <a:spcPct val="90000"/>
              </a:lnSpc>
              <a:spcBef>
                <a:spcPts val="0"/>
              </a:spcBef>
              <a:spcAft>
                <a:spcPts val="0"/>
              </a:spcAft>
              <a:buClrTx/>
              <a:buSzTx/>
              <a:buFontTx/>
              <a:buNone/>
              <a:tabLst/>
              <a:defRPr/>
            </a:pPr>
            <a:r>
              <a:rPr kumimoji="0" lang="en-US" sz="5000" b="0" i="0" u="none" strike="noStrike" kern="0" cap="none" spc="100" normalizeH="0" baseline="0" noProof="0">
                <a:ln>
                  <a:noFill/>
                </a:ln>
                <a:solidFill>
                  <a:srgbClr val="FEFFFF"/>
                </a:solidFill>
                <a:effectLst/>
                <a:uLnTx/>
                <a:uFillTx/>
                <a:latin typeface="Aptos" panose="020B0004020202020204" pitchFamily="34" charset="0"/>
                <a:ea typeface="Helvetica Neue UltraLight" panose="02000206000000020004" pitchFamily="2" charset="0"/>
                <a:cs typeface="Helvetica Neue Medium" panose="02000503000000020004" pitchFamily="2" charset="0"/>
                <a:sym typeface="IBM Plex Sans Light"/>
              </a:rPr>
              <a:t>Our Understanding</a:t>
            </a:r>
          </a:p>
          <a:p>
            <a:pPr marL="0" marR="0" lvl="0" indent="0" algn="l" defTabSz="1218948" rtl="0" eaLnBrk="1" fontAlgn="auto" latinLnBrk="0" hangingPunct="1">
              <a:lnSpc>
                <a:spcPct val="90000"/>
              </a:lnSpc>
              <a:spcBef>
                <a:spcPts val="0"/>
              </a:spcBef>
              <a:spcAft>
                <a:spcPts val="0"/>
              </a:spcAft>
              <a:buClrTx/>
              <a:buSzTx/>
              <a:buFontTx/>
              <a:buNone/>
              <a:tabLst/>
              <a:defRPr/>
            </a:pPr>
            <a:endParaRPr kumimoji="0" lang="en-US" sz="6000" b="0" i="0" u="none" strike="noStrike" kern="0" cap="none" spc="100" normalizeH="0" baseline="0" noProof="0">
              <a:ln>
                <a:noFill/>
              </a:ln>
              <a:solidFill>
                <a:srgbClr val="FEFFFF"/>
              </a:solidFill>
              <a:effectLst/>
              <a:uLnTx/>
              <a:uFillTx/>
              <a:latin typeface="Aptos" panose="020B0004020202020204" pitchFamily="34" charset="0"/>
              <a:ea typeface="Helvetica Neue UltraLight" panose="02000206000000020004" pitchFamily="2" charset="0"/>
              <a:cs typeface="Helvetica Neue Medium" panose="02000503000000020004" pitchFamily="2" charset="0"/>
              <a:sym typeface="IBM Plex Sans Light"/>
            </a:endParaRPr>
          </a:p>
          <a:p>
            <a:pPr marL="0" marR="0" lvl="0" indent="0" algn="l" defTabSz="1218948" rtl="0" eaLnBrk="1" fontAlgn="auto" latinLnBrk="0" hangingPunct="1">
              <a:lnSpc>
                <a:spcPct val="90000"/>
              </a:lnSpc>
              <a:spcBef>
                <a:spcPts val="0"/>
              </a:spcBef>
              <a:spcAft>
                <a:spcPts val="0"/>
              </a:spcAft>
              <a:buClrTx/>
              <a:buSzTx/>
              <a:buFontTx/>
              <a:buNone/>
              <a:tabLst/>
              <a:defRPr/>
            </a:pPr>
            <a:endParaRPr kumimoji="0" lang="en-US" sz="6000" b="0" i="0" u="none" strike="noStrike" kern="0" cap="none" spc="100" normalizeH="0" baseline="0" noProof="0">
              <a:ln>
                <a:noFill/>
              </a:ln>
              <a:solidFill>
                <a:srgbClr val="FEFFFF"/>
              </a:solidFill>
              <a:effectLst/>
              <a:uLnTx/>
              <a:uFillTx/>
              <a:latin typeface="Aptos" panose="020B0004020202020204" pitchFamily="34" charset="0"/>
              <a:ea typeface="Helvetica Neue UltraLight" panose="02000206000000020004" pitchFamily="2" charset="0"/>
              <a:cs typeface="Helvetica Neue Medium" panose="02000503000000020004" pitchFamily="2" charset="0"/>
              <a:sym typeface="IBM Plex Sans Light"/>
            </a:endParaRPr>
          </a:p>
        </p:txBody>
      </p:sp>
      <p:sp>
        <p:nvSpPr>
          <p:cNvPr id="11" name="Text Placeholder 3">
            <a:extLst>
              <a:ext uri="{FF2B5EF4-FFF2-40B4-BE49-F238E27FC236}">
                <a16:creationId xmlns:a16="http://schemas.microsoft.com/office/drawing/2014/main" id="{60E32BC0-9641-59DD-6D05-FDCD8610FF10}"/>
              </a:ext>
            </a:extLst>
          </p:cNvPr>
          <p:cNvSpPr txBox="1">
            <a:spLocks/>
          </p:cNvSpPr>
          <p:nvPr/>
        </p:nvSpPr>
        <p:spPr>
          <a:xfrm>
            <a:off x="288889" y="6458629"/>
            <a:ext cx="4088233" cy="150303"/>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Outfit Light" pitchFamily="2" charset="0"/>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1218948" rtl="0" eaLnBrk="1" fontAlgn="auto" latinLnBrk="0" hangingPunct="1">
              <a:lnSpc>
                <a:spcPct val="110000"/>
              </a:lnSpc>
              <a:spcBef>
                <a:spcPts val="0"/>
              </a:spcBef>
              <a:spcAft>
                <a:spcPts val="0"/>
              </a:spcAft>
              <a:buClrTx/>
              <a:buSzTx/>
              <a:buFontTx/>
              <a:buNone/>
              <a:tabLst/>
              <a:defRPr/>
            </a:pPr>
            <a:r>
              <a:rPr kumimoji="0" lang="en-US" sz="917" b="0" i="0" u="none" strike="noStrike" kern="0" cap="none" spc="0" normalizeH="0" baseline="0" noProof="0">
                <a:ln>
                  <a:noFill/>
                </a:ln>
                <a:solidFill>
                  <a:srgbClr val="000000"/>
                </a:solidFill>
                <a:effectLst/>
                <a:uLnTx/>
                <a:uFillTx/>
                <a:latin typeface="Aptos Light" panose="020B0004020202020204" pitchFamily="34" charset="0"/>
                <a:ea typeface="+mj-ea"/>
                <a:cs typeface="+mj-cs"/>
                <a:sym typeface="IBM Plex Sans Light"/>
              </a:rPr>
              <a:t>Confidential</a:t>
            </a:r>
            <a:r>
              <a:rPr kumimoji="0" lang="en-US" sz="917" b="0" i="0" u="none" strike="noStrike" kern="0" cap="none" spc="0" normalizeH="0" baseline="0" noProof="0">
                <a:ln>
                  <a:noFill/>
                </a:ln>
                <a:solidFill>
                  <a:srgbClr val="000000"/>
                </a:solidFill>
                <a:effectLst/>
                <a:uLnTx/>
                <a:uFillTx/>
                <a:latin typeface="Aptos" panose="020B0004020202020204" pitchFamily="34" charset="0"/>
                <a:ea typeface="+mj-ea"/>
                <a:cs typeface="+mj-cs"/>
                <a:sym typeface="IBM Plex Sans Light"/>
              </a:rPr>
              <a:t>  /  </a:t>
            </a:r>
            <a:r>
              <a:rPr kumimoji="0" lang="en-US" sz="917" b="0" i="0" u="none" strike="noStrike" kern="0" cap="none" spc="0" normalizeH="0" baseline="0" noProof="0">
                <a:ln>
                  <a:noFill/>
                </a:ln>
                <a:solidFill>
                  <a:srgbClr val="000000"/>
                </a:solidFill>
                <a:effectLst/>
                <a:uLnTx/>
                <a:uFillTx/>
                <a:latin typeface="Aptos Light" panose="020B0004020202020204" pitchFamily="34" charset="0"/>
                <a:ea typeface="+mj-ea"/>
                <a:cs typeface="+mj-cs"/>
                <a:sym typeface="IBM Plex Sans Light"/>
              </a:rPr>
              <a:t>Brillio</a:t>
            </a:r>
          </a:p>
        </p:txBody>
      </p:sp>
      <p:sp>
        <p:nvSpPr>
          <p:cNvPr id="4" name="TextBox 3">
            <a:extLst>
              <a:ext uri="{FF2B5EF4-FFF2-40B4-BE49-F238E27FC236}">
                <a16:creationId xmlns:a16="http://schemas.microsoft.com/office/drawing/2014/main" id="{4E443777-85E2-6039-40C4-A267674485B1}"/>
              </a:ext>
            </a:extLst>
          </p:cNvPr>
          <p:cNvSpPr txBox="1"/>
          <p:nvPr/>
        </p:nvSpPr>
        <p:spPr>
          <a:xfrm>
            <a:off x="941294" y="3496235"/>
            <a:ext cx="0" cy="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rtlCol="0">
            <a:noAutofit/>
          </a:bodyPr>
          <a:lstStyle/>
          <a:p>
            <a:pPr marL="370373" marR="0" lvl="0" indent="-372276" algn="l" defTabSz="2031919" rtl="0" eaLnBrk="1" fontAlgn="auto" latinLnBrk="0" hangingPunct="1">
              <a:lnSpc>
                <a:spcPct val="100000"/>
              </a:lnSpc>
              <a:spcBef>
                <a:spcPts val="2417"/>
              </a:spcBef>
              <a:spcAft>
                <a:spcPts val="0"/>
              </a:spcAft>
              <a:buClrTx/>
              <a:buSzPct val="100000"/>
              <a:buFontTx/>
              <a:buChar char="–"/>
              <a:tabLst/>
              <a:defRPr/>
            </a:pPr>
            <a:endParaRPr kumimoji="0" lang="en-US" sz="1500" b="0" i="0" u="none" strike="noStrike" kern="0" cap="none" spc="0" normalizeH="0" baseline="0" noProof="0">
              <a:ln>
                <a:noFill/>
              </a:ln>
              <a:solidFill>
                <a:srgbClr val="000000"/>
              </a:solidFill>
              <a:effectLst/>
              <a:uLnTx/>
              <a:uFillTx/>
              <a:latin typeface="Aptos" panose="02110004020202020204"/>
              <a:ea typeface="+mn-ea"/>
              <a:cs typeface="+mn-cs"/>
              <a:sym typeface="IBM Plex Sans Light"/>
            </a:endParaRPr>
          </a:p>
        </p:txBody>
      </p:sp>
      <p:sp>
        <p:nvSpPr>
          <p:cNvPr id="7" name="TextBox 6">
            <a:extLst>
              <a:ext uri="{FF2B5EF4-FFF2-40B4-BE49-F238E27FC236}">
                <a16:creationId xmlns:a16="http://schemas.microsoft.com/office/drawing/2014/main" id="{3C02216B-04A7-9A49-3513-939DF4D32563}"/>
              </a:ext>
            </a:extLst>
          </p:cNvPr>
          <p:cNvSpPr txBox="1"/>
          <p:nvPr/>
        </p:nvSpPr>
        <p:spPr>
          <a:xfrm>
            <a:off x="941294" y="3204135"/>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370373" marR="0" lvl="0" indent="-372276" algn="l" defTabSz="2031919" rtl="0" eaLnBrk="1" fontAlgn="auto" latinLnBrk="0" hangingPunct="1">
              <a:lnSpc>
                <a:spcPct val="100000"/>
              </a:lnSpc>
              <a:spcBef>
                <a:spcPts val="2417"/>
              </a:spcBef>
              <a:spcAft>
                <a:spcPts val="0"/>
              </a:spcAft>
              <a:buClrTx/>
              <a:buSzPct val="100000"/>
              <a:buFontTx/>
              <a:buChar char="–"/>
              <a:tabLst/>
              <a:defRPr/>
            </a:pPr>
            <a:endParaRPr kumimoji="0" lang="en-US" sz="1500" b="0" i="0" u="none" strike="noStrike" kern="0" cap="none" spc="0" normalizeH="0" baseline="0" noProof="0">
              <a:ln>
                <a:noFill/>
              </a:ln>
              <a:solidFill>
                <a:srgbClr val="000000"/>
              </a:solidFill>
              <a:effectLst/>
              <a:uLnTx/>
              <a:uFillTx/>
              <a:latin typeface="Aptos" panose="02110004020202020204"/>
              <a:ea typeface="+mn-ea"/>
              <a:cs typeface="+mn-cs"/>
              <a:sym typeface="IBM Plex Sans Light"/>
            </a:endParaRPr>
          </a:p>
        </p:txBody>
      </p:sp>
      <p:sp>
        <p:nvSpPr>
          <p:cNvPr id="9" name="Rectangle 8">
            <a:extLst>
              <a:ext uri="{FF2B5EF4-FFF2-40B4-BE49-F238E27FC236}">
                <a16:creationId xmlns:a16="http://schemas.microsoft.com/office/drawing/2014/main" id="{185CFAAE-BEDA-CFD3-1278-6CCF0339D545}"/>
              </a:ext>
            </a:extLst>
          </p:cNvPr>
          <p:cNvSpPr/>
          <p:nvPr/>
        </p:nvSpPr>
        <p:spPr bwMode="auto">
          <a:xfrm rot="5400000">
            <a:off x="1576003" y="1838266"/>
            <a:ext cx="38099" cy="1198778"/>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76200" tIns="76200" rIns="76200" bIns="76200" numCol="1" rtlCol="0" anchor="t" anchorCtr="0" compatLnSpc="1">
            <a:prstTxWarp prst="textNoShape">
              <a:avLst/>
            </a:prstTxWarp>
          </a:bodyPr>
          <a:lstStyle/>
          <a:p>
            <a:pPr marL="0" marR="0" lvl="0" indent="0" algn="l" defTabSz="761970" rtl="0" eaLnBrk="1" fontAlgn="base" latinLnBrk="0" hangingPunct="1">
              <a:lnSpc>
                <a:spcPct val="100000"/>
              </a:lnSpc>
              <a:spcBef>
                <a:spcPct val="0"/>
              </a:spcBef>
              <a:spcAft>
                <a:spcPct val="0"/>
              </a:spcAft>
              <a:buClrTx/>
              <a:buSzTx/>
              <a:buFontTx/>
              <a:buNone/>
              <a:tabLst/>
              <a:defRPr/>
            </a:pPr>
            <a:endParaRPr kumimoji="0" lang="en-US" sz="1167" b="0" i="0" u="none" strike="noStrike" kern="1200" cap="none" spc="0" normalizeH="0" baseline="0" noProof="0">
              <a:ln>
                <a:noFill/>
              </a:ln>
              <a:solidFill>
                <a:srgbClr val="FEFFFF"/>
              </a:solidFill>
              <a:effectLst/>
              <a:uLnTx/>
              <a:uFillTx/>
              <a:latin typeface="Aptos" panose="02110004020202020204"/>
              <a:ea typeface="+mn-ea"/>
              <a:cs typeface="+mn-cs"/>
            </a:endParaRPr>
          </a:p>
        </p:txBody>
      </p:sp>
      <p:sp>
        <p:nvSpPr>
          <p:cNvPr id="8" name="Text Placeholder 3">
            <a:extLst>
              <a:ext uri="{FF2B5EF4-FFF2-40B4-BE49-F238E27FC236}">
                <a16:creationId xmlns:a16="http://schemas.microsoft.com/office/drawing/2014/main" id="{1A8EA968-C88D-A0E5-3D0E-698AA9EB5BB8}"/>
              </a:ext>
            </a:extLst>
          </p:cNvPr>
          <p:cNvSpPr txBox="1">
            <a:spLocks/>
          </p:cNvSpPr>
          <p:nvPr/>
        </p:nvSpPr>
        <p:spPr>
          <a:xfrm>
            <a:off x="11438259" y="6458629"/>
            <a:ext cx="462473" cy="150303"/>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Outfit Light" pitchFamily="2" charset="0"/>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r" defTabSz="1218948" rtl="0" eaLnBrk="1" fontAlgn="auto" latinLnBrk="0" hangingPunct="1">
              <a:lnSpc>
                <a:spcPct val="110000"/>
              </a:lnSpc>
              <a:spcBef>
                <a:spcPts val="0"/>
              </a:spcBef>
              <a:spcAft>
                <a:spcPts val="0"/>
              </a:spcAft>
              <a:buClrTx/>
              <a:buSzTx/>
              <a:buFontTx/>
              <a:buNone/>
              <a:tabLst/>
              <a:defRPr/>
            </a:pPr>
            <a:fld id="{64F0821C-65D3-DD4D-8DB2-745946DB9115}" type="slidenum">
              <a:rPr kumimoji="0" lang="en-US" sz="917" b="0" i="0" u="none" strike="noStrike" kern="0" cap="none" spc="0" normalizeH="0" baseline="0" noProof="0">
                <a:ln>
                  <a:noFill/>
                </a:ln>
                <a:solidFill>
                  <a:srgbClr val="FFFFFF"/>
                </a:solidFill>
                <a:effectLst/>
                <a:uLnTx/>
                <a:uFillTx/>
                <a:latin typeface="Aptos" panose="020B0004020202020204" pitchFamily="34" charset="0"/>
                <a:ea typeface="+mj-ea"/>
                <a:cs typeface="+mj-cs"/>
                <a:sym typeface="IBM Plex Sans Light"/>
              </a:rPr>
              <a:pPr marL="0" marR="0" lvl="0" indent="0" algn="r" defTabSz="1218948" rtl="0" eaLnBrk="1" fontAlgn="auto" latinLnBrk="0" hangingPunct="1">
                <a:lnSpc>
                  <a:spcPct val="110000"/>
                </a:lnSpc>
                <a:spcBef>
                  <a:spcPts val="0"/>
                </a:spcBef>
                <a:spcAft>
                  <a:spcPts val="0"/>
                </a:spcAft>
                <a:buClrTx/>
                <a:buSzTx/>
                <a:buFontTx/>
                <a:buNone/>
                <a:tabLst/>
                <a:defRPr/>
              </a:pPr>
              <a:t>35</a:t>
            </a:fld>
            <a:endParaRPr kumimoji="0" lang="en-US" sz="917" b="0" i="0" u="none" strike="noStrike" kern="0" cap="none" spc="0" normalizeH="0" baseline="0" noProof="0">
              <a:ln>
                <a:noFill/>
              </a:ln>
              <a:solidFill>
                <a:srgbClr val="FFFFFF"/>
              </a:solidFill>
              <a:effectLst/>
              <a:uLnTx/>
              <a:uFillTx/>
              <a:latin typeface="Aptos" panose="020B0004020202020204" pitchFamily="34" charset="0"/>
              <a:ea typeface="+mj-ea"/>
              <a:cs typeface="+mj-cs"/>
              <a:sym typeface="IBM Plex Sans Light"/>
            </a:endParaRPr>
          </a:p>
        </p:txBody>
      </p:sp>
      <p:pic>
        <p:nvPicPr>
          <p:cNvPr id="12" name="Graphic 11">
            <a:extLst>
              <a:ext uri="{FF2B5EF4-FFF2-40B4-BE49-F238E27FC236}">
                <a16:creationId xmlns:a16="http://schemas.microsoft.com/office/drawing/2014/main" id="{642433FD-6942-3378-FF7F-7FAECFF0E529}"/>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543540" y="6495499"/>
            <a:ext cx="167269" cy="81501"/>
          </a:xfrm>
          <a:prstGeom prst="rect">
            <a:avLst/>
          </a:prstGeom>
        </p:spPr>
      </p:pic>
      <p:sp>
        <p:nvSpPr>
          <p:cNvPr id="19" name="Title 4">
            <a:extLst>
              <a:ext uri="{FF2B5EF4-FFF2-40B4-BE49-F238E27FC236}">
                <a16:creationId xmlns:a16="http://schemas.microsoft.com/office/drawing/2014/main" id="{5EA74804-CC5D-7A30-010F-8E5C5E999F7D}"/>
              </a:ext>
            </a:extLst>
          </p:cNvPr>
          <p:cNvSpPr txBox="1">
            <a:spLocks/>
          </p:cNvSpPr>
          <p:nvPr/>
        </p:nvSpPr>
        <p:spPr>
          <a:xfrm>
            <a:off x="1043244" y="2711953"/>
            <a:ext cx="6032383" cy="1648630"/>
          </a:xfrm>
          <a:prstGeom prst="rect">
            <a:avLst/>
          </a:prstGeom>
        </p:spPr>
        <p:txBody>
          <a:bodyPr>
            <a:noAutofit/>
          </a:bodyPr>
          <a:lstStyle>
            <a:lvl1pPr marL="0" marR="0" indent="0" algn="l" defTabSz="1462796" rtl="0" eaLnBrk="1" latinLnBrk="0" hangingPunct="1">
              <a:lnSpc>
                <a:spcPct val="80000"/>
              </a:lnSpc>
              <a:spcBef>
                <a:spcPts val="0"/>
              </a:spcBef>
              <a:spcAft>
                <a:spcPts val="0"/>
              </a:spcAft>
              <a:buClrTx/>
              <a:buSzTx/>
              <a:buFontTx/>
              <a:buNone/>
              <a:tabLst/>
              <a:defRPr sz="3800" b="0" i="0" u="none" strike="noStrike" cap="none" spc="0" baseline="0">
                <a:solidFill>
                  <a:schemeClr val="bg1"/>
                </a:solidFill>
                <a:uFillTx/>
                <a:latin typeface="Aptos" panose="020B0004020202020204" pitchFamily="34" charset="0"/>
                <a:ea typeface="+mj-ea"/>
                <a:cs typeface="+mj-cs"/>
                <a:sym typeface="IBM Plex Sans Light"/>
              </a:defRPr>
            </a:lvl1pPr>
            <a:lvl2pPr marL="0" marR="0" indent="0"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2pPr>
            <a:lvl3pPr marL="0" marR="0" indent="0"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3pPr>
            <a:lvl4pPr marL="0" marR="0" indent="0"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4pPr>
            <a:lvl5pPr marL="0" marR="0" indent="0"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5pPr>
            <a:lvl6pPr marL="0" marR="0" indent="217505"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6pPr>
            <a:lvl7pPr marL="0" marR="0" indent="435011"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7pPr>
            <a:lvl8pPr marL="0" marR="0" indent="652515"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8pPr>
            <a:lvl9pPr marL="0" marR="0" indent="870021"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9pPr>
          </a:lstStyle>
          <a:p>
            <a:pPr marL="0" marR="0" lvl="0" indent="0" algn="l" defTabSz="1218948" rtl="0" eaLnBrk="1" fontAlgn="auto" latinLnBrk="0" hangingPunct="1">
              <a:lnSpc>
                <a:spcPct val="90000"/>
              </a:lnSpc>
              <a:spcBef>
                <a:spcPts val="0"/>
              </a:spcBef>
              <a:spcAft>
                <a:spcPts val="0"/>
              </a:spcAft>
              <a:buClrTx/>
              <a:buSzTx/>
              <a:buFontTx/>
              <a:buNone/>
              <a:tabLst/>
              <a:defRPr/>
            </a:pPr>
            <a:r>
              <a:rPr kumimoji="0" lang="en-US" sz="5000" b="0" i="0" u="none" strike="noStrike" kern="0" cap="none" spc="100" normalizeH="0" baseline="0" noProof="0">
                <a:ln>
                  <a:noFill/>
                </a:ln>
                <a:solidFill>
                  <a:srgbClr val="002454"/>
                </a:solidFill>
                <a:effectLst/>
                <a:uLnTx/>
                <a:uFillTx/>
                <a:latin typeface="Aptos" panose="020B0004020202020204" pitchFamily="34" charset="0"/>
                <a:ea typeface="Helvetica Neue UltraLight" panose="02000206000000020004" pitchFamily="2" charset="0"/>
                <a:cs typeface="Helvetica Neue Medium" panose="02000503000000020004" pitchFamily="2" charset="0"/>
                <a:sym typeface="IBM Plex Sans Light"/>
              </a:rPr>
              <a:t>Success Stories</a:t>
            </a:r>
          </a:p>
          <a:p>
            <a:pPr marL="0" marR="0" lvl="0" indent="0" algn="l" defTabSz="1218948" rtl="0" eaLnBrk="1" fontAlgn="auto" latinLnBrk="0" hangingPunct="1">
              <a:lnSpc>
                <a:spcPct val="90000"/>
              </a:lnSpc>
              <a:spcBef>
                <a:spcPts val="0"/>
              </a:spcBef>
              <a:spcAft>
                <a:spcPts val="0"/>
              </a:spcAft>
              <a:buClrTx/>
              <a:buSzTx/>
              <a:buFontTx/>
              <a:buNone/>
              <a:tabLst/>
              <a:defRPr/>
            </a:pPr>
            <a:endParaRPr kumimoji="0" lang="en-US" sz="6000" b="0" i="0" u="none" strike="noStrike" kern="0" cap="none" spc="100" normalizeH="0" baseline="0" noProof="0">
              <a:ln>
                <a:noFill/>
              </a:ln>
              <a:solidFill>
                <a:srgbClr val="002454"/>
              </a:solidFill>
              <a:effectLst/>
              <a:uLnTx/>
              <a:uFillTx/>
              <a:latin typeface="Aptos" panose="020B0004020202020204" pitchFamily="34" charset="0"/>
              <a:ea typeface="Helvetica Neue UltraLight" panose="02000206000000020004" pitchFamily="2" charset="0"/>
              <a:cs typeface="Helvetica Neue Medium" panose="02000503000000020004" pitchFamily="2" charset="0"/>
              <a:sym typeface="IBM Plex Sans Light"/>
            </a:endParaRPr>
          </a:p>
          <a:p>
            <a:pPr marL="0" marR="0" lvl="0" indent="0" algn="l" defTabSz="1218948" rtl="0" eaLnBrk="1" fontAlgn="auto" latinLnBrk="0" hangingPunct="1">
              <a:lnSpc>
                <a:spcPct val="90000"/>
              </a:lnSpc>
              <a:spcBef>
                <a:spcPts val="0"/>
              </a:spcBef>
              <a:spcAft>
                <a:spcPts val="0"/>
              </a:spcAft>
              <a:buClrTx/>
              <a:buSzTx/>
              <a:buFontTx/>
              <a:buNone/>
              <a:tabLst/>
              <a:defRPr/>
            </a:pPr>
            <a:endParaRPr kumimoji="0" lang="en-US" sz="6000" b="0" i="0" u="none" strike="noStrike" kern="0" cap="none" spc="100" normalizeH="0" baseline="0" noProof="0">
              <a:ln>
                <a:noFill/>
              </a:ln>
              <a:solidFill>
                <a:srgbClr val="002454"/>
              </a:solidFill>
              <a:effectLst/>
              <a:uLnTx/>
              <a:uFillTx/>
              <a:latin typeface="Aptos" panose="020B0004020202020204" pitchFamily="34" charset="0"/>
              <a:ea typeface="Helvetica Neue UltraLight" panose="02000206000000020004" pitchFamily="2" charset="0"/>
              <a:cs typeface="Helvetica Neue Medium" panose="02000503000000020004" pitchFamily="2" charset="0"/>
              <a:sym typeface="IBM Plex Sans Light"/>
            </a:endParaRPr>
          </a:p>
        </p:txBody>
      </p:sp>
      <p:sp>
        <p:nvSpPr>
          <p:cNvPr id="20" name="Rectangle 19">
            <a:extLst>
              <a:ext uri="{FF2B5EF4-FFF2-40B4-BE49-F238E27FC236}">
                <a16:creationId xmlns:a16="http://schemas.microsoft.com/office/drawing/2014/main" id="{E554A65F-AF85-F14B-4A1A-C4F85CBD4605}"/>
              </a:ext>
            </a:extLst>
          </p:cNvPr>
          <p:cNvSpPr/>
          <p:nvPr/>
        </p:nvSpPr>
        <p:spPr bwMode="auto">
          <a:xfrm rot="5400000">
            <a:off x="1728403" y="1990666"/>
            <a:ext cx="38099" cy="1198778"/>
          </a:xfrm>
          <a:prstGeom prst="rect">
            <a:avLst/>
          </a:prstGeom>
          <a:solidFill>
            <a:schemeClr val="tx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76200" tIns="76200" rIns="76200" bIns="76200" numCol="1" rtlCol="0" anchor="t" anchorCtr="0" compatLnSpc="1">
            <a:prstTxWarp prst="textNoShape">
              <a:avLst/>
            </a:prstTxWarp>
          </a:bodyPr>
          <a:lstStyle/>
          <a:p>
            <a:pPr marL="0" marR="0" lvl="0" indent="0" algn="l" defTabSz="761970" rtl="0" eaLnBrk="1" fontAlgn="base" latinLnBrk="0" hangingPunct="1">
              <a:lnSpc>
                <a:spcPct val="100000"/>
              </a:lnSpc>
              <a:spcBef>
                <a:spcPct val="0"/>
              </a:spcBef>
              <a:spcAft>
                <a:spcPct val="0"/>
              </a:spcAft>
              <a:buClrTx/>
              <a:buSzTx/>
              <a:buFontTx/>
              <a:buNone/>
              <a:tabLst/>
              <a:defRPr/>
            </a:pPr>
            <a:endParaRPr kumimoji="0" lang="en-US" sz="1167" b="0" i="0" u="none" strike="noStrike" kern="1200" cap="none" spc="0" normalizeH="0" baseline="0" noProof="0">
              <a:ln>
                <a:noFill/>
              </a:ln>
              <a:solidFill>
                <a:srgbClr val="000000"/>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77052345"/>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3B58F9-2CFC-A4CA-4B7D-D88B285E75BC}"/>
            </a:ext>
          </a:extLst>
        </p:cNvPr>
        <p:cNvGrpSpPr/>
        <p:nvPr/>
      </p:nvGrpSpPr>
      <p:grpSpPr>
        <a:xfrm>
          <a:off x="0" y="0"/>
          <a:ext cx="0" cy="0"/>
          <a:chOff x="0" y="0"/>
          <a:chExt cx="0" cy="0"/>
        </a:xfrm>
      </p:grpSpPr>
      <p:sp>
        <p:nvSpPr>
          <p:cNvPr id="3" name="Rounded Rectangle 2">
            <a:extLst>
              <a:ext uri="{FF2B5EF4-FFF2-40B4-BE49-F238E27FC236}">
                <a16:creationId xmlns:a16="http://schemas.microsoft.com/office/drawing/2014/main" id="{D2ED8D6A-8A25-356B-EE83-21C5C8274D20}"/>
              </a:ext>
            </a:extLst>
          </p:cNvPr>
          <p:cNvSpPr/>
          <p:nvPr/>
        </p:nvSpPr>
        <p:spPr bwMode="auto">
          <a:xfrm>
            <a:off x="7895678" y="988778"/>
            <a:ext cx="4296322" cy="5869221"/>
          </a:xfrm>
          <a:prstGeom prst="roundRect">
            <a:avLst>
              <a:gd name="adj" fmla="val 0"/>
            </a:avLst>
          </a:prstGeom>
          <a:solidFill>
            <a:srgbClr val="B5C1CE">
              <a:alpha val="20000"/>
            </a:srgb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bg1"/>
              </a:solidFill>
              <a:effectLst/>
              <a:latin typeface="+mn-lt"/>
            </a:endParaRPr>
          </a:p>
        </p:txBody>
      </p:sp>
      <p:sp>
        <p:nvSpPr>
          <p:cNvPr id="2" name="Title 1">
            <a:extLst>
              <a:ext uri="{FF2B5EF4-FFF2-40B4-BE49-F238E27FC236}">
                <a16:creationId xmlns:a16="http://schemas.microsoft.com/office/drawing/2014/main" id="{3A7ED6B3-1355-4E52-7B9E-B93F141A24AA}"/>
              </a:ext>
            </a:extLst>
          </p:cNvPr>
          <p:cNvSpPr>
            <a:spLocks noGrp="1"/>
          </p:cNvSpPr>
          <p:nvPr>
            <p:ph type="title"/>
          </p:nvPr>
        </p:nvSpPr>
        <p:spPr/>
        <p:txBody>
          <a:bodyPr vert="horz" lIns="0" tIns="0" rIns="0" bIns="0" rtlCol="0" anchor="t" anchorCtr="0">
            <a:noAutofit/>
          </a:bodyPr>
          <a:lstStyle/>
          <a:p>
            <a:r>
              <a:rPr lang="en-US">
                <a:solidFill>
                  <a:schemeClr val="bg1"/>
                </a:solidFill>
                <a:latin typeface="Aptos" panose="020B0004020202020204" pitchFamily="34" charset="0"/>
              </a:rPr>
              <a:t>McDonald’s File Ingestion Architecture Flow</a:t>
            </a:r>
            <a:endParaRPr lang="en-IN">
              <a:solidFill>
                <a:schemeClr val="bg1"/>
              </a:solidFill>
              <a:latin typeface="Aptos" panose="020B0004020202020204" pitchFamily="34" charset="0"/>
            </a:endParaRPr>
          </a:p>
        </p:txBody>
      </p:sp>
      <p:grpSp>
        <p:nvGrpSpPr>
          <p:cNvPr id="109" name="Group 108">
            <a:extLst>
              <a:ext uri="{FF2B5EF4-FFF2-40B4-BE49-F238E27FC236}">
                <a16:creationId xmlns:a16="http://schemas.microsoft.com/office/drawing/2014/main" id="{BC8B90C7-0E22-743E-D55D-7FEE0EDAE0AA}"/>
              </a:ext>
            </a:extLst>
          </p:cNvPr>
          <p:cNvGrpSpPr/>
          <p:nvPr/>
        </p:nvGrpSpPr>
        <p:grpSpPr>
          <a:xfrm>
            <a:off x="0" y="5336028"/>
            <a:ext cx="3235601" cy="1520494"/>
            <a:chOff x="-59305" y="4481583"/>
            <a:chExt cx="3448050" cy="2093592"/>
          </a:xfrm>
          <a:noFill/>
        </p:grpSpPr>
        <p:sp>
          <p:nvSpPr>
            <p:cNvPr id="107" name="Rectangle 106">
              <a:extLst>
                <a:ext uri="{FF2B5EF4-FFF2-40B4-BE49-F238E27FC236}">
                  <a16:creationId xmlns:a16="http://schemas.microsoft.com/office/drawing/2014/main" id="{125681E5-B282-3F06-D12F-06617BE2C29B}"/>
                </a:ext>
              </a:extLst>
            </p:cNvPr>
            <p:cNvSpPr/>
            <p:nvPr/>
          </p:nvSpPr>
          <p:spPr>
            <a:xfrm>
              <a:off x="-59305" y="4481583"/>
              <a:ext cx="3448050" cy="2093592"/>
            </a:xfrm>
            <a:prstGeom prst="rect">
              <a:avLst/>
            </a:prstGeom>
            <a:solidFill>
              <a:schemeClr val="accent2">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Aptos" panose="020B0004020202020204" pitchFamily="34" charset="0"/>
              </a:endParaRPr>
            </a:p>
          </p:txBody>
        </p:sp>
        <p:sp>
          <p:nvSpPr>
            <p:cNvPr id="4" name="TextBox 3">
              <a:extLst>
                <a:ext uri="{FF2B5EF4-FFF2-40B4-BE49-F238E27FC236}">
                  <a16:creationId xmlns:a16="http://schemas.microsoft.com/office/drawing/2014/main" id="{6679A724-DA89-97B7-C489-DF55225E01E9}"/>
                </a:ext>
              </a:extLst>
            </p:cNvPr>
            <p:cNvSpPr txBox="1"/>
            <p:nvPr/>
          </p:nvSpPr>
          <p:spPr>
            <a:xfrm>
              <a:off x="193781" y="4523152"/>
              <a:ext cx="1739816" cy="1695129"/>
            </a:xfrm>
            <a:prstGeom prst="rect">
              <a:avLst/>
            </a:prstGeom>
            <a:grp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bg1"/>
                  </a:solidFill>
                  <a:effectLst/>
                  <a:uLnTx/>
                  <a:uFillTx/>
                  <a:latin typeface="Aptos" panose="020B0004020202020204" pitchFamily="34" charset="0"/>
                </a:rPr>
                <a:t>DQ Check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Aptos" panose="020B0004020202020204" pitchFamily="34" charset="0"/>
                </a:rPr>
                <a:t>Attributes miss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Aptos" panose="020B0004020202020204" pitchFamily="34" charset="0"/>
                </a:rPr>
                <a:t>Additional attribut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Aptos" panose="020B0004020202020204" pitchFamily="34" charset="0"/>
                </a:rPr>
                <a:t>Attribute order mismatch</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Aptos" panose="020B0004020202020204" pitchFamily="34" charset="0"/>
                </a:rPr>
                <a:t>Data type mismatch</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Aptos" panose="020B0004020202020204" pitchFamily="34" charset="0"/>
                </a:rPr>
                <a:t>Null check</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Aptos" panose="020B0004020202020204" pitchFamily="34" charset="0"/>
                </a:rPr>
                <a:t>Empty file check</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Aptos" panose="020B0004020202020204" pitchFamily="34" charset="0"/>
                </a:rPr>
                <a:t>Exact duplicate row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Aptos" panose="020B0004020202020204" pitchFamily="34" charset="0"/>
                </a:rPr>
                <a:t>Size check</a:t>
              </a:r>
              <a:endParaRPr kumimoji="0" lang="en-IN" sz="800" b="0" i="0" u="none" strike="noStrike" kern="1200" cap="none" spc="0" normalizeH="0" baseline="0" noProof="0">
                <a:ln>
                  <a:noFill/>
                </a:ln>
                <a:solidFill>
                  <a:srgbClr val="000000"/>
                </a:solidFill>
                <a:effectLst/>
                <a:uLnTx/>
                <a:uFillTx/>
                <a:latin typeface="Aptos" panose="020B0004020202020204" pitchFamily="34" charset="0"/>
              </a:endParaRPr>
            </a:p>
          </p:txBody>
        </p:sp>
        <p:sp>
          <p:nvSpPr>
            <p:cNvPr id="5" name="TextBox 4">
              <a:extLst>
                <a:ext uri="{FF2B5EF4-FFF2-40B4-BE49-F238E27FC236}">
                  <a16:creationId xmlns:a16="http://schemas.microsoft.com/office/drawing/2014/main" id="{9EB4CA70-243D-D094-5B70-789F0CEE7ABF}"/>
                </a:ext>
              </a:extLst>
            </p:cNvPr>
            <p:cNvSpPr txBox="1"/>
            <p:nvPr/>
          </p:nvSpPr>
          <p:spPr>
            <a:xfrm>
              <a:off x="1853691" y="4556943"/>
              <a:ext cx="1522093" cy="847564"/>
            </a:xfrm>
            <a:prstGeom prst="rect">
              <a:avLst/>
            </a:prstGeom>
            <a:grp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bg1"/>
                  </a:solidFill>
                  <a:effectLst/>
                  <a:uLnTx/>
                  <a:uFillTx/>
                  <a:latin typeface="Aptos" panose="020B0004020202020204" pitchFamily="34" charset="0"/>
                </a:rPr>
                <a:t>Job Detai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Aptos" panose="020B0004020202020204" pitchFamily="34" charset="0"/>
                </a:rPr>
                <a:t>Batch execut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Aptos" panose="020B0004020202020204" pitchFamily="34" charset="0"/>
                </a:rPr>
                <a:t>Runs every 5 mi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800" b="0" i="0" u="none" strike="noStrike" kern="1200" cap="none" spc="0" normalizeH="0" baseline="0" noProof="0">
                  <a:ln>
                    <a:noFill/>
                  </a:ln>
                  <a:solidFill>
                    <a:srgbClr val="000000"/>
                  </a:solidFill>
                  <a:effectLst/>
                  <a:uLnTx/>
                  <a:uFillTx/>
                  <a:latin typeface="Aptos" panose="020B0004020202020204" pitchFamily="34" charset="0"/>
                </a:rPr>
                <a:t>Python script</a:t>
              </a:r>
            </a:p>
          </p:txBody>
        </p:sp>
      </p:grpSp>
      <p:grpSp>
        <p:nvGrpSpPr>
          <p:cNvPr id="7" name="Group 6">
            <a:extLst>
              <a:ext uri="{FF2B5EF4-FFF2-40B4-BE49-F238E27FC236}">
                <a16:creationId xmlns:a16="http://schemas.microsoft.com/office/drawing/2014/main" id="{685C4AC8-89B6-00F7-57A3-3FBA010155B8}"/>
              </a:ext>
            </a:extLst>
          </p:cNvPr>
          <p:cNvGrpSpPr/>
          <p:nvPr/>
        </p:nvGrpSpPr>
        <p:grpSpPr>
          <a:xfrm>
            <a:off x="1728207" y="3032049"/>
            <a:ext cx="567263" cy="644589"/>
            <a:chOff x="1465841" y="2110526"/>
            <a:chExt cx="769195" cy="874048"/>
          </a:xfrm>
          <a:noFill/>
        </p:grpSpPr>
        <p:pic>
          <p:nvPicPr>
            <p:cNvPr id="78" name="Picture 4">
              <a:extLst>
                <a:ext uri="{FF2B5EF4-FFF2-40B4-BE49-F238E27FC236}">
                  <a16:creationId xmlns:a16="http://schemas.microsoft.com/office/drawing/2014/main" id="{8D7C3FCC-9E85-5EBE-7128-DCD9CBF5455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41369" y="2110526"/>
              <a:ext cx="405487" cy="498465"/>
            </a:xfrm>
            <a:prstGeom prst="rect">
              <a:avLst/>
            </a:prstGeom>
            <a:grpFill/>
          </p:spPr>
        </p:pic>
        <p:sp>
          <p:nvSpPr>
            <p:cNvPr id="79" name="TextBox 78">
              <a:extLst>
                <a:ext uri="{FF2B5EF4-FFF2-40B4-BE49-F238E27FC236}">
                  <a16:creationId xmlns:a16="http://schemas.microsoft.com/office/drawing/2014/main" id="{2DD17627-2572-7D56-DADD-D87A89484202}"/>
                </a:ext>
              </a:extLst>
            </p:cNvPr>
            <p:cNvSpPr txBox="1"/>
            <p:nvPr/>
          </p:nvSpPr>
          <p:spPr>
            <a:xfrm>
              <a:off x="1465841" y="2567236"/>
              <a:ext cx="769195" cy="417338"/>
            </a:xfrm>
            <a:prstGeom prst="rect">
              <a:avLst/>
            </a:prstGeom>
            <a:grp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ptos" panose="020B0004020202020204" pitchFamily="34" charset="0"/>
                </a:rPr>
                <a:t>API Gateway</a:t>
              </a:r>
              <a:endParaRPr kumimoji="0" lang="en-IN" sz="700" b="0" i="0" u="none" strike="noStrike" kern="1200" cap="none" spc="0" normalizeH="0" baseline="0" noProof="0">
                <a:ln>
                  <a:noFill/>
                </a:ln>
                <a:solidFill>
                  <a:prstClr val="black"/>
                </a:solidFill>
                <a:effectLst/>
                <a:uLnTx/>
                <a:uFillTx/>
                <a:latin typeface="Aptos" panose="020B0004020202020204" pitchFamily="34" charset="0"/>
              </a:endParaRPr>
            </a:p>
          </p:txBody>
        </p:sp>
      </p:grpSp>
      <p:grpSp>
        <p:nvGrpSpPr>
          <p:cNvPr id="8" name="Group 7">
            <a:extLst>
              <a:ext uri="{FF2B5EF4-FFF2-40B4-BE49-F238E27FC236}">
                <a16:creationId xmlns:a16="http://schemas.microsoft.com/office/drawing/2014/main" id="{6EEB83B9-1655-D7D7-E25D-A58DA9C5403B}"/>
              </a:ext>
            </a:extLst>
          </p:cNvPr>
          <p:cNvGrpSpPr/>
          <p:nvPr/>
        </p:nvGrpSpPr>
        <p:grpSpPr>
          <a:xfrm>
            <a:off x="2504548" y="3007137"/>
            <a:ext cx="742290" cy="440077"/>
            <a:chOff x="2007581" y="3075093"/>
            <a:chExt cx="1006527" cy="596734"/>
          </a:xfrm>
          <a:noFill/>
        </p:grpSpPr>
        <p:pic>
          <p:nvPicPr>
            <p:cNvPr id="76" name="Picture 75">
              <a:extLst>
                <a:ext uri="{FF2B5EF4-FFF2-40B4-BE49-F238E27FC236}">
                  <a16:creationId xmlns:a16="http://schemas.microsoft.com/office/drawing/2014/main" id="{995124E1-3306-4937-6E48-C01E8CD1173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334621" y="3075093"/>
              <a:ext cx="416606" cy="438504"/>
            </a:xfrm>
            <a:prstGeom prst="rect">
              <a:avLst/>
            </a:prstGeom>
            <a:grpFill/>
          </p:spPr>
        </p:pic>
        <p:sp>
          <p:nvSpPr>
            <p:cNvPr id="77" name="TextBox 76">
              <a:extLst>
                <a:ext uri="{FF2B5EF4-FFF2-40B4-BE49-F238E27FC236}">
                  <a16:creationId xmlns:a16="http://schemas.microsoft.com/office/drawing/2014/main" id="{ABD8E62E-072D-D122-B745-4CB283E4C269}"/>
                </a:ext>
              </a:extLst>
            </p:cNvPr>
            <p:cNvSpPr txBox="1"/>
            <p:nvPr/>
          </p:nvSpPr>
          <p:spPr>
            <a:xfrm>
              <a:off x="2007581" y="3400558"/>
              <a:ext cx="1006527" cy="271269"/>
            </a:xfrm>
            <a:prstGeom prst="rect">
              <a:avLst/>
            </a:prstGeom>
            <a:grp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ptos" panose="020B0004020202020204" pitchFamily="34" charset="0"/>
                </a:rPr>
                <a:t>AWS Lambda</a:t>
              </a:r>
              <a:endParaRPr kumimoji="0" lang="en-IN" sz="700" b="0" i="0" u="none" strike="noStrike" kern="1200" cap="none" spc="0" normalizeH="0" baseline="0" noProof="0">
                <a:ln>
                  <a:noFill/>
                </a:ln>
                <a:solidFill>
                  <a:prstClr val="black"/>
                </a:solidFill>
                <a:effectLst/>
                <a:uLnTx/>
                <a:uFillTx/>
                <a:latin typeface="Aptos" panose="020B0004020202020204" pitchFamily="34" charset="0"/>
              </a:endParaRPr>
            </a:p>
          </p:txBody>
        </p:sp>
      </p:grpSp>
      <p:grpSp>
        <p:nvGrpSpPr>
          <p:cNvPr id="9" name="Group 8">
            <a:extLst>
              <a:ext uri="{FF2B5EF4-FFF2-40B4-BE49-F238E27FC236}">
                <a16:creationId xmlns:a16="http://schemas.microsoft.com/office/drawing/2014/main" id="{43F6F832-3283-FB03-E75A-4938C6C98087}"/>
              </a:ext>
            </a:extLst>
          </p:cNvPr>
          <p:cNvGrpSpPr/>
          <p:nvPr/>
        </p:nvGrpSpPr>
        <p:grpSpPr>
          <a:xfrm>
            <a:off x="5029541" y="3024552"/>
            <a:ext cx="865464" cy="541661"/>
            <a:chOff x="3417918" y="3025245"/>
            <a:chExt cx="1173546" cy="734479"/>
          </a:xfrm>
          <a:noFill/>
        </p:grpSpPr>
        <p:pic>
          <p:nvPicPr>
            <p:cNvPr id="74" name="Picture 73">
              <a:extLst>
                <a:ext uri="{FF2B5EF4-FFF2-40B4-BE49-F238E27FC236}">
                  <a16:creationId xmlns:a16="http://schemas.microsoft.com/office/drawing/2014/main" id="{32C9A75C-3447-4E14-C2AE-F2C5DDD1B12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768668" y="3025245"/>
              <a:ext cx="473514" cy="542995"/>
            </a:xfrm>
            <a:prstGeom prst="rect">
              <a:avLst/>
            </a:prstGeom>
            <a:grpFill/>
          </p:spPr>
        </p:pic>
        <p:sp>
          <p:nvSpPr>
            <p:cNvPr id="75" name="TextBox 74">
              <a:extLst>
                <a:ext uri="{FF2B5EF4-FFF2-40B4-BE49-F238E27FC236}">
                  <a16:creationId xmlns:a16="http://schemas.microsoft.com/office/drawing/2014/main" id="{125E9DCB-7180-0CB7-78BF-9714D2341716}"/>
                </a:ext>
              </a:extLst>
            </p:cNvPr>
            <p:cNvSpPr txBox="1"/>
            <p:nvPr/>
          </p:nvSpPr>
          <p:spPr>
            <a:xfrm>
              <a:off x="3417918" y="3488454"/>
              <a:ext cx="1173546" cy="271270"/>
            </a:xfrm>
            <a:prstGeom prst="rect">
              <a:avLst/>
            </a:prstGeom>
            <a:grp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ptos" panose="020B0004020202020204" pitchFamily="34" charset="0"/>
                </a:rPr>
                <a:t>Raw S3 Bucket</a:t>
              </a:r>
              <a:endParaRPr kumimoji="0" lang="en-IN" sz="700" b="0" i="0" u="none" strike="noStrike" kern="1200" cap="none" spc="0" normalizeH="0" baseline="0" noProof="0">
                <a:ln>
                  <a:noFill/>
                </a:ln>
                <a:solidFill>
                  <a:prstClr val="black"/>
                </a:solidFill>
                <a:effectLst/>
                <a:uLnTx/>
                <a:uFillTx/>
                <a:latin typeface="Aptos" panose="020B0004020202020204" pitchFamily="34" charset="0"/>
              </a:endParaRPr>
            </a:p>
          </p:txBody>
        </p:sp>
      </p:grpSp>
      <p:pic>
        <p:nvPicPr>
          <p:cNvPr id="10" name="Picture 12" descr="AWS Glue Integrations | AWS Glue Connectors and Automation | Tray.io">
            <a:extLst>
              <a:ext uri="{FF2B5EF4-FFF2-40B4-BE49-F238E27FC236}">
                <a16:creationId xmlns:a16="http://schemas.microsoft.com/office/drawing/2014/main" id="{05FFD775-30CA-EA5A-9440-1349DCFD2C7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331566" y="2405146"/>
            <a:ext cx="330593" cy="359484"/>
          </a:xfrm>
          <a:prstGeom prst="rect">
            <a:avLst/>
          </a:prstGeom>
          <a:solidFill>
            <a:srgbClr val="B5C1CE"/>
          </a:solidFill>
        </p:spPr>
      </p:pic>
      <p:sp>
        <p:nvSpPr>
          <p:cNvPr id="11" name="TextBox 10">
            <a:extLst>
              <a:ext uri="{FF2B5EF4-FFF2-40B4-BE49-F238E27FC236}">
                <a16:creationId xmlns:a16="http://schemas.microsoft.com/office/drawing/2014/main" id="{CAA45DF5-5480-0704-B70E-DF48E4D96FF7}"/>
              </a:ext>
            </a:extLst>
          </p:cNvPr>
          <p:cNvSpPr txBox="1"/>
          <p:nvPr/>
        </p:nvSpPr>
        <p:spPr>
          <a:xfrm>
            <a:off x="6952830" y="2782738"/>
            <a:ext cx="631721" cy="307777"/>
          </a:xfrm>
          <a:prstGeom prst="rect">
            <a:avLst/>
          </a:prstGeom>
          <a:solidFill>
            <a:srgbClr val="B5C1CE"/>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ptos" panose="020B0004020202020204" pitchFamily="34" charset="0"/>
              </a:rPr>
              <a:t>AWS Glue Job</a:t>
            </a:r>
            <a:endParaRPr kumimoji="0" lang="en-IN" sz="700" b="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12" name="TextBox 11">
            <a:extLst>
              <a:ext uri="{FF2B5EF4-FFF2-40B4-BE49-F238E27FC236}">
                <a16:creationId xmlns:a16="http://schemas.microsoft.com/office/drawing/2014/main" id="{D38AC809-802A-3281-B627-AD2607DC4067}"/>
              </a:ext>
            </a:extLst>
          </p:cNvPr>
          <p:cNvSpPr txBox="1"/>
          <p:nvPr/>
        </p:nvSpPr>
        <p:spPr>
          <a:xfrm>
            <a:off x="1011299" y="4750956"/>
            <a:ext cx="138823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Aptos" panose="020B0004020202020204" pitchFamily="34" charset="0"/>
              </a:rPr>
              <a:t>Success/Failure message for the uploaded file(s) will be shown to the user via UI as a popup	</a:t>
            </a:r>
            <a:endParaRPr kumimoji="0" lang="en-IN" sz="700" b="0" i="0" u="none" strike="noStrike" kern="1200" cap="none" spc="0" normalizeH="0" baseline="0" noProof="0">
              <a:ln>
                <a:noFill/>
              </a:ln>
              <a:solidFill>
                <a:srgbClr val="000000"/>
              </a:solidFill>
              <a:effectLst/>
              <a:uLnTx/>
              <a:uFillTx/>
              <a:latin typeface="Aptos" panose="020B0004020202020204" pitchFamily="34" charset="0"/>
            </a:endParaRPr>
          </a:p>
        </p:txBody>
      </p:sp>
      <p:sp>
        <p:nvSpPr>
          <p:cNvPr id="13" name="TextBox 12">
            <a:extLst>
              <a:ext uri="{FF2B5EF4-FFF2-40B4-BE49-F238E27FC236}">
                <a16:creationId xmlns:a16="http://schemas.microsoft.com/office/drawing/2014/main" id="{61C66345-A4D2-4EA4-6E2D-CB381F5D371A}"/>
              </a:ext>
            </a:extLst>
          </p:cNvPr>
          <p:cNvSpPr txBox="1"/>
          <p:nvPr/>
        </p:nvSpPr>
        <p:spPr>
          <a:xfrm>
            <a:off x="4077180" y="5425357"/>
            <a:ext cx="1654483"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Aptos" panose="020B0004020202020204" pitchFamily="34" charset="0"/>
              </a:rPr>
              <a:t>Trigger emails based on templates defined for each DQ result. Get the JSON payload and parse it. File links would be sent as pre-signed URLs</a:t>
            </a:r>
            <a:endParaRPr kumimoji="0" lang="en-IN" sz="700" b="0" i="0" u="none" strike="noStrike" kern="1200" cap="none" spc="0" normalizeH="0" baseline="0" noProof="0">
              <a:ln>
                <a:noFill/>
              </a:ln>
              <a:solidFill>
                <a:srgbClr val="000000"/>
              </a:solidFill>
              <a:effectLst/>
              <a:uLnTx/>
              <a:uFillTx/>
              <a:latin typeface="Aptos" panose="020B0004020202020204" pitchFamily="34" charset="0"/>
            </a:endParaRPr>
          </a:p>
        </p:txBody>
      </p:sp>
      <p:cxnSp>
        <p:nvCxnSpPr>
          <p:cNvPr id="14" name="Straight Arrow Connector 13">
            <a:extLst>
              <a:ext uri="{FF2B5EF4-FFF2-40B4-BE49-F238E27FC236}">
                <a16:creationId xmlns:a16="http://schemas.microsoft.com/office/drawing/2014/main" id="{701EE1ED-E5BB-0622-5774-2E12D80064D1}"/>
              </a:ext>
            </a:extLst>
          </p:cNvPr>
          <p:cNvCxnSpPr>
            <a:cxnSpLocks/>
          </p:cNvCxnSpPr>
          <p:nvPr/>
        </p:nvCxnSpPr>
        <p:spPr>
          <a:xfrm flipV="1">
            <a:off x="1036897" y="4317979"/>
            <a:ext cx="279077" cy="744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5" name="Group 14">
            <a:extLst>
              <a:ext uri="{FF2B5EF4-FFF2-40B4-BE49-F238E27FC236}">
                <a16:creationId xmlns:a16="http://schemas.microsoft.com/office/drawing/2014/main" id="{BC75FE63-0CC6-53E4-174D-7DAFDAD8C716}"/>
              </a:ext>
            </a:extLst>
          </p:cNvPr>
          <p:cNvGrpSpPr/>
          <p:nvPr/>
        </p:nvGrpSpPr>
        <p:grpSpPr>
          <a:xfrm>
            <a:off x="628129" y="4173743"/>
            <a:ext cx="514163" cy="439471"/>
            <a:chOff x="-56583" y="3093680"/>
            <a:chExt cx="697192" cy="595910"/>
          </a:xfrm>
          <a:noFill/>
        </p:grpSpPr>
        <p:sp>
          <p:nvSpPr>
            <p:cNvPr id="72" name="TextBox 71">
              <a:extLst>
                <a:ext uri="{FF2B5EF4-FFF2-40B4-BE49-F238E27FC236}">
                  <a16:creationId xmlns:a16="http://schemas.microsoft.com/office/drawing/2014/main" id="{592F8E21-3B19-D874-79DA-52BB07BB5033}"/>
                </a:ext>
              </a:extLst>
            </p:cNvPr>
            <p:cNvSpPr txBox="1"/>
            <p:nvPr/>
          </p:nvSpPr>
          <p:spPr>
            <a:xfrm>
              <a:off x="-56583" y="3418321"/>
              <a:ext cx="697192" cy="271269"/>
            </a:xfrm>
            <a:prstGeom prst="rect">
              <a:avLst/>
            </a:prstGeom>
            <a:grp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ptos" panose="020B0004020202020204" pitchFamily="34" charset="0"/>
                </a:rPr>
                <a:t>Supplier</a:t>
              </a:r>
              <a:endParaRPr kumimoji="0" lang="en-IN" sz="700" b="0" i="0" u="none" strike="noStrike" kern="1200" cap="none" spc="0" normalizeH="0" baseline="0" noProof="0">
                <a:ln>
                  <a:noFill/>
                </a:ln>
                <a:solidFill>
                  <a:prstClr val="black"/>
                </a:solidFill>
                <a:effectLst/>
                <a:uLnTx/>
                <a:uFillTx/>
                <a:latin typeface="Aptos" panose="020B0004020202020204" pitchFamily="34" charset="0"/>
              </a:endParaRPr>
            </a:p>
          </p:txBody>
        </p:sp>
        <p:pic>
          <p:nvPicPr>
            <p:cNvPr id="73" name="Graphic 72" descr="Users outline">
              <a:extLst>
                <a:ext uri="{FF2B5EF4-FFF2-40B4-BE49-F238E27FC236}">
                  <a16:creationId xmlns:a16="http://schemas.microsoft.com/office/drawing/2014/main" id="{D17C8D93-E533-2FEC-5848-E6C5D91D518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6329" y="3093680"/>
              <a:ext cx="411367" cy="411367"/>
            </a:xfrm>
            <a:prstGeom prst="rect">
              <a:avLst/>
            </a:prstGeom>
          </p:spPr>
        </p:pic>
      </p:grpSp>
      <p:grpSp>
        <p:nvGrpSpPr>
          <p:cNvPr id="16" name="Group 15">
            <a:extLst>
              <a:ext uri="{FF2B5EF4-FFF2-40B4-BE49-F238E27FC236}">
                <a16:creationId xmlns:a16="http://schemas.microsoft.com/office/drawing/2014/main" id="{FF63175A-1557-6BC4-9879-82F514729409}"/>
              </a:ext>
            </a:extLst>
          </p:cNvPr>
          <p:cNvGrpSpPr/>
          <p:nvPr/>
        </p:nvGrpSpPr>
        <p:grpSpPr>
          <a:xfrm>
            <a:off x="1147260" y="4141391"/>
            <a:ext cx="634691" cy="576601"/>
            <a:chOff x="612565" y="3606604"/>
            <a:chExt cx="860625" cy="781856"/>
          </a:xfrm>
          <a:noFill/>
        </p:grpSpPr>
        <p:pic>
          <p:nvPicPr>
            <p:cNvPr id="70" name="Picture 6" descr="GUI color icon. Graphical user interface. Graphical desktop environment.  Computer monitor. Isolated vector illustration 5174852 Vector Art at  Vecteezy">
              <a:extLst>
                <a:ext uri="{FF2B5EF4-FFF2-40B4-BE49-F238E27FC236}">
                  <a16:creationId xmlns:a16="http://schemas.microsoft.com/office/drawing/2014/main" id="{5D267DE3-3A8E-922D-9BA2-A7F4C4ED9D35}"/>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41337" y="3606604"/>
              <a:ext cx="449431" cy="478896"/>
            </a:xfrm>
            <a:prstGeom prst="rect">
              <a:avLst/>
            </a:prstGeom>
            <a:grpFill/>
          </p:spPr>
        </p:pic>
        <p:sp>
          <p:nvSpPr>
            <p:cNvPr id="71" name="TextBox 70">
              <a:extLst>
                <a:ext uri="{FF2B5EF4-FFF2-40B4-BE49-F238E27FC236}">
                  <a16:creationId xmlns:a16="http://schemas.microsoft.com/office/drawing/2014/main" id="{D6C02C7D-1676-0434-BCDB-19DFF93ECF0E}"/>
                </a:ext>
              </a:extLst>
            </p:cNvPr>
            <p:cNvSpPr txBox="1"/>
            <p:nvPr/>
          </p:nvSpPr>
          <p:spPr>
            <a:xfrm>
              <a:off x="612565" y="3971122"/>
              <a:ext cx="860625" cy="417338"/>
            </a:xfrm>
            <a:prstGeom prst="rect">
              <a:avLst/>
            </a:prstGeom>
            <a:grp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ptos" panose="020B0004020202020204" pitchFamily="34" charset="0"/>
                </a:rPr>
                <a:t> File Upload UI</a:t>
              </a:r>
              <a:endParaRPr kumimoji="0" lang="en-IN" sz="700" b="0" i="0" u="none" strike="noStrike" kern="1200" cap="none" spc="0" normalizeH="0" baseline="0" noProof="0">
                <a:ln>
                  <a:noFill/>
                </a:ln>
                <a:solidFill>
                  <a:prstClr val="black"/>
                </a:solidFill>
                <a:effectLst/>
                <a:uLnTx/>
                <a:uFillTx/>
                <a:latin typeface="Aptos" panose="020B0004020202020204" pitchFamily="34" charset="0"/>
              </a:endParaRPr>
            </a:p>
          </p:txBody>
        </p:sp>
      </p:grpSp>
      <p:cxnSp>
        <p:nvCxnSpPr>
          <p:cNvPr id="17" name="Connector: Elbow 16">
            <a:extLst>
              <a:ext uri="{FF2B5EF4-FFF2-40B4-BE49-F238E27FC236}">
                <a16:creationId xmlns:a16="http://schemas.microsoft.com/office/drawing/2014/main" id="{C8A24834-8E25-B708-77EF-154C610303D6}"/>
              </a:ext>
            </a:extLst>
          </p:cNvPr>
          <p:cNvCxnSpPr>
            <a:cxnSpLocks/>
          </p:cNvCxnSpPr>
          <p:nvPr/>
        </p:nvCxnSpPr>
        <p:spPr>
          <a:xfrm rot="5400000">
            <a:off x="1753763" y="3311616"/>
            <a:ext cx="986332" cy="125752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221012D7-C604-B94A-7AE3-0B48402FD46B}"/>
              </a:ext>
            </a:extLst>
          </p:cNvPr>
          <p:cNvGrpSpPr/>
          <p:nvPr/>
        </p:nvGrpSpPr>
        <p:grpSpPr>
          <a:xfrm>
            <a:off x="3187227" y="1769357"/>
            <a:ext cx="742290" cy="440077"/>
            <a:chOff x="2007581" y="3075093"/>
            <a:chExt cx="1006527" cy="596734"/>
          </a:xfrm>
          <a:noFill/>
        </p:grpSpPr>
        <p:pic>
          <p:nvPicPr>
            <p:cNvPr id="68" name="Picture 67">
              <a:extLst>
                <a:ext uri="{FF2B5EF4-FFF2-40B4-BE49-F238E27FC236}">
                  <a16:creationId xmlns:a16="http://schemas.microsoft.com/office/drawing/2014/main" id="{410E709C-CB2B-843B-51CA-20B2B95C703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334621" y="3075093"/>
              <a:ext cx="416606" cy="438504"/>
            </a:xfrm>
            <a:prstGeom prst="rect">
              <a:avLst/>
            </a:prstGeom>
            <a:grpFill/>
          </p:spPr>
        </p:pic>
        <p:sp>
          <p:nvSpPr>
            <p:cNvPr id="69" name="TextBox 68">
              <a:extLst>
                <a:ext uri="{FF2B5EF4-FFF2-40B4-BE49-F238E27FC236}">
                  <a16:creationId xmlns:a16="http://schemas.microsoft.com/office/drawing/2014/main" id="{BD0A489B-C320-BB33-3A68-A4B2AAE08464}"/>
                </a:ext>
              </a:extLst>
            </p:cNvPr>
            <p:cNvSpPr txBox="1"/>
            <p:nvPr/>
          </p:nvSpPr>
          <p:spPr>
            <a:xfrm>
              <a:off x="2007581" y="3400558"/>
              <a:ext cx="1006527" cy="271269"/>
            </a:xfrm>
            <a:prstGeom prst="rect">
              <a:avLst/>
            </a:prstGeom>
            <a:grp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ptos" panose="020B0004020202020204" pitchFamily="34" charset="0"/>
                </a:rPr>
                <a:t>AWS Lambda</a:t>
              </a:r>
              <a:endParaRPr kumimoji="0" lang="en-IN" sz="700" b="0" i="0" u="none" strike="noStrike" kern="1200" cap="none" spc="0" normalizeH="0" baseline="0" noProof="0">
                <a:ln>
                  <a:noFill/>
                </a:ln>
                <a:solidFill>
                  <a:prstClr val="black"/>
                </a:solidFill>
                <a:effectLst/>
                <a:uLnTx/>
                <a:uFillTx/>
                <a:latin typeface="Aptos" panose="020B0004020202020204" pitchFamily="34" charset="0"/>
              </a:endParaRPr>
            </a:p>
          </p:txBody>
        </p:sp>
      </p:grpSp>
      <p:cxnSp>
        <p:nvCxnSpPr>
          <p:cNvPr id="19" name="Connector: Elbow 18">
            <a:extLst>
              <a:ext uri="{FF2B5EF4-FFF2-40B4-BE49-F238E27FC236}">
                <a16:creationId xmlns:a16="http://schemas.microsoft.com/office/drawing/2014/main" id="{AC1750E6-CADA-957A-E49B-63C91B872A60}"/>
              </a:ext>
            </a:extLst>
          </p:cNvPr>
          <p:cNvCxnSpPr>
            <a:cxnSpLocks/>
          </p:cNvCxnSpPr>
          <p:nvPr/>
        </p:nvCxnSpPr>
        <p:spPr>
          <a:xfrm rot="16200000" flipV="1">
            <a:off x="4103033" y="1664774"/>
            <a:ext cx="815119" cy="1904439"/>
          </a:xfrm>
          <a:prstGeom prst="bentConnector3">
            <a:avLst>
              <a:gd name="adj1" fmla="val 13476"/>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4259661C-8EA5-0442-46B3-2C46F539391A}"/>
              </a:ext>
            </a:extLst>
          </p:cNvPr>
          <p:cNvCxnSpPr>
            <a:cxnSpLocks/>
          </p:cNvCxnSpPr>
          <p:nvPr/>
        </p:nvCxnSpPr>
        <p:spPr>
          <a:xfrm rot="5400000" flipH="1" flipV="1">
            <a:off x="1206907" y="3490643"/>
            <a:ext cx="925539" cy="37595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AA9E3BA0-4806-0AFC-1F48-40CF86784EA5}"/>
              </a:ext>
            </a:extLst>
          </p:cNvPr>
          <p:cNvCxnSpPr>
            <a:cxnSpLocks/>
          </p:cNvCxnSpPr>
          <p:nvPr/>
        </p:nvCxnSpPr>
        <p:spPr>
          <a:xfrm flipV="1">
            <a:off x="2156692" y="3214033"/>
            <a:ext cx="533468" cy="181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0C67E874-7F1B-0E44-201E-31F57C5EE6AB}"/>
              </a:ext>
            </a:extLst>
          </p:cNvPr>
          <p:cNvCxnSpPr>
            <a:cxnSpLocks/>
          </p:cNvCxnSpPr>
          <p:nvPr/>
        </p:nvCxnSpPr>
        <p:spPr>
          <a:xfrm flipV="1">
            <a:off x="3035153" y="3224776"/>
            <a:ext cx="2253055" cy="1475"/>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 name="Connector: Elbow 22">
            <a:extLst>
              <a:ext uri="{FF2B5EF4-FFF2-40B4-BE49-F238E27FC236}">
                <a16:creationId xmlns:a16="http://schemas.microsoft.com/office/drawing/2014/main" id="{FFC2255A-AACA-C642-00F2-5FCDA0445012}"/>
              </a:ext>
            </a:extLst>
          </p:cNvPr>
          <p:cNvCxnSpPr>
            <a:cxnSpLocks/>
          </p:cNvCxnSpPr>
          <p:nvPr/>
        </p:nvCxnSpPr>
        <p:spPr>
          <a:xfrm flipV="1">
            <a:off x="3735649" y="1930761"/>
            <a:ext cx="1534540" cy="289"/>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6E4AE541-CAB1-F747-42C9-5C0B85C7A075}"/>
              </a:ext>
            </a:extLst>
          </p:cNvPr>
          <p:cNvGrpSpPr/>
          <p:nvPr/>
        </p:nvGrpSpPr>
        <p:grpSpPr>
          <a:xfrm>
            <a:off x="4463949" y="4887154"/>
            <a:ext cx="676473" cy="567276"/>
            <a:chOff x="2007581" y="3075093"/>
            <a:chExt cx="1006527" cy="711480"/>
          </a:xfrm>
          <a:noFill/>
        </p:grpSpPr>
        <p:pic>
          <p:nvPicPr>
            <p:cNvPr id="66" name="Picture 65">
              <a:extLst>
                <a:ext uri="{FF2B5EF4-FFF2-40B4-BE49-F238E27FC236}">
                  <a16:creationId xmlns:a16="http://schemas.microsoft.com/office/drawing/2014/main" id="{A7C1A8F0-8A1F-1922-F8B8-B73708B6F5A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334621" y="3075093"/>
              <a:ext cx="416606" cy="438504"/>
            </a:xfrm>
            <a:prstGeom prst="rect">
              <a:avLst/>
            </a:prstGeom>
            <a:grpFill/>
          </p:spPr>
        </p:pic>
        <p:sp>
          <p:nvSpPr>
            <p:cNvPr id="67" name="TextBox 66">
              <a:extLst>
                <a:ext uri="{FF2B5EF4-FFF2-40B4-BE49-F238E27FC236}">
                  <a16:creationId xmlns:a16="http://schemas.microsoft.com/office/drawing/2014/main" id="{6FB3AA70-69A0-BC1E-8D08-783A6A42881C}"/>
                </a:ext>
              </a:extLst>
            </p:cNvPr>
            <p:cNvSpPr txBox="1"/>
            <p:nvPr/>
          </p:nvSpPr>
          <p:spPr>
            <a:xfrm>
              <a:off x="2007581" y="3400557"/>
              <a:ext cx="1006527" cy="386016"/>
            </a:xfrm>
            <a:prstGeom prst="rect">
              <a:avLst/>
            </a:prstGeom>
            <a:grp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ptos" panose="020B0004020202020204" pitchFamily="34" charset="0"/>
                </a:rPr>
                <a:t>AWS Lambda</a:t>
              </a:r>
              <a:endParaRPr kumimoji="0" lang="en-IN" sz="700" b="0" i="0" u="none" strike="noStrike" kern="1200" cap="none" spc="0" normalizeH="0" baseline="0" noProof="0">
                <a:ln>
                  <a:noFill/>
                </a:ln>
                <a:solidFill>
                  <a:prstClr val="black"/>
                </a:solidFill>
                <a:effectLst/>
                <a:uLnTx/>
                <a:uFillTx/>
                <a:latin typeface="Aptos" panose="020B0004020202020204" pitchFamily="34" charset="0"/>
              </a:endParaRPr>
            </a:p>
          </p:txBody>
        </p:sp>
      </p:grpSp>
      <p:cxnSp>
        <p:nvCxnSpPr>
          <p:cNvPr id="25" name="Connector: Elbow 24">
            <a:extLst>
              <a:ext uri="{FF2B5EF4-FFF2-40B4-BE49-F238E27FC236}">
                <a16:creationId xmlns:a16="http://schemas.microsoft.com/office/drawing/2014/main" id="{7080D128-297A-FB0A-FF6B-EEF5AF3E8DA7}"/>
              </a:ext>
            </a:extLst>
          </p:cNvPr>
          <p:cNvCxnSpPr>
            <a:cxnSpLocks/>
          </p:cNvCxnSpPr>
          <p:nvPr/>
        </p:nvCxnSpPr>
        <p:spPr>
          <a:xfrm>
            <a:off x="3735649" y="1931051"/>
            <a:ext cx="1615046" cy="587006"/>
          </a:xfrm>
          <a:prstGeom prst="bentConnector3">
            <a:avLst>
              <a:gd name="adj1" fmla="val 14572"/>
            </a:avLst>
          </a:prstGeom>
          <a:ln>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CA1E08F8-6EF1-B688-37A6-16DA277F7B9A}"/>
              </a:ext>
            </a:extLst>
          </p:cNvPr>
          <p:cNvSpPr txBox="1"/>
          <p:nvPr/>
        </p:nvSpPr>
        <p:spPr>
          <a:xfrm>
            <a:off x="2953894" y="1389892"/>
            <a:ext cx="1073535"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70C0"/>
                </a:solidFill>
                <a:effectLst/>
                <a:uLnTx/>
                <a:uFillTx/>
                <a:latin typeface="Aptos" panose="020B0004020202020204" pitchFamily="34" charset="0"/>
              </a:rPr>
              <a:t>File Upload Service</a:t>
            </a:r>
            <a:endParaRPr kumimoji="0" lang="en-IN" sz="1000" b="1" i="0" u="none" strike="noStrike" kern="1200" cap="none" spc="0" normalizeH="0" baseline="0" noProof="0">
              <a:ln>
                <a:noFill/>
              </a:ln>
              <a:solidFill>
                <a:srgbClr val="0070C0"/>
              </a:solidFill>
              <a:effectLst/>
              <a:uLnTx/>
              <a:uFillTx/>
              <a:latin typeface="Aptos" panose="020B0004020202020204" pitchFamily="34" charset="0"/>
            </a:endParaRPr>
          </a:p>
        </p:txBody>
      </p:sp>
      <p:sp>
        <p:nvSpPr>
          <p:cNvPr id="35" name="TextBox 34">
            <a:extLst>
              <a:ext uri="{FF2B5EF4-FFF2-40B4-BE49-F238E27FC236}">
                <a16:creationId xmlns:a16="http://schemas.microsoft.com/office/drawing/2014/main" id="{924C88D3-029C-1AF9-D2C7-4425F1B64ED8}"/>
              </a:ext>
            </a:extLst>
          </p:cNvPr>
          <p:cNvSpPr txBox="1"/>
          <p:nvPr/>
        </p:nvSpPr>
        <p:spPr>
          <a:xfrm>
            <a:off x="6703113" y="1762732"/>
            <a:ext cx="1073535"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70C0"/>
                </a:solidFill>
                <a:effectLst/>
                <a:uLnTx/>
                <a:uFillTx/>
                <a:latin typeface="Aptos" panose="020B0004020202020204" pitchFamily="34" charset="0"/>
              </a:rPr>
              <a:t>File Ingestion Service</a:t>
            </a:r>
            <a:endParaRPr kumimoji="0" lang="en-IN" sz="1000" b="1" i="0" u="none" strike="noStrike" kern="1200" cap="none" spc="0" normalizeH="0" baseline="0" noProof="0">
              <a:ln>
                <a:noFill/>
              </a:ln>
              <a:solidFill>
                <a:srgbClr val="0070C0"/>
              </a:solidFill>
              <a:effectLst/>
              <a:uLnTx/>
              <a:uFillTx/>
              <a:latin typeface="Aptos" panose="020B0004020202020204" pitchFamily="34" charset="0"/>
            </a:endParaRPr>
          </a:p>
        </p:txBody>
      </p:sp>
      <p:grpSp>
        <p:nvGrpSpPr>
          <p:cNvPr id="36" name="Group 35">
            <a:extLst>
              <a:ext uri="{FF2B5EF4-FFF2-40B4-BE49-F238E27FC236}">
                <a16:creationId xmlns:a16="http://schemas.microsoft.com/office/drawing/2014/main" id="{C22E889B-FE8E-D4EC-9E60-F006788AF9D1}"/>
              </a:ext>
            </a:extLst>
          </p:cNvPr>
          <p:cNvGrpSpPr/>
          <p:nvPr/>
        </p:nvGrpSpPr>
        <p:grpSpPr>
          <a:xfrm>
            <a:off x="5125234" y="2385096"/>
            <a:ext cx="683009" cy="542968"/>
            <a:chOff x="5835655" y="2714088"/>
            <a:chExt cx="926143" cy="736251"/>
          </a:xfrm>
          <a:noFill/>
        </p:grpSpPr>
        <p:pic>
          <p:nvPicPr>
            <p:cNvPr id="64" name="Picture 16" descr="aws icon, cloudwatch icon">
              <a:extLst>
                <a:ext uri="{FF2B5EF4-FFF2-40B4-BE49-F238E27FC236}">
                  <a16:creationId xmlns:a16="http://schemas.microsoft.com/office/drawing/2014/main" id="{D8E67776-17C8-2DF1-51BA-749ED4A8D654}"/>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141374" y="2714088"/>
              <a:ext cx="360582" cy="360582"/>
            </a:xfrm>
            <a:prstGeom prst="rect">
              <a:avLst/>
            </a:prstGeom>
            <a:grpFill/>
          </p:spPr>
        </p:pic>
        <p:sp>
          <p:nvSpPr>
            <p:cNvPr id="65" name="TextBox 64">
              <a:extLst>
                <a:ext uri="{FF2B5EF4-FFF2-40B4-BE49-F238E27FC236}">
                  <a16:creationId xmlns:a16="http://schemas.microsoft.com/office/drawing/2014/main" id="{30EBEA70-7113-4EA9-2EAF-0582A907EC1B}"/>
                </a:ext>
              </a:extLst>
            </p:cNvPr>
            <p:cNvSpPr txBox="1"/>
            <p:nvPr/>
          </p:nvSpPr>
          <p:spPr>
            <a:xfrm>
              <a:off x="5835655" y="3033001"/>
              <a:ext cx="926143" cy="417338"/>
            </a:xfrm>
            <a:prstGeom prst="rect">
              <a:avLst/>
            </a:prstGeom>
            <a:grp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ptos" panose="020B0004020202020204" pitchFamily="34" charset="0"/>
                </a:rPr>
                <a:t>AWS Cloud Watch</a:t>
              </a:r>
              <a:endParaRPr kumimoji="0" lang="en-IN" sz="700" b="0" i="0" u="none" strike="noStrike" kern="1200" cap="none" spc="0" normalizeH="0" baseline="0" noProof="0">
                <a:ln>
                  <a:noFill/>
                </a:ln>
                <a:solidFill>
                  <a:prstClr val="black"/>
                </a:solidFill>
                <a:effectLst/>
                <a:uLnTx/>
                <a:uFillTx/>
                <a:latin typeface="Aptos" panose="020B0004020202020204" pitchFamily="34" charset="0"/>
              </a:endParaRPr>
            </a:p>
          </p:txBody>
        </p:sp>
      </p:grpSp>
      <p:cxnSp>
        <p:nvCxnSpPr>
          <p:cNvPr id="38" name="Connector: Elbow 37">
            <a:extLst>
              <a:ext uri="{FF2B5EF4-FFF2-40B4-BE49-F238E27FC236}">
                <a16:creationId xmlns:a16="http://schemas.microsoft.com/office/drawing/2014/main" id="{BF6A9A8D-9C8D-70EA-2EB3-FCCB3BEAB7F3}"/>
              </a:ext>
            </a:extLst>
          </p:cNvPr>
          <p:cNvCxnSpPr>
            <a:cxnSpLocks/>
          </p:cNvCxnSpPr>
          <p:nvPr/>
        </p:nvCxnSpPr>
        <p:spPr>
          <a:xfrm rot="10800000" flipV="1">
            <a:off x="5637418" y="2693849"/>
            <a:ext cx="1694149" cy="605855"/>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B8FBF7EF-CE50-553D-8A37-620A6FD6605D}"/>
              </a:ext>
            </a:extLst>
          </p:cNvPr>
          <p:cNvSpPr txBox="1"/>
          <p:nvPr/>
        </p:nvSpPr>
        <p:spPr>
          <a:xfrm>
            <a:off x="5145768" y="4394533"/>
            <a:ext cx="1073535"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70C0"/>
                </a:solidFill>
                <a:effectLst/>
                <a:uLnTx/>
                <a:uFillTx/>
                <a:latin typeface="Aptos" panose="020B0004020202020204" pitchFamily="34" charset="0"/>
              </a:rPr>
              <a:t>Notification Service</a:t>
            </a:r>
            <a:endParaRPr kumimoji="0" lang="en-IN" sz="1000" b="1" i="0" u="none" strike="noStrike" kern="1200" cap="none" spc="0" normalizeH="0" baseline="0" noProof="0">
              <a:ln>
                <a:noFill/>
              </a:ln>
              <a:solidFill>
                <a:srgbClr val="0070C0"/>
              </a:solidFill>
              <a:effectLst/>
              <a:uLnTx/>
              <a:uFillTx/>
              <a:latin typeface="Aptos" panose="020B0004020202020204" pitchFamily="34" charset="0"/>
            </a:endParaRPr>
          </a:p>
        </p:txBody>
      </p:sp>
      <p:cxnSp>
        <p:nvCxnSpPr>
          <p:cNvPr id="40" name="Connector: Elbow 39">
            <a:extLst>
              <a:ext uri="{FF2B5EF4-FFF2-40B4-BE49-F238E27FC236}">
                <a16:creationId xmlns:a16="http://schemas.microsoft.com/office/drawing/2014/main" id="{6B03A66C-602F-26E8-0CD1-DC0DF3768AAF}"/>
              </a:ext>
            </a:extLst>
          </p:cNvPr>
          <p:cNvCxnSpPr>
            <a:cxnSpLocks/>
            <a:stCxn id="10" idx="2"/>
          </p:cNvCxnSpPr>
          <p:nvPr/>
        </p:nvCxnSpPr>
        <p:spPr>
          <a:xfrm rot="5400000">
            <a:off x="5099045" y="2489329"/>
            <a:ext cx="2122517" cy="2673120"/>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1" name="Connector: Elbow 24">
            <a:extLst>
              <a:ext uri="{FF2B5EF4-FFF2-40B4-BE49-F238E27FC236}">
                <a16:creationId xmlns:a16="http://schemas.microsoft.com/office/drawing/2014/main" id="{85F95C30-A229-DF35-92C9-8989D2829AE6}"/>
              </a:ext>
            </a:extLst>
          </p:cNvPr>
          <p:cNvCxnSpPr>
            <a:cxnSpLocks/>
          </p:cNvCxnSpPr>
          <p:nvPr/>
        </p:nvCxnSpPr>
        <p:spPr>
          <a:xfrm>
            <a:off x="4963741" y="5061960"/>
            <a:ext cx="118607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Connector: Elbow 41">
            <a:extLst>
              <a:ext uri="{FF2B5EF4-FFF2-40B4-BE49-F238E27FC236}">
                <a16:creationId xmlns:a16="http://schemas.microsoft.com/office/drawing/2014/main" id="{4267FE60-E57B-E8E6-303F-95BD3D80865C}"/>
              </a:ext>
            </a:extLst>
          </p:cNvPr>
          <p:cNvCxnSpPr>
            <a:cxnSpLocks/>
          </p:cNvCxnSpPr>
          <p:nvPr/>
        </p:nvCxnSpPr>
        <p:spPr>
          <a:xfrm rot="10800000">
            <a:off x="5669578" y="1930762"/>
            <a:ext cx="1661989" cy="497346"/>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Connector: Elbow 42">
            <a:extLst>
              <a:ext uri="{FF2B5EF4-FFF2-40B4-BE49-F238E27FC236}">
                <a16:creationId xmlns:a16="http://schemas.microsoft.com/office/drawing/2014/main" id="{F8CD5757-7054-DB4A-282E-EEBA2C49E2F0}"/>
              </a:ext>
            </a:extLst>
          </p:cNvPr>
          <p:cNvCxnSpPr>
            <a:cxnSpLocks/>
            <a:stCxn id="10" idx="1"/>
          </p:cNvCxnSpPr>
          <p:nvPr/>
        </p:nvCxnSpPr>
        <p:spPr>
          <a:xfrm rot="10800000">
            <a:off x="5616616" y="2518058"/>
            <a:ext cx="1714951" cy="6683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5" name="Connector: Elbow 44">
            <a:extLst>
              <a:ext uri="{FF2B5EF4-FFF2-40B4-BE49-F238E27FC236}">
                <a16:creationId xmlns:a16="http://schemas.microsoft.com/office/drawing/2014/main" id="{D3745C15-7E36-2F47-20D2-F76B8A762033}"/>
              </a:ext>
            </a:extLst>
          </p:cNvPr>
          <p:cNvCxnSpPr>
            <a:cxnSpLocks/>
          </p:cNvCxnSpPr>
          <p:nvPr/>
        </p:nvCxnSpPr>
        <p:spPr>
          <a:xfrm rot="10800000" flipH="1">
            <a:off x="4683746" y="2518057"/>
            <a:ext cx="666949" cy="2543904"/>
          </a:xfrm>
          <a:prstGeom prst="bentConnector3">
            <a:avLst>
              <a:gd name="adj1" fmla="val -25277"/>
            </a:avLst>
          </a:prstGeom>
          <a:ln>
            <a:tailEnd type="triangle"/>
          </a:ln>
        </p:spPr>
        <p:style>
          <a:lnRef idx="1">
            <a:schemeClr val="accent1"/>
          </a:lnRef>
          <a:fillRef idx="0">
            <a:schemeClr val="accent1"/>
          </a:fillRef>
          <a:effectRef idx="0">
            <a:schemeClr val="accent1"/>
          </a:effectRef>
          <a:fontRef idx="minor">
            <a:schemeClr val="tx1"/>
          </a:fontRef>
        </p:style>
      </p:cxnSp>
      <p:pic>
        <p:nvPicPr>
          <p:cNvPr id="50" name="Picture 4" descr="The Python Logo | Python Software Foundation">
            <a:extLst>
              <a:ext uri="{FF2B5EF4-FFF2-40B4-BE49-F238E27FC236}">
                <a16:creationId xmlns:a16="http://schemas.microsoft.com/office/drawing/2014/main" id="{CE64F62F-38E5-5E00-0394-86B6A82CE172}"/>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167756" y="2175962"/>
            <a:ext cx="618579" cy="207791"/>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10">
            <a:extLst>
              <a:ext uri="{FF2B5EF4-FFF2-40B4-BE49-F238E27FC236}">
                <a16:creationId xmlns:a16="http://schemas.microsoft.com/office/drawing/2014/main" id="{20F909CE-7028-410A-DE09-1DDB9A67E1DF}"/>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112539" y="4976625"/>
            <a:ext cx="676471" cy="249676"/>
          </a:xfrm>
          <a:prstGeom prst="rect">
            <a:avLst/>
          </a:prstGeom>
          <a:solidFill>
            <a:srgbClr val="B5C1CE"/>
          </a:solidFill>
        </p:spPr>
      </p:pic>
      <p:pic>
        <p:nvPicPr>
          <p:cNvPr id="52" name="Picture 6">
            <a:extLst>
              <a:ext uri="{FF2B5EF4-FFF2-40B4-BE49-F238E27FC236}">
                <a16:creationId xmlns:a16="http://schemas.microsoft.com/office/drawing/2014/main" id="{35816729-64D0-D3AD-7F3D-A0DDDB60DAEF}"/>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022477" y="2642175"/>
            <a:ext cx="504144" cy="480529"/>
          </a:xfrm>
          <a:prstGeom prst="rect">
            <a:avLst/>
          </a:prstGeom>
          <a:noFill/>
          <a:extLst>
            <a:ext uri="{909E8E84-426E-40DD-AFC4-6F175D3DCCD1}">
              <a14:hiddenFill xmlns:a14="http://schemas.microsoft.com/office/drawing/2010/main">
                <a:solidFill>
                  <a:srgbClr val="FFFFFF"/>
                </a:solidFill>
              </a14:hiddenFill>
            </a:ext>
          </a:extLst>
        </p:spPr>
      </p:pic>
      <p:cxnSp>
        <p:nvCxnSpPr>
          <p:cNvPr id="53" name="Straight Arrow Connector 52">
            <a:extLst>
              <a:ext uri="{FF2B5EF4-FFF2-40B4-BE49-F238E27FC236}">
                <a16:creationId xmlns:a16="http://schemas.microsoft.com/office/drawing/2014/main" id="{79EB8A6E-6C98-D540-5E15-AD220F08F82E}"/>
              </a:ext>
            </a:extLst>
          </p:cNvPr>
          <p:cNvCxnSpPr>
            <a:cxnSpLocks/>
          </p:cNvCxnSpPr>
          <p:nvPr/>
        </p:nvCxnSpPr>
        <p:spPr>
          <a:xfrm flipH="1">
            <a:off x="1364858" y="3122704"/>
            <a:ext cx="7654" cy="1032398"/>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56" name="Group 55">
            <a:extLst>
              <a:ext uri="{FF2B5EF4-FFF2-40B4-BE49-F238E27FC236}">
                <a16:creationId xmlns:a16="http://schemas.microsoft.com/office/drawing/2014/main" id="{E9256C30-15A7-9FC8-EBC2-F2F8A6A51D0B}"/>
              </a:ext>
            </a:extLst>
          </p:cNvPr>
          <p:cNvGrpSpPr/>
          <p:nvPr/>
        </p:nvGrpSpPr>
        <p:grpSpPr>
          <a:xfrm>
            <a:off x="5133206" y="3744681"/>
            <a:ext cx="662515" cy="604560"/>
            <a:chOff x="3549857" y="3086025"/>
            <a:chExt cx="898355" cy="819768"/>
          </a:xfrm>
          <a:noFill/>
        </p:grpSpPr>
        <p:pic>
          <p:nvPicPr>
            <p:cNvPr id="60" name="Picture 59">
              <a:extLst>
                <a:ext uri="{FF2B5EF4-FFF2-40B4-BE49-F238E27FC236}">
                  <a16:creationId xmlns:a16="http://schemas.microsoft.com/office/drawing/2014/main" id="{73DF743B-97EF-96A4-1C86-19196B84D90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768668" y="3086025"/>
              <a:ext cx="473515" cy="542995"/>
            </a:xfrm>
            <a:prstGeom prst="rect">
              <a:avLst/>
            </a:prstGeom>
            <a:grpFill/>
          </p:spPr>
        </p:pic>
        <p:sp>
          <p:nvSpPr>
            <p:cNvPr id="61" name="TextBox 60">
              <a:extLst>
                <a:ext uri="{FF2B5EF4-FFF2-40B4-BE49-F238E27FC236}">
                  <a16:creationId xmlns:a16="http://schemas.microsoft.com/office/drawing/2014/main" id="{8B03C514-B5D7-6C2F-B625-C1342FA8050F}"/>
                </a:ext>
              </a:extLst>
            </p:cNvPr>
            <p:cNvSpPr txBox="1"/>
            <p:nvPr/>
          </p:nvSpPr>
          <p:spPr>
            <a:xfrm>
              <a:off x="3549857" y="3488455"/>
              <a:ext cx="898355" cy="417338"/>
            </a:xfrm>
            <a:prstGeom prst="rect">
              <a:avLst/>
            </a:prstGeom>
            <a:grp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ptos" panose="020B0004020202020204" pitchFamily="34" charset="0"/>
                </a:rPr>
                <a:t>Processed S3 Bucket</a:t>
              </a:r>
              <a:endParaRPr kumimoji="0" lang="en-IN" sz="700" b="0" i="0" u="none" strike="noStrike" kern="1200" cap="none" spc="0" normalizeH="0" baseline="0" noProof="0">
                <a:ln>
                  <a:noFill/>
                </a:ln>
                <a:solidFill>
                  <a:prstClr val="black"/>
                </a:solidFill>
                <a:effectLst/>
                <a:uLnTx/>
                <a:uFillTx/>
                <a:latin typeface="Aptos" panose="020B0004020202020204" pitchFamily="34" charset="0"/>
              </a:endParaRPr>
            </a:p>
          </p:txBody>
        </p:sp>
      </p:grpSp>
      <p:cxnSp>
        <p:nvCxnSpPr>
          <p:cNvPr id="57" name="Connector: Elbow 24">
            <a:extLst>
              <a:ext uri="{FF2B5EF4-FFF2-40B4-BE49-F238E27FC236}">
                <a16:creationId xmlns:a16="http://schemas.microsoft.com/office/drawing/2014/main" id="{786C539C-6F1D-46D0-4F54-E0A9F9E29165}"/>
              </a:ext>
            </a:extLst>
          </p:cNvPr>
          <p:cNvCxnSpPr>
            <a:cxnSpLocks/>
          </p:cNvCxnSpPr>
          <p:nvPr/>
        </p:nvCxnSpPr>
        <p:spPr>
          <a:xfrm>
            <a:off x="5462270" y="3566213"/>
            <a:ext cx="6911" cy="17846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0" name="Oval 129">
            <a:extLst>
              <a:ext uri="{FF2B5EF4-FFF2-40B4-BE49-F238E27FC236}">
                <a16:creationId xmlns:a16="http://schemas.microsoft.com/office/drawing/2014/main" id="{5E4D8704-30F6-3B3D-964B-15097D72CAE2}"/>
              </a:ext>
            </a:extLst>
          </p:cNvPr>
          <p:cNvSpPr/>
          <p:nvPr/>
        </p:nvSpPr>
        <p:spPr>
          <a:xfrm>
            <a:off x="1057511" y="4058020"/>
            <a:ext cx="215474" cy="196702"/>
          </a:xfrm>
          <a:prstGeom prst="ellipse">
            <a:avLst/>
          </a:prstGeom>
          <a:solidFill>
            <a:srgbClr val="B5C1C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ptos" panose="020B0004020202020204" pitchFamily="34" charset="0"/>
              </a:rPr>
              <a:t>1</a:t>
            </a:r>
            <a:endParaRPr kumimoji="0" lang="en-IN" sz="800" b="0" i="0" u="none" strike="noStrike" kern="1200" cap="none" spc="0" normalizeH="0" baseline="0" noProof="0">
              <a:ln>
                <a:noFill/>
              </a:ln>
              <a:solidFill>
                <a:srgbClr val="FFFFFF"/>
              </a:solidFill>
              <a:effectLst/>
              <a:uLnTx/>
              <a:uFillTx/>
              <a:latin typeface="Aptos" panose="020B0004020202020204" pitchFamily="34" charset="0"/>
            </a:endParaRPr>
          </a:p>
        </p:txBody>
      </p:sp>
      <p:sp>
        <p:nvSpPr>
          <p:cNvPr id="131" name="Oval 130">
            <a:extLst>
              <a:ext uri="{FF2B5EF4-FFF2-40B4-BE49-F238E27FC236}">
                <a16:creationId xmlns:a16="http://schemas.microsoft.com/office/drawing/2014/main" id="{C4E7D303-1D24-2FA0-DBCB-5B71E4E5B224}"/>
              </a:ext>
            </a:extLst>
          </p:cNvPr>
          <p:cNvSpPr/>
          <p:nvPr/>
        </p:nvSpPr>
        <p:spPr>
          <a:xfrm>
            <a:off x="1109977" y="3211990"/>
            <a:ext cx="215474" cy="196702"/>
          </a:xfrm>
          <a:prstGeom prst="ellipse">
            <a:avLst/>
          </a:prstGeom>
          <a:solidFill>
            <a:srgbClr val="B5C1C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ptos" panose="020B0004020202020204" pitchFamily="34" charset="0"/>
              </a:rPr>
              <a:t>1</a:t>
            </a:r>
            <a:endParaRPr kumimoji="0" lang="en-IN" sz="800" b="0" i="0" u="none" strike="noStrike" kern="1200" cap="none" spc="0" normalizeH="0" baseline="0" noProof="0">
              <a:ln>
                <a:noFill/>
              </a:ln>
              <a:solidFill>
                <a:srgbClr val="FFFFFF"/>
              </a:solidFill>
              <a:effectLst/>
              <a:uLnTx/>
              <a:uFillTx/>
              <a:latin typeface="Aptos" panose="020B0004020202020204" pitchFamily="34" charset="0"/>
            </a:endParaRPr>
          </a:p>
        </p:txBody>
      </p:sp>
      <p:sp>
        <p:nvSpPr>
          <p:cNvPr id="132" name="Oval 131">
            <a:extLst>
              <a:ext uri="{FF2B5EF4-FFF2-40B4-BE49-F238E27FC236}">
                <a16:creationId xmlns:a16="http://schemas.microsoft.com/office/drawing/2014/main" id="{2C6DF1FC-8473-6E15-5B06-45C573D85012}"/>
              </a:ext>
            </a:extLst>
          </p:cNvPr>
          <p:cNvSpPr/>
          <p:nvPr/>
        </p:nvSpPr>
        <p:spPr>
          <a:xfrm>
            <a:off x="2354886" y="2958978"/>
            <a:ext cx="215474" cy="196702"/>
          </a:xfrm>
          <a:prstGeom prst="ellipse">
            <a:avLst/>
          </a:prstGeom>
          <a:solidFill>
            <a:srgbClr val="B5C1C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ptos" panose="020B0004020202020204" pitchFamily="34" charset="0"/>
              </a:rPr>
              <a:t>3</a:t>
            </a:r>
            <a:endParaRPr kumimoji="0" lang="en-IN" sz="800" b="0" i="0" u="none" strike="noStrike" kern="1200" cap="none" spc="0" normalizeH="0" baseline="0" noProof="0">
              <a:ln>
                <a:noFill/>
              </a:ln>
              <a:solidFill>
                <a:srgbClr val="FFFFFF"/>
              </a:solidFill>
              <a:effectLst/>
              <a:uLnTx/>
              <a:uFillTx/>
              <a:latin typeface="Aptos" panose="020B0004020202020204" pitchFamily="34" charset="0"/>
            </a:endParaRPr>
          </a:p>
        </p:txBody>
      </p:sp>
      <p:sp>
        <p:nvSpPr>
          <p:cNvPr id="133" name="Oval 132">
            <a:extLst>
              <a:ext uri="{FF2B5EF4-FFF2-40B4-BE49-F238E27FC236}">
                <a16:creationId xmlns:a16="http://schemas.microsoft.com/office/drawing/2014/main" id="{DB111B1D-C112-F28D-8D3C-A5ACA3388E27}"/>
              </a:ext>
            </a:extLst>
          </p:cNvPr>
          <p:cNvSpPr/>
          <p:nvPr/>
        </p:nvSpPr>
        <p:spPr>
          <a:xfrm>
            <a:off x="2068120" y="4068851"/>
            <a:ext cx="215474" cy="196702"/>
          </a:xfrm>
          <a:prstGeom prst="ellipse">
            <a:avLst/>
          </a:prstGeom>
          <a:solidFill>
            <a:srgbClr val="B5C1C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ptos" panose="020B0004020202020204" pitchFamily="34" charset="0"/>
              </a:rPr>
              <a:t>5</a:t>
            </a:r>
            <a:endParaRPr kumimoji="0" lang="en-IN" sz="800" b="0" i="0" u="none" strike="noStrike" kern="1200" cap="none" spc="0" normalizeH="0" baseline="0" noProof="0">
              <a:ln>
                <a:noFill/>
              </a:ln>
              <a:solidFill>
                <a:srgbClr val="FFFFFF"/>
              </a:solidFill>
              <a:effectLst/>
              <a:uLnTx/>
              <a:uFillTx/>
              <a:latin typeface="Aptos" panose="020B0004020202020204" pitchFamily="34" charset="0"/>
            </a:endParaRPr>
          </a:p>
        </p:txBody>
      </p:sp>
      <p:sp>
        <p:nvSpPr>
          <p:cNvPr id="134" name="Oval 133">
            <a:extLst>
              <a:ext uri="{FF2B5EF4-FFF2-40B4-BE49-F238E27FC236}">
                <a16:creationId xmlns:a16="http://schemas.microsoft.com/office/drawing/2014/main" id="{B727E9C5-2ABF-7232-6718-76625D972270}"/>
              </a:ext>
            </a:extLst>
          </p:cNvPr>
          <p:cNvSpPr/>
          <p:nvPr/>
        </p:nvSpPr>
        <p:spPr>
          <a:xfrm>
            <a:off x="3371519" y="3007052"/>
            <a:ext cx="215474" cy="196702"/>
          </a:xfrm>
          <a:prstGeom prst="ellipse">
            <a:avLst/>
          </a:prstGeom>
          <a:solidFill>
            <a:srgbClr val="B5C1C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ptos" panose="020B0004020202020204" pitchFamily="34" charset="0"/>
              </a:rPr>
              <a:t>4</a:t>
            </a:r>
            <a:endParaRPr kumimoji="0" lang="en-IN" sz="800" b="0" i="0" u="none" strike="noStrike" kern="1200" cap="none" spc="0" normalizeH="0" baseline="0" noProof="0">
              <a:ln>
                <a:noFill/>
              </a:ln>
              <a:solidFill>
                <a:srgbClr val="FFFFFF"/>
              </a:solidFill>
              <a:effectLst/>
              <a:uLnTx/>
              <a:uFillTx/>
              <a:latin typeface="Aptos" panose="020B0004020202020204" pitchFamily="34" charset="0"/>
            </a:endParaRPr>
          </a:p>
        </p:txBody>
      </p:sp>
      <p:sp>
        <p:nvSpPr>
          <p:cNvPr id="135" name="Oval 134">
            <a:extLst>
              <a:ext uri="{FF2B5EF4-FFF2-40B4-BE49-F238E27FC236}">
                <a16:creationId xmlns:a16="http://schemas.microsoft.com/office/drawing/2014/main" id="{3EC8B7F4-1F38-543A-8893-F21DF58F3A17}"/>
              </a:ext>
            </a:extLst>
          </p:cNvPr>
          <p:cNvSpPr/>
          <p:nvPr/>
        </p:nvSpPr>
        <p:spPr>
          <a:xfrm>
            <a:off x="3371824" y="3264707"/>
            <a:ext cx="215474" cy="196702"/>
          </a:xfrm>
          <a:prstGeom prst="ellipse">
            <a:avLst/>
          </a:prstGeom>
          <a:solidFill>
            <a:srgbClr val="B5C1C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ptos" panose="020B0004020202020204" pitchFamily="34" charset="0"/>
              </a:rPr>
              <a:t>6</a:t>
            </a:r>
            <a:endParaRPr kumimoji="0" lang="en-IN" sz="800" b="0" i="0" u="none" strike="noStrike" kern="1200" cap="none" spc="0" normalizeH="0" baseline="0" noProof="0">
              <a:ln>
                <a:noFill/>
              </a:ln>
              <a:solidFill>
                <a:srgbClr val="FFFFFF"/>
              </a:solidFill>
              <a:effectLst/>
              <a:uLnTx/>
              <a:uFillTx/>
              <a:latin typeface="Aptos" panose="020B0004020202020204" pitchFamily="34" charset="0"/>
            </a:endParaRPr>
          </a:p>
        </p:txBody>
      </p:sp>
      <p:sp>
        <p:nvSpPr>
          <p:cNvPr id="136" name="Oval 135">
            <a:extLst>
              <a:ext uri="{FF2B5EF4-FFF2-40B4-BE49-F238E27FC236}">
                <a16:creationId xmlns:a16="http://schemas.microsoft.com/office/drawing/2014/main" id="{CBB26D9A-A7CB-3FE6-FB1D-9A9B019C7E27}"/>
              </a:ext>
            </a:extLst>
          </p:cNvPr>
          <p:cNvSpPr/>
          <p:nvPr/>
        </p:nvSpPr>
        <p:spPr>
          <a:xfrm>
            <a:off x="3886487" y="2684413"/>
            <a:ext cx="215474" cy="196702"/>
          </a:xfrm>
          <a:prstGeom prst="ellipse">
            <a:avLst/>
          </a:prstGeom>
          <a:solidFill>
            <a:srgbClr val="B5C1C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ptos" panose="020B0004020202020204" pitchFamily="34" charset="0"/>
              </a:rPr>
              <a:t>7</a:t>
            </a:r>
            <a:endParaRPr kumimoji="0" lang="en-IN" sz="800" b="0" i="0" u="none" strike="noStrike" kern="1200" cap="none" spc="0" normalizeH="0" baseline="0" noProof="0">
              <a:ln>
                <a:noFill/>
              </a:ln>
              <a:solidFill>
                <a:srgbClr val="FFFFFF"/>
              </a:solidFill>
              <a:effectLst/>
              <a:uLnTx/>
              <a:uFillTx/>
              <a:latin typeface="Aptos" panose="020B0004020202020204" pitchFamily="34" charset="0"/>
            </a:endParaRPr>
          </a:p>
        </p:txBody>
      </p:sp>
      <p:sp>
        <p:nvSpPr>
          <p:cNvPr id="137" name="Oval 136">
            <a:extLst>
              <a:ext uri="{FF2B5EF4-FFF2-40B4-BE49-F238E27FC236}">
                <a16:creationId xmlns:a16="http://schemas.microsoft.com/office/drawing/2014/main" id="{E000EDF7-7096-BBC2-FDBA-1D998AF0760E}"/>
              </a:ext>
            </a:extLst>
          </p:cNvPr>
          <p:cNvSpPr/>
          <p:nvPr/>
        </p:nvSpPr>
        <p:spPr>
          <a:xfrm>
            <a:off x="3742277" y="1679767"/>
            <a:ext cx="215474" cy="196702"/>
          </a:xfrm>
          <a:prstGeom prst="ellipse">
            <a:avLst/>
          </a:prstGeom>
          <a:solidFill>
            <a:srgbClr val="B5C1C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ptos" panose="020B0004020202020204" pitchFamily="34" charset="0"/>
              </a:rPr>
              <a:t>8</a:t>
            </a:r>
            <a:endParaRPr kumimoji="0" lang="en-IN" sz="800" b="0" i="0" u="none" strike="noStrike" kern="1200" cap="none" spc="0" normalizeH="0" baseline="0" noProof="0">
              <a:ln>
                <a:noFill/>
              </a:ln>
              <a:solidFill>
                <a:srgbClr val="FFFFFF"/>
              </a:solidFill>
              <a:effectLst/>
              <a:uLnTx/>
              <a:uFillTx/>
              <a:latin typeface="Aptos" panose="020B0004020202020204" pitchFamily="34" charset="0"/>
            </a:endParaRPr>
          </a:p>
        </p:txBody>
      </p:sp>
      <p:sp>
        <p:nvSpPr>
          <p:cNvPr id="138" name="Oval 137">
            <a:extLst>
              <a:ext uri="{FF2B5EF4-FFF2-40B4-BE49-F238E27FC236}">
                <a16:creationId xmlns:a16="http://schemas.microsoft.com/office/drawing/2014/main" id="{C24FFAC6-E4BD-729A-A7A4-1B0881414AEA}"/>
              </a:ext>
            </a:extLst>
          </p:cNvPr>
          <p:cNvSpPr/>
          <p:nvPr/>
        </p:nvSpPr>
        <p:spPr>
          <a:xfrm>
            <a:off x="4406643" y="2280099"/>
            <a:ext cx="215474" cy="196702"/>
          </a:xfrm>
          <a:prstGeom prst="ellipse">
            <a:avLst/>
          </a:prstGeom>
          <a:solidFill>
            <a:srgbClr val="B5C1C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ptos" panose="020B0004020202020204" pitchFamily="34" charset="0"/>
              </a:rPr>
              <a:t>9</a:t>
            </a:r>
            <a:endParaRPr kumimoji="0" lang="en-IN" sz="800" b="0" i="0" u="none" strike="noStrike" kern="1200" cap="none" spc="0" normalizeH="0" baseline="0" noProof="0">
              <a:ln>
                <a:noFill/>
              </a:ln>
              <a:solidFill>
                <a:srgbClr val="FFFFFF"/>
              </a:solidFill>
              <a:effectLst/>
              <a:uLnTx/>
              <a:uFillTx/>
              <a:latin typeface="Aptos" panose="020B0004020202020204" pitchFamily="34" charset="0"/>
            </a:endParaRPr>
          </a:p>
        </p:txBody>
      </p:sp>
      <p:sp>
        <p:nvSpPr>
          <p:cNvPr id="139" name="Oval 138">
            <a:extLst>
              <a:ext uri="{FF2B5EF4-FFF2-40B4-BE49-F238E27FC236}">
                <a16:creationId xmlns:a16="http://schemas.microsoft.com/office/drawing/2014/main" id="{3C0B8883-58BA-2736-FF6D-7403FCE1555B}"/>
              </a:ext>
            </a:extLst>
          </p:cNvPr>
          <p:cNvSpPr/>
          <p:nvPr/>
        </p:nvSpPr>
        <p:spPr>
          <a:xfrm>
            <a:off x="5814705" y="3023199"/>
            <a:ext cx="215474" cy="196702"/>
          </a:xfrm>
          <a:prstGeom prst="ellipse">
            <a:avLst/>
          </a:prstGeom>
          <a:solidFill>
            <a:srgbClr val="B5C1C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ptos" panose="020B0004020202020204" pitchFamily="34" charset="0"/>
              </a:rPr>
              <a:t>10</a:t>
            </a:r>
            <a:endParaRPr kumimoji="0" lang="en-IN" sz="800" b="0" i="0" u="none" strike="noStrike" kern="1200" cap="none" spc="0" normalizeH="0" baseline="0" noProof="0">
              <a:ln>
                <a:noFill/>
              </a:ln>
              <a:solidFill>
                <a:srgbClr val="FFFFFF"/>
              </a:solidFill>
              <a:effectLst/>
              <a:uLnTx/>
              <a:uFillTx/>
              <a:latin typeface="Aptos" panose="020B0004020202020204" pitchFamily="34" charset="0"/>
            </a:endParaRPr>
          </a:p>
        </p:txBody>
      </p:sp>
      <p:sp>
        <p:nvSpPr>
          <p:cNvPr id="140" name="Oval 139">
            <a:extLst>
              <a:ext uri="{FF2B5EF4-FFF2-40B4-BE49-F238E27FC236}">
                <a16:creationId xmlns:a16="http://schemas.microsoft.com/office/drawing/2014/main" id="{019A7D78-77A7-EC4B-EEEB-16AFC9F09A65}"/>
              </a:ext>
            </a:extLst>
          </p:cNvPr>
          <p:cNvSpPr/>
          <p:nvPr/>
        </p:nvSpPr>
        <p:spPr>
          <a:xfrm>
            <a:off x="5795726" y="1661888"/>
            <a:ext cx="215474" cy="196702"/>
          </a:xfrm>
          <a:prstGeom prst="ellipse">
            <a:avLst/>
          </a:prstGeom>
          <a:solidFill>
            <a:srgbClr val="B5C1C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ptos" panose="020B0004020202020204" pitchFamily="34" charset="0"/>
              </a:rPr>
              <a:t>11</a:t>
            </a:r>
            <a:endParaRPr kumimoji="0" lang="en-IN" sz="800" b="0" i="0" u="none" strike="noStrike" kern="1200" cap="none" spc="0" normalizeH="0" baseline="0" noProof="0">
              <a:ln>
                <a:noFill/>
              </a:ln>
              <a:solidFill>
                <a:srgbClr val="FFFFFF"/>
              </a:solidFill>
              <a:effectLst/>
              <a:uLnTx/>
              <a:uFillTx/>
              <a:latin typeface="Aptos" panose="020B0004020202020204" pitchFamily="34" charset="0"/>
            </a:endParaRPr>
          </a:p>
        </p:txBody>
      </p:sp>
      <p:sp>
        <p:nvSpPr>
          <p:cNvPr id="141" name="Oval 140">
            <a:extLst>
              <a:ext uri="{FF2B5EF4-FFF2-40B4-BE49-F238E27FC236}">
                <a16:creationId xmlns:a16="http://schemas.microsoft.com/office/drawing/2014/main" id="{13696E0F-12F2-57FA-940E-075374B53FFD}"/>
              </a:ext>
            </a:extLst>
          </p:cNvPr>
          <p:cNvSpPr/>
          <p:nvPr/>
        </p:nvSpPr>
        <p:spPr>
          <a:xfrm>
            <a:off x="7221735" y="3560653"/>
            <a:ext cx="215474" cy="196702"/>
          </a:xfrm>
          <a:prstGeom prst="ellipse">
            <a:avLst/>
          </a:prstGeom>
          <a:solidFill>
            <a:srgbClr val="B5C1C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ptos" panose="020B0004020202020204" pitchFamily="34" charset="0"/>
              </a:rPr>
              <a:t>12</a:t>
            </a:r>
            <a:endParaRPr kumimoji="0" lang="en-IN" sz="800" b="0" i="0" u="none" strike="noStrike" kern="1200" cap="none" spc="0" normalizeH="0" baseline="0" noProof="0">
              <a:ln>
                <a:noFill/>
              </a:ln>
              <a:solidFill>
                <a:srgbClr val="FFFFFF"/>
              </a:solidFill>
              <a:effectLst/>
              <a:uLnTx/>
              <a:uFillTx/>
              <a:latin typeface="Aptos" panose="020B0004020202020204" pitchFamily="34" charset="0"/>
            </a:endParaRPr>
          </a:p>
        </p:txBody>
      </p:sp>
      <p:sp>
        <p:nvSpPr>
          <p:cNvPr id="142" name="Oval 141">
            <a:extLst>
              <a:ext uri="{FF2B5EF4-FFF2-40B4-BE49-F238E27FC236}">
                <a16:creationId xmlns:a16="http://schemas.microsoft.com/office/drawing/2014/main" id="{FCDFB3D9-1A49-9007-06A8-1AE943360844}"/>
              </a:ext>
            </a:extLst>
          </p:cNvPr>
          <p:cNvSpPr/>
          <p:nvPr/>
        </p:nvSpPr>
        <p:spPr>
          <a:xfrm>
            <a:off x="6026923" y="2291588"/>
            <a:ext cx="215474" cy="196702"/>
          </a:xfrm>
          <a:prstGeom prst="ellipse">
            <a:avLst/>
          </a:prstGeom>
          <a:solidFill>
            <a:srgbClr val="B5C1C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ptos" panose="020B0004020202020204" pitchFamily="34" charset="0"/>
              </a:rPr>
              <a:t>13</a:t>
            </a:r>
            <a:endParaRPr kumimoji="0" lang="en-IN" sz="800" b="0" i="0" u="none" strike="noStrike" kern="1200" cap="none" spc="0" normalizeH="0" baseline="0" noProof="0">
              <a:ln>
                <a:noFill/>
              </a:ln>
              <a:solidFill>
                <a:srgbClr val="FFFFFF"/>
              </a:solidFill>
              <a:effectLst/>
              <a:uLnTx/>
              <a:uFillTx/>
              <a:latin typeface="Aptos" panose="020B0004020202020204" pitchFamily="34" charset="0"/>
            </a:endParaRPr>
          </a:p>
        </p:txBody>
      </p:sp>
      <p:sp>
        <p:nvSpPr>
          <p:cNvPr id="143" name="Oval 142">
            <a:extLst>
              <a:ext uri="{FF2B5EF4-FFF2-40B4-BE49-F238E27FC236}">
                <a16:creationId xmlns:a16="http://schemas.microsoft.com/office/drawing/2014/main" id="{842D9295-EA74-289E-6AC3-5F11AB6ACD04}"/>
              </a:ext>
            </a:extLst>
          </p:cNvPr>
          <p:cNvSpPr/>
          <p:nvPr/>
        </p:nvSpPr>
        <p:spPr>
          <a:xfrm>
            <a:off x="5706968" y="3787427"/>
            <a:ext cx="215474" cy="196702"/>
          </a:xfrm>
          <a:prstGeom prst="ellipse">
            <a:avLst/>
          </a:prstGeom>
          <a:solidFill>
            <a:srgbClr val="B5C1C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ptos" panose="020B0004020202020204" pitchFamily="34" charset="0"/>
              </a:rPr>
              <a:t>14</a:t>
            </a:r>
            <a:endParaRPr kumimoji="0" lang="en-IN" sz="800" b="0" i="0" u="none" strike="noStrike" kern="1200" cap="none" spc="0" normalizeH="0" baseline="0" noProof="0">
              <a:ln>
                <a:noFill/>
              </a:ln>
              <a:solidFill>
                <a:srgbClr val="FFFFFF"/>
              </a:solidFill>
              <a:effectLst/>
              <a:uLnTx/>
              <a:uFillTx/>
              <a:latin typeface="Aptos" panose="020B0004020202020204" pitchFamily="34" charset="0"/>
            </a:endParaRPr>
          </a:p>
        </p:txBody>
      </p:sp>
      <p:sp>
        <p:nvSpPr>
          <p:cNvPr id="144" name="Oval 143">
            <a:extLst>
              <a:ext uri="{FF2B5EF4-FFF2-40B4-BE49-F238E27FC236}">
                <a16:creationId xmlns:a16="http://schemas.microsoft.com/office/drawing/2014/main" id="{60ECD57B-6D38-A02F-6F41-6635E3AC374E}"/>
              </a:ext>
            </a:extLst>
          </p:cNvPr>
          <p:cNvSpPr/>
          <p:nvPr/>
        </p:nvSpPr>
        <p:spPr>
          <a:xfrm>
            <a:off x="4924946" y="4701392"/>
            <a:ext cx="215474" cy="196702"/>
          </a:xfrm>
          <a:prstGeom prst="ellipse">
            <a:avLst/>
          </a:prstGeom>
          <a:solidFill>
            <a:srgbClr val="B5C1C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ptos" panose="020B0004020202020204" pitchFamily="34" charset="0"/>
              </a:rPr>
              <a:t>15</a:t>
            </a:r>
            <a:endParaRPr kumimoji="0" lang="en-IN" sz="800" b="0" i="0" u="none" strike="noStrike" kern="1200" cap="none" spc="0" normalizeH="0" baseline="0" noProof="0">
              <a:ln>
                <a:noFill/>
              </a:ln>
              <a:solidFill>
                <a:srgbClr val="FFFFFF"/>
              </a:solidFill>
              <a:effectLst/>
              <a:uLnTx/>
              <a:uFillTx/>
              <a:latin typeface="Aptos" panose="020B0004020202020204" pitchFamily="34" charset="0"/>
            </a:endParaRPr>
          </a:p>
        </p:txBody>
      </p:sp>
      <p:sp>
        <p:nvSpPr>
          <p:cNvPr id="169" name="Oval 168">
            <a:extLst>
              <a:ext uri="{FF2B5EF4-FFF2-40B4-BE49-F238E27FC236}">
                <a16:creationId xmlns:a16="http://schemas.microsoft.com/office/drawing/2014/main" id="{D9F4808A-E9EE-2F0D-6766-032FAE066578}"/>
              </a:ext>
            </a:extLst>
          </p:cNvPr>
          <p:cNvSpPr/>
          <p:nvPr/>
        </p:nvSpPr>
        <p:spPr>
          <a:xfrm>
            <a:off x="4236830" y="4072794"/>
            <a:ext cx="215474" cy="196702"/>
          </a:xfrm>
          <a:prstGeom prst="ellipse">
            <a:avLst/>
          </a:prstGeom>
          <a:solidFill>
            <a:srgbClr val="B5C1C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ptos" panose="020B0004020202020204" pitchFamily="34" charset="0"/>
              </a:rPr>
              <a:t>16</a:t>
            </a:r>
            <a:endParaRPr kumimoji="0" lang="en-IN" sz="800" b="0" i="0" u="none" strike="noStrike" kern="1200" cap="none" spc="0" normalizeH="0" baseline="0" noProof="0">
              <a:ln>
                <a:noFill/>
              </a:ln>
              <a:solidFill>
                <a:srgbClr val="FFFFFF"/>
              </a:solidFill>
              <a:effectLst/>
              <a:uLnTx/>
              <a:uFillTx/>
              <a:latin typeface="Aptos" panose="020B0004020202020204" pitchFamily="34" charset="0"/>
            </a:endParaRPr>
          </a:p>
        </p:txBody>
      </p:sp>
      <p:pic>
        <p:nvPicPr>
          <p:cNvPr id="6" name="Picture 5">
            <a:extLst>
              <a:ext uri="{FF2B5EF4-FFF2-40B4-BE49-F238E27FC236}">
                <a16:creationId xmlns:a16="http://schemas.microsoft.com/office/drawing/2014/main" id="{E27B03AF-EAF5-721C-2CFC-ACF30BC32C70}"/>
              </a:ext>
            </a:extLst>
          </p:cNvPr>
          <p:cNvPicPr>
            <a:picLocks noChangeAspect="1"/>
          </p:cNvPicPr>
          <p:nvPr/>
        </p:nvPicPr>
        <p:blipFill rotWithShape="1">
          <a:blip r:embed="rId14" cstate="print">
            <a:extLst>
              <a:ext uri="{28A0092B-C50C-407E-A947-70E740481C1C}">
                <a14:useLocalDpi xmlns:a14="http://schemas.microsoft.com/office/drawing/2010/main" val="0"/>
              </a:ext>
            </a:extLst>
          </a:blip>
          <a:srcRect l="32131" t="6997" r="31782" b="22601"/>
          <a:stretch/>
        </p:blipFill>
        <p:spPr>
          <a:xfrm>
            <a:off x="5347339" y="1740702"/>
            <a:ext cx="268756" cy="274320"/>
          </a:xfrm>
          <a:prstGeom prst="rect">
            <a:avLst/>
          </a:prstGeom>
          <a:solidFill>
            <a:srgbClr val="B5C1CE"/>
          </a:solidFill>
        </p:spPr>
      </p:pic>
      <p:sp>
        <p:nvSpPr>
          <p:cNvPr id="27" name="TextBox 26">
            <a:extLst>
              <a:ext uri="{FF2B5EF4-FFF2-40B4-BE49-F238E27FC236}">
                <a16:creationId xmlns:a16="http://schemas.microsoft.com/office/drawing/2014/main" id="{1BFB16E0-F0F6-C81B-6345-E83374D5050C}"/>
              </a:ext>
            </a:extLst>
          </p:cNvPr>
          <p:cNvSpPr txBox="1"/>
          <p:nvPr/>
        </p:nvSpPr>
        <p:spPr>
          <a:xfrm>
            <a:off x="5136165" y="1959985"/>
            <a:ext cx="67585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ptos" panose="020B0004020202020204" pitchFamily="34" charset="0"/>
              </a:rPr>
              <a:t>AWS RDS DB</a:t>
            </a:r>
            <a:endParaRPr kumimoji="0" lang="en-IN" sz="700" b="0" i="0" u="none" strike="noStrike" kern="1200" cap="none" spc="0" normalizeH="0" baseline="0" noProof="0">
              <a:ln>
                <a:noFill/>
              </a:ln>
              <a:solidFill>
                <a:prstClr val="black"/>
              </a:solidFill>
              <a:effectLst/>
              <a:uLnTx/>
              <a:uFillTx/>
              <a:latin typeface="Aptos" panose="020B0004020202020204" pitchFamily="34" charset="0"/>
            </a:endParaRPr>
          </a:p>
        </p:txBody>
      </p:sp>
      <p:pic>
        <p:nvPicPr>
          <p:cNvPr id="28" name="Picture 2">
            <a:extLst>
              <a:ext uri="{FF2B5EF4-FFF2-40B4-BE49-F238E27FC236}">
                <a16:creationId xmlns:a16="http://schemas.microsoft.com/office/drawing/2014/main" id="{70C127AD-B0E8-40D2-49AD-25AB7B2F5294}"/>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733523" y="1397577"/>
            <a:ext cx="480365" cy="426743"/>
          </a:xfrm>
          <a:prstGeom prst="rect">
            <a:avLst/>
          </a:prstGeom>
          <a:noFill/>
          <a:extLst>
            <a:ext uri="{909E8E84-426E-40DD-AFC4-6F175D3DCCD1}">
              <a14:hiddenFill xmlns:a14="http://schemas.microsoft.com/office/drawing/2010/main">
                <a:solidFill>
                  <a:srgbClr val="FFFFFF"/>
                </a:solidFill>
              </a14:hiddenFill>
            </a:ext>
          </a:extLst>
        </p:spPr>
      </p:pic>
      <p:cxnSp>
        <p:nvCxnSpPr>
          <p:cNvPr id="29" name="Straight Arrow Connector 28">
            <a:extLst>
              <a:ext uri="{FF2B5EF4-FFF2-40B4-BE49-F238E27FC236}">
                <a16:creationId xmlns:a16="http://schemas.microsoft.com/office/drawing/2014/main" id="{5B9ED5BC-316E-2278-91CF-1E0EFB822027}"/>
              </a:ext>
            </a:extLst>
          </p:cNvPr>
          <p:cNvCxnSpPr>
            <a:cxnSpLocks/>
          </p:cNvCxnSpPr>
          <p:nvPr/>
        </p:nvCxnSpPr>
        <p:spPr>
          <a:xfrm>
            <a:off x="1137884" y="1537044"/>
            <a:ext cx="638648"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pic>
        <p:nvPicPr>
          <p:cNvPr id="32" name="Picture 6" descr="GUI color icon. Graphical user interface. Graphical desktop environment.  Computer monitor. Isolated vector illustration 5174852 Vector Art at  Vecteezy">
            <a:extLst>
              <a:ext uri="{FF2B5EF4-FFF2-40B4-BE49-F238E27FC236}">
                <a16:creationId xmlns:a16="http://schemas.microsoft.com/office/drawing/2014/main" id="{6738C59E-5BC0-D93F-6F06-EDB2FCFFCE41}"/>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840912" y="1374447"/>
            <a:ext cx="327975" cy="349478"/>
          </a:xfrm>
          <a:prstGeom prst="rect">
            <a:avLst/>
          </a:prstGeom>
          <a:solidFill>
            <a:srgbClr val="B5C1CE"/>
          </a:solidFill>
        </p:spPr>
      </p:pic>
      <p:sp>
        <p:nvSpPr>
          <p:cNvPr id="33" name="TextBox 32">
            <a:extLst>
              <a:ext uri="{FF2B5EF4-FFF2-40B4-BE49-F238E27FC236}">
                <a16:creationId xmlns:a16="http://schemas.microsoft.com/office/drawing/2014/main" id="{F4FBA802-BE0F-DD29-0978-2287EC66DD1C}"/>
              </a:ext>
            </a:extLst>
          </p:cNvPr>
          <p:cNvSpPr txBox="1"/>
          <p:nvPr/>
        </p:nvSpPr>
        <p:spPr>
          <a:xfrm>
            <a:off x="1687655" y="1706009"/>
            <a:ext cx="628046" cy="20005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ptos" panose="020B0004020202020204" pitchFamily="34" charset="0"/>
              </a:rPr>
              <a:t>Machine</a:t>
            </a:r>
            <a:endParaRPr kumimoji="0" lang="en-IN" sz="700" b="0" i="0" u="none" strike="noStrike" kern="1200" cap="none" spc="0" normalizeH="0" baseline="0" noProof="0">
              <a:ln>
                <a:noFill/>
              </a:ln>
              <a:solidFill>
                <a:prstClr val="black"/>
              </a:solidFill>
              <a:effectLst/>
              <a:uLnTx/>
              <a:uFillTx/>
              <a:latin typeface="Aptos" panose="020B0004020202020204" pitchFamily="34" charset="0"/>
            </a:endParaRPr>
          </a:p>
        </p:txBody>
      </p:sp>
      <p:pic>
        <p:nvPicPr>
          <p:cNvPr id="34" name="Picture 4">
            <a:extLst>
              <a:ext uri="{FF2B5EF4-FFF2-40B4-BE49-F238E27FC236}">
                <a16:creationId xmlns:a16="http://schemas.microsoft.com/office/drawing/2014/main" id="{EAE2F906-93D8-AD49-DB67-784929D74E8E}"/>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728329" y="2197434"/>
            <a:ext cx="548595" cy="365065"/>
          </a:xfrm>
          <a:prstGeom prst="rect">
            <a:avLst/>
          </a:prstGeom>
          <a:solidFill>
            <a:srgbClr val="B5C1CE"/>
          </a:solidFill>
        </p:spPr>
      </p:pic>
      <p:cxnSp>
        <p:nvCxnSpPr>
          <p:cNvPr id="37" name="Connector: Elbow 24">
            <a:extLst>
              <a:ext uri="{FF2B5EF4-FFF2-40B4-BE49-F238E27FC236}">
                <a16:creationId xmlns:a16="http://schemas.microsoft.com/office/drawing/2014/main" id="{306F15D6-4441-B1F3-B10B-286130946A90}"/>
              </a:ext>
            </a:extLst>
          </p:cNvPr>
          <p:cNvCxnSpPr>
            <a:cxnSpLocks/>
            <a:stCxn id="34" idx="2"/>
          </p:cNvCxnSpPr>
          <p:nvPr/>
        </p:nvCxnSpPr>
        <p:spPr>
          <a:xfrm>
            <a:off x="2002627" y="2562499"/>
            <a:ext cx="4547" cy="46955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7" name="Connector: Elbow 24">
            <a:extLst>
              <a:ext uri="{FF2B5EF4-FFF2-40B4-BE49-F238E27FC236}">
                <a16:creationId xmlns:a16="http://schemas.microsoft.com/office/drawing/2014/main" id="{0475290F-9937-74A4-3238-BEF60BEE5817}"/>
              </a:ext>
            </a:extLst>
          </p:cNvPr>
          <p:cNvCxnSpPr>
            <a:cxnSpLocks/>
            <a:stCxn id="33" idx="2"/>
            <a:endCxn id="34" idx="0"/>
          </p:cNvCxnSpPr>
          <p:nvPr/>
        </p:nvCxnSpPr>
        <p:spPr>
          <a:xfrm>
            <a:off x="2001678" y="1906065"/>
            <a:ext cx="949" cy="29136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9" name="Connector: Elbow 48">
            <a:extLst>
              <a:ext uri="{FF2B5EF4-FFF2-40B4-BE49-F238E27FC236}">
                <a16:creationId xmlns:a16="http://schemas.microsoft.com/office/drawing/2014/main" id="{F1D51F24-EF00-9C53-EBC4-E8037F87C94B}"/>
              </a:ext>
            </a:extLst>
          </p:cNvPr>
          <p:cNvCxnSpPr>
            <a:cxnSpLocks/>
            <a:endCxn id="34" idx="3"/>
          </p:cNvCxnSpPr>
          <p:nvPr/>
        </p:nvCxnSpPr>
        <p:spPr>
          <a:xfrm rot="16200000" flipV="1">
            <a:off x="2274553" y="2382338"/>
            <a:ext cx="627170" cy="622427"/>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54" name="Oval 53">
            <a:extLst>
              <a:ext uri="{FF2B5EF4-FFF2-40B4-BE49-F238E27FC236}">
                <a16:creationId xmlns:a16="http://schemas.microsoft.com/office/drawing/2014/main" id="{8D398CD5-3D2D-BB08-C639-A6FB5AB13163}"/>
              </a:ext>
            </a:extLst>
          </p:cNvPr>
          <p:cNvSpPr/>
          <p:nvPr/>
        </p:nvSpPr>
        <p:spPr>
          <a:xfrm>
            <a:off x="1315974" y="1290605"/>
            <a:ext cx="215474" cy="196702"/>
          </a:xfrm>
          <a:prstGeom prst="ellipse">
            <a:avLst/>
          </a:prstGeom>
          <a:solidFill>
            <a:srgbClr val="B5C1C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ptos" panose="020B0004020202020204" pitchFamily="34" charset="0"/>
              </a:rPr>
              <a:t>1a</a:t>
            </a:r>
            <a:endParaRPr kumimoji="0" lang="en-IN" sz="800" b="0" i="0" u="none" strike="noStrike" kern="1200" cap="none" spc="0" normalizeH="0" baseline="0" noProof="0">
              <a:ln>
                <a:noFill/>
              </a:ln>
              <a:solidFill>
                <a:srgbClr val="FFFFFF"/>
              </a:solidFill>
              <a:effectLst/>
              <a:uLnTx/>
              <a:uFillTx/>
              <a:latin typeface="Aptos" panose="020B0004020202020204" pitchFamily="34" charset="0"/>
            </a:endParaRPr>
          </a:p>
        </p:txBody>
      </p:sp>
      <p:sp>
        <p:nvSpPr>
          <p:cNvPr id="55" name="Oval 54">
            <a:extLst>
              <a:ext uri="{FF2B5EF4-FFF2-40B4-BE49-F238E27FC236}">
                <a16:creationId xmlns:a16="http://schemas.microsoft.com/office/drawing/2014/main" id="{6C70DCBC-37E9-FCF8-60E2-BBEFCD7C79F9}"/>
              </a:ext>
            </a:extLst>
          </p:cNvPr>
          <p:cNvSpPr/>
          <p:nvPr/>
        </p:nvSpPr>
        <p:spPr>
          <a:xfrm>
            <a:off x="2068120" y="1928657"/>
            <a:ext cx="215474" cy="196702"/>
          </a:xfrm>
          <a:prstGeom prst="ellipse">
            <a:avLst/>
          </a:prstGeom>
          <a:solidFill>
            <a:srgbClr val="B5C1C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ptos" panose="020B0004020202020204" pitchFamily="34" charset="0"/>
              </a:rPr>
              <a:t>1a</a:t>
            </a:r>
            <a:endParaRPr kumimoji="0" lang="en-IN" sz="800" b="0" i="0" u="none" strike="noStrike" kern="1200" cap="none" spc="0" normalizeH="0" baseline="0" noProof="0">
              <a:ln>
                <a:noFill/>
              </a:ln>
              <a:solidFill>
                <a:srgbClr val="FFFFFF"/>
              </a:solidFill>
              <a:effectLst/>
              <a:uLnTx/>
              <a:uFillTx/>
              <a:latin typeface="Aptos" panose="020B0004020202020204" pitchFamily="34" charset="0"/>
            </a:endParaRPr>
          </a:p>
        </p:txBody>
      </p:sp>
      <p:sp>
        <p:nvSpPr>
          <p:cNvPr id="58" name="Oval 57">
            <a:extLst>
              <a:ext uri="{FF2B5EF4-FFF2-40B4-BE49-F238E27FC236}">
                <a16:creationId xmlns:a16="http://schemas.microsoft.com/office/drawing/2014/main" id="{1B72405C-278D-7702-2E1B-7485B03FB213}"/>
              </a:ext>
            </a:extLst>
          </p:cNvPr>
          <p:cNvSpPr/>
          <p:nvPr/>
        </p:nvSpPr>
        <p:spPr>
          <a:xfrm>
            <a:off x="2548995" y="2273316"/>
            <a:ext cx="215474" cy="196702"/>
          </a:xfrm>
          <a:prstGeom prst="ellipse">
            <a:avLst/>
          </a:prstGeom>
          <a:solidFill>
            <a:srgbClr val="B5C1C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ptos" panose="020B0004020202020204" pitchFamily="34" charset="0"/>
              </a:rPr>
              <a:t>5*</a:t>
            </a:r>
            <a:endParaRPr kumimoji="0" lang="en-IN" sz="800" b="0" i="0" u="none" strike="noStrike" kern="1200" cap="none" spc="0" normalizeH="0" baseline="0" noProof="0">
              <a:ln>
                <a:noFill/>
              </a:ln>
              <a:solidFill>
                <a:srgbClr val="FFFFFF"/>
              </a:solidFill>
              <a:effectLst/>
              <a:uLnTx/>
              <a:uFillTx/>
              <a:latin typeface="Aptos" panose="020B0004020202020204" pitchFamily="34" charset="0"/>
            </a:endParaRPr>
          </a:p>
        </p:txBody>
      </p:sp>
      <p:sp>
        <p:nvSpPr>
          <p:cNvPr id="97" name="Rectangle 96">
            <a:extLst>
              <a:ext uri="{FF2B5EF4-FFF2-40B4-BE49-F238E27FC236}">
                <a16:creationId xmlns:a16="http://schemas.microsoft.com/office/drawing/2014/main" id="{CD67F7D0-4B5D-28E3-62A1-10FA182AE6E8}"/>
              </a:ext>
            </a:extLst>
          </p:cNvPr>
          <p:cNvSpPr/>
          <p:nvPr/>
        </p:nvSpPr>
        <p:spPr>
          <a:xfrm>
            <a:off x="302006" y="2664860"/>
            <a:ext cx="1431371" cy="2053132"/>
          </a:xfrm>
          <a:prstGeom prst="rect">
            <a:avLst/>
          </a:prstGeom>
          <a:noFill/>
          <a:ln w="12700">
            <a:solidFill>
              <a:srgbClr val="012354"/>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ptos" panose="020B0004020202020204" pitchFamily="34" charset="0"/>
            </a:endParaRPr>
          </a:p>
        </p:txBody>
      </p:sp>
      <p:sp>
        <p:nvSpPr>
          <p:cNvPr id="98" name="Rectangle 97">
            <a:extLst>
              <a:ext uri="{FF2B5EF4-FFF2-40B4-BE49-F238E27FC236}">
                <a16:creationId xmlns:a16="http://schemas.microsoft.com/office/drawing/2014/main" id="{26E15A73-736C-5D7B-B1C0-EF3D0D7465FA}"/>
              </a:ext>
            </a:extLst>
          </p:cNvPr>
          <p:cNvSpPr/>
          <p:nvPr/>
        </p:nvSpPr>
        <p:spPr>
          <a:xfrm>
            <a:off x="677955" y="1236987"/>
            <a:ext cx="1747428" cy="1359009"/>
          </a:xfrm>
          <a:prstGeom prst="rect">
            <a:avLst/>
          </a:prstGeom>
          <a:noFill/>
          <a:ln w="12700">
            <a:solidFill>
              <a:srgbClr val="012354"/>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ptos" panose="020B0004020202020204" pitchFamily="34" charset="0"/>
            </a:endParaRPr>
          </a:p>
        </p:txBody>
      </p:sp>
      <p:sp>
        <p:nvSpPr>
          <p:cNvPr id="108" name="TextBox 107">
            <a:extLst>
              <a:ext uri="{FF2B5EF4-FFF2-40B4-BE49-F238E27FC236}">
                <a16:creationId xmlns:a16="http://schemas.microsoft.com/office/drawing/2014/main" id="{64FE0548-3E75-15BD-58D0-BBA0D312D2A4}"/>
              </a:ext>
            </a:extLst>
          </p:cNvPr>
          <p:cNvSpPr txBox="1"/>
          <p:nvPr/>
        </p:nvSpPr>
        <p:spPr>
          <a:xfrm>
            <a:off x="8034174" y="3410478"/>
            <a:ext cx="3966006"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ptos" panose="020B0004020202020204" pitchFamily="34" charset="0"/>
              </a:rPr>
              <a:t>Which </a:t>
            </a:r>
            <a:r>
              <a:rPr kumimoji="0" lang="en-US" sz="1000" b="0" i="0" u="none" strike="noStrike" kern="1200" cap="none" spc="0" normalizeH="0" baseline="0" noProof="0">
                <a:ln>
                  <a:noFill/>
                </a:ln>
                <a:solidFill>
                  <a:prstClr val="black"/>
                </a:solidFill>
                <a:effectLst/>
                <a:uLnTx/>
                <a:uFillTx/>
                <a:latin typeface="Aptos" panose="020B0004020202020204" pitchFamily="34" charset="0"/>
              </a:rPr>
              <a:t>invoke lambda to get pre-signed URL for file upload</a:t>
            </a:r>
            <a:r>
              <a:rPr kumimoji="0" lang="en-IN" sz="1000" b="0" i="0" u="none" strike="noStrike" kern="1200" cap="none" spc="0" normalizeH="0" baseline="0" noProof="0">
                <a:ln>
                  <a:noFill/>
                </a:ln>
                <a:solidFill>
                  <a:prstClr val="black"/>
                </a:solidFill>
                <a:effectLst/>
                <a:uLnTx/>
                <a:uFillTx/>
                <a:latin typeface="Aptos" panose="020B0004020202020204" pitchFamily="34" charset="0"/>
              </a:rPr>
              <a:t> and </a:t>
            </a:r>
            <a:r>
              <a:rPr kumimoji="0" lang="en-US" sz="1000" b="0" i="0" u="none" strike="noStrike" kern="1200" cap="none" spc="0" normalizeH="0" baseline="0" noProof="0">
                <a:ln>
                  <a:noFill/>
                </a:ln>
                <a:solidFill>
                  <a:prstClr val="black"/>
                </a:solidFill>
                <a:effectLst/>
                <a:uLnTx/>
                <a:uFillTx/>
                <a:latin typeface="Aptos" panose="020B0004020202020204" pitchFamily="34" charset="0"/>
              </a:rPr>
              <a:t>generate pre-signed URL for file upload and send it back to GUI and API</a:t>
            </a:r>
          </a:p>
        </p:txBody>
      </p:sp>
      <p:grpSp>
        <p:nvGrpSpPr>
          <p:cNvPr id="113" name="Group 112">
            <a:extLst>
              <a:ext uri="{FF2B5EF4-FFF2-40B4-BE49-F238E27FC236}">
                <a16:creationId xmlns:a16="http://schemas.microsoft.com/office/drawing/2014/main" id="{3FD3F562-27C9-74FB-EF12-3DF5639561AC}"/>
              </a:ext>
            </a:extLst>
          </p:cNvPr>
          <p:cNvGrpSpPr/>
          <p:nvPr/>
        </p:nvGrpSpPr>
        <p:grpSpPr>
          <a:xfrm>
            <a:off x="10184622" y="1543069"/>
            <a:ext cx="1785092" cy="1231106"/>
            <a:chOff x="10221406" y="1089398"/>
            <a:chExt cx="1785092" cy="1231106"/>
          </a:xfrm>
        </p:grpSpPr>
        <p:sp>
          <p:nvSpPr>
            <p:cNvPr id="106" name="TextBox 105">
              <a:extLst>
                <a:ext uri="{FF2B5EF4-FFF2-40B4-BE49-F238E27FC236}">
                  <a16:creationId xmlns:a16="http://schemas.microsoft.com/office/drawing/2014/main" id="{1BA08880-22DA-4D2F-6AD2-BDE56EFF86FD}"/>
                </a:ext>
              </a:extLst>
            </p:cNvPr>
            <p:cNvSpPr txBox="1"/>
            <p:nvPr/>
          </p:nvSpPr>
          <p:spPr>
            <a:xfrm>
              <a:off x="10221406" y="1089398"/>
              <a:ext cx="1785092" cy="123110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GB" sz="1100" b="1" i="0" u="none" strike="noStrike" kern="1200" cap="none" spc="0" normalizeH="0" baseline="0" noProof="0">
                  <a:ln>
                    <a:noFill/>
                  </a:ln>
                  <a:solidFill>
                    <a:srgbClr val="000000"/>
                  </a:solidFill>
                  <a:effectLst/>
                  <a:uLnTx/>
                  <a:uFillTx/>
                  <a:latin typeface="Aptos" panose="020B0004020202020204" pitchFamily="34" charset="0"/>
                </a:rPr>
                <a:t>Endpoints Framework</a:t>
              </a:r>
            </a:p>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ptos" panose="020B0004020202020204" pitchFamily="34" charset="0"/>
                </a:rPr>
                <a:t>Machine </a:t>
              </a:r>
              <a:r>
                <a:rPr kumimoji="0" lang="en-GB" sz="1050" b="0" i="0" u="none" strike="noStrike" kern="1200" cap="none" spc="0" normalizeH="0" baseline="0" noProof="0">
                  <a:ln>
                    <a:noFill/>
                  </a:ln>
                  <a:solidFill>
                    <a:srgbClr val="000000"/>
                  </a:solidFill>
                  <a:effectLst/>
                  <a:uLnTx/>
                  <a:uFillTx/>
                  <a:latin typeface="Aptos" panose="020B0004020202020204" pitchFamily="34" charset="0"/>
                </a:rPr>
                <a:t>sends Client credentials  to Cognito and retrieve access token which</a:t>
              </a:r>
              <a:r>
                <a:rPr kumimoji="0" lang="en-GB" sz="1050" b="1" i="0" u="none" strike="noStrike" kern="1200" cap="none" spc="0" normalizeH="0" baseline="0" noProof="0">
                  <a:ln>
                    <a:noFill/>
                  </a:ln>
                  <a:solidFill>
                    <a:srgbClr val="000000"/>
                  </a:solidFill>
                  <a:effectLst/>
                  <a:uLnTx/>
                  <a:uFillTx/>
                  <a:latin typeface="Aptos" panose="020B0004020202020204" pitchFamily="34" charset="0"/>
                </a:rPr>
                <a:t> </a:t>
              </a:r>
              <a:r>
                <a:rPr kumimoji="0" lang="en-GB" sz="1050" b="0" i="0" u="none" strike="noStrike" kern="1200" cap="none" spc="0" normalizeH="0" baseline="0" noProof="0">
                  <a:ln>
                    <a:noFill/>
                  </a:ln>
                  <a:solidFill>
                    <a:prstClr val="black"/>
                  </a:solidFill>
                  <a:effectLst/>
                  <a:uLnTx/>
                  <a:uFillTx/>
                  <a:latin typeface="Aptos" panose="020B0004020202020204" pitchFamily="34" charset="0"/>
                </a:rPr>
                <a:t>Include the access key received for all requests</a:t>
              </a:r>
              <a:endParaRPr kumimoji="0" lang="en-IN" sz="1050" b="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110" name="Oval 109">
              <a:extLst>
                <a:ext uri="{FF2B5EF4-FFF2-40B4-BE49-F238E27FC236}">
                  <a16:creationId xmlns:a16="http://schemas.microsoft.com/office/drawing/2014/main" id="{C5DC86EC-562B-3961-F34F-20A2353AAAA6}"/>
                </a:ext>
              </a:extLst>
            </p:cNvPr>
            <p:cNvSpPr/>
            <p:nvPr/>
          </p:nvSpPr>
          <p:spPr>
            <a:xfrm>
              <a:off x="11738834" y="1123563"/>
              <a:ext cx="215474" cy="196702"/>
            </a:xfrm>
            <a:prstGeom prst="ellipse">
              <a:avLst/>
            </a:prstGeom>
            <a:solidFill>
              <a:srgbClr val="B5C1C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ptos" panose="020B0004020202020204" pitchFamily="34" charset="0"/>
                </a:rPr>
                <a:t>1a</a:t>
              </a:r>
              <a:endParaRPr kumimoji="0" lang="en-IN" sz="800" b="0" i="0" u="none" strike="noStrike" kern="1200" cap="none" spc="0" normalizeH="0" baseline="0" noProof="0">
                <a:ln>
                  <a:noFill/>
                </a:ln>
                <a:solidFill>
                  <a:srgbClr val="FFFFFF"/>
                </a:solidFill>
                <a:effectLst/>
                <a:uLnTx/>
                <a:uFillTx/>
                <a:latin typeface="Aptos" panose="020B0004020202020204" pitchFamily="34" charset="0"/>
              </a:endParaRPr>
            </a:p>
          </p:txBody>
        </p:sp>
      </p:grpSp>
      <p:grpSp>
        <p:nvGrpSpPr>
          <p:cNvPr id="114" name="Group 113">
            <a:extLst>
              <a:ext uri="{FF2B5EF4-FFF2-40B4-BE49-F238E27FC236}">
                <a16:creationId xmlns:a16="http://schemas.microsoft.com/office/drawing/2014/main" id="{8C6251B7-AE56-A4D0-C633-B26831EC6614}"/>
              </a:ext>
            </a:extLst>
          </p:cNvPr>
          <p:cNvGrpSpPr/>
          <p:nvPr/>
        </p:nvGrpSpPr>
        <p:grpSpPr>
          <a:xfrm>
            <a:off x="8062072" y="1581678"/>
            <a:ext cx="1916230" cy="1215717"/>
            <a:chOff x="8087997" y="1036075"/>
            <a:chExt cx="1639858" cy="1215717"/>
          </a:xfrm>
        </p:grpSpPr>
        <p:sp>
          <p:nvSpPr>
            <p:cNvPr id="105" name="TextBox 104">
              <a:extLst>
                <a:ext uri="{FF2B5EF4-FFF2-40B4-BE49-F238E27FC236}">
                  <a16:creationId xmlns:a16="http://schemas.microsoft.com/office/drawing/2014/main" id="{F18D66EC-6572-FBC1-2585-EE27CF650E0A}"/>
                </a:ext>
              </a:extLst>
            </p:cNvPr>
            <p:cNvSpPr txBox="1"/>
            <p:nvPr/>
          </p:nvSpPr>
          <p:spPr>
            <a:xfrm>
              <a:off x="8087997" y="1036075"/>
              <a:ext cx="1639858" cy="121571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GB" sz="1050" b="1" i="0" u="none" strike="noStrike" kern="1200" cap="none" spc="0" normalizeH="0" baseline="0" noProof="0">
                  <a:ln>
                    <a:noFill/>
                  </a:ln>
                  <a:solidFill>
                    <a:srgbClr val="000000"/>
                  </a:solidFill>
                  <a:effectLst/>
                  <a:uLnTx/>
                  <a:uFillTx/>
                  <a:latin typeface="Aptos" panose="020B0004020202020204" pitchFamily="34" charset="0"/>
                </a:rPr>
                <a:t>UI Framework </a:t>
              </a:r>
            </a:p>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GB" sz="1050" b="0" i="0" u="none" strike="noStrike" kern="1200" cap="none" spc="0" normalizeH="0" baseline="0" noProof="0">
                  <a:ln>
                    <a:noFill/>
                  </a:ln>
                  <a:solidFill>
                    <a:srgbClr val="000000"/>
                  </a:solidFill>
                  <a:effectLst/>
                  <a:uLnTx/>
                  <a:uFillTx/>
                  <a:latin typeface="Aptos" panose="020B0004020202020204" pitchFamily="34" charset="0"/>
                </a:rPr>
                <a:t>User logs to GUI with his enterprise email where</a:t>
              </a:r>
              <a:r>
                <a:rPr kumimoji="0" lang="en-GB" sz="1050" b="1" i="0" u="none" strike="noStrike" kern="1200" cap="none" spc="0" normalizeH="0" baseline="0" noProof="0">
                  <a:ln>
                    <a:noFill/>
                  </a:ln>
                  <a:solidFill>
                    <a:srgbClr val="000000"/>
                  </a:solidFill>
                  <a:effectLst/>
                  <a:uLnTx/>
                  <a:uFillTx/>
                  <a:latin typeface="Aptos" panose="020B0004020202020204" pitchFamily="34" charset="0"/>
                </a:rPr>
                <a:t> </a:t>
              </a:r>
              <a:r>
                <a:rPr kumimoji="0" lang="en-US" sz="1050" b="0" i="0" u="none" strike="noStrike" kern="1200" cap="none" spc="0" normalizeH="0" baseline="0" noProof="0">
                  <a:ln>
                    <a:noFill/>
                  </a:ln>
                  <a:solidFill>
                    <a:prstClr val="black"/>
                  </a:solidFill>
                  <a:effectLst/>
                  <a:uLnTx/>
                  <a:uFillTx/>
                  <a:latin typeface="Aptos" panose="020B0004020202020204" pitchFamily="34" charset="0"/>
                </a:rPr>
                <a:t>SSO Authentication is done along with application specific access</a:t>
              </a:r>
            </a:p>
          </p:txBody>
        </p:sp>
        <p:sp>
          <p:nvSpPr>
            <p:cNvPr id="112" name="Oval 111">
              <a:extLst>
                <a:ext uri="{FF2B5EF4-FFF2-40B4-BE49-F238E27FC236}">
                  <a16:creationId xmlns:a16="http://schemas.microsoft.com/office/drawing/2014/main" id="{AE6988C5-DE7B-33ED-DAB7-997E4B86473A}"/>
                </a:ext>
              </a:extLst>
            </p:cNvPr>
            <p:cNvSpPr/>
            <p:nvPr/>
          </p:nvSpPr>
          <p:spPr>
            <a:xfrm>
              <a:off x="9166790" y="1116284"/>
              <a:ext cx="172873" cy="150033"/>
            </a:xfrm>
            <a:prstGeom prst="ellipse">
              <a:avLst/>
            </a:prstGeom>
            <a:solidFill>
              <a:srgbClr val="B5C1C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ptos" panose="020B0004020202020204" pitchFamily="34" charset="0"/>
                </a:rPr>
                <a:t>1</a:t>
              </a:r>
              <a:endParaRPr kumimoji="0" lang="en-IN" sz="800" b="0" i="0" u="none" strike="noStrike" kern="1200" cap="none" spc="0" normalizeH="0" baseline="0" noProof="0">
                <a:ln>
                  <a:noFill/>
                </a:ln>
                <a:solidFill>
                  <a:srgbClr val="FFFFFF"/>
                </a:solidFill>
                <a:effectLst/>
                <a:uLnTx/>
                <a:uFillTx/>
                <a:latin typeface="Aptos" panose="020B0004020202020204" pitchFamily="34" charset="0"/>
              </a:endParaRPr>
            </a:p>
          </p:txBody>
        </p:sp>
      </p:grpSp>
      <p:cxnSp>
        <p:nvCxnSpPr>
          <p:cNvPr id="116" name="Straight Arrow Connector 115">
            <a:extLst>
              <a:ext uri="{FF2B5EF4-FFF2-40B4-BE49-F238E27FC236}">
                <a16:creationId xmlns:a16="http://schemas.microsoft.com/office/drawing/2014/main" id="{3B073730-0B2A-90F4-8ACF-01BB201C9FFB}"/>
              </a:ext>
            </a:extLst>
          </p:cNvPr>
          <p:cNvCxnSpPr>
            <a:cxnSpLocks/>
          </p:cNvCxnSpPr>
          <p:nvPr/>
        </p:nvCxnSpPr>
        <p:spPr>
          <a:xfrm>
            <a:off x="9020187" y="2797395"/>
            <a:ext cx="10581" cy="2931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D72B9FE9-206E-5504-D9CA-0C89DA561AEE}"/>
              </a:ext>
            </a:extLst>
          </p:cNvPr>
          <p:cNvCxnSpPr>
            <a:cxnSpLocks/>
          </p:cNvCxnSpPr>
          <p:nvPr/>
        </p:nvCxnSpPr>
        <p:spPr>
          <a:xfrm>
            <a:off x="11077168" y="2774175"/>
            <a:ext cx="0" cy="28315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1" name="Oval 110">
            <a:extLst>
              <a:ext uri="{FF2B5EF4-FFF2-40B4-BE49-F238E27FC236}">
                <a16:creationId xmlns:a16="http://schemas.microsoft.com/office/drawing/2014/main" id="{B445FEC8-5AC2-3C08-838A-F307D348C1BA}"/>
              </a:ext>
            </a:extLst>
          </p:cNvPr>
          <p:cNvSpPr/>
          <p:nvPr/>
        </p:nvSpPr>
        <p:spPr>
          <a:xfrm>
            <a:off x="8115321" y="3258653"/>
            <a:ext cx="215474" cy="196702"/>
          </a:xfrm>
          <a:prstGeom prst="ellipse">
            <a:avLst/>
          </a:prstGeom>
          <a:solidFill>
            <a:srgbClr val="B5C1C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ptos" panose="020B0004020202020204" pitchFamily="34" charset="0"/>
              </a:rPr>
              <a:t>3</a:t>
            </a:r>
            <a:endParaRPr kumimoji="0" lang="en-IN" sz="800" b="0" i="0" u="none" strike="noStrike" kern="1200" cap="none" spc="0" normalizeH="0" baseline="0" noProof="0">
              <a:ln>
                <a:noFill/>
              </a:ln>
              <a:solidFill>
                <a:srgbClr val="FFFFFF"/>
              </a:solidFill>
              <a:effectLst/>
              <a:uLnTx/>
              <a:uFillTx/>
              <a:latin typeface="Aptos" panose="020B0004020202020204" pitchFamily="34" charset="0"/>
            </a:endParaRPr>
          </a:p>
        </p:txBody>
      </p:sp>
      <p:sp>
        <p:nvSpPr>
          <p:cNvPr id="115" name="Oval 114">
            <a:extLst>
              <a:ext uri="{FF2B5EF4-FFF2-40B4-BE49-F238E27FC236}">
                <a16:creationId xmlns:a16="http://schemas.microsoft.com/office/drawing/2014/main" id="{63C6DFD1-8906-81A2-9593-5D066246348C}"/>
              </a:ext>
            </a:extLst>
          </p:cNvPr>
          <p:cNvSpPr/>
          <p:nvPr/>
        </p:nvSpPr>
        <p:spPr>
          <a:xfrm>
            <a:off x="8617931" y="3256403"/>
            <a:ext cx="215474" cy="196702"/>
          </a:xfrm>
          <a:prstGeom prst="ellipse">
            <a:avLst/>
          </a:prstGeom>
          <a:solidFill>
            <a:srgbClr val="B5C1C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ptos" panose="020B0004020202020204" pitchFamily="34" charset="0"/>
              </a:rPr>
              <a:t>5</a:t>
            </a:r>
            <a:endParaRPr kumimoji="0" lang="en-IN" sz="800" b="0" i="0" u="none" strike="noStrike" kern="1200" cap="none" spc="0" normalizeH="0" baseline="0" noProof="0">
              <a:ln>
                <a:noFill/>
              </a:ln>
              <a:solidFill>
                <a:srgbClr val="FFFFFF"/>
              </a:solidFill>
              <a:effectLst/>
              <a:uLnTx/>
              <a:uFillTx/>
              <a:latin typeface="Aptos" panose="020B0004020202020204" pitchFamily="34" charset="0"/>
            </a:endParaRPr>
          </a:p>
        </p:txBody>
      </p:sp>
      <p:sp>
        <p:nvSpPr>
          <p:cNvPr id="122" name="Oval 121">
            <a:extLst>
              <a:ext uri="{FF2B5EF4-FFF2-40B4-BE49-F238E27FC236}">
                <a16:creationId xmlns:a16="http://schemas.microsoft.com/office/drawing/2014/main" id="{95ED1B4C-4993-442D-8B66-5B72EAA3D5EF}"/>
              </a:ext>
            </a:extLst>
          </p:cNvPr>
          <p:cNvSpPr/>
          <p:nvPr/>
        </p:nvSpPr>
        <p:spPr>
          <a:xfrm>
            <a:off x="8372430" y="3259908"/>
            <a:ext cx="215474" cy="196702"/>
          </a:xfrm>
          <a:prstGeom prst="ellipse">
            <a:avLst/>
          </a:prstGeom>
          <a:solidFill>
            <a:srgbClr val="B5C1C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ptos" panose="020B0004020202020204" pitchFamily="34" charset="0"/>
              </a:rPr>
              <a:t>4</a:t>
            </a:r>
            <a:endParaRPr kumimoji="0" lang="en-IN" sz="800" b="0" i="0" u="none" strike="noStrike" kern="1200" cap="none" spc="0" normalizeH="0" baseline="0" noProof="0">
              <a:ln>
                <a:noFill/>
              </a:ln>
              <a:solidFill>
                <a:srgbClr val="FFFFFF"/>
              </a:solidFill>
              <a:effectLst/>
              <a:uLnTx/>
              <a:uFillTx/>
              <a:latin typeface="Aptos" panose="020B0004020202020204" pitchFamily="34" charset="0"/>
            </a:endParaRPr>
          </a:p>
        </p:txBody>
      </p:sp>
      <p:sp>
        <p:nvSpPr>
          <p:cNvPr id="123" name="TextBox 122">
            <a:extLst>
              <a:ext uri="{FF2B5EF4-FFF2-40B4-BE49-F238E27FC236}">
                <a16:creationId xmlns:a16="http://schemas.microsoft.com/office/drawing/2014/main" id="{968122F7-BA88-AB42-A3AE-98796962680C}"/>
              </a:ext>
            </a:extLst>
          </p:cNvPr>
          <p:cNvSpPr txBox="1"/>
          <p:nvPr/>
        </p:nvSpPr>
        <p:spPr>
          <a:xfrm>
            <a:off x="8062072" y="4240666"/>
            <a:ext cx="3966006"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ptos" panose="020B0004020202020204" pitchFamily="34" charset="0"/>
              </a:rPr>
              <a:t>Now,</a:t>
            </a:r>
            <a:r>
              <a:rPr kumimoji="0" lang="en-US" sz="1000" b="0" i="0" u="none" strike="noStrike" kern="1200" cap="none" spc="0" normalizeH="0" baseline="0" noProof="0">
                <a:ln>
                  <a:noFill/>
                </a:ln>
                <a:solidFill>
                  <a:prstClr val="black"/>
                </a:solidFill>
                <a:effectLst/>
                <a:uLnTx/>
                <a:uFillTx/>
                <a:latin typeface="Aptos" panose="020B0004020202020204" pitchFamily="34" charset="0"/>
              </a:rPr>
              <a:t> trigger on s3 put invokes lambda with file metadata</a:t>
            </a:r>
            <a:r>
              <a:rPr kumimoji="0" lang="en-IN" sz="1000" b="0" i="0" u="none" strike="noStrike" kern="1200" cap="none" spc="0" normalizeH="0" baseline="0" noProof="0">
                <a:ln>
                  <a:noFill/>
                </a:ln>
                <a:solidFill>
                  <a:prstClr val="black"/>
                </a:solidFill>
                <a:effectLst/>
                <a:uLnTx/>
                <a:uFillTx/>
                <a:latin typeface="Aptos" panose="020B0004020202020204" pitchFamily="34" charset="0"/>
              </a:rPr>
              <a:t> which</a:t>
            </a:r>
            <a:r>
              <a:rPr kumimoji="0" lang="en-GB" sz="1000" b="1" i="0" u="none" strike="noStrike" kern="1200" cap="none" spc="0" normalizeH="0" baseline="0" noProof="0">
                <a:ln>
                  <a:noFill/>
                </a:ln>
                <a:solidFill>
                  <a:srgbClr val="000000"/>
                </a:solidFill>
                <a:effectLst/>
                <a:uLnTx/>
                <a:uFillTx/>
                <a:latin typeface="Aptos" panose="020B0004020202020204" pitchFamily="34" charset="0"/>
              </a:rPr>
              <a:t> </a:t>
            </a:r>
            <a:r>
              <a:rPr kumimoji="0" lang="en-US" sz="1000" b="0" i="0" u="none" strike="noStrike" kern="1200" cap="none" spc="0" normalizeH="0" baseline="0" noProof="0">
                <a:ln>
                  <a:noFill/>
                </a:ln>
                <a:solidFill>
                  <a:prstClr val="black"/>
                </a:solidFill>
                <a:effectLst/>
                <a:uLnTx/>
                <a:uFillTx/>
                <a:latin typeface="Aptos" panose="020B0004020202020204" pitchFamily="34" charset="0"/>
              </a:rPr>
              <a:t>push file upload logs to DB queue for processing and , all the logs are pushed to AWS CloudWatch for debugging</a:t>
            </a:r>
            <a:endParaRPr kumimoji="0" lang="en-IN" sz="1000" b="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124" name="TextBox 123">
            <a:extLst>
              <a:ext uri="{FF2B5EF4-FFF2-40B4-BE49-F238E27FC236}">
                <a16:creationId xmlns:a16="http://schemas.microsoft.com/office/drawing/2014/main" id="{E2EBC1C5-4DEB-578D-D812-38E4F0862438}"/>
              </a:ext>
            </a:extLst>
          </p:cNvPr>
          <p:cNvSpPr txBox="1"/>
          <p:nvPr/>
        </p:nvSpPr>
        <p:spPr>
          <a:xfrm>
            <a:off x="8062072" y="5091795"/>
            <a:ext cx="3966006"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0B0004020202020204" pitchFamily="34" charset="0"/>
              </a:rPr>
              <a:t>Now, Glue jobs reads files from s3, apply DQ checks and move files to success/partial-success/error /reject folders and update the status back to RDS.</a:t>
            </a:r>
          </a:p>
        </p:txBody>
      </p:sp>
      <p:sp>
        <p:nvSpPr>
          <p:cNvPr id="125" name="TextBox 124">
            <a:extLst>
              <a:ext uri="{FF2B5EF4-FFF2-40B4-BE49-F238E27FC236}">
                <a16:creationId xmlns:a16="http://schemas.microsoft.com/office/drawing/2014/main" id="{A2268959-27F9-6067-A3E1-68678DBACF20}"/>
              </a:ext>
            </a:extLst>
          </p:cNvPr>
          <p:cNvSpPr txBox="1"/>
          <p:nvPr/>
        </p:nvSpPr>
        <p:spPr>
          <a:xfrm>
            <a:off x="8062072" y="5948577"/>
            <a:ext cx="3966006"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0B0004020202020204" pitchFamily="34" charset="0"/>
              </a:rPr>
              <a:t>Successful files are moved to processed bucket and</a:t>
            </a:r>
            <a:r>
              <a:rPr kumimoji="0" lang="en-US" sz="1000" b="1" i="0" u="none" strike="noStrike" kern="1200" cap="none" spc="0" normalizeH="0" baseline="0" noProof="0">
                <a:ln>
                  <a:noFill/>
                </a:ln>
                <a:solidFill>
                  <a:prstClr val="black"/>
                </a:solidFill>
                <a:effectLst/>
                <a:uLnTx/>
                <a:uFillTx/>
                <a:latin typeface="Aptos" panose="020B0004020202020204" pitchFamily="34" charset="0"/>
              </a:rPr>
              <a:t> </a:t>
            </a:r>
            <a:r>
              <a:rPr kumimoji="0" lang="en-US" sz="1000" b="0" i="0" u="none" strike="noStrike" kern="1200" cap="none" spc="0" normalizeH="0" baseline="0" noProof="0">
                <a:ln>
                  <a:noFill/>
                </a:ln>
                <a:solidFill>
                  <a:prstClr val="black"/>
                </a:solidFill>
                <a:effectLst/>
                <a:uLnTx/>
                <a:uFillTx/>
                <a:latin typeface="Aptos" panose="020B0004020202020204" pitchFamily="34" charset="0"/>
              </a:rPr>
              <a:t>email notification is sent with processed status and a summary of DQ results</a:t>
            </a:r>
          </a:p>
        </p:txBody>
      </p:sp>
      <p:sp>
        <p:nvSpPr>
          <p:cNvPr id="126" name="Oval 125">
            <a:extLst>
              <a:ext uri="{FF2B5EF4-FFF2-40B4-BE49-F238E27FC236}">
                <a16:creationId xmlns:a16="http://schemas.microsoft.com/office/drawing/2014/main" id="{87FBF71C-D5EC-F634-C217-CEC8CEBA3AC5}"/>
              </a:ext>
            </a:extLst>
          </p:cNvPr>
          <p:cNvSpPr/>
          <p:nvPr/>
        </p:nvSpPr>
        <p:spPr>
          <a:xfrm>
            <a:off x="8872109" y="3263383"/>
            <a:ext cx="215474" cy="196702"/>
          </a:xfrm>
          <a:prstGeom prst="ellipse">
            <a:avLst/>
          </a:prstGeom>
          <a:solidFill>
            <a:srgbClr val="B5C1C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ptos" panose="020B0004020202020204" pitchFamily="34" charset="0"/>
              </a:rPr>
              <a:t>6</a:t>
            </a:r>
            <a:endParaRPr kumimoji="0" lang="en-IN" sz="800" b="0" i="0" u="none" strike="noStrike" kern="1200" cap="none" spc="0" normalizeH="0" baseline="0" noProof="0">
              <a:ln>
                <a:noFill/>
              </a:ln>
              <a:solidFill>
                <a:srgbClr val="FFFFFF"/>
              </a:solidFill>
              <a:effectLst/>
              <a:uLnTx/>
              <a:uFillTx/>
              <a:latin typeface="Aptos" panose="020B0004020202020204" pitchFamily="34" charset="0"/>
            </a:endParaRPr>
          </a:p>
        </p:txBody>
      </p:sp>
      <p:sp>
        <p:nvSpPr>
          <p:cNvPr id="127" name="Oval 126">
            <a:extLst>
              <a:ext uri="{FF2B5EF4-FFF2-40B4-BE49-F238E27FC236}">
                <a16:creationId xmlns:a16="http://schemas.microsoft.com/office/drawing/2014/main" id="{5260253B-2B3E-3934-A017-CE5DDEB53FE7}"/>
              </a:ext>
            </a:extLst>
          </p:cNvPr>
          <p:cNvSpPr/>
          <p:nvPr/>
        </p:nvSpPr>
        <p:spPr>
          <a:xfrm>
            <a:off x="8152315" y="4054840"/>
            <a:ext cx="215474" cy="196702"/>
          </a:xfrm>
          <a:prstGeom prst="ellipse">
            <a:avLst/>
          </a:prstGeom>
          <a:solidFill>
            <a:srgbClr val="B5C1C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ptos" panose="020B0004020202020204" pitchFamily="34" charset="0"/>
              </a:rPr>
              <a:t>7</a:t>
            </a:r>
            <a:endParaRPr kumimoji="0" lang="en-IN" sz="800" b="0" i="0" u="none" strike="noStrike" kern="1200" cap="none" spc="0" normalizeH="0" baseline="0" noProof="0">
              <a:ln>
                <a:noFill/>
              </a:ln>
              <a:solidFill>
                <a:srgbClr val="FFFFFF"/>
              </a:solidFill>
              <a:effectLst/>
              <a:uLnTx/>
              <a:uFillTx/>
              <a:latin typeface="Aptos" panose="020B0004020202020204" pitchFamily="34" charset="0"/>
            </a:endParaRPr>
          </a:p>
        </p:txBody>
      </p:sp>
      <p:sp>
        <p:nvSpPr>
          <p:cNvPr id="128" name="Oval 127">
            <a:extLst>
              <a:ext uri="{FF2B5EF4-FFF2-40B4-BE49-F238E27FC236}">
                <a16:creationId xmlns:a16="http://schemas.microsoft.com/office/drawing/2014/main" id="{20C5225B-5051-8037-C3A7-8FFB3EE0916D}"/>
              </a:ext>
            </a:extLst>
          </p:cNvPr>
          <p:cNvSpPr/>
          <p:nvPr/>
        </p:nvSpPr>
        <p:spPr>
          <a:xfrm>
            <a:off x="8402457" y="4055722"/>
            <a:ext cx="215474" cy="196702"/>
          </a:xfrm>
          <a:prstGeom prst="ellipse">
            <a:avLst/>
          </a:prstGeom>
          <a:solidFill>
            <a:srgbClr val="B5C1C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ptos" panose="020B0004020202020204" pitchFamily="34" charset="0"/>
              </a:rPr>
              <a:t>8</a:t>
            </a:r>
            <a:endParaRPr kumimoji="0" lang="en-IN" sz="800" b="0" i="0" u="none" strike="noStrike" kern="1200" cap="none" spc="0" normalizeH="0" baseline="0" noProof="0">
              <a:ln>
                <a:noFill/>
              </a:ln>
              <a:solidFill>
                <a:srgbClr val="FFFFFF"/>
              </a:solidFill>
              <a:effectLst/>
              <a:uLnTx/>
              <a:uFillTx/>
              <a:latin typeface="Aptos" panose="020B0004020202020204" pitchFamily="34" charset="0"/>
            </a:endParaRPr>
          </a:p>
        </p:txBody>
      </p:sp>
      <p:sp>
        <p:nvSpPr>
          <p:cNvPr id="129" name="Oval 128">
            <a:extLst>
              <a:ext uri="{FF2B5EF4-FFF2-40B4-BE49-F238E27FC236}">
                <a16:creationId xmlns:a16="http://schemas.microsoft.com/office/drawing/2014/main" id="{A829FF80-BCE4-5D4A-46B4-977875CB91F2}"/>
              </a:ext>
            </a:extLst>
          </p:cNvPr>
          <p:cNvSpPr/>
          <p:nvPr/>
        </p:nvSpPr>
        <p:spPr>
          <a:xfrm>
            <a:off x="8662744" y="4055722"/>
            <a:ext cx="215474" cy="196702"/>
          </a:xfrm>
          <a:prstGeom prst="ellipse">
            <a:avLst/>
          </a:prstGeom>
          <a:solidFill>
            <a:srgbClr val="B5C1C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ptos" panose="020B0004020202020204" pitchFamily="34" charset="0"/>
              </a:rPr>
              <a:t>9</a:t>
            </a:r>
            <a:endParaRPr kumimoji="0" lang="en-IN" sz="800" b="0" i="0" u="none" strike="noStrike" kern="1200" cap="none" spc="0" normalizeH="0" baseline="0" noProof="0">
              <a:ln>
                <a:noFill/>
              </a:ln>
              <a:solidFill>
                <a:srgbClr val="FFFFFF"/>
              </a:solidFill>
              <a:effectLst/>
              <a:uLnTx/>
              <a:uFillTx/>
              <a:latin typeface="Aptos" panose="020B0004020202020204" pitchFamily="34" charset="0"/>
            </a:endParaRPr>
          </a:p>
        </p:txBody>
      </p:sp>
      <p:sp>
        <p:nvSpPr>
          <p:cNvPr id="145" name="Oval 144">
            <a:extLst>
              <a:ext uri="{FF2B5EF4-FFF2-40B4-BE49-F238E27FC236}">
                <a16:creationId xmlns:a16="http://schemas.microsoft.com/office/drawing/2014/main" id="{32FC5E0A-ECE4-9B31-11C0-092981FF4582}"/>
              </a:ext>
            </a:extLst>
          </p:cNvPr>
          <p:cNvSpPr/>
          <p:nvPr/>
        </p:nvSpPr>
        <p:spPr>
          <a:xfrm>
            <a:off x="8923031" y="4055722"/>
            <a:ext cx="215474" cy="196702"/>
          </a:xfrm>
          <a:prstGeom prst="ellipse">
            <a:avLst/>
          </a:prstGeom>
          <a:solidFill>
            <a:srgbClr val="B5C1C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ptos" panose="020B0004020202020204" pitchFamily="34" charset="0"/>
              </a:rPr>
              <a:t>13</a:t>
            </a:r>
            <a:endParaRPr kumimoji="0" lang="en-IN" sz="800" b="0" i="0" u="none" strike="noStrike" kern="1200" cap="none" spc="0" normalizeH="0" baseline="0" noProof="0">
              <a:ln>
                <a:noFill/>
              </a:ln>
              <a:solidFill>
                <a:srgbClr val="FFFFFF"/>
              </a:solidFill>
              <a:effectLst/>
              <a:uLnTx/>
              <a:uFillTx/>
              <a:latin typeface="Aptos" panose="020B0004020202020204" pitchFamily="34" charset="0"/>
            </a:endParaRPr>
          </a:p>
        </p:txBody>
      </p:sp>
      <p:sp>
        <p:nvSpPr>
          <p:cNvPr id="146" name="Oval 145">
            <a:extLst>
              <a:ext uri="{FF2B5EF4-FFF2-40B4-BE49-F238E27FC236}">
                <a16:creationId xmlns:a16="http://schemas.microsoft.com/office/drawing/2014/main" id="{D96FA2EB-5D78-D37D-8CE8-A5C13FF42B8F}"/>
              </a:ext>
            </a:extLst>
          </p:cNvPr>
          <p:cNvSpPr/>
          <p:nvPr/>
        </p:nvSpPr>
        <p:spPr>
          <a:xfrm>
            <a:off x="9183318" y="4055722"/>
            <a:ext cx="215474" cy="196702"/>
          </a:xfrm>
          <a:prstGeom prst="ellipse">
            <a:avLst/>
          </a:prstGeom>
          <a:solidFill>
            <a:srgbClr val="B5C1C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ptos" panose="020B0004020202020204" pitchFamily="34" charset="0"/>
              </a:rPr>
              <a:t>16</a:t>
            </a:r>
            <a:endParaRPr kumimoji="0" lang="en-IN" sz="800" b="0" i="0" u="none" strike="noStrike" kern="1200" cap="none" spc="0" normalizeH="0" baseline="0" noProof="0">
              <a:ln>
                <a:noFill/>
              </a:ln>
              <a:solidFill>
                <a:srgbClr val="FFFFFF"/>
              </a:solidFill>
              <a:effectLst/>
              <a:uLnTx/>
              <a:uFillTx/>
              <a:latin typeface="Aptos" panose="020B0004020202020204" pitchFamily="34" charset="0"/>
            </a:endParaRPr>
          </a:p>
        </p:txBody>
      </p:sp>
      <p:sp>
        <p:nvSpPr>
          <p:cNvPr id="147" name="Oval 146">
            <a:extLst>
              <a:ext uri="{FF2B5EF4-FFF2-40B4-BE49-F238E27FC236}">
                <a16:creationId xmlns:a16="http://schemas.microsoft.com/office/drawing/2014/main" id="{DB1D53C1-5C3E-65E0-34DE-CB9B019B31B5}"/>
              </a:ext>
            </a:extLst>
          </p:cNvPr>
          <p:cNvSpPr/>
          <p:nvPr/>
        </p:nvSpPr>
        <p:spPr>
          <a:xfrm>
            <a:off x="8115193" y="5789063"/>
            <a:ext cx="215474" cy="196702"/>
          </a:xfrm>
          <a:prstGeom prst="ellipse">
            <a:avLst/>
          </a:prstGeom>
          <a:solidFill>
            <a:srgbClr val="B5C1C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ptos" panose="020B0004020202020204" pitchFamily="34" charset="0"/>
              </a:rPr>
              <a:t>12</a:t>
            </a:r>
            <a:endParaRPr kumimoji="0" lang="en-IN" sz="800" b="0" i="0" u="none" strike="noStrike" kern="1200" cap="none" spc="0" normalizeH="0" baseline="0" noProof="0">
              <a:ln>
                <a:noFill/>
              </a:ln>
              <a:solidFill>
                <a:srgbClr val="FFFFFF"/>
              </a:solidFill>
              <a:effectLst/>
              <a:uLnTx/>
              <a:uFillTx/>
              <a:latin typeface="Aptos" panose="020B0004020202020204" pitchFamily="34" charset="0"/>
            </a:endParaRPr>
          </a:p>
        </p:txBody>
      </p:sp>
      <p:sp>
        <p:nvSpPr>
          <p:cNvPr id="148" name="Oval 147">
            <a:extLst>
              <a:ext uri="{FF2B5EF4-FFF2-40B4-BE49-F238E27FC236}">
                <a16:creationId xmlns:a16="http://schemas.microsoft.com/office/drawing/2014/main" id="{E7E5EDF8-F5C9-B6A9-A47B-3FAD20E6B68F}"/>
              </a:ext>
            </a:extLst>
          </p:cNvPr>
          <p:cNvSpPr/>
          <p:nvPr/>
        </p:nvSpPr>
        <p:spPr>
          <a:xfrm>
            <a:off x="8136553" y="4899285"/>
            <a:ext cx="215474" cy="196702"/>
          </a:xfrm>
          <a:prstGeom prst="ellipse">
            <a:avLst/>
          </a:prstGeom>
          <a:solidFill>
            <a:srgbClr val="B5C1C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ptos" panose="020B0004020202020204" pitchFamily="34" charset="0"/>
              </a:rPr>
              <a:t>10</a:t>
            </a:r>
            <a:endParaRPr kumimoji="0" lang="en-IN" sz="800" b="0" i="0" u="none" strike="noStrike" kern="1200" cap="none" spc="0" normalizeH="0" baseline="0" noProof="0">
              <a:ln>
                <a:noFill/>
              </a:ln>
              <a:solidFill>
                <a:srgbClr val="FFFFFF"/>
              </a:solidFill>
              <a:effectLst/>
              <a:uLnTx/>
              <a:uFillTx/>
              <a:latin typeface="Aptos" panose="020B0004020202020204" pitchFamily="34" charset="0"/>
            </a:endParaRPr>
          </a:p>
        </p:txBody>
      </p:sp>
      <p:sp>
        <p:nvSpPr>
          <p:cNvPr id="149" name="Oval 148">
            <a:extLst>
              <a:ext uri="{FF2B5EF4-FFF2-40B4-BE49-F238E27FC236}">
                <a16:creationId xmlns:a16="http://schemas.microsoft.com/office/drawing/2014/main" id="{221B6104-CAD7-5EDE-1637-0B2BF41366DF}"/>
              </a:ext>
            </a:extLst>
          </p:cNvPr>
          <p:cNvSpPr/>
          <p:nvPr/>
        </p:nvSpPr>
        <p:spPr>
          <a:xfrm>
            <a:off x="8398014" y="4899285"/>
            <a:ext cx="215474" cy="196702"/>
          </a:xfrm>
          <a:prstGeom prst="ellipse">
            <a:avLst/>
          </a:prstGeom>
          <a:solidFill>
            <a:srgbClr val="B5C1C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ptos" panose="020B0004020202020204" pitchFamily="34" charset="0"/>
              </a:rPr>
              <a:t>11</a:t>
            </a:r>
            <a:endParaRPr kumimoji="0" lang="en-IN" sz="800" b="0" i="0" u="none" strike="noStrike" kern="1200" cap="none" spc="0" normalizeH="0" baseline="0" noProof="0">
              <a:ln>
                <a:noFill/>
              </a:ln>
              <a:solidFill>
                <a:srgbClr val="FFFFFF"/>
              </a:solidFill>
              <a:effectLst/>
              <a:uLnTx/>
              <a:uFillTx/>
              <a:latin typeface="Aptos" panose="020B0004020202020204" pitchFamily="34" charset="0"/>
            </a:endParaRPr>
          </a:p>
        </p:txBody>
      </p:sp>
      <p:sp>
        <p:nvSpPr>
          <p:cNvPr id="151" name="Oval 150">
            <a:extLst>
              <a:ext uri="{FF2B5EF4-FFF2-40B4-BE49-F238E27FC236}">
                <a16:creationId xmlns:a16="http://schemas.microsoft.com/office/drawing/2014/main" id="{9B9D4A44-9CD3-4DAE-64C4-1AF1CD707A1C}"/>
              </a:ext>
            </a:extLst>
          </p:cNvPr>
          <p:cNvSpPr/>
          <p:nvPr/>
        </p:nvSpPr>
        <p:spPr>
          <a:xfrm>
            <a:off x="8398014" y="5789063"/>
            <a:ext cx="215474" cy="196702"/>
          </a:xfrm>
          <a:prstGeom prst="ellipse">
            <a:avLst/>
          </a:prstGeom>
          <a:solidFill>
            <a:srgbClr val="B5C1C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ptos" panose="020B0004020202020204" pitchFamily="34" charset="0"/>
              </a:rPr>
              <a:t>14</a:t>
            </a:r>
            <a:endParaRPr kumimoji="0" lang="en-IN" sz="800" b="0" i="0" u="none" strike="noStrike" kern="1200" cap="none" spc="0" normalizeH="0" baseline="0" noProof="0">
              <a:ln>
                <a:noFill/>
              </a:ln>
              <a:solidFill>
                <a:srgbClr val="FFFFFF"/>
              </a:solidFill>
              <a:effectLst/>
              <a:uLnTx/>
              <a:uFillTx/>
              <a:latin typeface="Aptos" panose="020B0004020202020204" pitchFamily="34" charset="0"/>
            </a:endParaRPr>
          </a:p>
        </p:txBody>
      </p:sp>
      <p:sp>
        <p:nvSpPr>
          <p:cNvPr id="152" name="Oval 151">
            <a:extLst>
              <a:ext uri="{FF2B5EF4-FFF2-40B4-BE49-F238E27FC236}">
                <a16:creationId xmlns:a16="http://schemas.microsoft.com/office/drawing/2014/main" id="{14B9C594-4D2A-4113-2444-1BA13B1BE59C}"/>
              </a:ext>
            </a:extLst>
          </p:cNvPr>
          <p:cNvSpPr/>
          <p:nvPr/>
        </p:nvSpPr>
        <p:spPr>
          <a:xfrm>
            <a:off x="8680835" y="5786973"/>
            <a:ext cx="215474" cy="196702"/>
          </a:xfrm>
          <a:prstGeom prst="ellipse">
            <a:avLst/>
          </a:prstGeom>
          <a:solidFill>
            <a:srgbClr val="B5C1C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ptos" panose="020B0004020202020204" pitchFamily="34" charset="0"/>
              </a:rPr>
              <a:t>15</a:t>
            </a:r>
            <a:endParaRPr kumimoji="0" lang="en-IN" sz="800" b="0" i="0" u="none" strike="noStrike" kern="1200" cap="none" spc="0" normalizeH="0" baseline="0" noProof="0">
              <a:ln>
                <a:noFill/>
              </a:ln>
              <a:solidFill>
                <a:srgbClr val="FFFFFF"/>
              </a:solidFill>
              <a:effectLst/>
              <a:uLnTx/>
              <a:uFillTx/>
              <a:latin typeface="Aptos" panose="020B0004020202020204" pitchFamily="34" charset="0"/>
            </a:endParaRPr>
          </a:p>
        </p:txBody>
      </p:sp>
      <p:pic>
        <p:nvPicPr>
          <p:cNvPr id="85" name="Graphic 84" descr="Users outline">
            <a:extLst>
              <a:ext uri="{FF2B5EF4-FFF2-40B4-BE49-F238E27FC236}">
                <a16:creationId xmlns:a16="http://schemas.microsoft.com/office/drawing/2014/main" id="{E1A7E936-4B7C-28E8-B436-C3CDF771C5F9}"/>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410765" y="4376442"/>
            <a:ext cx="303374" cy="303374"/>
          </a:xfrm>
          <a:prstGeom prst="rect">
            <a:avLst/>
          </a:prstGeom>
        </p:spPr>
      </p:pic>
    </p:spTree>
    <p:extLst>
      <p:ext uri="{BB962C8B-B14F-4D97-AF65-F5344CB8AC3E}">
        <p14:creationId xmlns:p14="http://schemas.microsoft.com/office/powerpoint/2010/main" val="2127066885"/>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AA6500-C42E-A8BD-7520-CCB8932C1E6B}"/>
            </a:ext>
          </a:extLst>
        </p:cNvPr>
        <p:cNvGrpSpPr/>
        <p:nvPr/>
      </p:nvGrpSpPr>
      <p:grpSpPr>
        <a:xfrm>
          <a:off x="0" y="0"/>
          <a:ext cx="0" cy="0"/>
          <a:chOff x="0" y="0"/>
          <a:chExt cx="0" cy="0"/>
        </a:xfrm>
      </p:grpSpPr>
      <p:sp>
        <p:nvSpPr>
          <p:cNvPr id="5" name="Graphic 12">
            <a:extLst>
              <a:ext uri="{FF2B5EF4-FFF2-40B4-BE49-F238E27FC236}">
                <a16:creationId xmlns:a16="http://schemas.microsoft.com/office/drawing/2014/main" id="{8CB24D54-95AA-44F4-86D6-4D715ADC2F46}"/>
              </a:ext>
            </a:extLst>
          </p:cNvPr>
          <p:cNvSpPr/>
          <p:nvPr/>
        </p:nvSpPr>
        <p:spPr>
          <a:xfrm>
            <a:off x="5146520" y="0"/>
            <a:ext cx="7083354" cy="6858000"/>
          </a:xfrm>
          <a:custGeom>
            <a:avLst/>
            <a:gdLst>
              <a:gd name="connsiteX0" fmla="*/ 7083355 w 7083354"/>
              <a:gd name="connsiteY0" fmla="*/ 6858000 h 6858000"/>
              <a:gd name="connsiteX1" fmla="*/ 551850 w 7083354"/>
              <a:gd name="connsiteY1" fmla="*/ 6858000 h 6858000"/>
              <a:gd name="connsiteX2" fmla="*/ 423157 w 7083354"/>
              <a:gd name="connsiteY2" fmla="*/ 4811395 h 6858000"/>
              <a:gd name="connsiteX3" fmla="*/ 4471599 w 7083354"/>
              <a:gd name="connsiteY3" fmla="*/ 0 h 6858000"/>
              <a:gd name="connsiteX4" fmla="*/ 7083355 w 708335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3354" h="6858000">
                <a:moveTo>
                  <a:pt x="7083355" y="6858000"/>
                </a:moveTo>
                <a:lnTo>
                  <a:pt x="551850" y="6858000"/>
                </a:lnTo>
                <a:cubicBezTo>
                  <a:pt x="-212161" y="6355610"/>
                  <a:pt x="-112677" y="5450629"/>
                  <a:pt x="423157" y="4811395"/>
                </a:cubicBezTo>
                <a:lnTo>
                  <a:pt x="4471599" y="0"/>
                </a:lnTo>
                <a:lnTo>
                  <a:pt x="7083355" y="0"/>
                </a:lnTo>
              </a:path>
            </a:pathLst>
          </a:custGeom>
          <a:solidFill>
            <a:schemeClr val="bg1">
              <a:lumMod val="25000"/>
              <a:lumOff val="75000"/>
              <a:alpha val="19000"/>
            </a:schemeClr>
          </a:solidFill>
          <a:ln w="10583" cap="flat">
            <a:noFill/>
            <a:prstDash val="solid"/>
            <a:miter/>
          </a:ln>
        </p:spPr>
        <p:txBody>
          <a:bodyPr rtlCol="0" anchor="ctr"/>
          <a:lstStyle/>
          <a:p>
            <a:endParaRPr lang="en-US"/>
          </a:p>
        </p:txBody>
      </p:sp>
      <p:sp>
        <p:nvSpPr>
          <p:cNvPr id="14" name="Graphic 5">
            <a:extLst>
              <a:ext uri="{FF2B5EF4-FFF2-40B4-BE49-F238E27FC236}">
                <a16:creationId xmlns:a16="http://schemas.microsoft.com/office/drawing/2014/main" id="{F1A5EB4F-E5AD-37BE-1DFB-9B8B8F69CB99}"/>
              </a:ext>
            </a:extLst>
          </p:cNvPr>
          <p:cNvSpPr/>
          <p:nvPr/>
        </p:nvSpPr>
        <p:spPr>
          <a:xfrm>
            <a:off x="7695096" y="9063"/>
            <a:ext cx="7072843" cy="6854700"/>
          </a:xfrm>
          <a:custGeom>
            <a:avLst/>
            <a:gdLst>
              <a:gd name="connsiteX0" fmla="*/ 422520 w 7072842"/>
              <a:gd name="connsiteY0" fmla="*/ 4804219 h 6847772"/>
              <a:gd name="connsiteX1" fmla="*/ 4464987 w 7072842"/>
              <a:gd name="connsiteY1" fmla="*/ 0 h 6847772"/>
              <a:gd name="connsiteX2" fmla="*/ 7072843 w 7072842"/>
              <a:gd name="connsiteY2" fmla="*/ 0 h 6847772"/>
              <a:gd name="connsiteX3" fmla="*/ 2827236 w 7072842"/>
              <a:gd name="connsiteY3" fmla="*/ 5023934 h 6847772"/>
              <a:gd name="connsiteX4" fmla="*/ 2814860 w 7072842"/>
              <a:gd name="connsiteY4" fmla="*/ 6847773 h 6847772"/>
              <a:gd name="connsiteX5" fmla="*/ 551057 w 7072842"/>
              <a:gd name="connsiteY5" fmla="*/ 6847773 h 6847772"/>
              <a:gd name="connsiteX6" fmla="*/ 422520 w 7072842"/>
              <a:gd name="connsiteY6" fmla="*/ 4804219 h 6847772"/>
              <a:gd name="connsiteX0" fmla="*/ 422520 w 7072843"/>
              <a:gd name="connsiteY0" fmla="*/ 4804219 h 6854700"/>
              <a:gd name="connsiteX1" fmla="*/ 4464987 w 7072843"/>
              <a:gd name="connsiteY1" fmla="*/ 0 h 6854700"/>
              <a:gd name="connsiteX2" fmla="*/ 7072843 w 7072843"/>
              <a:gd name="connsiteY2" fmla="*/ 0 h 6854700"/>
              <a:gd name="connsiteX3" fmla="*/ 2827236 w 7072843"/>
              <a:gd name="connsiteY3" fmla="*/ 5023934 h 6854700"/>
              <a:gd name="connsiteX4" fmla="*/ 2825251 w 7072843"/>
              <a:gd name="connsiteY4" fmla="*/ 6854700 h 6854700"/>
              <a:gd name="connsiteX5" fmla="*/ 551057 w 7072843"/>
              <a:gd name="connsiteY5" fmla="*/ 6847773 h 6854700"/>
              <a:gd name="connsiteX6" fmla="*/ 422520 w 7072843"/>
              <a:gd name="connsiteY6" fmla="*/ 4804219 h 6854700"/>
              <a:gd name="connsiteX0" fmla="*/ 422520 w 7072843"/>
              <a:gd name="connsiteY0" fmla="*/ 4804219 h 6854700"/>
              <a:gd name="connsiteX1" fmla="*/ 4464987 w 7072843"/>
              <a:gd name="connsiteY1" fmla="*/ 0 h 6854700"/>
              <a:gd name="connsiteX2" fmla="*/ 7072843 w 7072843"/>
              <a:gd name="connsiteY2" fmla="*/ 0 h 6854700"/>
              <a:gd name="connsiteX3" fmla="*/ 2827236 w 7072843"/>
              <a:gd name="connsiteY3" fmla="*/ 5023934 h 6854700"/>
              <a:gd name="connsiteX4" fmla="*/ 2825251 w 7072843"/>
              <a:gd name="connsiteY4" fmla="*/ 6854700 h 6854700"/>
              <a:gd name="connsiteX5" fmla="*/ 551057 w 7072843"/>
              <a:gd name="connsiteY5" fmla="*/ 6847773 h 6854700"/>
              <a:gd name="connsiteX6" fmla="*/ 422520 w 7072843"/>
              <a:gd name="connsiteY6" fmla="*/ 4804219 h 6854700"/>
              <a:gd name="connsiteX0" fmla="*/ 422520 w 7072843"/>
              <a:gd name="connsiteY0" fmla="*/ 4804219 h 6854700"/>
              <a:gd name="connsiteX1" fmla="*/ 4464987 w 7072843"/>
              <a:gd name="connsiteY1" fmla="*/ 0 h 6854700"/>
              <a:gd name="connsiteX2" fmla="*/ 7072843 w 7072843"/>
              <a:gd name="connsiteY2" fmla="*/ 0 h 6854700"/>
              <a:gd name="connsiteX3" fmla="*/ 2827236 w 7072843"/>
              <a:gd name="connsiteY3" fmla="*/ 5023934 h 6854700"/>
              <a:gd name="connsiteX4" fmla="*/ 2825251 w 7072843"/>
              <a:gd name="connsiteY4" fmla="*/ 6854700 h 6854700"/>
              <a:gd name="connsiteX5" fmla="*/ 551057 w 7072843"/>
              <a:gd name="connsiteY5" fmla="*/ 6847773 h 6854700"/>
              <a:gd name="connsiteX6" fmla="*/ 422520 w 7072843"/>
              <a:gd name="connsiteY6" fmla="*/ 4804219 h 6854700"/>
              <a:gd name="connsiteX0" fmla="*/ 422520 w 7072843"/>
              <a:gd name="connsiteY0" fmla="*/ 4804219 h 6854700"/>
              <a:gd name="connsiteX1" fmla="*/ 4464987 w 7072843"/>
              <a:gd name="connsiteY1" fmla="*/ 0 h 6854700"/>
              <a:gd name="connsiteX2" fmla="*/ 7072843 w 7072843"/>
              <a:gd name="connsiteY2" fmla="*/ 0 h 6854700"/>
              <a:gd name="connsiteX3" fmla="*/ 2827236 w 7072843"/>
              <a:gd name="connsiteY3" fmla="*/ 5023934 h 6854700"/>
              <a:gd name="connsiteX4" fmla="*/ 2825251 w 7072843"/>
              <a:gd name="connsiteY4" fmla="*/ 6854700 h 6854700"/>
              <a:gd name="connsiteX5" fmla="*/ 551057 w 7072843"/>
              <a:gd name="connsiteY5" fmla="*/ 6847773 h 6854700"/>
              <a:gd name="connsiteX6" fmla="*/ 422520 w 7072843"/>
              <a:gd name="connsiteY6" fmla="*/ 4804219 h 6854700"/>
              <a:gd name="connsiteX0" fmla="*/ 422520 w 7072843"/>
              <a:gd name="connsiteY0" fmla="*/ 4804219 h 6854700"/>
              <a:gd name="connsiteX1" fmla="*/ 4464987 w 7072843"/>
              <a:gd name="connsiteY1" fmla="*/ 0 h 6854700"/>
              <a:gd name="connsiteX2" fmla="*/ 7072843 w 7072843"/>
              <a:gd name="connsiteY2" fmla="*/ 0 h 6854700"/>
              <a:gd name="connsiteX3" fmla="*/ 2827236 w 7072843"/>
              <a:gd name="connsiteY3" fmla="*/ 5023934 h 6854700"/>
              <a:gd name="connsiteX4" fmla="*/ 2825251 w 7072843"/>
              <a:gd name="connsiteY4" fmla="*/ 6854700 h 6854700"/>
              <a:gd name="connsiteX5" fmla="*/ 551057 w 7072843"/>
              <a:gd name="connsiteY5" fmla="*/ 6847773 h 6854700"/>
              <a:gd name="connsiteX6" fmla="*/ 422520 w 7072843"/>
              <a:gd name="connsiteY6" fmla="*/ 4804219 h 6854700"/>
              <a:gd name="connsiteX0" fmla="*/ 422520 w 7072843"/>
              <a:gd name="connsiteY0" fmla="*/ 4804219 h 6854700"/>
              <a:gd name="connsiteX1" fmla="*/ 4464987 w 7072843"/>
              <a:gd name="connsiteY1" fmla="*/ 0 h 6854700"/>
              <a:gd name="connsiteX2" fmla="*/ 7072843 w 7072843"/>
              <a:gd name="connsiteY2" fmla="*/ 0 h 6854700"/>
              <a:gd name="connsiteX3" fmla="*/ 2827236 w 7072843"/>
              <a:gd name="connsiteY3" fmla="*/ 5023934 h 6854700"/>
              <a:gd name="connsiteX4" fmla="*/ 2825251 w 7072843"/>
              <a:gd name="connsiteY4" fmla="*/ 6854700 h 6854700"/>
              <a:gd name="connsiteX5" fmla="*/ 551057 w 7072843"/>
              <a:gd name="connsiteY5" fmla="*/ 6847773 h 6854700"/>
              <a:gd name="connsiteX6" fmla="*/ 422520 w 7072843"/>
              <a:gd name="connsiteY6" fmla="*/ 4804219 h 6854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72843" h="6854700">
                <a:moveTo>
                  <a:pt x="422520" y="4804219"/>
                </a:moveTo>
                <a:lnTo>
                  <a:pt x="4464987" y="0"/>
                </a:lnTo>
                <a:lnTo>
                  <a:pt x="7072843" y="0"/>
                </a:lnTo>
                <a:lnTo>
                  <a:pt x="2827236" y="5023934"/>
                </a:lnTo>
                <a:cubicBezTo>
                  <a:pt x="2405702" y="5562918"/>
                  <a:pt x="2292307" y="6311373"/>
                  <a:pt x="2825251" y="6854700"/>
                </a:cubicBezTo>
                <a:lnTo>
                  <a:pt x="551057" y="6847773"/>
                </a:lnTo>
                <a:cubicBezTo>
                  <a:pt x="-211856" y="6346116"/>
                  <a:pt x="-112505" y="5442503"/>
                  <a:pt x="422520" y="4804219"/>
                </a:cubicBezTo>
                <a:close/>
              </a:path>
            </a:pathLst>
          </a:custGeom>
          <a:solidFill>
            <a:schemeClr val="bg1">
              <a:lumMod val="10000"/>
              <a:lumOff val="90000"/>
              <a:alpha val="54000"/>
            </a:schemeClr>
          </a:solidFill>
          <a:ln w="14404" cap="flat">
            <a:noFill/>
            <a:prstDash val="solid"/>
            <a:miter/>
          </a:ln>
        </p:spPr>
        <p:txBody>
          <a:bodyPr rtlCol="0" anchor="ctr"/>
          <a:lstStyle/>
          <a:p>
            <a:endParaRPr lang="en-US"/>
          </a:p>
        </p:txBody>
      </p:sp>
      <p:sp>
        <p:nvSpPr>
          <p:cNvPr id="3" name="Title 4">
            <a:extLst>
              <a:ext uri="{FF2B5EF4-FFF2-40B4-BE49-F238E27FC236}">
                <a16:creationId xmlns:a16="http://schemas.microsoft.com/office/drawing/2014/main" id="{7C27CB6B-D79E-6EEC-F537-2F24CEBB6DA5}"/>
              </a:ext>
            </a:extLst>
          </p:cNvPr>
          <p:cNvSpPr txBox="1">
            <a:spLocks/>
          </p:cNvSpPr>
          <p:nvPr/>
        </p:nvSpPr>
        <p:spPr>
          <a:xfrm>
            <a:off x="890844" y="2559553"/>
            <a:ext cx="6032383" cy="1648630"/>
          </a:xfrm>
          <a:prstGeom prst="rect">
            <a:avLst/>
          </a:prstGeom>
        </p:spPr>
        <p:txBody>
          <a:bodyPr>
            <a:noAutofit/>
          </a:bodyPr>
          <a:lstStyle>
            <a:lvl1pPr marL="0" marR="0" indent="0" algn="l" defTabSz="1462796" rtl="0" eaLnBrk="1" latinLnBrk="0" hangingPunct="1">
              <a:lnSpc>
                <a:spcPct val="80000"/>
              </a:lnSpc>
              <a:spcBef>
                <a:spcPts val="0"/>
              </a:spcBef>
              <a:spcAft>
                <a:spcPts val="0"/>
              </a:spcAft>
              <a:buClrTx/>
              <a:buSzTx/>
              <a:buFontTx/>
              <a:buNone/>
              <a:tabLst/>
              <a:defRPr sz="3800" b="0" i="0" u="none" strike="noStrike" cap="none" spc="0" baseline="0">
                <a:solidFill>
                  <a:schemeClr val="bg1"/>
                </a:solidFill>
                <a:uFillTx/>
                <a:latin typeface="Aptos" panose="020B0004020202020204" pitchFamily="34" charset="0"/>
                <a:ea typeface="+mj-ea"/>
                <a:cs typeface="+mj-cs"/>
                <a:sym typeface="IBM Plex Sans Light"/>
              </a:defRPr>
            </a:lvl1pPr>
            <a:lvl2pPr marL="0" marR="0" indent="0"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2pPr>
            <a:lvl3pPr marL="0" marR="0" indent="0"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3pPr>
            <a:lvl4pPr marL="0" marR="0" indent="0"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4pPr>
            <a:lvl5pPr marL="0" marR="0" indent="0"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5pPr>
            <a:lvl6pPr marL="0" marR="0" indent="217505"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6pPr>
            <a:lvl7pPr marL="0" marR="0" indent="435011"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7pPr>
            <a:lvl8pPr marL="0" marR="0" indent="652515"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8pPr>
            <a:lvl9pPr marL="0" marR="0" indent="870021"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9pPr>
          </a:lstStyle>
          <a:p>
            <a:pPr defTabSz="1218948">
              <a:lnSpc>
                <a:spcPct val="90000"/>
              </a:lnSpc>
              <a:defRPr/>
            </a:pPr>
            <a:r>
              <a:rPr lang="en-US" sz="5000" kern="0" spc="100">
                <a:solidFill>
                  <a:schemeClr val="tx2"/>
                </a:solidFill>
                <a:ea typeface="Helvetica Neue UltraLight" panose="02000206000000020004" pitchFamily="2" charset="0"/>
                <a:cs typeface="Helvetica Neue Medium" panose="02000503000000020004" pitchFamily="2" charset="0"/>
              </a:rPr>
              <a:t>Success</a:t>
            </a:r>
          </a:p>
          <a:p>
            <a:pPr defTabSz="1218948">
              <a:lnSpc>
                <a:spcPct val="90000"/>
              </a:lnSpc>
              <a:defRPr/>
            </a:pPr>
            <a:endParaRPr lang="en-US" sz="6000" kern="0" spc="100">
              <a:solidFill>
                <a:schemeClr val="tx2"/>
              </a:solidFill>
              <a:ea typeface="Helvetica Neue UltraLight" panose="02000206000000020004" pitchFamily="2" charset="0"/>
              <a:cs typeface="Helvetica Neue Medium" panose="02000503000000020004" pitchFamily="2" charset="0"/>
            </a:endParaRPr>
          </a:p>
          <a:p>
            <a:pPr defTabSz="1218948">
              <a:lnSpc>
                <a:spcPct val="90000"/>
              </a:lnSpc>
              <a:defRPr/>
            </a:pPr>
            <a:endParaRPr lang="en-US" sz="6000" kern="0" spc="100">
              <a:solidFill>
                <a:schemeClr val="tx2"/>
              </a:solidFill>
              <a:ea typeface="Helvetica Neue UltraLight" panose="02000206000000020004" pitchFamily="2" charset="0"/>
              <a:cs typeface="Helvetica Neue Medium" panose="02000503000000020004" pitchFamily="2" charset="0"/>
            </a:endParaRPr>
          </a:p>
        </p:txBody>
      </p:sp>
      <p:sp>
        <p:nvSpPr>
          <p:cNvPr id="11" name="Text Placeholder 3">
            <a:extLst>
              <a:ext uri="{FF2B5EF4-FFF2-40B4-BE49-F238E27FC236}">
                <a16:creationId xmlns:a16="http://schemas.microsoft.com/office/drawing/2014/main" id="{4DF501FB-DEAA-FAAA-F25B-DBA14ADD082A}"/>
              </a:ext>
            </a:extLst>
          </p:cNvPr>
          <p:cNvSpPr txBox="1">
            <a:spLocks/>
          </p:cNvSpPr>
          <p:nvPr/>
        </p:nvSpPr>
        <p:spPr>
          <a:xfrm>
            <a:off x="288889" y="6458629"/>
            <a:ext cx="4088233" cy="150303"/>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Outfit Light" pitchFamily="2" charset="0"/>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48">
              <a:defRPr/>
            </a:pPr>
            <a:r>
              <a:rPr lang="en-US" sz="917" kern="0">
                <a:solidFill>
                  <a:schemeClr val="bg2"/>
                </a:solidFill>
                <a:latin typeface="Aptos Light" panose="020B0004020202020204" pitchFamily="34" charset="0"/>
              </a:rPr>
              <a:t>Confidential</a:t>
            </a:r>
            <a:r>
              <a:rPr lang="en-US" sz="917" kern="0">
                <a:solidFill>
                  <a:schemeClr val="bg2"/>
                </a:solidFill>
                <a:latin typeface="Aptos" panose="020B0004020202020204" pitchFamily="34" charset="0"/>
              </a:rPr>
              <a:t>  /  </a:t>
            </a:r>
            <a:r>
              <a:rPr lang="en-US" sz="917" kern="0">
                <a:solidFill>
                  <a:schemeClr val="bg2"/>
                </a:solidFill>
                <a:latin typeface="Aptos Light" panose="020B0004020202020204" pitchFamily="34" charset="0"/>
              </a:rPr>
              <a:t>Brillio</a:t>
            </a:r>
          </a:p>
        </p:txBody>
      </p:sp>
      <p:sp>
        <p:nvSpPr>
          <p:cNvPr id="4" name="TextBox 3">
            <a:extLst>
              <a:ext uri="{FF2B5EF4-FFF2-40B4-BE49-F238E27FC236}">
                <a16:creationId xmlns:a16="http://schemas.microsoft.com/office/drawing/2014/main" id="{A3054D3E-AFDC-5E24-2B2D-47B90C063CFF}"/>
              </a:ext>
            </a:extLst>
          </p:cNvPr>
          <p:cNvSpPr txBox="1"/>
          <p:nvPr/>
        </p:nvSpPr>
        <p:spPr>
          <a:xfrm>
            <a:off x="941294" y="3496235"/>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370373" indent="-372276" defTabSz="2031919">
              <a:spcBef>
                <a:spcPts val="2417"/>
              </a:spcBef>
              <a:buSzPct val="100000"/>
              <a:buFontTx/>
              <a:buChar char="–"/>
              <a:defRPr/>
            </a:pPr>
            <a:endParaRPr lang="en-US" sz="1500" kern="0">
              <a:solidFill>
                <a:srgbClr val="000000"/>
              </a:solidFill>
              <a:latin typeface="Aptos" panose="02110004020202020204"/>
              <a:sym typeface="IBM Plex Sans Light"/>
            </a:endParaRPr>
          </a:p>
        </p:txBody>
      </p:sp>
      <p:sp>
        <p:nvSpPr>
          <p:cNvPr id="7" name="TextBox 6">
            <a:extLst>
              <a:ext uri="{FF2B5EF4-FFF2-40B4-BE49-F238E27FC236}">
                <a16:creationId xmlns:a16="http://schemas.microsoft.com/office/drawing/2014/main" id="{35D9EC18-52D7-1242-1962-3E7B00BB34C1}"/>
              </a:ext>
            </a:extLst>
          </p:cNvPr>
          <p:cNvSpPr txBox="1"/>
          <p:nvPr/>
        </p:nvSpPr>
        <p:spPr>
          <a:xfrm>
            <a:off x="941294" y="3204135"/>
            <a:ext cx="0" cy="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rtlCol="0">
            <a:noAutofit/>
          </a:bodyPr>
          <a:lstStyle/>
          <a:p>
            <a:pPr marL="370373" indent="-372276" defTabSz="2031919">
              <a:spcBef>
                <a:spcPts val="2417"/>
              </a:spcBef>
              <a:buSzPct val="100000"/>
              <a:buFontTx/>
              <a:buChar char="–"/>
              <a:defRPr/>
            </a:pPr>
            <a:endParaRPr lang="en-US" sz="1500" kern="0">
              <a:solidFill>
                <a:srgbClr val="000000"/>
              </a:solidFill>
              <a:latin typeface="Aptos" panose="02110004020202020204"/>
              <a:sym typeface="IBM Plex Sans Light"/>
            </a:endParaRPr>
          </a:p>
        </p:txBody>
      </p:sp>
      <p:sp>
        <p:nvSpPr>
          <p:cNvPr id="9" name="Rectangle 8">
            <a:extLst>
              <a:ext uri="{FF2B5EF4-FFF2-40B4-BE49-F238E27FC236}">
                <a16:creationId xmlns:a16="http://schemas.microsoft.com/office/drawing/2014/main" id="{72A1062C-0B98-F532-F5A3-76A042EBC0E8}"/>
              </a:ext>
            </a:extLst>
          </p:cNvPr>
          <p:cNvSpPr/>
          <p:nvPr/>
        </p:nvSpPr>
        <p:spPr bwMode="auto">
          <a:xfrm rot="5400000">
            <a:off x="1576003" y="1838266"/>
            <a:ext cx="38099" cy="1198778"/>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76200" tIns="76200" rIns="76200" bIns="76200" numCol="1" rtlCol="0" anchor="t" anchorCtr="0" compatLnSpc="1">
            <a:prstTxWarp prst="textNoShape">
              <a:avLst/>
            </a:prstTxWarp>
          </a:bodyPr>
          <a:lstStyle/>
          <a:p>
            <a:pPr defTabSz="761970" fontAlgn="base">
              <a:spcBef>
                <a:spcPct val="0"/>
              </a:spcBef>
              <a:spcAft>
                <a:spcPct val="0"/>
              </a:spcAft>
              <a:defRPr/>
            </a:pPr>
            <a:endParaRPr lang="en-US" sz="1167">
              <a:solidFill>
                <a:schemeClr val="tx2"/>
              </a:solidFill>
              <a:latin typeface="Aptos" panose="02110004020202020204"/>
            </a:endParaRPr>
          </a:p>
        </p:txBody>
      </p:sp>
      <p:sp>
        <p:nvSpPr>
          <p:cNvPr id="8" name="Text Placeholder 3">
            <a:extLst>
              <a:ext uri="{FF2B5EF4-FFF2-40B4-BE49-F238E27FC236}">
                <a16:creationId xmlns:a16="http://schemas.microsoft.com/office/drawing/2014/main" id="{C808FE05-0D52-5F54-AA08-723DD72259C1}"/>
              </a:ext>
            </a:extLst>
          </p:cNvPr>
          <p:cNvSpPr txBox="1">
            <a:spLocks/>
          </p:cNvSpPr>
          <p:nvPr/>
        </p:nvSpPr>
        <p:spPr>
          <a:xfrm>
            <a:off x="11438259" y="6458629"/>
            <a:ext cx="462473" cy="150303"/>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Outfit Light" pitchFamily="2" charset="0"/>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r" defTabSz="1218948">
              <a:defRPr/>
            </a:pPr>
            <a:fld id="{64F0821C-65D3-DD4D-8DB2-745946DB9115}" type="slidenum">
              <a:rPr lang="en-US" sz="917" kern="0">
                <a:latin typeface="Aptos" panose="020B0004020202020204" pitchFamily="34" charset="0"/>
              </a:rPr>
              <a:pPr algn="r" defTabSz="1218948">
                <a:defRPr/>
              </a:pPr>
              <a:t>37</a:t>
            </a:fld>
            <a:endParaRPr lang="en-US" sz="917" kern="0">
              <a:latin typeface="Aptos" panose="020B0004020202020204" pitchFamily="34" charset="0"/>
            </a:endParaRPr>
          </a:p>
        </p:txBody>
      </p:sp>
      <p:pic>
        <p:nvPicPr>
          <p:cNvPr id="12" name="Graphic 11">
            <a:extLst>
              <a:ext uri="{FF2B5EF4-FFF2-40B4-BE49-F238E27FC236}">
                <a16:creationId xmlns:a16="http://schemas.microsoft.com/office/drawing/2014/main" id="{156D23D3-B5C7-882F-69FA-17C1FF3A9862}"/>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543540" y="6495499"/>
            <a:ext cx="167269" cy="81501"/>
          </a:xfrm>
          <a:prstGeom prst="rect">
            <a:avLst/>
          </a:prstGeom>
        </p:spPr>
      </p:pic>
      <p:sp>
        <p:nvSpPr>
          <p:cNvPr id="19" name="Title 4">
            <a:extLst>
              <a:ext uri="{FF2B5EF4-FFF2-40B4-BE49-F238E27FC236}">
                <a16:creationId xmlns:a16="http://schemas.microsoft.com/office/drawing/2014/main" id="{5EF01094-171F-A251-08EB-ADF4056E0AC4}"/>
              </a:ext>
            </a:extLst>
          </p:cNvPr>
          <p:cNvSpPr txBox="1">
            <a:spLocks/>
          </p:cNvSpPr>
          <p:nvPr/>
        </p:nvSpPr>
        <p:spPr>
          <a:xfrm>
            <a:off x="1043244" y="2711953"/>
            <a:ext cx="6032383" cy="1648630"/>
          </a:xfrm>
          <a:prstGeom prst="rect">
            <a:avLst/>
          </a:prstGeom>
        </p:spPr>
        <p:txBody>
          <a:bodyPr>
            <a:noAutofit/>
          </a:bodyPr>
          <a:lstStyle>
            <a:lvl1pPr marL="0" marR="0" indent="0" algn="l" defTabSz="1462796" rtl="0" eaLnBrk="1" latinLnBrk="0" hangingPunct="1">
              <a:lnSpc>
                <a:spcPct val="80000"/>
              </a:lnSpc>
              <a:spcBef>
                <a:spcPts val="0"/>
              </a:spcBef>
              <a:spcAft>
                <a:spcPts val="0"/>
              </a:spcAft>
              <a:buClrTx/>
              <a:buSzTx/>
              <a:buFontTx/>
              <a:buNone/>
              <a:tabLst/>
              <a:defRPr sz="3800" b="0" i="0" u="none" strike="noStrike" cap="none" spc="0" baseline="0">
                <a:solidFill>
                  <a:schemeClr val="bg1"/>
                </a:solidFill>
                <a:uFillTx/>
                <a:latin typeface="Aptos" panose="020B0004020202020204" pitchFamily="34" charset="0"/>
                <a:ea typeface="+mj-ea"/>
                <a:cs typeface="+mj-cs"/>
                <a:sym typeface="IBM Plex Sans Light"/>
              </a:defRPr>
            </a:lvl1pPr>
            <a:lvl2pPr marL="0" marR="0" indent="0"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2pPr>
            <a:lvl3pPr marL="0" marR="0" indent="0"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3pPr>
            <a:lvl4pPr marL="0" marR="0" indent="0"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4pPr>
            <a:lvl5pPr marL="0" marR="0" indent="0"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5pPr>
            <a:lvl6pPr marL="0" marR="0" indent="217505"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6pPr>
            <a:lvl7pPr marL="0" marR="0" indent="435011"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7pPr>
            <a:lvl8pPr marL="0" marR="0" indent="652515"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8pPr>
            <a:lvl9pPr marL="0" marR="0" indent="870021"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9pPr>
          </a:lstStyle>
          <a:p>
            <a:pPr defTabSz="1218948">
              <a:lnSpc>
                <a:spcPct val="90000"/>
              </a:lnSpc>
              <a:defRPr/>
            </a:pPr>
            <a:r>
              <a:rPr lang="en-US" sz="5000" kern="0" spc="100">
                <a:ea typeface="Helvetica Neue UltraLight" panose="02000206000000020004" pitchFamily="2" charset="0"/>
                <a:cs typeface="Helvetica Neue Medium" panose="02000503000000020004" pitchFamily="2" charset="0"/>
              </a:rPr>
              <a:t>Detailed Success Stories</a:t>
            </a:r>
          </a:p>
          <a:p>
            <a:pPr defTabSz="1218948">
              <a:lnSpc>
                <a:spcPct val="90000"/>
              </a:lnSpc>
              <a:defRPr/>
            </a:pPr>
            <a:endParaRPr lang="en-US" sz="6000" kern="0" spc="100">
              <a:ea typeface="Helvetica Neue UltraLight" panose="02000206000000020004" pitchFamily="2" charset="0"/>
              <a:cs typeface="Helvetica Neue Medium" panose="02000503000000020004" pitchFamily="2" charset="0"/>
            </a:endParaRPr>
          </a:p>
          <a:p>
            <a:pPr defTabSz="1218948">
              <a:lnSpc>
                <a:spcPct val="90000"/>
              </a:lnSpc>
              <a:defRPr/>
            </a:pPr>
            <a:endParaRPr lang="en-US" sz="6000" kern="0" spc="100">
              <a:ea typeface="Helvetica Neue UltraLight" panose="02000206000000020004" pitchFamily="2" charset="0"/>
              <a:cs typeface="Helvetica Neue Medium" panose="02000503000000020004" pitchFamily="2" charset="0"/>
            </a:endParaRPr>
          </a:p>
        </p:txBody>
      </p:sp>
      <p:sp>
        <p:nvSpPr>
          <p:cNvPr id="20" name="Rectangle 19">
            <a:extLst>
              <a:ext uri="{FF2B5EF4-FFF2-40B4-BE49-F238E27FC236}">
                <a16:creationId xmlns:a16="http://schemas.microsoft.com/office/drawing/2014/main" id="{535FDA9C-4478-E382-4A25-BFA1FAE0D8E5}"/>
              </a:ext>
            </a:extLst>
          </p:cNvPr>
          <p:cNvSpPr/>
          <p:nvPr/>
        </p:nvSpPr>
        <p:spPr bwMode="auto">
          <a:xfrm rot="5400000">
            <a:off x="1728403" y="1990666"/>
            <a:ext cx="38099" cy="1198778"/>
          </a:xfrm>
          <a:prstGeom prst="rect">
            <a:avLst/>
          </a:prstGeom>
          <a:solidFill>
            <a:schemeClr val="tx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76200" tIns="76200" rIns="76200" bIns="76200" numCol="1" rtlCol="0" anchor="t" anchorCtr="0" compatLnSpc="1">
            <a:prstTxWarp prst="textNoShape">
              <a:avLst/>
            </a:prstTxWarp>
          </a:bodyPr>
          <a:lstStyle/>
          <a:p>
            <a:pPr defTabSz="761970" fontAlgn="base">
              <a:spcBef>
                <a:spcPct val="0"/>
              </a:spcBef>
              <a:spcAft>
                <a:spcPct val="0"/>
              </a:spcAft>
              <a:defRPr/>
            </a:pPr>
            <a:endParaRPr lang="en-US" sz="1167">
              <a:solidFill>
                <a:schemeClr val="bg2"/>
              </a:solidFill>
              <a:latin typeface="Aptos" panose="02110004020202020204"/>
            </a:endParaRPr>
          </a:p>
        </p:txBody>
      </p:sp>
    </p:spTree>
    <p:extLst>
      <p:ext uri="{BB962C8B-B14F-4D97-AF65-F5344CB8AC3E}">
        <p14:creationId xmlns:p14="http://schemas.microsoft.com/office/powerpoint/2010/main" val="2384130812"/>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52A6FFD0-FA9B-318D-6146-17BCB5745F27}"/>
              </a:ext>
            </a:extLst>
          </p:cNvPr>
          <p:cNvSpPr>
            <a:spLocks noGrp="1"/>
          </p:cNvSpPr>
          <p:nvPr>
            <p:ph type="pic" sz="quarter" idx="13"/>
          </p:nvPr>
        </p:nvSpPr>
        <p:spPr>
          <a:solidFill>
            <a:schemeClr val="accent2">
              <a:lumMod val="20000"/>
              <a:lumOff val="80000"/>
            </a:schemeClr>
          </a:solidFill>
        </p:spPr>
        <p:txBody>
          <a:bodyPr/>
          <a:lstStyle/>
          <a:p>
            <a:endParaRPr lang="en-US"/>
          </a:p>
        </p:txBody>
      </p:sp>
      <p:sp>
        <p:nvSpPr>
          <p:cNvPr id="2" name="Title 1">
            <a:extLst>
              <a:ext uri="{FF2B5EF4-FFF2-40B4-BE49-F238E27FC236}">
                <a16:creationId xmlns:a16="http://schemas.microsoft.com/office/drawing/2014/main" id="{60ACEA90-DF74-A85E-0F8E-B3A974FC1C69}"/>
              </a:ext>
            </a:extLst>
          </p:cNvPr>
          <p:cNvSpPr>
            <a:spLocks noGrp="1"/>
          </p:cNvSpPr>
          <p:nvPr>
            <p:ph type="title"/>
          </p:nvPr>
        </p:nvSpPr>
        <p:spPr/>
        <p:txBody>
          <a:bodyPr/>
          <a:lstStyle/>
          <a:p>
            <a:r>
              <a:rPr lang="en-US">
                <a:solidFill>
                  <a:schemeClr val="bg1"/>
                </a:solidFill>
                <a:latin typeface="Aptos" panose="020B0004020202020204" pitchFamily="34" charset="0"/>
              </a:rPr>
              <a:t>Solution Architecture to Enable CDP</a:t>
            </a:r>
          </a:p>
        </p:txBody>
      </p:sp>
      <p:pic>
        <p:nvPicPr>
          <p:cNvPr id="4" name="Picture 3">
            <a:extLst>
              <a:ext uri="{FF2B5EF4-FFF2-40B4-BE49-F238E27FC236}">
                <a16:creationId xmlns:a16="http://schemas.microsoft.com/office/drawing/2014/main" id="{A0290160-FC20-19A0-AEB0-4EA243DE30E6}"/>
              </a:ext>
            </a:extLst>
          </p:cNvPr>
          <p:cNvPicPr>
            <a:picLocks noChangeAspect="1"/>
          </p:cNvPicPr>
          <p:nvPr/>
        </p:nvPicPr>
        <p:blipFill>
          <a:blip r:embed="rId2"/>
          <a:stretch>
            <a:fillRect/>
          </a:stretch>
        </p:blipFill>
        <p:spPr>
          <a:xfrm>
            <a:off x="365760" y="1257519"/>
            <a:ext cx="8421401" cy="4970104"/>
          </a:xfrm>
          <a:prstGeom prst="rect">
            <a:avLst/>
          </a:prstGeom>
        </p:spPr>
      </p:pic>
      <p:sp>
        <p:nvSpPr>
          <p:cNvPr id="5" name="TextBox 4">
            <a:extLst>
              <a:ext uri="{FF2B5EF4-FFF2-40B4-BE49-F238E27FC236}">
                <a16:creationId xmlns:a16="http://schemas.microsoft.com/office/drawing/2014/main" id="{E9AF36CC-90FD-5743-F72D-8A3223DE2F64}"/>
              </a:ext>
            </a:extLst>
          </p:cNvPr>
          <p:cNvSpPr txBox="1"/>
          <p:nvPr/>
        </p:nvSpPr>
        <p:spPr>
          <a:xfrm>
            <a:off x="9362940" y="1288984"/>
            <a:ext cx="2681555" cy="443166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u="none" strike="noStrike" kern="1200" cap="none" spc="0" normalizeH="0" baseline="0" noProof="0">
                <a:ln>
                  <a:noFill/>
                </a:ln>
                <a:solidFill>
                  <a:schemeClr val="bg1"/>
                </a:solidFill>
                <a:effectLst/>
                <a:uLnTx/>
                <a:uFillTx/>
                <a:latin typeface="Aptos SemiBold" panose="020B0004020202020204" pitchFamily="34" charset="0"/>
              </a:rPr>
              <a:t>Salient featur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u="none" strike="noStrike" kern="1200" cap="none" spc="0" normalizeH="0" baseline="0" noProof="0">
              <a:ln>
                <a:noFill/>
              </a:ln>
              <a:solidFill>
                <a:schemeClr val="bg1"/>
              </a:solidFill>
              <a:effectLst/>
              <a:uLnTx/>
              <a:uFillTx/>
              <a:latin typeface="Aptos SemiBold" panose="020B0004020202020204" pitchFamily="34" charset="0"/>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u="none" strike="noStrike" kern="1200" cap="none" spc="0" normalizeH="0" baseline="0" noProof="0">
                <a:ln>
                  <a:noFill/>
                </a:ln>
                <a:solidFill>
                  <a:schemeClr val="bg1"/>
                </a:solidFill>
                <a:effectLst/>
                <a:uLnTx/>
                <a:uFillTx/>
                <a:latin typeface="Aptos Light" panose="020B0004020202020204" pitchFamily="34" charset="0"/>
              </a:rPr>
              <a:t>One stop for Global Data</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IN" sz="1400" u="none" strike="noStrike" kern="1200" cap="none" spc="0" normalizeH="0" baseline="0" noProof="0">
                <a:ln>
                  <a:noFill/>
                </a:ln>
                <a:solidFill>
                  <a:schemeClr val="bg1"/>
                </a:solidFill>
                <a:effectLst/>
                <a:uLnTx/>
                <a:uFillTx/>
                <a:latin typeface="Aptos Light" panose="020B0004020202020204" pitchFamily="34" charset="0"/>
              </a:rPr>
              <a:t>Consolidated and Integrated</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IN" sz="1400" u="none" strike="noStrike" kern="1200" cap="none" spc="0" normalizeH="0" baseline="0" noProof="0">
                <a:ln>
                  <a:noFill/>
                </a:ln>
                <a:solidFill>
                  <a:schemeClr val="bg1"/>
                </a:solidFill>
                <a:effectLst/>
                <a:uLnTx/>
                <a:uFillTx/>
                <a:latin typeface="Aptos Light" panose="020B0004020202020204" pitchFamily="34" charset="0"/>
              </a:rPr>
              <a:t>Standardized Data Definitions</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u="none" strike="noStrike" kern="1200" cap="none" spc="0" normalizeH="0" baseline="0" noProof="0">
                <a:ln>
                  <a:noFill/>
                </a:ln>
                <a:solidFill>
                  <a:schemeClr val="bg1"/>
                </a:solidFill>
                <a:effectLst/>
                <a:uLnTx/>
                <a:uFillTx/>
                <a:latin typeface="Aptos Light" panose="020B0004020202020204" pitchFamily="34" charset="0"/>
              </a:rPr>
              <a:t>Self Service and Data Democratization</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u="none" strike="noStrike" kern="1200" cap="none" spc="0" normalizeH="0" baseline="0" noProof="0">
                <a:ln>
                  <a:noFill/>
                </a:ln>
                <a:solidFill>
                  <a:schemeClr val="bg1"/>
                </a:solidFill>
                <a:effectLst/>
                <a:uLnTx/>
                <a:uFillTx/>
                <a:latin typeface="Aptos Light" panose="020B0004020202020204" pitchFamily="34" charset="0"/>
              </a:rPr>
              <a:t>As a Service Model and a Marketplace for sharing data</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IN" sz="1400" u="none" strike="noStrike" kern="1200" cap="none" spc="0" normalizeH="0" baseline="0" noProof="0">
                <a:ln>
                  <a:noFill/>
                </a:ln>
                <a:solidFill>
                  <a:schemeClr val="bg1"/>
                </a:solidFill>
                <a:effectLst/>
                <a:uLnTx/>
                <a:uFillTx/>
                <a:latin typeface="Aptos Light" panose="020B0004020202020204" pitchFamily="34" charset="0"/>
              </a:rPr>
              <a:t>Repeatable and Reusable</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u="none" strike="noStrike" kern="1200" cap="none" spc="0" normalizeH="0" baseline="0" noProof="0">
                <a:ln>
                  <a:noFill/>
                </a:ln>
                <a:solidFill>
                  <a:schemeClr val="bg1"/>
                </a:solidFill>
                <a:effectLst/>
                <a:uLnTx/>
                <a:uFillTx/>
                <a:latin typeface="Aptos Light" panose="020B0004020202020204" pitchFamily="34" charset="0"/>
              </a:rPr>
              <a:t>Cost Efficiency and Automated Optimization</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IN" sz="1400" u="none" strike="noStrike" kern="1200" cap="none" spc="0" normalizeH="0" baseline="0" noProof="0">
                <a:ln>
                  <a:noFill/>
                </a:ln>
                <a:solidFill>
                  <a:schemeClr val="bg1"/>
                </a:solidFill>
                <a:effectLst/>
                <a:uLnTx/>
                <a:uFillTx/>
                <a:latin typeface="Aptos Light" panose="020B0004020202020204" pitchFamily="34" charset="0"/>
              </a:rPr>
              <a:t>Secure by Design</a:t>
            </a:r>
          </a:p>
        </p:txBody>
      </p:sp>
      <p:pic>
        <p:nvPicPr>
          <p:cNvPr id="10" name="Picture 2" descr="KFC - Wikipedia">
            <a:extLst>
              <a:ext uri="{FF2B5EF4-FFF2-40B4-BE49-F238E27FC236}">
                <a16:creationId xmlns:a16="http://schemas.microsoft.com/office/drawing/2014/main" id="{97F480B8-1FD3-B043-3039-FA7E1BE9C8D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538730" y="250745"/>
            <a:ext cx="413123" cy="4131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7751114"/>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A1D23A-EAA4-D512-1A5C-67D97BC28166}"/>
            </a:ext>
          </a:extLst>
        </p:cNvPr>
        <p:cNvGrpSpPr/>
        <p:nvPr/>
      </p:nvGrpSpPr>
      <p:grpSpPr>
        <a:xfrm>
          <a:off x="0" y="0"/>
          <a:ext cx="0" cy="0"/>
          <a:chOff x="0" y="0"/>
          <a:chExt cx="0" cy="0"/>
        </a:xfrm>
      </p:grpSpPr>
      <p:sp>
        <p:nvSpPr>
          <p:cNvPr id="9" name="Rectangle 8">
            <a:extLst>
              <a:ext uri="{FF2B5EF4-FFF2-40B4-BE49-F238E27FC236}">
                <a16:creationId xmlns:a16="http://schemas.microsoft.com/office/drawing/2014/main" id="{7E6329D2-4067-C2AF-8559-0956A6386903}"/>
              </a:ext>
            </a:extLst>
          </p:cNvPr>
          <p:cNvSpPr/>
          <p:nvPr/>
        </p:nvSpPr>
        <p:spPr bwMode="auto">
          <a:xfrm>
            <a:off x="0" y="5171369"/>
            <a:ext cx="12192000" cy="1082286"/>
          </a:xfrm>
          <a:prstGeom prst="rect">
            <a:avLst/>
          </a:prstGeom>
          <a:solidFill>
            <a:srgbClr val="E5F6FF">
              <a:alpha val="52000"/>
            </a:srgbClr>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bg1"/>
              </a:solidFill>
              <a:effectLst/>
              <a:latin typeface="+mn-lt"/>
            </a:endParaRPr>
          </a:p>
        </p:txBody>
      </p:sp>
      <p:sp>
        <p:nvSpPr>
          <p:cNvPr id="21" name="Rectangle 20">
            <a:extLst>
              <a:ext uri="{FF2B5EF4-FFF2-40B4-BE49-F238E27FC236}">
                <a16:creationId xmlns:a16="http://schemas.microsoft.com/office/drawing/2014/main" id="{03678DDC-D745-0992-B13E-7385348A3B7A}"/>
              </a:ext>
            </a:extLst>
          </p:cNvPr>
          <p:cNvSpPr/>
          <p:nvPr/>
        </p:nvSpPr>
        <p:spPr>
          <a:xfrm>
            <a:off x="0" y="4822108"/>
            <a:ext cx="12192000" cy="349261"/>
          </a:xfrm>
          <a:prstGeom prst="rect">
            <a:avLst/>
          </a:prstGeom>
          <a:solidFill>
            <a:srgbClr val="B5C1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prstClr val="white"/>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22" name="Rectangle 21">
            <a:extLst>
              <a:ext uri="{FF2B5EF4-FFF2-40B4-BE49-F238E27FC236}">
                <a16:creationId xmlns:a16="http://schemas.microsoft.com/office/drawing/2014/main" id="{30C72C5A-D23B-8A02-26A8-A670B8DCDC32}"/>
              </a:ext>
            </a:extLst>
          </p:cNvPr>
          <p:cNvSpPr/>
          <p:nvPr/>
        </p:nvSpPr>
        <p:spPr>
          <a:xfrm>
            <a:off x="3636863" y="4876076"/>
            <a:ext cx="4269194" cy="276999"/>
          </a:xfrm>
          <a:prstGeom prst="rect">
            <a:avLst/>
          </a:prstGeom>
        </p:spPr>
        <p:txBody>
          <a:bodyPr wrap="square">
            <a:spAutoFit/>
          </a:bodyPr>
          <a:lstStyle/>
          <a:p>
            <a:pPr marL="0" marR="0" lvl="0" indent="0" algn="ctr" defTabSz="4572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12354"/>
                </a:solidFill>
                <a:effectLst/>
                <a:uLnTx/>
                <a:uFillTx/>
                <a:latin typeface="Aptos" panose="020B0004020202020204" pitchFamily="34" charset="0"/>
                <a:ea typeface="Calibri" panose="020F0502020204030204" pitchFamily="34" charset="0"/>
                <a:cs typeface="Calibri" panose="020F0502020204030204" pitchFamily="34" charset="0"/>
              </a:rPr>
              <a:t>IMPACT DELIVERED </a:t>
            </a:r>
          </a:p>
        </p:txBody>
      </p:sp>
      <p:sp>
        <p:nvSpPr>
          <p:cNvPr id="30" name="TextBox 29">
            <a:extLst>
              <a:ext uri="{FF2B5EF4-FFF2-40B4-BE49-F238E27FC236}">
                <a16:creationId xmlns:a16="http://schemas.microsoft.com/office/drawing/2014/main" id="{25AE7F82-AFE5-A901-F057-EFD4AD5CDA28}"/>
              </a:ext>
            </a:extLst>
          </p:cNvPr>
          <p:cNvSpPr txBox="1"/>
          <p:nvPr/>
        </p:nvSpPr>
        <p:spPr>
          <a:xfrm>
            <a:off x="8921905" y="5464682"/>
            <a:ext cx="2520694" cy="461665"/>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a:ln>
                  <a:noFill/>
                </a:ln>
                <a:solidFill>
                  <a:srgbClr val="201646"/>
                </a:solidFill>
                <a:effectLst/>
                <a:uLnTx/>
                <a:uFillTx/>
                <a:latin typeface="Aptos SemiBold" panose="020B0004020202020204" pitchFamily="34" charset="0"/>
                <a:ea typeface="Calibri" panose="020F0502020204030204" pitchFamily="34" charset="0"/>
                <a:cs typeface="Calibri" panose="020F0502020204030204" pitchFamily="34" charset="0"/>
              </a:rPr>
              <a:t>Real time notifications and alerts to defined business rules</a:t>
            </a:r>
          </a:p>
        </p:txBody>
      </p:sp>
      <p:sp>
        <p:nvSpPr>
          <p:cNvPr id="33" name="TextBox 32">
            <a:extLst>
              <a:ext uri="{FF2B5EF4-FFF2-40B4-BE49-F238E27FC236}">
                <a16:creationId xmlns:a16="http://schemas.microsoft.com/office/drawing/2014/main" id="{D9725574-50A4-11B9-8861-CBABE7E22D71}"/>
              </a:ext>
            </a:extLst>
          </p:cNvPr>
          <p:cNvSpPr txBox="1"/>
          <p:nvPr/>
        </p:nvSpPr>
        <p:spPr>
          <a:xfrm>
            <a:off x="5025397" y="5464682"/>
            <a:ext cx="2832420" cy="461665"/>
          </a:xfrm>
          <a:prstGeom prst="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a:ln>
                  <a:noFill/>
                </a:ln>
                <a:solidFill>
                  <a:srgbClr val="201646"/>
                </a:solidFill>
                <a:effectLst/>
                <a:uLnTx/>
                <a:uFillTx/>
                <a:latin typeface="Aptos SemiBold" panose="020B0004020202020204" pitchFamily="34" charset="0"/>
                <a:ea typeface="Calibri" panose="020F0502020204030204" pitchFamily="34" charset="0"/>
                <a:cs typeface="Calibri" panose="020F0502020204030204" pitchFamily="34" charset="0"/>
              </a:rPr>
              <a:t>Near zero downtime enabling seamless network performance </a:t>
            </a:r>
          </a:p>
        </p:txBody>
      </p:sp>
      <p:sp>
        <p:nvSpPr>
          <p:cNvPr id="35" name="TextBox 34">
            <a:extLst>
              <a:ext uri="{FF2B5EF4-FFF2-40B4-BE49-F238E27FC236}">
                <a16:creationId xmlns:a16="http://schemas.microsoft.com/office/drawing/2014/main" id="{CB976FEB-02F0-3607-7273-CDEB448C9AB2}"/>
              </a:ext>
            </a:extLst>
          </p:cNvPr>
          <p:cNvSpPr txBox="1"/>
          <p:nvPr/>
        </p:nvSpPr>
        <p:spPr>
          <a:xfrm>
            <a:off x="1287203" y="5464682"/>
            <a:ext cx="2192882" cy="461665"/>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a:ln>
                  <a:noFill/>
                </a:ln>
                <a:solidFill>
                  <a:srgbClr val="201646"/>
                </a:solidFill>
                <a:effectLst/>
                <a:uLnTx/>
                <a:uFillTx/>
                <a:latin typeface="Aptos SemiBold" panose="020B0004020202020204" pitchFamily="34" charset="0"/>
                <a:ea typeface="Calibri" panose="020F0502020204030204" pitchFamily="34" charset="0"/>
                <a:cs typeface="Calibri" panose="020F0502020204030204" pitchFamily="34" charset="0"/>
              </a:rPr>
              <a:t>24% reduction in the overall cost</a:t>
            </a:r>
          </a:p>
        </p:txBody>
      </p:sp>
      <p:sp>
        <p:nvSpPr>
          <p:cNvPr id="41" name="Oval 40">
            <a:extLst>
              <a:ext uri="{FF2B5EF4-FFF2-40B4-BE49-F238E27FC236}">
                <a16:creationId xmlns:a16="http://schemas.microsoft.com/office/drawing/2014/main" id="{33866305-57C9-9071-6FB7-2C49A8BD4A47}"/>
              </a:ext>
            </a:extLst>
          </p:cNvPr>
          <p:cNvSpPr/>
          <p:nvPr/>
        </p:nvSpPr>
        <p:spPr>
          <a:xfrm>
            <a:off x="596191" y="5377310"/>
            <a:ext cx="610473" cy="645565"/>
          </a:xfrm>
          <a:prstGeom prst="ellipse">
            <a:avLst/>
          </a:prstGeom>
          <a:solidFill>
            <a:srgbClr val="012354"/>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43" name="Oval 42">
            <a:extLst>
              <a:ext uri="{FF2B5EF4-FFF2-40B4-BE49-F238E27FC236}">
                <a16:creationId xmlns:a16="http://schemas.microsoft.com/office/drawing/2014/main" id="{5A1610F5-826F-B72E-74CD-2DB0EEEBEDAC}"/>
              </a:ext>
            </a:extLst>
          </p:cNvPr>
          <p:cNvSpPr/>
          <p:nvPr/>
        </p:nvSpPr>
        <p:spPr>
          <a:xfrm>
            <a:off x="4299229" y="5387065"/>
            <a:ext cx="610473" cy="645565"/>
          </a:xfrm>
          <a:prstGeom prst="ellipse">
            <a:avLst/>
          </a:prstGeom>
          <a:solidFill>
            <a:srgbClr val="012354"/>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endParaRPr>
          </a:p>
        </p:txBody>
      </p:sp>
      <p:pic>
        <p:nvPicPr>
          <p:cNvPr id="45" name="Graphic 44" descr="Fast Forward">
            <a:extLst>
              <a:ext uri="{FF2B5EF4-FFF2-40B4-BE49-F238E27FC236}">
                <a16:creationId xmlns:a16="http://schemas.microsoft.com/office/drawing/2014/main" id="{B2E77ABD-BEE3-FC5F-46F0-89B903E2F16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319380" y="5375067"/>
            <a:ext cx="628160" cy="628160"/>
          </a:xfrm>
          <a:prstGeom prst="rect">
            <a:avLst/>
          </a:prstGeom>
        </p:spPr>
      </p:pic>
      <p:sp>
        <p:nvSpPr>
          <p:cNvPr id="50" name="Oval 49">
            <a:extLst>
              <a:ext uri="{FF2B5EF4-FFF2-40B4-BE49-F238E27FC236}">
                <a16:creationId xmlns:a16="http://schemas.microsoft.com/office/drawing/2014/main" id="{9FB57AD6-C623-16C2-72EE-FE7C1583A3DA}"/>
              </a:ext>
            </a:extLst>
          </p:cNvPr>
          <p:cNvSpPr/>
          <p:nvPr/>
        </p:nvSpPr>
        <p:spPr>
          <a:xfrm>
            <a:off x="8251078" y="5361914"/>
            <a:ext cx="610473" cy="645565"/>
          </a:xfrm>
          <a:prstGeom prst="ellipse">
            <a:avLst/>
          </a:prstGeom>
          <a:solidFill>
            <a:srgbClr val="012354"/>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ptos" panose="020B0004020202020204" pitchFamily="34" charset="0"/>
              <a:ea typeface="Calibri" panose="020F0502020204030204" pitchFamily="34" charset="0"/>
              <a:cs typeface="Calibri" panose="020F0502020204030204" pitchFamily="34" charset="0"/>
            </a:endParaRPr>
          </a:p>
        </p:txBody>
      </p:sp>
      <p:pic>
        <p:nvPicPr>
          <p:cNvPr id="53" name="Graphic 52" descr="Lightning bolt">
            <a:extLst>
              <a:ext uri="{FF2B5EF4-FFF2-40B4-BE49-F238E27FC236}">
                <a16:creationId xmlns:a16="http://schemas.microsoft.com/office/drawing/2014/main" id="{DB0D216B-EA4D-C874-F83C-32474E7C4C1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311432" y="5437788"/>
            <a:ext cx="512621" cy="512621"/>
          </a:xfrm>
          <a:prstGeom prst="rect">
            <a:avLst/>
          </a:prstGeom>
        </p:spPr>
      </p:pic>
      <p:pic>
        <p:nvPicPr>
          <p:cNvPr id="55" name="Graphic 54" descr="Money">
            <a:extLst>
              <a:ext uri="{FF2B5EF4-FFF2-40B4-BE49-F238E27FC236}">
                <a16:creationId xmlns:a16="http://schemas.microsoft.com/office/drawing/2014/main" id="{F128CE59-A984-2BB8-467B-A6E713F6CAF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55120" y="5440114"/>
            <a:ext cx="478556" cy="478556"/>
          </a:xfrm>
          <a:prstGeom prst="rect">
            <a:avLst/>
          </a:prstGeom>
        </p:spPr>
      </p:pic>
      <p:sp>
        <p:nvSpPr>
          <p:cNvPr id="51" name="TextBox 50">
            <a:extLst>
              <a:ext uri="{FF2B5EF4-FFF2-40B4-BE49-F238E27FC236}">
                <a16:creationId xmlns:a16="http://schemas.microsoft.com/office/drawing/2014/main" id="{C1743477-0637-4691-91EC-7C12DE435BCB}"/>
              </a:ext>
            </a:extLst>
          </p:cNvPr>
          <p:cNvSpPr txBox="1"/>
          <p:nvPr/>
        </p:nvSpPr>
        <p:spPr>
          <a:xfrm>
            <a:off x="4593061" y="1781445"/>
            <a:ext cx="3154017" cy="1015663"/>
          </a:xfrm>
          <a:prstGeom prst="rect">
            <a:avLst/>
          </a:prstGeom>
          <a:noFill/>
        </p:spPr>
        <p:txBody>
          <a:bodyPr wrap="square">
            <a:spAutoFit/>
          </a:bodyPr>
          <a:lstStyle/>
          <a:p>
            <a:pPr marL="285750" marR="0" lvl="0" indent="-2857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lumMod val="85000"/>
                    <a:lumOff val="15000"/>
                  </a:prstClr>
                </a:solidFill>
                <a:effectLst/>
                <a:uLnTx/>
                <a:uFillTx/>
                <a:latin typeface="Aptos" panose="020B0004020202020204" pitchFamily="34" charset="0"/>
                <a:ea typeface="Calibri" panose="020F0502020204030204" pitchFamily="34" charset="0"/>
                <a:cs typeface="Calibri" panose="020F0502020204030204" pitchFamily="34" charset="0"/>
              </a:rPr>
              <a:t>Enable collaboration through task assignment &amp; response request</a:t>
            </a:r>
          </a:p>
          <a:p>
            <a:pPr marL="285750" marR="0" lvl="0" indent="-2857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lumMod val="85000"/>
                    <a:lumOff val="15000"/>
                  </a:prstClr>
                </a:solidFill>
                <a:effectLst/>
                <a:uLnTx/>
                <a:uFillTx/>
                <a:latin typeface="Aptos" panose="020B0004020202020204" pitchFamily="34" charset="0"/>
                <a:ea typeface="Calibri" panose="020F0502020204030204" pitchFamily="34" charset="0"/>
                <a:cs typeface="Calibri" panose="020F0502020204030204" pitchFamily="34" charset="0"/>
              </a:rPr>
              <a:t>Seamless historical activity tracking</a:t>
            </a:r>
          </a:p>
          <a:p>
            <a:pPr marL="285750" marR="0" lvl="0" indent="-2857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lumMod val="85000"/>
                    <a:lumOff val="15000"/>
                  </a:prstClr>
                </a:solidFill>
                <a:effectLst/>
                <a:uLnTx/>
                <a:uFillTx/>
                <a:latin typeface="Aptos" panose="020B0004020202020204" pitchFamily="34" charset="0"/>
                <a:ea typeface="Calibri" panose="020F0502020204030204" pitchFamily="34" charset="0"/>
                <a:cs typeface="Calibri" panose="020F0502020204030204" pitchFamily="34" charset="0"/>
              </a:rPr>
              <a:t>Real time notification &amp; messaging capabilities</a:t>
            </a:r>
          </a:p>
        </p:txBody>
      </p:sp>
      <p:sp>
        <p:nvSpPr>
          <p:cNvPr id="52" name="TextBox 51">
            <a:extLst>
              <a:ext uri="{FF2B5EF4-FFF2-40B4-BE49-F238E27FC236}">
                <a16:creationId xmlns:a16="http://schemas.microsoft.com/office/drawing/2014/main" id="{78A75892-1707-FD23-2DC0-CE7902366CF4}"/>
              </a:ext>
            </a:extLst>
          </p:cNvPr>
          <p:cNvSpPr txBox="1"/>
          <p:nvPr/>
        </p:nvSpPr>
        <p:spPr>
          <a:xfrm>
            <a:off x="354451" y="1823556"/>
            <a:ext cx="3764664" cy="1015663"/>
          </a:xfrm>
          <a:prstGeom prst="rect">
            <a:avLst/>
          </a:prstGeom>
          <a:noFill/>
        </p:spPr>
        <p:txBody>
          <a:bodyPr wrap="square">
            <a:spAutoFit/>
          </a:bodyPr>
          <a:lstStyle/>
          <a:p>
            <a:pPr marL="171450" marR="0" lvl="0" indent="-171450" algn="l" defTabSz="121899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lumMod val="85000"/>
                    <a:lumOff val="15000"/>
                  </a:prstClr>
                </a:solidFill>
                <a:effectLst/>
                <a:uLnTx/>
                <a:uFillTx/>
                <a:latin typeface="Aptos" panose="020B0004020202020204" pitchFamily="34" charset="0"/>
                <a:ea typeface="Calibri" panose="020F0502020204030204" pitchFamily="34" charset="0"/>
                <a:cs typeface="Calibri" panose="020F0502020204030204" pitchFamily="34" charset="0"/>
              </a:rPr>
              <a:t>Build single data source (DW) for SC360 to enable data science &amp; reliable insights</a:t>
            </a:r>
          </a:p>
          <a:p>
            <a:pPr marL="171450" marR="0" lvl="0" indent="-171450" algn="l" defTabSz="121899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lumMod val="85000"/>
                    <a:lumOff val="15000"/>
                  </a:prstClr>
                </a:solidFill>
                <a:effectLst/>
                <a:uLnTx/>
                <a:uFillTx/>
                <a:latin typeface="Aptos" panose="020B0004020202020204" pitchFamily="34" charset="0"/>
                <a:ea typeface="Calibri" panose="020F0502020204030204" pitchFamily="34" charset="0"/>
                <a:cs typeface="Calibri" panose="020F0502020204030204" pitchFamily="34" charset="0"/>
              </a:rPr>
              <a:t>Predict outcomes for key business areas</a:t>
            </a:r>
          </a:p>
          <a:p>
            <a:pPr marL="171450" marR="0" lvl="0" indent="-171450" algn="l" defTabSz="121899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lumMod val="85000"/>
                    <a:lumOff val="15000"/>
                  </a:prstClr>
                </a:solidFill>
                <a:effectLst/>
                <a:uLnTx/>
                <a:uFillTx/>
                <a:latin typeface="Aptos" panose="020B0004020202020204" pitchFamily="34" charset="0"/>
                <a:ea typeface="Calibri" panose="020F0502020204030204" pitchFamily="34" charset="0"/>
                <a:cs typeface="Calibri" panose="020F0502020204030204" pitchFamily="34" charset="0"/>
              </a:rPr>
              <a:t>Prescribe actions for business process optimization</a:t>
            </a:r>
          </a:p>
          <a:p>
            <a:pPr marL="171450" marR="0" lvl="0" indent="-171450" algn="l" defTabSz="121899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lumMod val="85000"/>
                    <a:lumOff val="15000"/>
                  </a:prstClr>
                </a:solidFill>
                <a:effectLst/>
                <a:uLnTx/>
                <a:uFillTx/>
                <a:latin typeface="Aptos" panose="020B0004020202020204" pitchFamily="34" charset="0"/>
                <a:ea typeface="Calibri" panose="020F0502020204030204" pitchFamily="34" charset="0"/>
                <a:cs typeface="Calibri" panose="020F0502020204030204" pitchFamily="34" charset="0"/>
              </a:rPr>
              <a:t>Deep dive to identify hidden trends</a:t>
            </a:r>
          </a:p>
        </p:txBody>
      </p:sp>
      <p:sp>
        <p:nvSpPr>
          <p:cNvPr id="54" name="TextBox 53">
            <a:extLst>
              <a:ext uri="{FF2B5EF4-FFF2-40B4-BE49-F238E27FC236}">
                <a16:creationId xmlns:a16="http://schemas.microsoft.com/office/drawing/2014/main" id="{D64B9AB9-8BBF-3A65-882B-9A993386AC58}"/>
              </a:ext>
            </a:extLst>
          </p:cNvPr>
          <p:cNvSpPr txBox="1"/>
          <p:nvPr/>
        </p:nvSpPr>
        <p:spPr>
          <a:xfrm>
            <a:off x="8335411" y="1757191"/>
            <a:ext cx="3226292" cy="1015663"/>
          </a:xfrm>
          <a:prstGeom prst="rect">
            <a:avLst/>
          </a:prstGeom>
          <a:noFill/>
        </p:spPr>
        <p:txBody>
          <a:bodyPr wrap="square">
            <a:spAutoFit/>
          </a:bodyPr>
          <a:lstStyle/>
          <a:p>
            <a:pPr marL="285750" marR="0" lvl="0" indent="-2857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lumMod val="85000"/>
                    <a:lumOff val="15000"/>
                  </a:prstClr>
                </a:solidFill>
                <a:effectLst/>
                <a:uLnTx/>
                <a:uFillTx/>
                <a:latin typeface="Aptos" panose="020B0004020202020204" pitchFamily="34" charset="0"/>
                <a:ea typeface="Calibri" panose="020F0502020204030204" pitchFamily="34" charset="0"/>
                <a:cs typeface="Calibri" panose="020F0502020204030204" pitchFamily="34" charset="0"/>
              </a:rPr>
              <a:t>E2E view of Supply Chain performance</a:t>
            </a:r>
          </a:p>
          <a:p>
            <a:pPr marL="285750" marR="0" lvl="0" indent="-2857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lumMod val="85000"/>
                    <a:lumOff val="15000"/>
                  </a:prstClr>
                </a:solidFill>
                <a:effectLst/>
                <a:uLnTx/>
                <a:uFillTx/>
                <a:latin typeface="Aptos" panose="020B0004020202020204" pitchFamily="34" charset="0"/>
                <a:ea typeface="Calibri" panose="020F0502020204030204" pitchFamily="34" charset="0"/>
                <a:cs typeface="Calibri" panose="020F0502020204030204" pitchFamily="34" charset="0"/>
              </a:rPr>
              <a:t> Top-down hierarchical view for management tracking</a:t>
            </a:r>
          </a:p>
          <a:p>
            <a:pPr marL="285750" marR="0" lvl="0" indent="-2857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lumMod val="85000"/>
                    <a:lumOff val="15000"/>
                  </a:prstClr>
                </a:solidFill>
                <a:effectLst/>
                <a:uLnTx/>
                <a:uFillTx/>
                <a:latin typeface="Aptos" panose="020B0004020202020204" pitchFamily="34" charset="0"/>
                <a:ea typeface="Calibri" panose="020F0502020204030204" pitchFamily="34" charset="0"/>
                <a:cs typeface="Calibri" panose="020F0502020204030204" pitchFamily="34" charset="0"/>
              </a:rPr>
              <a:t>Complete order, deal, and planning view</a:t>
            </a:r>
          </a:p>
          <a:p>
            <a:pPr marL="285750" marR="0" lvl="0" indent="-2857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lumMod val="85000"/>
                    <a:lumOff val="15000"/>
                  </a:prstClr>
                </a:solidFill>
                <a:effectLst/>
                <a:uLnTx/>
                <a:uFillTx/>
                <a:latin typeface="Aptos" panose="020B0004020202020204" pitchFamily="34" charset="0"/>
                <a:ea typeface="Calibri" panose="020F0502020204030204" pitchFamily="34" charset="0"/>
                <a:cs typeface="Calibri" panose="020F0502020204030204" pitchFamily="34" charset="0"/>
              </a:rPr>
              <a:t>Accurate reporting of revenue numbers</a:t>
            </a:r>
          </a:p>
        </p:txBody>
      </p:sp>
      <p:sp>
        <p:nvSpPr>
          <p:cNvPr id="32" name="Rectangle 31">
            <a:extLst>
              <a:ext uri="{FF2B5EF4-FFF2-40B4-BE49-F238E27FC236}">
                <a16:creationId xmlns:a16="http://schemas.microsoft.com/office/drawing/2014/main" id="{E0ED5684-0931-064D-6025-1D32FC3552A5}"/>
              </a:ext>
            </a:extLst>
          </p:cNvPr>
          <p:cNvSpPr/>
          <p:nvPr/>
        </p:nvSpPr>
        <p:spPr>
          <a:xfrm>
            <a:off x="354451" y="3599740"/>
            <a:ext cx="11837550" cy="799037"/>
          </a:xfrm>
          <a:prstGeom prst="rect">
            <a:avLst/>
          </a:prstGeom>
          <a:solidFill>
            <a:schemeClr val="accent2">
              <a:lumMod val="20000"/>
              <a:lumOff val="80000"/>
            </a:schemeClr>
          </a:solid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prstClr val="white"/>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34" name="Rectangle 33">
            <a:extLst>
              <a:ext uri="{FF2B5EF4-FFF2-40B4-BE49-F238E27FC236}">
                <a16:creationId xmlns:a16="http://schemas.microsoft.com/office/drawing/2014/main" id="{84C7E935-ECDB-70A3-5F11-2723050F71BC}"/>
              </a:ext>
            </a:extLst>
          </p:cNvPr>
          <p:cNvSpPr/>
          <p:nvPr/>
        </p:nvSpPr>
        <p:spPr>
          <a:xfrm>
            <a:off x="0" y="3612721"/>
            <a:ext cx="1596551" cy="786055"/>
          </a:xfrm>
          <a:prstGeom prst="rect">
            <a:avLst/>
          </a:prstGeom>
          <a:solidFill>
            <a:srgbClr val="B5C1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prstClr val="white"/>
              </a:solidFill>
              <a:effectLst/>
              <a:uLnTx/>
              <a:uFillTx/>
              <a:latin typeface="Aptos" panose="020B0004020202020204" pitchFamily="34" charset="0"/>
              <a:ea typeface="Calibri" panose="020F0502020204030204" pitchFamily="34" charset="0"/>
              <a:cs typeface="Calibri" panose="020F0502020204030204" pitchFamily="34" charset="0"/>
            </a:endParaRPr>
          </a:p>
        </p:txBody>
      </p:sp>
      <p:sp>
        <p:nvSpPr>
          <p:cNvPr id="42" name="Rectangle 41">
            <a:extLst>
              <a:ext uri="{FF2B5EF4-FFF2-40B4-BE49-F238E27FC236}">
                <a16:creationId xmlns:a16="http://schemas.microsoft.com/office/drawing/2014/main" id="{8BF1C696-F5CD-BB00-E324-54DB77A04235}"/>
              </a:ext>
            </a:extLst>
          </p:cNvPr>
          <p:cNvSpPr/>
          <p:nvPr/>
        </p:nvSpPr>
        <p:spPr>
          <a:xfrm>
            <a:off x="403267" y="4110956"/>
            <a:ext cx="1550923" cy="297454"/>
          </a:xfrm>
          <a:prstGeom prst="rect">
            <a:avLst/>
          </a:prstGeom>
        </p:spPr>
        <p:txBody>
          <a:bodyPr wrap="square">
            <a:spAutoFit/>
          </a:bodyPr>
          <a:lstStyle/>
          <a:p>
            <a:pPr marL="0" marR="0" lvl="0" indent="0" algn="l" defTabSz="457212"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srgbClr val="012354"/>
                </a:solidFill>
                <a:effectLst/>
                <a:uLnTx/>
                <a:uFillTx/>
                <a:latin typeface="Aptos" panose="020B0004020202020204" pitchFamily="34" charset="0"/>
                <a:ea typeface="Calibri" panose="020F0502020204030204" pitchFamily="34" charset="0"/>
                <a:cs typeface="Calibri" panose="020F0502020204030204" pitchFamily="34" charset="0"/>
              </a:rPr>
              <a:t>Challenges</a:t>
            </a:r>
          </a:p>
        </p:txBody>
      </p:sp>
      <p:sp>
        <p:nvSpPr>
          <p:cNvPr id="44" name="TextBox 43">
            <a:extLst>
              <a:ext uri="{FF2B5EF4-FFF2-40B4-BE49-F238E27FC236}">
                <a16:creationId xmlns:a16="http://schemas.microsoft.com/office/drawing/2014/main" id="{383EFA6F-5471-925E-DAF1-94EC94D3E147}"/>
              </a:ext>
            </a:extLst>
          </p:cNvPr>
          <p:cNvSpPr txBox="1"/>
          <p:nvPr/>
        </p:nvSpPr>
        <p:spPr>
          <a:xfrm>
            <a:off x="1636377" y="3687624"/>
            <a:ext cx="1858868" cy="600164"/>
          </a:xfrm>
          <a:prstGeom prst="rect">
            <a:avLst/>
          </a:prstGeom>
          <a:noFill/>
        </p:spPr>
        <p:txBody>
          <a:bodyPr wrap="square" lIns="0" rIns="0" rtlCol="0" anchor="b">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201646"/>
                </a:solidFill>
                <a:effectLst/>
                <a:uLnTx/>
                <a:uFillTx/>
                <a:latin typeface="Aptos" panose="020B0004020202020204" pitchFamily="34" charset="0"/>
                <a:ea typeface="Calibri" panose="020F0502020204030204" pitchFamily="34" charset="0"/>
                <a:cs typeface="Calibri" panose="020F0502020204030204" pitchFamily="34" charset="0"/>
              </a:rPr>
              <a:t>Lack of single source </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201646"/>
                </a:solidFill>
                <a:effectLst/>
                <a:uLnTx/>
                <a:uFillTx/>
                <a:latin typeface="Aptos" panose="020B0004020202020204" pitchFamily="34" charset="0"/>
                <a:ea typeface="Calibri" panose="020F0502020204030204" pitchFamily="34" charset="0"/>
                <a:cs typeface="Calibri" panose="020F0502020204030204" pitchFamily="34" charset="0"/>
              </a:rPr>
              <a:t>of truth </a:t>
            </a:r>
            <a:r>
              <a:rPr kumimoji="0" lang="en-US" sz="1100" b="0" i="0" u="none" strike="noStrike" kern="1200" cap="none" spc="0" normalizeH="0" baseline="0" noProof="1">
                <a:ln>
                  <a:noFill/>
                </a:ln>
                <a:solidFill>
                  <a:srgbClr val="201646"/>
                </a:solidFill>
                <a:effectLst/>
                <a:uLnTx/>
                <a:uFillTx/>
                <a:latin typeface="Aptos" panose="020B0004020202020204" pitchFamily="34" charset="0"/>
                <a:ea typeface="Calibri" panose="020F0502020204030204" pitchFamily="34" charset="0"/>
                <a:cs typeface="Calibri" panose="020F0502020204030204" pitchFamily="34" charset="0"/>
              </a:rPr>
              <a:t>for reliable</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01646"/>
                </a:solidFill>
                <a:effectLst/>
                <a:uLnTx/>
                <a:uFillTx/>
                <a:latin typeface="Aptos" panose="020B0004020202020204" pitchFamily="34" charset="0"/>
                <a:ea typeface="Calibri" panose="020F0502020204030204" pitchFamily="34" charset="0"/>
                <a:cs typeface="Calibri" panose="020F0502020204030204" pitchFamily="34" charset="0"/>
              </a:rPr>
              <a:t> decision making </a:t>
            </a:r>
          </a:p>
        </p:txBody>
      </p:sp>
      <p:sp>
        <p:nvSpPr>
          <p:cNvPr id="46" name="TextBox 45">
            <a:extLst>
              <a:ext uri="{FF2B5EF4-FFF2-40B4-BE49-F238E27FC236}">
                <a16:creationId xmlns:a16="http://schemas.microsoft.com/office/drawing/2014/main" id="{3A16600B-A182-98A6-BCB1-7E42BF073B4C}"/>
              </a:ext>
            </a:extLst>
          </p:cNvPr>
          <p:cNvSpPr txBox="1"/>
          <p:nvPr/>
        </p:nvSpPr>
        <p:spPr>
          <a:xfrm>
            <a:off x="6019746" y="3697686"/>
            <a:ext cx="2965339" cy="600164"/>
          </a:xfrm>
          <a:prstGeom prst="rect">
            <a:avLst/>
          </a:prstGeom>
          <a:noFill/>
        </p:spPr>
        <p:txBody>
          <a:bodyPr wrap="square" lIns="0" rIns="0" rtlCol="0" anchor="b">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01646"/>
                </a:solidFill>
                <a:effectLst/>
                <a:uLnTx/>
                <a:uFillTx/>
                <a:latin typeface="Aptos" panose="020B0004020202020204" pitchFamily="34" charset="0"/>
                <a:ea typeface="Calibri" panose="020F0502020204030204" pitchFamily="34" charset="0"/>
                <a:cs typeface="Calibri" panose="020F0502020204030204" pitchFamily="34" charset="0"/>
              </a:rPr>
              <a:t>Inefficient and</a:t>
            </a:r>
            <a:r>
              <a:rPr kumimoji="0" lang="en-US" sz="1100" b="1" i="0" u="none" strike="noStrike" kern="1200" cap="none" spc="0" normalizeH="0" baseline="0" noProof="1">
                <a:ln>
                  <a:noFill/>
                </a:ln>
                <a:solidFill>
                  <a:srgbClr val="201646"/>
                </a:solidFill>
                <a:effectLst/>
                <a:uLnTx/>
                <a:uFillTx/>
                <a:latin typeface="Aptos" panose="020B0004020202020204" pitchFamily="34" charset="0"/>
                <a:ea typeface="Calibri" panose="020F0502020204030204" pitchFamily="34" charset="0"/>
                <a:cs typeface="Calibri" panose="020F0502020204030204" pitchFamily="34" charset="0"/>
              </a:rPr>
              <a:t> irregular </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201646"/>
                </a:solidFill>
                <a:effectLst/>
                <a:uLnTx/>
                <a:uFillTx/>
                <a:latin typeface="Aptos" panose="020B0004020202020204" pitchFamily="34" charset="0"/>
                <a:ea typeface="Calibri" panose="020F0502020204030204" pitchFamily="34" charset="0"/>
                <a:cs typeface="Calibri" panose="020F0502020204030204" pitchFamily="34" charset="0"/>
              </a:rPr>
              <a:t>communication</a:t>
            </a:r>
            <a:r>
              <a:rPr kumimoji="0" lang="en-US" sz="1100" b="0" i="0" u="none" strike="noStrike" kern="1200" cap="none" spc="0" normalizeH="0" baseline="0" noProof="1">
                <a:ln>
                  <a:noFill/>
                </a:ln>
                <a:solidFill>
                  <a:srgbClr val="201646"/>
                </a:solidFill>
                <a:effectLst/>
                <a:uLnTx/>
                <a:uFillTx/>
                <a:latin typeface="Aptos" panose="020B0004020202020204" pitchFamily="34" charset="0"/>
                <a:ea typeface="Calibri" panose="020F0502020204030204" pitchFamily="34" charset="0"/>
                <a:cs typeface="Calibri" panose="020F0502020204030204" pitchFamily="34" charset="0"/>
              </a:rPr>
              <a:t>, collaboration &amp;</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1">
                <a:ln>
                  <a:noFill/>
                </a:ln>
                <a:solidFill>
                  <a:srgbClr val="201646"/>
                </a:solidFill>
                <a:effectLst/>
                <a:uLnTx/>
                <a:uFillTx/>
                <a:latin typeface="Aptos" panose="020B0004020202020204" pitchFamily="34" charset="0"/>
                <a:ea typeface="Calibri" panose="020F0502020204030204" pitchFamily="34" charset="0"/>
                <a:cs typeface="Calibri" panose="020F0502020204030204" pitchFamily="34" charset="0"/>
              </a:rPr>
              <a:t>vendor management</a:t>
            </a:r>
          </a:p>
        </p:txBody>
      </p:sp>
      <p:sp>
        <p:nvSpPr>
          <p:cNvPr id="47" name="TextBox 46">
            <a:extLst>
              <a:ext uri="{FF2B5EF4-FFF2-40B4-BE49-F238E27FC236}">
                <a16:creationId xmlns:a16="http://schemas.microsoft.com/office/drawing/2014/main" id="{1D180C6A-78E9-A3C2-A240-323A13303654}"/>
              </a:ext>
            </a:extLst>
          </p:cNvPr>
          <p:cNvSpPr txBox="1"/>
          <p:nvPr/>
        </p:nvSpPr>
        <p:spPr>
          <a:xfrm>
            <a:off x="9177967" y="3680314"/>
            <a:ext cx="2410395" cy="600164"/>
          </a:xfrm>
          <a:prstGeom prst="rect">
            <a:avLst/>
          </a:prstGeom>
          <a:noFill/>
        </p:spPr>
        <p:txBody>
          <a:bodyPr wrap="square" lIns="0" rIns="0" rtlCol="0" anchor="b">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201646"/>
                </a:solidFill>
                <a:effectLst/>
                <a:uLnTx/>
                <a:uFillTx/>
                <a:latin typeface="Aptos" panose="020B0004020202020204" pitchFamily="34" charset="0"/>
                <a:ea typeface="Calibri" panose="020F0502020204030204" pitchFamily="34" charset="0"/>
                <a:cs typeface="Calibri" panose="020F0502020204030204" pitchFamily="34" charset="0"/>
              </a:rPr>
              <a:t>Lack of tooling for Self-Service </a:t>
            </a:r>
            <a:r>
              <a:rPr kumimoji="0" lang="en-US" sz="1100" b="0" i="0" u="none" strike="noStrike" kern="1200" cap="none" spc="0" normalizeH="0" baseline="0" noProof="1">
                <a:ln>
                  <a:noFill/>
                </a:ln>
                <a:solidFill>
                  <a:srgbClr val="201646"/>
                </a:solidFill>
                <a:effectLst/>
                <a:uLnTx/>
                <a:uFillTx/>
                <a:latin typeface="Aptos" panose="020B0004020202020204" pitchFamily="34" charset="0"/>
                <a:ea typeface="Calibri" panose="020F0502020204030204" pitchFamily="34" charset="0"/>
                <a:cs typeface="Calibri" panose="020F0502020204030204" pitchFamily="34" charset="0"/>
              </a:rPr>
              <a:t>MI/BI and Decision Science Predictive Analytics capability </a:t>
            </a:r>
          </a:p>
        </p:txBody>
      </p:sp>
      <p:sp>
        <p:nvSpPr>
          <p:cNvPr id="48" name="TextBox 47">
            <a:extLst>
              <a:ext uri="{FF2B5EF4-FFF2-40B4-BE49-F238E27FC236}">
                <a16:creationId xmlns:a16="http://schemas.microsoft.com/office/drawing/2014/main" id="{51FD8BBB-A9D3-7653-8D79-0C125497C05E}"/>
              </a:ext>
            </a:extLst>
          </p:cNvPr>
          <p:cNvSpPr txBox="1"/>
          <p:nvPr/>
        </p:nvSpPr>
        <p:spPr>
          <a:xfrm>
            <a:off x="3688128" y="3680314"/>
            <a:ext cx="2138735" cy="600164"/>
          </a:xfrm>
          <a:prstGeom prst="rect">
            <a:avLst/>
          </a:prstGeom>
          <a:noFill/>
        </p:spPr>
        <p:txBody>
          <a:bodyPr wrap="square" lIns="0" rIns="0" rtlCol="0" anchor="b">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1">
                <a:ln>
                  <a:noFill/>
                </a:ln>
                <a:solidFill>
                  <a:srgbClr val="201646"/>
                </a:solidFill>
                <a:effectLst/>
                <a:uLnTx/>
                <a:uFillTx/>
                <a:latin typeface="Aptos" panose="020B0004020202020204" pitchFamily="34" charset="0"/>
                <a:ea typeface="Calibri" panose="020F0502020204030204" pitchFamily="34" charset="0"/>
                <a:cs typeface="Calibri" panose="020F0502020204030204" pitchFamily="34" charset="0"/>
              </a:rPr>
              <a:t>Inconsistent business intelligence </a:t>
            </a:r>
            <a:r>
              <a:rPr kumimoji="0" lang="en-US" sz="1100" b="0" i="0" u="none" strike="noStrike" kern="1200" cap="none" spc="0" normalizeH="0" baseline="0" noProof="1">
                <a:ln>
                  <a:noFill/>
                </a:ln>
                <a:solidFill>
                  <a:srgbClr val="201646"/>
                </a:solidFill>
                <a:effectLst/>
                <a:uLnTx/>
                <a:uFillTx/>
                <a:latin typeface="Aptos" panose="020B0004020202020204" pitchFamily="34" charset="0"/>
                <a:ea typeface="Calibri" panose="020F0502020204030204" pitchFamily="34" charset="0"/>
                <a:cs typeface="Calibri" panose="020F0502020204030204" pitchFamily="34" charset="0"/>
              </a:rPr>
              <a:t>due to non standardized reporting</a:t>
            </a:r>
          </a:p>
        </p:txBody>
      </p:sp>
      <p:pic>
        <p:nvPicPr>
          <p:cNvPr id="49" name="Graphic 48" descr="Playbook">
            <a:extLst>
              <a:ext uri="{FF2B5EF4-FFF2-40B4-BE49-F238E27FC236}">
                <a16:creationId xmlns:a16="http://schemas.microsoft.com/office/drawing/2014/main" id="{6B38674E-179B-DE5B-94E1-EFF16327887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03638" y="3623191"/>
            <a:ext cx="512621" cy="512621"/>
          </a:xfrm>
          <a:prstGeom prst="rect">
            <a:avLst/>
          </a:prstGeom>
        </p:spPr>
      </p:pic>
      <p:sp>
        <p:nvSpPr>
          <p:cNvPr id="37" name="Rectángulo redondeado 13">
            <a:extLst>
              <a:ext uri="{FF2B5EF4-FFF2-40B4-BE49-F238E27FC236}">
                <a16:creationId xmlns:a16="http://schemas.microsoft.com/office/drawing/2014/main" id="{387524D2-7CA5-C81D-8EB6-6155BC5109B6}"/>
              </a:ext>
            </a:extLst>
          </p:cNvPr>
          <p:cNvSpPr/>
          <p:nvPr/>
        </p:nvSpPr>
        <p:spPr>
          <a:xfrm>
            <a:off x="316251" y="1044494"/>
            <a:ext cx="3929988" cy="456111"/>
          </a:xfrm>
          <a:prstGeom prst="roundRect">
            <a:avLst>
              <a:gd name="adj" fmla="val 0"/>
            </a:avLst>
          </a:prstGeom>
          <a:solidFill>
            <a:srgbClr val="B5C1CE"/>
          </a:solidFill>
          <a:ln w="25400" cap="flat" cmpd="sng" algn="ctr">
            <a:noFill/>
            <a:prstDash val="solid"/>
          </a:ln>
          <a:effectLst/>
        </p:spPr>
        <p:txBody>
          <a:bodyPr lIns="0" tIns="45717" rIns="0" bIns="45717" rtlCol="0" anchor="ctr"/>
          <a:lstStyle/>
          <a:p>
            <a:pPr marL="0" marR="0" lvl="0" indent="0" algn="ctr" defTabSz="533427" rtl="0" eaLnBrk="1" fontAlgn="auto" latinLnBrk="0" hangingPunct="1">
              <a:lnSpc>
                <a:spcPct val="90000"/>
              </a:lnSpc>
              <a:spcBef>
                <a:spcPct val="0"/>
              </a:spcBef>
              <a:spcAft>
                <a:spcPct val="35000"/>
              </a:spcAft>
              <a:buClrTx/>
              <a:buSzTx/>
              <a:buFontTx/>
              <a:buNone/>
              <a:tabLst/>
              <a:defRPr/>
            </a:pPr>
            <a:r>
              <a:rPr kumimoji="0" lang="en-US" sz="1100" b="1" i="0" u="none" strike="noStrike" kern="1200" cap="none" spc="0" normalizeH="0" baseline="0" noProof="0">
                <a:ln>
                  <a:noFill/>
                </a:ln>
                <a:solidFill>
                  <a:srgbClr val="012354"/>
                </a:solidFill>
                <a:effectLst/>
                <a:uLnTx/>
                <a:uFillTx/>
                <a:latin typeface="Aptos" panose="020B0004020202020204" pitchFamily="34" charset="0"/>
                <a:ea typeface="Calibri" panose="020F0502020204030204" pitchFamily="34" charset="0"/>
                <a:cs typeface="Calibri" panose="020F0502020204030204" pitchFamily="34" charset="0"/>
              </a:rPr>
              <a:t>MODERN ANALYTICS PLATFORM</a:t>
            </a:r>
          </a:p>
        </p:txBody>
      </p:sp>
      <p:sp>
        <p:nvSpPr>
          <p:cNvPr id="56" name="Rectángulo redondeado 15">
            <a:extLst>
              <a:ext uri="{FF2B5EF4-FFF2-40B4-BE49-F238E27FC236}">
                <a16:creationId xmlns:a16="http://schemas.microsoft.com/office/drawing/2014/main" id="{C33652C0-E6B8-DA89-1916-599D909695AC}"/>
              </a:ext>
            </a:extLst>
          </p:cNvPr>
          <p:cNvSpPr/>
          <p:nvPr/>
        </p:nvSpPr>
        <p:spPr>
          <a:xfrm>
            <a:off x="8082780" y="1046754"/>
            <a:ext cx="3721177" cy="456111"/>
          </a:xfrm>
          <a:prstGeom prst="roundRect">
            <a:avLst>
              <a:gd name="adj" fmla="val 0"/>
            </a:avLst>
          </a:prstGeom>
          <a:solidFill>
            <a:srgbClr val="6FDC8C"/>
          </a:solidFill>
          <a:ln w="25400" cap="flat" cmpd="sng" algn="ctr">
            <a:noFill/>
            <a:prstDash val="solid"/>
          </a:ln>
          <a:effectLst/>
        </p:spPr>
        <p:txBody>
          <a:bodyPr lIns="0" tIns="45717" rIns="0" bIns="45717" rtlCol="0" anchor="ctr"/>
          <a:lstStyle/>
          <a:p>
            <a:pPr marL="0" marR="0" lvl="0" indent="0" algn="ctr" defTabSz="914446" rtl="0" eaLnBrk="1" fontAlgn="auto" latinLnBrk="0" hangingPunct="1">
              <a:lnSpc>
                <a:spcPct val="90000"/>
              </a:lnSpc>
              <a:spcBef>
                <a:spcPct val="0"/>
              </a:spcBef>
              <a:spcAft>
                <a:spcPct val="35000"/>
              </a:spcAft>
              <a:buClrTx/>
              <a:buSzTx/>
              <a:buFontTx/>
              <a:buNone/>
              <a:tabLst/>
              <a:defRPr/>
            </a:pPr>
            <a:r>
              <a:rPr kumimoji="0" lang="en-US" sz="1100" b="1" i="0" u="none" strike="noStrike" kern="1200" cap="none" spc="0" normalizeH="0" baseline="0" noProof="0">
                <a:ln>
                  <a:noFill/>
                </a:ln>
                <a:solidFill>
                  <a:srgbClr val="012354"/>
                </a:solidFill>
                <a:effectLst/>
                <a:uLnTx/>
                <a:uFillTx/>
                <a:latin typeface="Aptos" panose="020B0004020202020204" pitchFamily="34" charset="0"/>
                <a:ea typeface="Calibri" panose="020F0502020204030204" pitchFamily="34" charset="0"/>
                <a:cs typeface="Calibri" panose="020F0502020204030204" pitchFamily="34" charset="0"/>
              </a:rPr>
              <a:t>COMPREHENSIVE VISIBILITY</a:t>
            </a:r>
          </a:p>
        </p:txBody>
      </p:sp>
      <p:sp>
        <p:nvSpPr>
          <p:cNvPr id="57" name="Rectángulo redondeado 16">
            <a:extLst>
              <a:ext uri="{FF2B5EF4-FFF2-40B4-BE49-F238E27FC236}">
                <a16:creationId xmlns:a16="http://schemas.microsoft.com/office/drawing/2014/main" id="{21CE358D-F109-36DA-8B54-B5545968ED0F}"/>
              </a:ext>
            </a:extLst>
          </p:cNvPr>
          <p:cNvSpPr/>
          <p:nvPr/>
        </p:nvSpPr>
        <p:spPr>
          <a:xfrm>
            <a:off x="4498853" y="1044495"/>
            <a:ext cx="3331313" cy="456111"/>
          </a:xfrm>
          <a:prstGeom prst="roundRect">
            <a:avLst>
              <a:gd name="adj" fmla="val 0"/>
            </a:avLst>
          </a:prstGeom>
          <a:solidFill>
            <a:srgbClr val="FFB694"/>
          </a:solidFill>
          <a:ln w="25400" cap="flat" cmpd="sng" algn="ctr">
            <a:noFill/>
            <a:prstDash val="solid"/>
          </a:ln>
          <a:effectLst/>
        </p:spPr>
        <p:txBody>
          <a:bodyPr lIns="0" tIns="45717" rIns="0" bIns="45717" rtlCol="0" anchor="ctr"/>
          <a:lstStyle/>
          <a:p>
            <a:pPr marL="0" marR="0" lvl="0" indent="0" algn="ctr" defTabSz="533427" rtl="0" eaLnBrk="1" fontAlgn="auto" latinLnBrk="0" hangingPunct="1">
              <a:lnSpc>
                <a:spcPct val="90000"/>
              </a:lnSpc>
              <a:spcBef>
                <a:spcPct val="0"/>
              </a:spcBef>
              <a:spcAft>
                <a:spcPct val="35000"/>
              </a:spcAft>
              <a:buClrTx/>
              <a:buSzTx/>
              <a:buFontTx/>
              <a:buNone/>
              <a:tabLst/>
              <a:defRPr/>
            </a:pPr>
            <a:r>
              <a:rPr kumimoji="0" lang="en-US" sz="1100" b="1" i="0" u="none" strike="noStrike" kern="1200" cap="none" spc="0" normalizeH="0" baseline="0" noProof="0">
                <a:ln>
                  <a:noFill/>
                </a:ln>
                <a:solidFill>
                  <a:srgbClr val="012354"/>
                </a:solidFill>
                <a:effectLst/>
                <a:uLnTx/>
                <a:uFillTx/>
                <a:latin typeface="Aptos" panose="020B0004020202020204" pitchFamily="34" charset="0"/>
                <a:ea typeface="Calibri" panose="020F0502020204030204" pitchFamily="34" charset="0"/>
                <a:cs typeface="Calibri" panose="020F0502020204030204" pitchFamily="34" charset="0"/>
              </a:rPr>
              <a:t>COMMUNICATION &amp; COLLABORATION</a:t>
            </a:r>
          </a:p>
        </p:txBody>
      </p:sp>
      <p:pic>
        <p:nvPicPr>
          <p:cNvPr id="2" name="Picture 2" descr="Logo&#10;&#10;Description automatically generated">
            <a:extLst>
              <a:ext uri="{FF2B5EF4-FFF2-40B4-BE49-F238E27FC236}">
                <a16:creationId xmlns:a16="http://schemas.microsoft.com/office/drawing/2014/main" id="{84FBC688-D551-A26D-B1DF-4C8217AE605B}"/>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1003718" y="361843"/>
            <a:ext cx="871985" cy="426001"/>
          </a:xfrm>
          <a:prstGeom prst="rect">
            <a:avLst/>
          </a:prstGeom>
          <a:noFill/>
        </p:spPr>
      </p:pic>
      <p:sp>
        <p:nvSpPr>
          <p:cNvPr id="6" name="Round Single Corner of Rectangle 5">
            <a:extLst>
              <a:ext uri="{FF2B5EF4-FFF2-40B4-BE49-F238E27FC236}">
                <a16:creationId xmlns:a16="http://schemas.microsoft.com/office/drawing/2014/main" id="{82CD41B9-BF31-997D-013B-7671BA767E83}"/>
              </a:ext>
            </a:extLst>
          </p:cNvPr>
          <p:cNvSpPr/>
          <p:nvPr/>
        </p:nvSpPr>
        <p:spPr bwMode="auto">
          <a:xfrm rot="5400000">
            <a:off x="1426365" y="363052"/>
            <a:ext cx="1736408" cy="3903338"/>
          </a:xfrm>
          <a:prstGeom prst="round1Rect">
            <a:avLst>
              <a:gd name="adj" fmla="val 37172"/>
            </a:avLst>
          </a:prstGeom>
          <a:solidFill>
            <a:srgbClr val="B5C1CE">
              <a:alpha val="15000"/>
            </a:srgb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IBM Plex Sans Light"/>
              <a:buNone/>
              <a:tabLst/>
              <a:defRPr/>
            </a:pPr>
            <a:endParaRPr kumimoji="0" lang="en-US" sz="1400" b="0" i="0" u="none" strike="noStrike" kern="1200" cap="none" spc="0" normalizeH="0" baseline="0" noProof="0">
              <a:ln>
                <a:noFill/>
              </a:ln>
              <a:solidFill>
                <a:srgbClr val="000000"/>
              </a:solidFill>
              <a:effectLst/>
              <a:uLnTx/>
              <a:uFillTx/>
              <a:latin typeface="Aptos" panose="020B0004020202020204" pitchFamily="34" charset="0"/>
            </a:endParaRPr>
          </a:p>
        </p:txBody>
      </p:sp>
      <p:sp>
        <p:nvSpPr>
          <p:cNvPr id="7" name="Round Single Corner of Rectangle 6">
            <a:extLst>
              <a:ext uri="{FF2B5EF4-FFF2-40B4-BE49-F238E27FC236}">
                <a16:creationId xmlns:a16="http://schemas.microsoft.com/office/drawing/2014/main" id="{E2B46EA8-74A9-4994-7F1A-0981F1DE267A}"/>
              </a:ext>
            </a:extLst>
          </p:cNvPr>
          <p:cNvSpPr/>
          <p:nvPr/>
        </p:nvSpPr>
        <p:spPr bwMode="auto">
          <a:xfrm rot="5400000">
            <a:off x="5285406" y="671608"/>
            <a:ext cx="1736408" cy="3353112"/>
          </a:xfrm>
          <a:prstGeom prst="round1Rect">
            <a:avLst>
              <a:gd name="adj" fmla="val 50000"/>
            </a:avLst>
          </a:prstGeom>
          <a:solidFill>
            <a:srgbClr val="FFB694">
              <a:alpha val="20000"/>
            </a:srgb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IBM Plex Sans Light"/>
              <a:buNone/>
              <a:tabLst/>
              <a:defRPr/>
            </a:pPr>
            <a:endParaRPr kumimoji="0" lang="en-US" sz="1400" b="0" i="0" u="none" strike="noStrike" kern="1200" cap="none" spc="0" normalizeH="0" baseline="0" noProof="0">
              <a:ln>
                <a:noFill/>
              </a:ln>
              <a:solidFill>
                <a:srgbClr val="000000"/>
              </a:solidFill>
              <a:effectLst/>
              <a:uLnTx/>
              <a:uFillTx/>
              <a:latin typeface="Aptos" panose="020B0004020202020204" pitchFamily="34" charset="0"/>
            </a:endParaRPr>
          </a:p>
        </p:txBody>
      </p:sp>
      <p:sp>
        <p:nvSpPr>
          <p:cNvPr id="8" name="Round Single Corner of Rectangle 7">
            <a:extLst>
              <a:ext uri="{FF2B5EF4-FFF2-40B4-BE49-F238E27FC236}">
                <a16:creationId xmlns:a16="http://schemas.microsoft.com/office/drawing/2014/main" id="{89A3F35E-05E4-99D2-7DB0-A51D6CCB33CE}"/>
              </a:ext>
            </a:extLst>
          </p:cNvPr>
          <p:cNvSpPr/>
          <p:nvPr/>
        </p:nvSpPr>
        <p:spPr bwMode="auto">
          <a:xfrm rot="5400000">
            <a:off x="9075164" y="529468"/>
            <a:ext cx="1736408" cy="3721176"/>
          </a:xfrm>
          <a:prstGeom prst="round1Rect">
            <a:avLst>
              <a:gd name="adj" fmla="val 47239"/>
            </a:avLst>
          </a:prstGeom>
          <a:solidFill>
            <a:srgbClr val="7EEEC9">
              <a:alpha val="20000"/>
            </a:srgb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IBM Plex Sans Light"/>
              <a:buNone/>
              <a:tabLst/>
              <a:defRPr/>
            </a:pPr>
            <a:endParaRPr kumimoji="0" lang="en-US" sz="1400" b="0" i="0" u="none" strike="noStrike" kern="1200" cap="none" spc="0" normalizeH="0" baseline="0" noProof="0">
              <a:ln>
                <a:noFill/>
              </a:ln>
              <a:solidFill>
                <a:srgbClr val="000000"/>
              </a:solidFill>
              <a:effectLst/>
              <a:uLnTx/>
              <a:uFillTx/>
              <a:latin typeface="Aptos" panose="020B0004020202020204" pitchFamily="34" charset="0"/>
            </a:endParaRPr>
          </a:p>
        </p:txBody>
      </p:sp>
      <p:sp>
        <p:nvSpPr>
          <p:cNvPr id="3" name="Title 1">
            <a:extLst>
              <a:ext uri="{FF2B5EF4-FFF2-40B4-BE49-F238E27FC236}">
                <a16:creationId xmlns:a16="http://schemas.microsoft.com/office/drawing/2014/main" id="{96CC21F7-2ACE-4497-834A-3CCE00CA5102}"/>
              </a:ext>
            </a:extLst>
          </p:cNvPr>
          <p:cNvSpPr txBox="1">
            <a:spLocks/>
          </p:cNvSpPr>
          <p:nvPr/>
        </p:nvSpPr>
        <p:spPr>
          <a:xfrm>
            <a:off x="290210" y="295139"/>
            <a:ext cx="8639478" cy="38660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73152" rIns="0" bIns="0"/>
          <a:lstStyle>
            <a:lvl1pPr marL="0" marR="0" indent="0" algn="l" defTabSz="1218948" rtl="0" eaLnBrk="1" latinLnBrk="0" hangingPunct="1">
              <a:lnSpc>
                <a:spcPct val="80000"/>
              </a:lnSpc>
              <a:spcBef>
                <a:spcPts val="0"/>
              </a:spcBef>
              <a:spcAft>
                <a:spcPts val="0"/>
              </a:spcAft>
              <a:buClrTx/>
              <a:buSzTx/>
              <a:buFontTx/>
              <a:buNone/>
              <a:tabLst/>
              <a:defRPr sz="3500" b="0" i="0" u="none" strike="noStrike" cap="none" spc="0" baseline="0">
                <a:solidFill>
                  <a:schemeClr val="bg2"/>
                </a:solidFill>
                <a:uFillTx/>
                <a:latin typeface="Aptos Light" panose="020B0004020202020204" pitchFamily="34" charset="0"/>
                <a:ea typeface="+mj-ea"/>
                <a:cs typeface="+mj-cs"/>
                <a:sym typeface="IBM Plex Sans Light"/>
              </a:defRPr>
            </a:lvl1pPr>
            <a:lvl2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7"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5"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1"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88"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r>
              <a:rPr lang="en-US" kern="0">
                <a:solidFill>
                  <a:schemeClr val="bg1"/>
                </a:solidFill>
                <a:latin typeface="Aptos" panose="020B0004020202020204" pitchFamily="34" charset="0"/>
              </a:rPr>
              <a:t>Solution Approach</a:t>
            </a:r>
          </a:p>
        </p:txBody>
      </p:sp>
    </p:spTree>
    <p:extLst>
      <p:ext uri="{BB962C8B-B14F-4D97-AF65-F5344CB8AC3E}">
        <p14:creationId xmlns:p14="http://schemas.microsoft.com/office/powerpoint/2010/main" val="31960261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6" grpId="0"/>
      <p:bldP spid="47" grpId="0"/>
      <p:bldP spid="48"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D1DB17-9F12-0D60-5F4A-DF8533555768}"/>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3B73A571-81AE-0DDC-FC7A-C248B150E162}"/>
              </a:ext>
            </a:extLst>
          </p:cNvPr>
          <p:cNvSpPr/>
          <p:nvPr/>
        </p:nvSpPr>
        <p:spPr bwMode="auto">
          <a:xfrm>
            <a:off x="485554" y="1913901"/>
            <a:ext cx="6570920" cy="4320850"/>
          </a:xfrm>
          <a:prstGeom prst="rect">
            <a:avLst/>
          </a:prstGeom>
          <a:solidFill>
            <a:schemeClr val="accent2">
              <a:lumMod val="40000"/>
              <a:lumOff val="60000"/>
              <a:alpha val="34000"/>
            </a:schemeClr>
          </a:solidFill>
          <a:ln w="19050">
            <a:noFill/>
            <a:prstDash val="sysDash"/>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accent2">
                  <a:lumMod val="20000"/>
                  <a:lumOff val="80000"/>
                </a:schemeClr>
              </a:solidFill>
              <a:effectLst/>
              <a:latin typeface="+mn-lt"/>
            </a:endParaRPr>
          </a:p>
        </p:txBody>
      </p:sp>
      <p:sp>
        <p:nvSpPr>
          <p:cNvPr id="5" name="Title 1">
            <a:extLst>
              <a:ext uri="{FF2B5EF4-FFF2-40B4-BE49-F238E27FC236}">
                <a16:creationId xmlns:a16="http://schemas.microsoft.com/office/drawing/2014/main" id="{FE9CE3B6-1352-A556-E0F6-5AAEC7FA444B}"/>
              </a:ext>
            </a:extLst>
          </p:cNvPr>
          <p:cNvSpPr>
            <a:spLocks noGrp="1"/>
          </p:cNvSpPr>
          <p:nvPr>
            <p:ph type="title"/>
          </p:nvPr>
        </p:nvSpPr>
        <p:spPr/>
        <p:txBody>
          <a:bodyPr/>
          <a:lstStyle/>
          <a:p>
            <a:r>
              <a:rPr lang="en-US">
                <a:solidFill>
                  <a:srgbClr val="002060"/>
                </a:solidFill>
                <a:latin typeface="+mj-lt"/>
              </a:rPr>
              <a:t>Our Understanding of the Ask</a:t>
            </a:r>
          </a:p>
        </p:txBody>
      </p:sp>
      <p:sp>
        <p:nvSpPr>
          <p:cNvPr id="2" name="TextBox 68">
            <a:extLst>
              <a:ext uri="{FF2B5EF4-FFF2-40B4-BE49-F238E27FC236}">
                <a16:creationId xmlns:a16="http://schemas.microsoft.com/office/drawing/2014/main" id="{B9C0CBF0-EA2F-AA20-3324-A212F43A2A22}"/>
              </a:ext>
            </a:extLst>
          </p:cNvPr>
          <p:cNvSpPr txBox="1"/>
          <p:nvPr/>
        </p:nvSpPr>
        <p:spPr>
          <a:xfrm>
            <a:off x="154854" y="922591"/>
            <a:ext cx="11512192" cy="523220"/>
          </a:xfrm>
          <a:prstGeom prst="rect">
            <a:avLst/>
          </a:prstGeom>
          <a:noFill/>
          <a:ln>
            <a:noFill/>
          </a:ln>
        </p:spPr>
        <p:txBody>
          <a:bodyPr wrap="square" lIns="91440" tIns="45720" rIns="91440" bIns="45720" anchor="t">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noProof="0">
                <a:ln>
                  <a:noFill/>
                </a:ln>
                <a:solidFill>
                  <a:schemeClr val="bg1"/>
                </a:solidFill>
                <a:effectLst/>
                <a:uLnTx/>
                <a:uFillTx/>
                <a:latin typeface="+mj-lt"/>
                <a:ea typeface="+mn-ea"/>
                <a:cs typeface="Arial"/>
              </a:rPr>
              <a:t>We understand that Coty is looking for a solution for Customer 360 based on the requirements shared. Below is a summary of our understanding of the overall scope broken down by phases and the business processes. All assumptions and dependencies are outlined in later slides.</a:t>
            </a:r>
          </a:p>
        </p:txBody>
      </p:sp>
      <p:sp>
        <p:nvSpPr>
          <p:cNvPr id="86" name="TextBox 85">
            <a:extLst>
              <a:ext uri="{FF2B5EF4-FFF2-40B4-BE49-F238E27FC236}">
                <a16:creationId xmlns:a16="http://schemas.microsoft.com/office/drawing/2014/main" id="{ACBFEE42-2666-524E-8593-BCEFFADAEFD0}"/>
              </a:ext>
            </a:extLst>
          </p:cNvPr>
          <p:cNvSpPr txBox="1"/>
          <p:nvPr/>
        </p:nvSpPr>
        <p:spPr>
          <a:xfrm>
            <a:off x="1022938" y="1716479"/>
            <a:ext cx="2116904" cy="340519"/>
          </a:xfrm>
          <a:prstGeom prst="roundRect">
            <a:avLst/>
          </a:prstGeom>
          <a:solidFill>
            <a:schemeClr val="accent2">
              <a:lumMod val="75000"/>
            </a:schemeClr>
          </a:solidFill>
        </p:spPr>
        <p:txBody>
          <a:bodyPr wrap="square" lIns="18000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400">
                <a:latin typeface="+mj-lt"/>
              </a:rPr>
              <a:t>Phase 1</a:t>
            </a:r>
            <a:r>
              <a:rPr kumimoji="0" lang="en-US" sz="1400" b="0" i="0" u="none" strike="noStrike" kern="1200" cap="none" spc="0" normalizeH="0" baseline="0" noProof="0">
                <a:ln>
                  <a:noFill/>
                </a:ln>
                <a:effectLst/>
                <a:uLnTx/>
                <a:uFillTx/>
                <a:latin typeface="+mj-lt"/>
                <a:ea typeface="+mn-ea"/>
                <a:cs typeface="+mn-cs"/>
              </a:rPr>
              <a:t> Scope</a:t>
            </a:r>
            <a:endParaRPr kumimoji="0" lang="en-IN" sz="1400" b="0" i="0" u="none" strike="noStrike" kern="1200" cap="none" spc="0" normalizeH="0" baseline="0" noProof="0">
              <a:ln>
                <a:noFill/>
              </a:ln>
              <a:effectLst/>
              <a:uLnTx/>
              <a:uFillTx/>
              <a:latin typeface="+mj-lt"/>
              <a:ea typeface="+mn-ea"/>
              <a:cs typeface="+mn-cs"/>
            </a:endParaRPr>
          </a:p>
        </p:txBody>
      </p:sp>
      <p:sp>
        <p:nvSpPr>
          <p:cNvPr id="89" name="TextBox 88">
            <a:extLst>
              <a:ext uri="{FF2B5EF4-FFF2-40B4-BE49-F238E27FC236}">
                <a16:creationId xmlns:a16="http://schemas.microsoft.com/office/drawing/2014/main" id="{C7A16A98-0809-47F6-728A-5D6DCAA318F3}"/>
              </a:ext>
            </a:extLst>
          </p:cNvPr>
          <p:cNvSpPr txBox="1"/>
          <p:nvPr/>
        </p:nvSpPr>
        <p:spPr>
          <a:xfrm>
            <a:off x="674960" y="2079766"/>
            <a:ext cx="6297340" cy="4154984"/>
          </a:xfrm>
          <a:prstGeom prst="rect">
            <a:avLst/>
          </a:prstGeom>
          <a:noFill/>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1" i="0" u="none" strike="noStrike" kern="1200" cap="none" spc="0" normalizeH="0" baseline="0" noProof="0">
                <a:ln>
                  <a:noFill/>
                </a:ln>
                <a:solidFill>
                  <a:schemeClr val="bg1"/>
                </a:solidFill>
                <a:effectLst/>
                <a:uLnTx/>
                <a:uFillTx/>
                <a:latin typeface="+mj-lt"/>
                <a:ea typeface="Calibri" panose="020F0502020204030204" pitchFamily="34" charset="0"/>
                <a:cs typeface="Calibri" panose="020F0502020204030204" pitchFamily="34" charset="0"/>
              </a:rPr>
              <a:t>Order Flow</a:t>
            </a:r>
            <a:r>
              <a:rPr kumimoji="0" lang="en-US" sz="1100" b="0" i="0" u="none" strike="noStrike" kern="1200" cap="none" spc="0" normalizeH="0" baseline="0" noProof="0">
                <a:ln>
                  <a:noFill/>
                </a:ln>
                <a:solidFill>
                  <a:schemeClr val="bg1"/>
                </a:solidFill>
                <a:effectLst/>
                <a:uLnTx/>
                <a:uFillTx/>
                <a:latin typeface="+mj-lt"/>
                <a:ea typeface="Calibri" panose="020F0502020204030204" pitchFamily="34" charset="0"/>
                <a:cs typeface="Calibri" panose="020F0502020204030204" pitchFamily="34" charset="0"/>
              </a:rPr>
              <a:t>: </a:t>
            </a:r>
          </a:p>
          <a:p>
            <a:pPr marL="742950" lvl="1" indent="-285750">
              <a:spcAft>
                <a:spcPts val="600"/>
              </a:spcAft>
              <a:buFont typeface="Courier New" panose="02070309020205020404" pitchFamily="49" charset="0"/>
              <a:buChar char="o"/>
              <a:defRPr/>
            </a:pPr>
            <a:r>
              <a:rPr kumimoji="0" lang="en-US" sz="1100" b="0" i="0" u="none" strike="noStrike" kern="1200" cap="none" spc="0" normalizeH="0" baseline="0" noProof="0">
                <a:ln>
                  <a:noFill/>
                </a:ln>
                <a:solidFill>
                  <a:schemeClr val="bg1"/>
                </a:solidFill>
                <a:effectLst/>
                <a:uLnTx/>
                <a:uFillTx/>
                <a:latin typeface="+mj-lt"/>
                <a:ea typeface="Calibri" panose="020F0502020204030204" pitchFamily="34" charset="0"/>
                <a:cs typeface="Calibri" panose="020F0502020204030204" pitchFamily="34" charset="0"/>
              </a:rPr>
              <a:t>Efficiently manage and monitor the entire customer order flow in SAP, from creation to delivery and returns, including statuses, dates, quantities, weights, values, IDs, and invoices.</a:t>
            </a:r>
          </a:p>
          <a:p>
            <a:pPr marL="742950" lvl="1" indent="-285750">
              <a:spcAft>
                <a:spcPts val="600"/>
              </a:spcAft>
              <a:buFont typeface="Courier New" panose="02070309020205020404" pitchFamily="49" charset="0"/>
              <a:buChar char="o"/>
              <a:defRPr/>
            </a:pPr>
            <a:r>
              <a:rPr kumimoji="0" lang="en-US" sz="1100" b="0" i="0" u="none" strike="noStrike" kern="1200" cap="none" spc="0" normalizeH="0" baseline="0" noProof="0">
                <a:ln>
                  <a:noFill/>
                </a:ln>
                <a:solidFill>
                  <a:schemeClr val="bg1"/>
                </a:solidFill>
                <a:effectLst/>
                <a:uLnTx/>
                <a:uFillTx/>
                <a:latin typeface="+mj-lt"/>
                <a:ea typeface="Calibri" panose="020F0502020204030204" pitchFamily="34" charset="0"/>
                <a:cs typeface="Calibri" panose="020F0502020204030204" pitchFamily="34" charset="0"/>
              </a:rPr>
              <a:t>Integrate filters for locations, customers, products, and initiatives based on various dimensions.</a:t>
            </a:r>
          </a:p>
          <a:p>
            <a:pPr marL="285750" indent="-285750">
              <a:spcAft>
                <a:spcPts val="600"/>
              </a:spcAft>
              <a:buFont typeface="Arial" panose="020B0604020202020204" pitchFamily="34" charset="0"/>
              <a:buChar char="•"/>
              <a:defRPr/>
            </a:pPr>
            <a:r>
              <a:rPr kumimoji="0" lang="en-US" sz="1100" b="1" i="0" u="none" strike="noStrike" kern="1200" cap="none" spc="0" normalizeH="0" baseline="0" noProof="0">
                <a:ln>
                  <a:noFill/>
                </a:ln>
                <a:solidFill>
                  <a:schemeClr val="bg1"/>
                </a:solidFill>
                <a:effectLst/>
                <a:uLnTx/>
                <a:uFillTx/>
                <a:latin typeface="+mj-lt"/>
                <a:ea typeface="Calibri" panose="020F0502020204030204" pitchFamily="34" charset="0"/>
                <a:cs typeface="Calibri" panose="020F0502020204030204" pitchFamily="34" charset="0"/>
              </a:rPr>
              <a:t>Customer Health- Pricing</a:t>
            </a:r>
            <a:r>
              <a:rPr kumimoji="0" lang="en-US" sz="1100" b="0" i="0" u="none" strike="noStrike" kern="1200" cap="none" spc="0" normalizeH="0" baseline="0" noProof="0">
                <a:ln>
                  <a:noFill/>
                </a:ln>
                <a:solidFill>
                  <a:schemeClr val="bg1"/>
                </a:solidFill>
                <a:effectLst/>
                <a:uLnTx/>
                <a:uFillTx/>
                <a:latin typeface="+mj-lt"/>
                <a:ea typeface="Calibri" panose="020F0502020204030204" pitchFamily="34" charset="0"/>
                <a:cs typeface="Calibri" panose="020F0502020204030204" pitchFamily="34" charset="0"/>
              </a:rPr>
              <a:t>: </a:t>
            </a:r>
          </a:p>
          <a:p>
            <a:pPr marL="742950" lvl="1" indent="-285750">
              <a:spcAft>
                <a:spcPts val="600"/>
              </a:spcAft>
              <a:buFont typeface="Courier New" panose="02070309020205020404" pitchFamily="49" charset="0"/>
              <a:buChar char="o"/>
              <a:defRPr/>
            </a:pPr>
            <a:r>
              <a:rPr kumimoji="0" lang="en-US" sz="1100" b="0" i="0" u="none" strike="noStrike" kern="1200" cap="none" spc="0" normalizeH="0" baseline="0" noProof="0">
                <a:ln>
                  <a:noFill/>
                </a:ln>
                <a:solidFill>
                  <a:schemeClr val="bg1"/>
                </a:solidFill>
                <a:effectLst/>
                <a:uLnTx/>
                <a:uFillTx/>
                <a:latin typeface="+mj-lt"/>
                <a:ea typeface="Calibri" panose="020F0502020204030204" pitchFamily="34" charset="0"/>
                <a:cs typeface="Calibri" panose="020F0502020204030204" pitchFamily="34" charset="0"/>
              </a:rPr>
              <a:t>Covers customer-level pricing conditions, trends, and simulations for better planning – Only Reports</a:t>
            </a:r>
          </a:p>
          <a:p>
            <a:pPr marL="742950" lvl="1" indent="-285750">
              <a:spcAft>
                <a:spcPts val="600"/>
              </a:spcAft>
              <a:buFont typeface="Courier New" panose="02070309020205020404" pitchFamily="49" charset="0"/>
              <a:buChar char="o"/>
              <a:defRPr/>
            </a:pPr>
            <a:r>
              <a:rPr kumimoji="0" lang="en-US" sz="1100" b="0" i="0" u="none" strike="noStrike" kern="1200" cap="none" spc="0" normalizeH="0" baseline="0" noProof="0">
                <a:ln>
                  <a:noFill/>
                </a:ln>
                <a:solidFill>
                  <a:schemeClr val="bg1"/>
                </a:solidFill>
                <a:effectLst/>
                <a:uLnTx/>
                <a:uFillTx/>
                <a:latin typeface="+mj-lt"/>
                <a:ea typeface="Calibri" panose="020F0502020204030204" pitchFamily="34" charset="0"/>
                <a:cs typeface="Calibri" panose="020F0502020204030204" pitchFamily="34" charset="0"/>
              </a:rPr>
              <a:t>Report price conditions for specific customers or hierarchies over selected time period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1" i="0" u="none" strike="noStrike" kern="1200" cap="none" spc="0" normalizeH="0" baseline="0" noProof="0">
                <a:ln>
                  <a:noFill/>
                </a:ln>
                <a:solidFill>
                  <a:schemeClr val="bg1"/>
                </a:solidFill>
                <a:effectLst/>
                <a:uLnTx/>
                <a:uFillTx/>
                <a:latin typeface="+mj-lt"/>
                <a:ea typeface="Calibri" panose="020F0502020204030204" pitchFamily="34" charset="0"/>
                <a:cs typeface="Calibri" panose="020F0502020204030204" pitchFamily="34" charset="0"/>
              </a:rPr>
              <a:t>Customer Health- Scorecard:</a:t>
            </a:r>
          </a:p>
          <a:p>
            <a:pPr marL="742950" lvl="1" indent="-285750">
              <a:spcAft>
                <a:spcPts val="600"/>
              </a:spcAft>
              <a:buFont typeface="Courier New" panose="02070309020205020404" pitchFamily="49" charset="0"/>
              <a:buChar char="o"/>
              <a:defRPr/>
            </a:pPr>
            <a:r>
              <a:rPr kumimoji="0" lang="en-US" sz="1100" b="1" i="0" u="none" strike="noStrike" kern="1200" cap="none" spc="0" normalizeH="0" baseline="0" noProof="0">
                <a:ln>
                  <a:noFill/>
                </a:ln>
                <a:solidFill>
                  <a:schemeClr val="bg1"/>
                </a:solidFill>
                <a:effectLst/>
                <a:uLnTx/>
                <a:uFillTx/>
                <a:latin typeface="+mj-lt"/>
                <a:ea typeface="Calibri" panose="020F0502020204030204" pitchFamily="34" charset="0"/>
                <a:cs typeface="Calibri" panose="020F0502020204030204" pitchFamily="34" charset="0"/>
              </a:rPr>
              <a:t>Automate calculations for order-related KPIs</a:t>
            </a:r>
            <a:r>
              <a:rPr kumimoji="0" lang="en-US" sz="1100" i="0" u="none" strike="noStrike" kern="1200" cap="none" spc="0" normalizeH="0" baseline="0" noProof="0">
                <a:ln>
                  <a:noFill/>
                </a:ln>
                <a:solidFill>
                  <a:schemeClr val="bg1"/>
                </a:solidFill>
                <a:effectLst/>
                <a:uLnTx/>
                <a:uFillTx/>
                <a:latin typeface="+mj-lt"/>
                <a:ea typeface="Calibri" panose="020F0502020204030204" pitchFamily="34" charset="0"/>
                <a:cs typeface="Calibri" panose="020F0502020204030204" pitchFamily="34" charset="0"/>
              </a:rPr>
              <a:t>: Orders &amp; Order Lines Created, Orders per type, Order Changes, Invoices, Credit Notes, Rejected Lines, and Fill Rate.</a:t>
            </a:r>
          </a:p>
          <a:p>
            <a:pPr marL="742950" lvl="1" indent="-285750">
              <a:spcAft>
                <a:spcPts val="600"/>
              </a:spcAft>
              <a:buFont typeface="Courier New" panose="02070309020205020404" pitchFamily="49" charset="0"/>
              <a:buChar char="o"/>
              <a:defRPr/>
            </a:pPr>
            <a:r>
              <a:rPr kumimoji="0" lang="en-US" sz="1100" b="1" i="0" u="none" strike="noStrike" kern="1200" cap="none" spc="0" normalizeH="0" baseline="0" noProof="0">
                <a:ln>
                  <a:noFill/>
                </a:ln>
                <a:solidFill>
                  <a:schemeClr val="bg1"/>
                </a:solidFill>
                <a:effectLst/>
                <a:uLnTx/>
                <a:uFillTx/>
                <a:latin typeface="+mj-lt"/>
                <a:ea typeface="Calibri" panose="020F0502020204030204" pitchFamily="34" charset="0"/>
                <a:cs typeface="Calibri" panose="020F0502020204030204" pitchFamily="34" charset="0"/>
              </a:rPr>
              <a:t>Visualization of KPIs</a:t>
            </a:r>
            <a:r>
              <a:rPr kumimoji="0" lang="en-US" sz="1100" i="0" u="none" strike="noStrike" kern="1200" cap="none" spc="0" normalizeH="0" baseline="0" noProof="0">
                <a:ln>
                  <a:noFill/>
                </a:ln>
                <a:solidFill>
                  <a:schemeClr val="bg1"/>
                </a:solidFill>
                <a:effectLst/>
                <a:uLnTx/>
                <a:uFillTx/>
                <a:latin typeface="+mj-lt"/>
                <a:ea typeface="Calibri" panose="020F0502020204030204" pitchFamily="34" charset="0"/>
                <a:cs typeface="Calibri" panose="020F0502020204030204" pitchFamily="34" charset="0"/>
              </a:rPr>
              <a:t>: Create dashboards for Local Markets with deep dives by Sales Organization, Customer, and Material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100" b="1">
                <a:solidFill>
                  <a:schemeClr val="bg1"/>
                </a:solidFill>
                <a:latin typeface="+mj-lt"/>
                <a:ea typeface="Calibri" panose="020F0502020204030204" pitchFamily="34" charset="0"/>
                <a:cs typeface="Calibri" panose="020F0502020204030204" pitchFamily="34" charset="0"/>
              </a:rPr>
              <a:t>Cut Recovery:</a:t>
            </a:r>
          </a:p>
          <a:p>
            <a:pPr marL="742950" lvl="1" indent="-285750">
              <a:spcAft>
                <a:spcPts val="600"/>
              </a:spcAft>
              <a:buFont typeface="Courier New" panose="02070309020205020404" pitchFamily="49" charset="0"/>
              <a:buChar char="o"/>
              <a:defRPr/>
            </a:pPr>
            <a:r>
              <a:rPr kumimoji="0" lang="en-US" sz="1100" b="1" i="0" u="none" strike="noStrike" kern="1200" cap="none" spc="0" normalizeH="0" baseline="0" noProof="0">
                <a:ln>
                  <a:noFill/>
                </a:ln>
                <a:solidFill>
                  <a:schemeClr val="bg1"/>
                </a:solidFill>
                <a:effectLst/>
                <a:uLnTx/>
                <a:uFillTx/>
                <a:latin typeface="+mj-lt"/>
                <a:ea typeface="Calibri" panose="020F0502020204030204" pitchFamily="34" charset="0"/>
                <a:cs typeface="Calibri" panose="020F0502020204030204" pitchFamily="34" charset="0"/>
              </a:rPr>
              <a:t>Calculation of Potential Cuts</a:t>
            </a:r>
            <a:r>
              <a:rPr lang="en-US" sz="1100" b="1">
                <a:solidFill>
                  <a:schemeClr val="bg1"/>
                </a:solidFill>
                <a:latin typeface="+mj-lt"/>
                <a:ea typeface="Calibri" panose="020F0502020204030204" pitchFamily="34" charset="0"/>
                <a:cs typeface="Calibri" panose="020F0502020204030204" pitchFamily="34" charset="0"/>
              </a:rPr>
              <a:t>: </a:t>
            </a:r>
            <a:r>
              <a:rPr lang="en-US" sz="1100">
                <a:solidFill>
                  <a:schemeClr val="bg1"/>
                </a:solidFill>
                <a:latin typeface="+mj-lt"/>
                <a:ea typeface="Calibri" panose="020F0502020204030204" pitchFamily="34" charset="0"/>
                <a:cs typeface="Calibri" panose="020F0502020204030204" pitchFamily="34" charset="0"/>
              </a:rPr>
              <a:t>Compute potential order cuts based on inventory and receipts, covering details like Sales Org, Plant, Planning Customer Level, Product Code, and Product Category Hierarchy.</a:t>
            </a:r>
          </a:p>
          <a:p>
            <a:pPr marL="742950" lvl="1" indent="-285750">
              <a:spcAft>
                <a:spcPts val="600"/>
              </a:spcAft>
              <a:buFont typeface="Courier New" panose="02070309020205020404" pitchFamily="49" charset="0"/>
              <a:buChar char="o"/>
              <a:defRPr/>
            </a:pPr>
            <a:r>
              <a:rPr kumimoji="0" lang="en-US" sz="1100" b="1" i="0" u="none" strike="noStrike" kern="1200" cap="none" spc="0" normalizeH="0" baseline="0" noProof="0">
                <a:ln>
                  <a:noFill/>
                </a:ln>
                <a:solidFill>
                  <a:schemeClr val="bg1"/>
                </a:solidFill>
                <a:effectLst/>
                <a:uLnTx/>
                <a:uFillTx/>
                <a:latin typeface="+mj-lt"/>
                <a:ea typeface="Calibri" panose="020F0502020204030204" pitchFamily="34" charset="0"/>
                <a:cs typeface="Calibri" panose="020F0502020204030204" pitchFamily="34" charset="0"/>
              </a:rPr>
              <a:t>V</a:t>
            </a:r>
            <a:r>
              <a:rPr lang="en-US" sz="1100" b="1" err="1">
                <a:solidFill>
                  <a:schemeClr val="bg1"/>
                </a:solidFill>
                <a:latin typeface="+mj-lt"/>
                <a:ea typeface="Calibri" panose="020F0502020204030204" pitchFamily="34" charset="0"/>
                <a:cs typeface="Calibri" panose="020F0502020204030204" pitchFamily="34" charset="0"/>
              </a:rPr>
              <a:t>isualization</a:t>
            </a:r>
            <a:r>
              <a:rPr lang="en-US" sz="1100" b="1">
                <a:solidFill>
                  <a:schemeClr val="bg1"/>
                </a:solidFill>
                <a:latin typeface="+mj-lt"/>
                <a:ea typeface="Calibri" panose="020F0502020204030204" pitchFamily="34" charset="0"/>
                <a:cs typeface="Calibri" panose="020F0502020204030204" pitchFamily="34" charset="0"/>
              </a:rPr>
              <a:t> of Cuts</a:t>
            </a:r>
            <a:r>
              <a:rPr lang="en-US" sz="1100">
                <a:solidFill>
                  <a:schemeClr val="bg1"/>
                </a:solidFill>
                <a:latin typeface="+mj-lt"/>
                <a:ea typeface="Calibri" panose="020F0502020204030204" pitchFamily="34" charset="0"/>
                <a:cs typeface="Calibri" panose="020F0502020204030204" pitchFamily="34" charset="0"/>
              </a:rPr>
              <a:t>: Display potential inventory cuts, identify shortage dates and products, and show affected sales orders and items.</a:t>
            </a:r>
            <a:endParaRPr kumimoji="0" lang="en-US" sz="1100" i="0" u="none" strike="noStrike" kern="1200" cap="none" spc="0" normalizeH="0" baseline="0" noProof="0">
              <a:ln>
                <a:noFill/>
              </a:ln>
              <a:solidFill>
                <a:schemeClr val="bg1"/>
              </a:solidFill>
              <a:effectLst/>
              <a:uLnTx/>
              <a:uFillTx/>
              <a:latin typeface="+mj-lt"/>
              <a:ea typeface="Calibri" panose="020F0502020204030204" pitchFamily="34" charset="0"/>
              <a:cs typeface="Calibri" panose="020F0502020204030204" pitchFamily="34" charset="0"/>
            </a:endParaRPr>
          </a:p>
        </p:txBody>
      </p:sp>
      <p:sp>
        <p:nvSpPr>
          <p:cNvPr id="14" name="TextBox 13">
            <a:extLst>
              <a:ext uri="{FF2B5EF4-FFF2-40B4-BE49-F238E27FC236}">
                <a16:creationId xmlns:a16="http://schemas.microsoft.com/office/drawing/2014/main" id="{76F5ADEE-E186-9375-8295-55D614B8BFEC}"/>
              </a:ext>
            </a:extLst>
          </p:cNvPr>
          <p:cNvSpPr txBox="1"/>
          <p:nvPr/>
        </p:nvSpPr>
        <p:spPr>
          <a:xfrm>
            <a:off x="7535856" y="1716479"/>
            <a:ext cx="2116904" cy="340519"/>
          </a:xfrm>
          <a:prstGeom prst="roundRect">
            <a:avLst/>
          </a:prstGeom>
          <a:solidFill>
            <a:schemeClr val="accent2">
              <a:lumMod val="75000"/>
            </a:schemeClr>
          </a:solidFill>
        </p:spPr>
        <p:txBody>
          <a:bodyPr wrap="square" lIns="18000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400">
                <a:latin typeface="+mj-lt"/>
              </a:rPr>
              <a:t>Next Phase</a:t>
            </a:r>
            <a:r>
              <a:rPr kumimoji="0" lang="en-US" sz="1400" b="0" i="0" u="none" strike="noStrike" kern="1200" cap="none" spc="0" normalizeH="0" baseline="0" noProof="0">
                <a:ln>
                  <a:noFill/>
                </a:ln>
                <a:effectLst/>
                <a:uLnTx/>
                <a:uFillTx/>
                <a:latin typeface="+mj-lt"/>
                <a:ea typeface="+mn-ea"/>
                <a:cs typeface="+mn-cs"/>
              </a:rPr>
              <a:t> Scope</a:t>
            </a:r>
            <a:endParaRPr kumimoji="0" lang="en-IN" sz="1400" b="0" i="0" u="none" strike="noStrike" kern="1200" cap="none" spc="0" normalizeH="0" baseline="0" noProof="0">
              <a:ln>
                <a:noFill/>
              </a:ln>
              <a:effectLst/>
              <a:uLnTx/>
              <a:uFillTx/>
              <a:latin typeface="+mj-lt"/>
              <a:ea typeface="+mn-ea"/>
              <a:cs typeface="+mn-cs"/>
            </a:endParaRPr>
          </a:p>
        </p:txBody>
      </p:sp>
      <p:sp>
        <p:nvSpPr>
          <p:cNvPr id="19" name="TextBox 18">
            <a:extLst>
              <a:ext uri="{FF2B5EF4-FFF2-40B4-BE49-F238E27FC236}">
                <a16:creationId xmlns:a16="http://schemas.microsoft.com/office/drawing/2014/main" id="{B3A155CB-551A-D40A-CA65-1487297DA797}"/>
              </a:ext>
            </a:extLst>
          </p:cNvPr>
          <p:cNvSpPr txBox="1"/>
          <p:nvPr/>
        </p:nvSpPr>
        <p:spPr>
          <a:xfrm>
            <a:off x="7535856" y="2154054"/>
            <a:ext cx="3979204" cy="4031873"/>
          </a:xfrm>
          <a:prstGeom prst="rect">
            <a:avLst/>
          </a:prstGeom>
          <a:noFill/>
        </p:spPr>
        <p:txBody>
          <a:bodyPr wrap="square" lIns="91440" tIns="45720" rIns="91440" bIns="45720" rtlCol="0" anchor="t">
            <a:spAutoFit/>
          </a:bodyPr>
          <a:lstStyle/>
          <a:p>
            <a:pPr marL="285750" indent="-285750">
              <a:spcAft>
                <a:spcPts val="600"/>
              </a:spcAft>
              <a:buFont typeface="Arial" panose="020B0604020202020204" pitchFamily="34" charset="0"/>
              <a:buChar char="•"/>
              <a:defRPr/>
            </a:pPr>
            <a:r>
              <a:rPr kumimoji="0" lang="en-US" sz="1100" b="1" i="0" u="none" strike="noStrike" kern="1200" cap="none" spc="0" normalizeH="0" baseline="0" noProof="0">
                <a:ln>
                  <a:noFill/>
                </a:ln>
                <a:solidFill>
                  <a:schemeClr val="bg1"/>
                </a:solidFill>
                <a:effectLst/>
                <a:uLnTx/>
                <a:uFillTx/>
                <a:latin typeface="+mj-lt"/>
                <a:ea typeface="Calibri" panose="020F0502020204030204" pitchFamily="34" charset="0"/>
                <a:cs typeface="Calibri" panose="020F0502020204030204" pitchFamily="34" charset="0"/>
              </a:rPr>
              <a:t>Order Flow</a:t>
            </a:r>
            <a:r>
              <a:rPr kumimoji="0" lang="en-US" sz="1100" b="0" i="0" u="none" strike="noStrike" kern="1200" cap="none" spc="0" normalizeH="0" baseline="0" noProof="0">
                <a:ln>
                  <a:noFill/>
                </a:ln>
                <a:solidFill>
                  <a:schemeClr val="bg1"/>
                </a:solidFill>
                <a:effectLst/>
                <a:uLnTx/>
                <a:uFillTx/>
                <a:latin typeface="+mj-lt"/>
                <a:ea typeface="Calibri" panose="020F0502020204030204" pitchFamily="34" charset="0"/>
                <a:cs typeface="Calibri" panose="020F0502020204030204" pitchFamily="34" charset="0"/>
              </a:rPr>
              <a:t>: End-to-end tracking of customer orders across TMS, WMS</a:t>
            </a:r>
            <a:endParaRPr kumimoji="0" lang="en-US" sz="1100" b="1" i="0" u="none" strike="noStrike" kern="1200" cap="none" spc="0" normalizeH="0" baseline="0" noProof="0">
              <a:ln>
                <a:noFill/>
              </a:ln>
              <a:solidFill>
                <a:schemeClr val="bg1"/>
              </a:solidFill>
              <a:effectLst/>
              <a:uLnTx/>
              <a:uFillTx/>
              <a:latin typeface="+mj-lt"/>
              <a:ea typeface="Calibri" panose="020F0502020204030204" pitchFamily="34" charset="0"/>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1" i="0" u="none" strike="noStrike" kern="1200" cap="none" spc="0" normalizeH="0" baseline="0" noProof="0">
                <a:ln>
                  <a:noFill/>
                </a:ln>
                <a:solidFill>
                  <a:schemeClr val="bg1"/>
                </a:solidFill>
                <a:effectLst/>
                <a:uLnTx/>
                <a:uFillTx/>
                <a:latin typeface="+mj-lt"/>
                <a:ea typeface="Calibri" panose="020F0502020204030204" pitchFamily="34" charset="0"/>
                <a:cs typeface="Calibri" panose="020F0502020204030204" pitchFamily="34" charset="0"/>
              </a:rPr>
              <a:t>Shipment Performance</a:t>
            </a:r>
            <a:r>
              <a:rPr kumimoji="0" lang="en-US" sz="1100" b="0" i="0" u="none" strike="noStrike" kern="1200" cap="none" spc="0" normalizeH="0" baseline="0" noProof="0">
                <a:ln>
                  <a:noFill/>
                </a:ln>
                <a:solidFill>
                  <a:schemeClr val="bg1"/>
                </a:solidFill>
                <a:effectLst/>
                <a:uLnTx/>
                <a:uFillTx/>
                <a:latin typeface="+mj-lt"/>
                <a:ea typeface="Calibri" panose="020F0502020204030204" pitchFamily="34" charset="0"/>
                <a:cs typeface="Calibri" panose="020F0502020204030204" pitchFamily="34" charset="0"/>
              </a:rPr>
              <a:t>: Focus on identifying performance gaps and providing actionable insights for improvement</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1" i="0" u="none" strike="noStrike" kern="1200" cap="none" spc="0" normalizeH="0" baseline="0" noProof="0">
                <a:ln>
                  <a:noFill/>
                </a:ln>
                <a:solidFill>
                  <a:schemeClr val="bg1"/>
                </a:solidFill>
                <a:effectLst/>
                <a:uLnTx/>
                <a:uFillTx/>
                <a:latin typeface="+mj-lt"/>
                <a:ea typeface="Calibri" panose="020F0502020204030204" pitchFamily="34" charset="0"/>
                <a:cs typeface="Calibri" panose="020F0502020204030204" pitchFamily="34" charset="0"/>
              </a:rPr>
              <a:t>Forecast gap filling</a:t>
            </a:r>
            <a:r>
              <a:rPr kumimoji="0" lang="en-US" sz="1100" b="0" i="0" u="none" strike="noStrike" kern="1200" cap="none" spc="0" normalizeH="0" baseline="0" noProof="0">
                <a:ln>
                  <a:noFill/>
                </a:ln>
                <a:solidFill>
                  <a:schemeClr val="bg1"/>
                </a:solidFill>
                <a:effectLst/>
                <a:uLnTx/>
                <a:uFillTx/>
                <a:latin typeface="+mj-lt"/>
                <a:ea typeface="Calibri" panose="020F0502020204030204" pitchFamily="34" charset="0"/>
                <a:cs typeface="Calibri" panose="020F0502020204030204" pitchFamily="34" charset="0"/>
              </a:rPr>
              <a:t>: Covers sales orders, product inventory, and receipt data at detailed levels (product, customer, etc.).</a:t>
            </a:r>
          </a:p>
          <a:p>
            <a:pPr marL="285750" indent="-285750">
              <a:spcAft>
                <a:spcPts val="600"/>
              </a:spcAft>
              <a:buFont typeface="Arial" panose="020B0604020202020204" pitchFamily="34" charset="0"/>
              <a:buChar char="•"/>
              <a:defRPr/>
            </a:pPr>
            <a:r>
              <a:rPr kumimoji="0" lang="en-US" sz="1100" b="1" i="0" u="none" strike="noStrike" kern="1200" cap="none" spc="0" normalizeH="0" baseline="0" noProof="0">
                <a:ln>
                  <a:noFill/>
                </a:ln>
                <a:solidFill>
                  <a:schemeClr val="bg1"/>
                </a:solidFill>
                <a:effectLst/>
                <a:uLnTx/>
                <a:uFillTx/>
                <a:latin typeface="+mj-lt"/>
                <a:ea typeface="Calibri" panose="020F0502020204030204" pitchFamily="34" charset="0"/>
                <a:cs typeface="Calibri" panose="020F0502020204030204" pitchFamily="34" charset="0"/>
              </a:rPr>
              <a:t>Initiative Management</a:t>
            </a:r>
            <a:r>
              <a:rPr kumimoji="0" lang="en-US" sz="1100" b="0" i="0" u="none" strike="noStrike" kern="1200" cap="none" spc="0" normalizeH="0" baseline="0" noProof="0">
                <a:ln>
                  <a:noFill/>
                </a:ln>
                <a:solidFill>
                  <a:schemeClr val="bg1"/>
                </a:solidFill>
                <a:effectLst/>
                <a:uLnTx/>
                <a:uFillTx/>
                <a:latin typeface="+mj-lt"/>
                <a:ea typeface="Calibri" panose="020F0502020204030204" pitchFamily="34" charset="0"/>
                <a:cs typeface="Calibri" panose="020F0502020204030204" pitchFamily="34" charset="0"/>
              </a:rPr>
              <a:t>: Covers material-level and sales organization-level tracking of initiatives and promotional activities</a:t>
            </a:r>
          </a:p>
          <a:p>
            <a:pPr marL="285750" indent="-285750">
              <a:spcAft>
                <a:spcPts val="600"/>
              </a:spcAft>
              <a:buFont typeface="Arial" panose="020B0604020202020204" pitchFamily="34" charset="0"/>
              <a:buChar char="•"/>
              <a:defRPr/>
            </a:pPr>
            <a:r>
              <a:rPr kumimoji="0" lang="en-US" sz="1100" b="1" i="0" u="none" strike="noStrike" kern="1200" cap="none" spc="0" normalizeH="0" baseline="0" noProof="0">
                <a:ln>
                  <a:noFill/>
                </a:ln>
                <a:solidFill>
                  <a:schemeClr val="bg1"/>
                </a:solidFill>
                <a:effectLst/>
                <a:uLnTx/>
                <a:uFillTx/>
                <a:latin typeface="+mj-lt"/>
                <a:ea typeface="Calibri" panose="020F0502020204030204" pitchFamily="34" charset="0"/>
                <a:cs typeface="Calibri" panose="020F0502020204030204" pitchFamily="34" charset="0"/>
              </a:rPr>
              <a:t>Pricing Simulation</a:t>
            </a:r>
            <a:r>
              <a:rPr kumimoji="0" lang="en-US" sz="1100" i="0" u="none" strike="noStrike" kern="1200" cap="none" spc="0" normalizeH="0" baseline="0" noProof="0">
                <a:ln>
                  <a:noFill/>
                </a:ln>
                <a:solidFill>
                  <a:schemeClr val="bg1"/>
                </a:solidFill>
                <a:effectLst/>
                <a:uLnTx/>
                <a:uFillTx/>
                <a:latin typeface="+mj-lt"/>
                <a:ea typeface="Calibri" panose="020F0502020204030204" pitchFamily="34" charset="0"/>
                <a:cs typeface="Calibri" panose="020F0502020204030204" pitchFamily="34" charset="0"/>
              </a:rPr>
              <a:t>: Covers customer-level pricing conditions, trends, and simulations for better plann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a:ln>
                  <a:noFill/>
                </a:ln>
                <a:solidFill>
                  <a:schemeClr val="bg1"/>
                </a:solidFill>
                <a:effectLst/>
                <a:uLnTx/>
                <a:uFillTx/>
                <a:latin typeface="+mj-lt"/>
                <a:ea typeface="Calibri" panose="020F0502020204030204" pitchFamily="34" charset="0"/>
                <a:cs typeface="Calibri" panose="020F0502020204030204" pitchFamily="34" charset="0"/>
              </a:rPr>
              <a:t>Risk Management Alert Tracker</a:t>
            </a:r>
            <a:r>
              <a:rPr kumimoji="0" lang="en-US" sz="1100" b="0" i="0" u="none" strike="noStrike" kern="1200" cap="none" spc="0" normalizeH="0" baseline="0" noProof="0">
                <a:ln>
                  <a:noFill/>
                </a:ln>
                <a:solidFill>
                  <a:schemeClr val="bg1"/>
                </a:solidFill>
                <a:effectLst/>
                <a:uLnTx/>
                <a:uFillTx/>
                <a:latin typeface="+mj-lt"/>
                <a:ea typeface="Calibri" panose="020F0502020204030204" pitchFamily="34" charset="0"/>
                <a:cs typeface="Calibri" panose="020F0502020204030204" pitchFamily="34" charset="0"/>
              </a:rPr>
              <a:t>: TMS Reports</a:t>
            </a:r>
          </a:p>
          <a:p>
            <a:pPr marL="285750" indent="-285750">
              <a:buFont typeface="Arial" panose="020B0604020202020204" pitchFamily="34" charset="0"/>
              <a:buChar char="•"/>
              <a:defRPr/>
            </a:pPr>
            <a:r>
              <a:rPr kumimoji="0" lang="en-US" sz="1100" b="1" i="0" u="none" strike="noStrike" kern="1200" cap="none" spc="0" normalizeH="0" baseline="0" noProof="0">
                <a:ln>
                  <a:noFill/>
                </a:ln>
                <a:solidFill>
                  <a:schemeClr val="bg1"/>
                </a:solidFill>
                <a:effectLst/>
                <a:uLnTx/>
                <a:uFillTx/>
                <a:latin typeface="+mj-lt"/>
                <a:ea typeface="Calibri" panose="020F0502020204030204" pitchFamily="34" charset="0"/>
                <a:cs typeface="Calibri" panose="020F0502020204030204" pitchFamily="34" charset="0"/>
              </a:rPr>
              <a:t>Risk Management: Alert Tracker: </a:t>
            </a:r>
            <a:r>
              <a:rPr kumimoji="0" lang="en-US" sz="1100" i="0" u="none" strike="noStrike" kern="1200" cap="none" spc="0" normalizeH="0" baseline="0" noProof="0">
                <a:ln>
                  <a:noFill/>
                </a:ln>
                <a:solidFill>
                  <a:schemeClr val="bg1"/>
                </a:solidFill>
                <a:effectLst/>
                <a:uLnTx/>
                <a:uFillTx/>
                <a:latin typeface="+mj-lt"/>
                <a:ea typeface="Calibri" panose="020F0502020204030204" pitchFamily="34" charset="0"/>
                <a:cs typeface="Calibri" panose="020F0502020204030204" pitchFamily="34" charset="0"/>
              </a:rPr>
              <a:t>Notifications - Covers stock levels, transportation issues, and customizable alert settings</a:t>
            </a:r>
            <a:endParaRPr kumimoji="0" lang="en-US" sz="1100" b="0" i="0" u="none" strike="noStrike" kern="1200" cap="none" spc="0" normalizeH="0" baseline="0" noProof="0">
              <a:ln>
                <a:noFill/>
              </a:ln>
              <a:solidFill>
                <a:schemeClr val="bg1"/>
              </a:solidFill>
              <a:effectLst/>
              <a:uLnTx/>
              <a:uFillTx/>
              <a:latin typeface="+mj-lt"/>
              <a:ea typeface="Calibri" panose="020F0502020204030204" pitchFamily="34" charset="0"/>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a:ln>
                  <a:noFill/>
                </a:ln>
                <a:solidFill>
                  <a:schemeClr val="bg1"/>
                </a:solidFill>
                <a:effectLst/>
                <a:uLnTx/>
                <a:uFillTx/>
                <a:latin typeface="+mj-lt"/>
                <a:ea typeface="Calibri" panose="020F0502020204030204" pitchFamily="34" charset="0"/>
                <a:cs typeface="Calibri" panose="020F0502020204030204" pitchFamily="34" charset="0"/>
              </a:rPr>
              <a:t>Risk Management: MIR/LIR</a:t>
            </a:r>
            <a:r>
              <a:rPr lang="en-US" sz="1100">
                <a:solidFill>
                  <a:schemeClr val="bg1"/>
                </a:solidFill>
                <a:latin typeface="+mj-lt"/>
                <a:ea typeface="Calibri" panose="020F0502020204030204" pitchFamily="34" charset="0"/>
                <a:cs typeface="Calibri" panose="020F0502020204030204" pitchFamily="34" charset="0"/>
              </a:rPr>
              <a:t>: Addresses inventory, orders, and forecasts to prevent potential disruptions (overall)</a:t>
            </a:r>
          </a:p>
          <a:p>
            <a:pPr marL="285750" indent="-285750">
              <a:buFont typeface="Arial" panose="020B0604020202020204" pitchFamily="34" charset="0"/>
              <a:buChar char="•"/>
              <a:defRPr/>
            </a:pPr>
            <a:r>
              <a:rPr kumimoji="0" lang="en-US" sz="1100" b="1" i="0" u="none" strike="noStrike" kern="1200" cap="none" spc="0" normalizeH="0" baseline="0" noProof="0">
                <a:ln>
                  <a:noFill/>
                </a:ln>
                <a:solidFill>
                  <a:schemeClr val="bg1"/>
                </a:solidFill>
                <a:effectLst/>
                <a:uLnTx/>
                <a:uFillTx/>
                <a:latin typeface="+mj-lt"/>
                <a:ea typeface="Calibri" panose="020F0502020204030204" pitchFamily="34" charset="0"/>
                <a:cs typeface="Calibri" panose="020F0502020204030204" pitchFamily="34" charset="0"/>
              </a:rPr>
              <a:t>Dispute Monitoring</a:t>
            </a:r>
            <a:r>
              <a:rPr kumimoji="0" lang="en-US" sz="1100" b="0" i="0" u="none" strike="noStrike" kern="1200" cap="none" spc="0" normalizeH="0" baseline="0" noProof="0">
                <a:ln>
                  <a:noFill/>
                </a:ln>
                <a:solidFill>
                  <a:schemeClr val="bg1"/>
                </a:solidFill>
                <a:effectLst/>
                <a:uLnTx/>
                <a:uFillTx/>
                <a:latin typeface="+mj-lt"/>
                <a:ea typeface="Calibri" panose="020F0502020204030204" pitchFamily="34" charset="0"/>
                <a:cs typeface="Calibri" panose="020F0502020204030204" pitchFamily="34" charset="0"/>
              </a:rPr>
              <a:t>: Covers claims and disputes at individual customer and customer hierarchy levels</a:t>
            </a:r>
          </a:p>
          <a:p>
            <a:pPr marL="285750" indent="-285750">
              <a:buFont typeface="Arial" panose="020B0604020202020204" pitchFamily="34" charset="0"/>
              <a:buChar char="•"/>
              <a:defRPr/>
            </a:pPr>
            <a:r>
              <a:rPr lang="en-US" sz="1100" b="1">
                <a:solidFill>
                  <a:schemeClr val="bg1"/>
                </a:solidFill>
                <a:latin typeface="+mj-lt"/>
                <a:ea typeface="Calibri" panose="020F0502020204030204" pitchFamily="34" charset="0"/>
                <a:cs typeface="Calibri" panose="020F0502020204030204" pitchFamily="34" charset="0"/>
              </a:rPr>
              <a:t>Customer Service Reporting: </a:t>
            </a:r>
            <a:r>
              <a:rPr lang="en-US" sz="1100">
                <a:solidFill>
                  <a:schemeClr val="bg1"/>
                </a:solidFill>
                <a:latin typeface="+mj-lt"/>
                <a:ea typeface="Calibri" panose="020F0502020204030204" pitchFamily="34" charset="0"/>
                <a:cs typeface="Calibri" panose="020F0502020204030204" pitchFamily="34" charset="0"/>
              </a:rPr>
              <a:t>Encompasses customer-level service data, order metrics, and service KPIs.</a:t>
            </a:r>
            <a:endParaRPr kumimoji="0" lang="en-US" sz="1100" b="0" i="0" u="none" strike="noStrike" kern="1200" cap="none" spc="0" normalizeH="0" baseline="0" noProof="0">
              <a:ln>
                <a:noFill/>
              </a:ln>
              <a:solidFill>
                <a:schemeClr val="bg1"/>
              </a:solidFill>
              <a:effectLst/>
              <a:uLnTx/>
              <a:uFillTx/>
              <a:latin typeface="+mj-lt"/>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86803692"/>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6">
            <a:extLst>
              <a:ext uri="{FF2B5EF4-FFF2-40B4-BE49-F238E27FC236}">
                <a16:creationId xmlns:a16="http://schemas.microsoft.com/office/drawing/2014/main" id="{EB8437E5-7B4B-3EE4-087F-5CBF69F7F20E}"/>
              </a:ext>
            </a:extLst>
          </p:cNvPr>
          <p:cNvSpPr/>
          <p:nvPr/>
        </p:nvSpPr>
        <p:spPr bwMode="auto">
          <a:xfrm>
            <a:off x="6328734" y="1156137"/>
            <a:ext cx="5863266" cy="5076497"/>
          </a:xfrm>
          <a:prstGeom prst="roundRect">
            <a:avLst>
              <a:gd name="adj" fmla="val 0"/>
            </a:avLst>
          </a:prstGeom>
          <a:solidFill>
            <a:srgbClr val="B5C1CE">
              <a:alpha val="20000"/>
            </a:srgb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bg1"/>
              </a:solidFill>
              <a:effectLst/>
              <a:latin typeface="Aptos" panose="020B0004020202020204" pitchFamily="34" charset="0"/>
            </a:endParaRPr>
          </a:p>
        </p:txBody>
      </p:sp>
      <p:pic>
        <p:nvPicPr>
          <p:cNvPr id="13" name="Picture 12">
            <a:extLst>
              <a:ext uri="{FF2B5EF4-FFF2-40B4-BE49-F238E27FC236}">
                <a16:creationId xmlns:a16="http://schemas.microsoft.com/office/drawing/2014/main" id="{B68F9316-A73B-2BCC-741B-90AF0297D4D9}"/>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87676" y="1895302"/>
            <a:ext cx="5556795" cy="3067396"/>
          </a:xfrm>
          <a:prstGeom prst="rect">
            <a:avLst/>
          </a:prstGeom>
          <a:noFill/>
        </p:spPr>
      </p:pic>
      <p:sp>
        <p:nvSpPr>
          <p:cNvPr id="40" name="TextBox 39">
            <a:extLst>
              <a:ext uri="{FF2B5EF4-FFF2-40B4-BE49-F238E27FC236}">
                <a16:creationId xmlns:a16="http://schemas.microsoft.com/office/drawing/2014/main" id="{3AD93495-35AE-89E6-A8F5-A407C9FAC1BF}"/>
              </a:ext>
            </a:extLst>
          </p:cNvPr>
          <p:cNvSpPr txBox="1"/>
          <p:nvPr/>
        </p:nvSpPr>
        <p:spPr>
          <a:xfrm>
            <a:off x="6521324" y="1739705"/>
            <a:ext cx="5176690" cy="101566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bg1"/>
                </a:solidFill>
                <a:effectLst/>
                <a:uLnTx/>
                <a:uFillTx/>
                <a:latin typeface="Aptos" panose="020B0004020202020204" pitchFamily="34" charset="0"/>
              </a:rPr>
              <a:t>Azure data lake and delta </a:t>
            </a:r>
            <a:r>
              <a:rPr kumimoji="0" lang="en-US" sz="1200" b="0" i="0" u="none" strike="noStrike" kern="1200" cap="none" spc="0" normalizeH="0" baseline="0" noProof="0" err="1">
                <a:ln>
                  <a:noFill/>
                </a:ln>
                <a:solidFill>
                  <a:schemeClr val="bg1"/>
                </a:solidFill>
                <a:effectLst/>
                <a:uLnTx/>
                <a:uFillTx/>
                <a:latin typeface="Aptos" panose="020B0004020202020204" pitchFamily="34" charset="0"/>
              </a:rPr>
              <a:t>lakehouse</a:t>
            </a:r>
            <a:r>
              <a:rPr kumimoji="0" lang="en-US" sz="1200" b="0" i="0" u="none" strike="noStrike" kern="1200" cap="none" spc="0" normalizeH="0" baseline="0" noProof="0">
                <a:ln>
                  <a:noFill/>
                </a:ln>
                <a:solidFill>
                  <a:schemeClr val="bg1"/>
                </a:solidFill>
                <a:effectLst/>
                <a:uLnTx/>
                <a:uFillTx/>
                <a:latin typeface="Aptos" panose="020B0004020202020204" pitchFamily="34" charset="0"/>
              </a:rPr>
              <a:t> served as the central data repository, serving both the product and user needs. The primary products served were data models for reporting and feature stores used for data science model builds and consumption. Additionally, the data Lakehouse was used to build reports and data science models.</a:t>
            </a:r>
          </a:p>
        </p:txBody>
      </p:sp>
      <p:sp>
        <p:nvSpPr>
          <p:cNvPr id="43" name="TextBox 42">
            <a:extLst>
              <a:ext uri="{FF2B5EF4-FFF2-40B4-BE49-F238E27FC236}">
                <a16:creationId xmlns:a16="http://schemas.microsoft.com/office/drawing/2014/main" id="{71027CEF-86BC-DBB3-1017-D13795883B16}"/>
              </a:ext>
            </a:extLst>
          </p:cNvPr>
          <p:cNvSpPr txBox="1"/>
          <p:nvPr/>
        </p:nvSpPr>
        <p:spPr>
          <a:xfrm>
            <a:off x="6521324" y="2968734"/>
            <a:ext cx="538492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12354"/>
                </a:solidFill>
                <a:effectLst/>
                <a:uLnTx/>
                <a:uFillTx/>
                <a:latin typeface="Aptos" panose="020B0004020202020204" pitchFamily="34" charset="0"/>
              </a:rPr>
              <a:t>KEY FEATURES OF AZURE CLOUD DATA LAKE PLATFORM</a:t>
            </a:r>
          </a:p>
        </p:txBody>
      </p:sp>
      <p:sp>
        <p:nvSpPr>
          <p:cNvPr id="44" name="TextBox 43">
            <a:extLst>
              <a:ext uri="{FF2B5EF4-FFF2-40B4-BE49-F238E27FC236}">
                <a16:creationId xmlns:a16="http://schemas.microsoft.com/office/drawing/2014/main" id="{D8719580-588F-621F-D406-BC0FEDBD505C}"/>
              </a:ext>
            </a:extLst>
          </p:cNvPr>
          <p:cNvSpPr txBox="1"/>
          <p:nvPr/>
        </p:nvSpPr>
        <p:spPr>
          <a:xfrm>
            <a:off x="6521324" y="3383002"/>
            <a:ext cx="5176690" cy="2123658"/>
          </a:xfrm>
          <a:prstGeom prst="rect">
            <a:avLst/>
          </a:prstGeom>
          <a:noFill/>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rgbClr val="201646"/>
                </a:solidFill>
                <a:latin typeface="Aptos" panose="020B0004020202020204" pitchFamily="34" charset="0"/>
              </a:rPr>
              <a:t>L</a:t>
            </a:r>
            <a:r>
              <a:rPr kumimoji="0" lang="en-US" sz="1200" b="0" i="0" u="none" strike="noStrike" kern="1200" cap="none" spc="0" normalizeH="0" baseline="0" noProof="0" err="1">
                <a:ln>
                  <a:noFill/>
                </a:ln>
                <a:solidFill>
                  <a:srgbClr val="201646"/>
                </a:solidFill>
                <a:effectLst/>
                <a:uLnTx/>
                <a:uFillTx/>
                <a:latin typeface="Aptos" panose="020B0004020202020204" pitchFamily="34" charset="0"/>
              </a:rPr>
              <a:t>everages</a:t>
            </a:r>
            <a:r>
              <a:rPr kumimoji="0" lang="en-US" sz="1200" b="0" i="0" u="none" strike="noStrike" kern="1200" cap="none" spc="0" normalizeH="0" baseline="0" noProof="0">
                <a:ln>
                  <a:noFill/>
                </a:ln>
                <a:solidFill>
                  <a:srgbClr val="201646"/>
                </a:solidFill>
                <a:effectLst/>
                <a:uLnTx/>
                <a:uFillTx/>
                <a:latin typeface="Aptos" panose="020B0004020202020204" pitchFamily="34" charset="0"/>
              </a:rPr>
              <a:t> native managed cloud components including Azure Data Lake, Azure Data Factory, Azure Databricks, and Azure DevOps services among others</a:t>
            </a:r>
          </a:p>
          <a:p>
            <a:pPr marR="0" lvl="0" algn="l" defTabSz="914400" rtl="0" eaLnBrk="1" fontAlgn="auto" latinLnBrk="0" hangingPunct="1">
              <a:lnSpc>
                <a:spcPct val="100000"/>
              </a:lnSpc>
              <a:spcBef>
                <a:spcPts val="0"/>
              </a:spcBef>
              <a:spcAft>
                <a:spcPts val="0"/>
              </a:spcAft>
              <a:buClrTx/>
              <a:buSzTx/>
              <a:tabLst/>
              <a:defRPr/>
            </a:pPr>
            <a:endParaRPr kumimoji="0" lang="en-US" sz="1200" b="0" i="0" u="none" strike="noStrike" kern="1200" cap="none" spc="0" normalizeH="0" baseline="0" noProof="0">
              <a:ln>
                <a:noFill/>
              </a:ln>
              <a:solidFill>
                <a:srgbClr val="201646"/>
              </a:solidFill>
              <a:effectLst/>
              <a:uLnTx/>
              <a:uFillTx/>
              <a:latin typeface="Aptos" panose="020B00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201646"/>
                </a:solidFill>
                <a:effectLst/>
                <a:uLnTx/>
                <a:uFillTx/>
                <a:latin typeface="Aptos" panose="020B0004020202020204" pitchFamily="34" charset="0"/>
              </a:rPr>
              <a:t>The solution ensures Client developers, data scientists, and analysts to store data of any size, shape, and speed and do all types of processing and analytics across platforms</a:t>
            </a:r>
          </a:p>
          <a:p>
            <a:pPr marR="0" lvl="0" algn="l" defTabSz="914400" rtl="0" eaLnBrk="1" fontAlgn="auto" latinLnBrk="0" hangingPunct="1">
              <a:lnSpc>
                <a:spcPct val="100000"/>
              </a:lnSpc>
              <a:spcBef>
                <a:spcPts val="0"/>
              </a:spcBef>
              <a:spcAft>
                <a:spcPts val="0"/>
              </a:spcAft>
              <a:buClrTx/>
              <a:buSzTx/>
              <a:tabLst/>
              <a:defRPr/>
            </a:pPr>
            <a:endParaRPr kumimoji="0" lang="en-US" sz="1200" b="0" i="0" u="none" strike="noStrike" kern="1200" cap="none" spc="0" normalizeH="0" baseline="0" noProof="0">
              <a:ln>
                <a:noFill/>
              </a:ln>
              <a:solidFill>
                <a:srgbClr val="201646"/>
              </a:solidFill>
              <a:effectLst/>
              <a:uLnTx/>
              <a:uFillTx/>
              <a:latin typeface="Aptos" panose="020B0004020202020204" pitchFamily="34" charset="0"/>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201646"/>
                </a:solidFill>
                <a:effectLst/>
                <a:uLnTx/>
                <a:uFillTx/>
                <a:latin typeface="Aptos" panose="020B0004020202020204" pitchFamily="34" charset="0"/>
              </a:rPr>
              <a:t>It removes the complexities of ingesting and storing multi-variety data while making it faster to get up and running with batch, streaming, and interactive analytics</a:t>
            </a:r>
            <a:endParaRPr kumimoji="0" lang="en-GB" sz="1200" b="0" i="0" u="none" strike="noStrike" kern="1200" cap="none" spc="0" normalizeH="0" baseline="0" noProof="0">
              <a:ln>
                <a:noFill/>
              </a:ln>
              <a:solidFill>
                <a:srgbClr val="201646"/>
              </a:solidFill>
              <a:effectLst/>
              <a:uLnTx/>
              <a:uFillTx/>
              <a:latin typeface="Aptos" panose="020B0004020202020204" pitchFamily="34" charset="0"/>
            </a:endParaRPr>
          </a:p>
        </p:txBody>
      </p:sp>
      <p:sp>
        <p:nvSpPr>
          <p:cNvPr id="45" name="TextBox 44">
            <a:extLst>
              <a:ext uri="{FF2B5EF4-FFF2-40B4-BE49-F238E27FC236}">
                <a16:creationId xmlns:a16="http://schemas.microsoft.com/office/drawing/2014/main" id="{841ABE5B-9920-E36A-23CB-35E61CDFCEB7}"/>
              </a:ext>
            </a:extLst>
          </p:cNvPr>
          <p:cNvSpPr txBox="1"/>
          <p:nvPr/>
        </p:nvSpPr>
        <p:spPr>
          <a:xfrm>
            <a:off x="6521324" y="1384129"/>
            <a:ext cx="3442947"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12354"/>
                </a:solidFill>
                <a:effectLst/>
                <a:uLnTx/>
                <a:uFillTx/>
                <a:latin typeface="Aptos" panose="020B0004020202020204" pitchFamily="34" charset="0"/>
              </a:rPr>
              <a:t>OVERVIEW</a:t>
            </a:r>
          </a:p>
        </p:txBody>
      </p:sp>
      <p:pic>
        <p:nvPicPr>
          <p:cNvPr id="3" name="Picture 4">
            <a:extLst>
              <a:ext uri="{FF2B5EF4-FFF2-40B4-BE49-F238E27FC236}">
                <a16:creationId xmlns:a16="http://schemas.microsoft.com/office/drawing/2014/main" id="{A8C9D101-E25C-3F67-573B-0AD49619759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968056" y="208049"/>
            <a:ext cx="933734" cy="560781"/>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a:extLst>
              <a:ext uri="{FF2B5EF4-FFF2-40B4-BE49-F238E27FC236}">
                <a16:creationId xmlns:a16="http://schemas.microsoft.com/office/drawing/2014/main" id="{E272A53B-8F64-CAF6-6365-73D6E9D0484B}"/>
              </a:ext>
            </a:extLst>
          </p:cNvPr>
          <p:cNvSpPr txBox="1">
            <a:spLocks/>
          </p:cNvSpPr>
          <p:nvPr/>
        </p:nvSpPr>
        <p:spPr>
          <a:xfrm>
            <a:off x="290210" y="295139"/>
            <a:ext cx="8639478" cy="386603"/>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73152" rIns="0" bIns="0"/>
          <a:lstStyle>
            <a:lvl1pPr marL="0" marR="0" indent="0" algn="l" defTabSz="1218948" rtl="0" eaLnBrk="1" latinLnBrk="0" hangingPunct="1">
              <a:lnSpc>
                <a:spcPct val="80000"/>
              </a:lnSpc>
              <a:spcBef>
                <a:spcPts val="0"/>
              </a:spcBef>
              <a:spcAft>
                <a:spcPts val="0"/>
              </a:spcAft>
              <a:buClrTx/>
              <a:buSzTx/>
              <a:buFontTx/>
              <a:buNone/>
              <a:tabLst/>
              <a:defRPr sz="3500" b="0" i="0" u="none" strike="noStrike" cap="none" spc="0" baseline="0">
                <a:solidFill>
                  <a:schemeClr val="bg2"/>
                </a:solidFill>
                <a:uFillTx/>
                <a:latin typeface="Aptos Light" panose="020B0004020202020204" pitchFamily="34" charset="0"/>
                <a:ea typeface="+mj-ea"/>
                <a:cs typeface="+mj-cs"/>
                <a:sym typeface="IBM Plex Sans Light"/>
              </a:defRPr>
            </a:lvl1pPr>
            <a:lvl2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7"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5"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1"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88"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r>
              <a:rPr lang="en-US" kern="0">
                <a:solidFill>
                  <a:schemeClr val="bg1"/>
                </a:solidFill>
                <a:latin typeface="Aptos" panose="020B0004020202020204" pitchFamily="34" charset="0"/>
              </a:rPr>
              <a:t>Greenfield Data Lake and Data Lakehouse</a:t>
            </a:r>
          </a:p>
        </p:txBody>
      </p:sp>
      <p:sp>
        <p:nvSpPr>
          <p:cNvPr id="9" name="TextBox 8">
            <a:extLst>
              <a:ext uri="{FF2B5EF4-FFF2-40B4-BE49-F238E27FC236}">
                <a16:creationId xmlns:a16="http://schemas.microsoft.com/office/drawing/2014/main" id="{E420BB3F-A807-F1FE-6D28-649A72983B7D}"/>
              </a:ext>
            </a:extLst>
          </p:cNvPr>
          <p:cNvSpPr txBox="1"/>
          <p:nvPr/>
        </p:nvSpPr>
        <p:spPr>
          <a:xfrm>
            <a:off x="-793376" y="-107576"/>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444465" indent="-446749" algn="l" defTabSz="2438400">
              <a:spcBef>
                <a:spcPts val="2900"/>
              </a:spcBef>
              <a:buSzPct val="100000"/>
              <a:buFontTx/>
              <a:buChar char="–"/>
            </a:pPr>
            <a:endParaRPr lang="en-US" kern="0">
              <a:solidFill>
                <a:srgbClr val="000000"/>
              </a:solidFill>
              <a:latin typeface="Aptos" panose="020B0004020202020204" pitchFamily="34" charset="0"/>
              <a:ea typeface="+mj-ea"/>
              <a:cs typeface="+mj-cs"/>
              <a:sym typeface="IBM Plex Sans Light"/>
            </a:endParaRPr>
          </a:p>
        </p:txBody>
      </p:sp>
    </p:spTree>
    <p:extLst>
      <p:ext uri="{BB962C8B-B14F-4D97-AF65-F5344CB8AC3E}">
        <p14:creationId xmlns:p14="http://schemas.microsoft.com/office/powerpoint/2010/main" val="366933066"/>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13A683-6B39-F331-6E91-08E45F04ED2D}"/>
              </a:ext>
            </a:extLst>
          </p:cNvPr>
          <p:cNvSpPr>
            <a:spLocks noGrp="1"/>
          </p:cNvSpPr>
          <p:nvPr>
            <p:ph type="title"/>
          </p:nvPr>
        </p:nvSpPr>
        <p:spPr/>
        <p:txBody>
          <a:bodyPr/>
          <a:lstStyle/>
          <a:p>
            <a:r>
              <a:rPr lang="en-US" sz="2400">
                <a:solidFill>
                  <a:schemeClr val="bg1"/>
                </a:solidFill>
                <a:latin typeface="+mj-lt"/>
                <a:cs typeface="Segoe UI" panose="020B0502040204020203" pitchFamily="34" charset="0"/>
              </a:rPr>
              <a:t>Solution Architecture for Next Gen Data Platform</a:t>
            </a:r>
            <a:endParaRPr lang="en-IN" sz="2400">
              <a:solidFill>
                <a:schemeClr val="bg1"/>
              </a:solidFill>
            </a:endParaRPr>
          </a:p>
        </p:txBody>
      </p:sp>
      <p:pic>
        <p:nvPicPr>
          <p:cNvPr id="4" name="Picture 3">
            <a:extLst>
              <a:ext uri="{FF2B5EF4-FFF2-40B4-BE49-F238E27FC236}">
                <a16:creationId xmlns:a16="http://schemas.microsoft.com/office/drawing/2014/main" id="{6E96A4D5-8F6A-9EAE-3F01-FBDAF901209E}"/>
              </a:ext>
            </a:extLst>
          </p:cNvPr>
          <p:cNvPicPr>
            <a:picLocks noChangeAspect="1"/>
          </p:cNvPicPr>
          <p:nvPr/>
        </p:nvPicPr>
        <p:blipFill>
          <a:blip r:embed="rId3"/>
          <a:stretch>
            <a:fillRect/>
          </a:stretch>
        </p:blipFill>
        <p:spPr>
          <a:xfrm>
            <a:off x="365760" y="882604"/>
            <a:ext cx="11460479" cy="5425340"/>
          </a:xfrm>
          <a:prstGeom prst="rect">
            <a:avLst/>
          </a:prstGeom>
        </p:spPr>
      </p:pic>
      <p:pic>
        <p:nvPicPr>
          <p:cNvPr id="5" name="Picture 2" descr="Corporate Sponsorship - AGB">
            <a:extLst>
              <a:ext uri="{FF2B5EF4-FFF2-40B4-BE49-F238E27FC236}">
                <a16:creationId xmlns:a16="http://schemas.microsoft.com/office/drawing/2014/main" id="{095B5DAE-949A-3E7D-2C0A-3DDA49FD62D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369647" y="352870"/>
            <a:ext cx="536603" cy="4314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4059622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AA6500-C42E-A8BD-7520-CCB8932C1E6B}"/>
            </a:ext>
          </a:extLst>
        </p:cNvPr>
        <p:cNvGrpSpPr/>
        <p:nvPr/>
      </p:nvGrpSpPr>
      <p:grpSpPr>
        <a:xfrm>
          <a:off x="0" y="0"/>
          <a:ext cx="0" cy="0"/>
          <a:chOff x="0" y="0"/>
          <a:chExt cx="0" cy="0"/>
        </a:xfrm>
      </p:grpSpPr>
      <p:sp>
        <p:nvSpPr>
          <p:cNvPr id="5" name="Graphic 12">
            <a:extLst>
              <a:ext uri="{FF2B5EF4-FFF2-40B4-BE49-F238E27FC236}">
                <a16:creationId xmlns:a16="http://schemas.microsoft.com/office/drawing/2014/main" id="{8CB24D54-95AA-44F4-86D6-4D715ADC2F46}"/>
              </a:ext>
            </a:extLst>
          </p:cNvPr>
          <p:cNvSpPr/>
          <p:nvPr/>
        </p:nvSpPr>
        <p:spPr>
          <a:xfrm>
            <a:off x="5146520" y="0"/>
            <a:ext cx="7083354" cy="6858000"/>
          </a:xfrm>
          <a:custGeom>
            <a:avLst/>
            <a:gdLst>
              <a:gd name="connsiteX0" fmla="*/ 7083355 w 7083354"/>
              <a:gd name="connsiteY0" fmla="*/ 6858000 h 6858000"/>
              <a:gd name="connsiteX1" fmla="*/ 551850 w 7083354"/>
              <a:gd name="connsiteY1" fmla="*/ 6858000 h 6858000"/>
              <a:gd name="connsiteX2" fmla="*/ 423157 w 7083354"/>
              <a:gd name="connsiteY2" fmla="*/ 4811395 h 6858000"/>
              <a:gd name="connsiteX3" fmla="*/ 4471599 w 7083354"/>
              <a:gd name="connsiteY3" fmla="*/ 0 h 6858000"/>
              <a:gd name="connsiteX4" fmla="*/ 7083355 w 708335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3354" h="6858000">
                <a:moveTo>
                  <a:pt x="7083355" y="6858000"/>
                </a:moveTo>
                <a:lnTo>
                  <a:pt x="551850" y="6858000"/>
                </a:lnTo>
                <a:cubicBezTo>
                  <a:pt x="-212161" y="6355610"/>
                  <a:pt x="-112677" y="5450629"/>
                  <a:pt x="423157" y="4811395"/>
                </a:cubicBezTo>
                <a:lnTo>
                  <a:pt x="4471599" y="0"/>
                </a:lnTo>
                <a:lnTo>
                  <a:pt x="7083355" y="0"/>
                </a:lnTo>
              </a:path>
            </a:pathLst>
          </a:custGeom>
          <a:solidFill>
            <a:schemeClr val="bg1">
              <a:lumMod val="25000"/>
              <a:lumOff val="75000"/>
              <a:alpha val="19000"/>
            </a:schemeClr>
          </a:solidFill>
          <a:ln w="10583" cap="flat">
            <a:noFill/>
            <a:prstDash val="solid"/>
            <a:miter/>
          </a:ln>
        </p:spPr>
        <p:txBody>
          <a:bodyPr rtlCol="0" anchor="ctr"/>
          <a:lstStyle/>
          <a:p>
            <a:endParaRPr lang="en-US"/>
          </a:p>
        </p:txBody>
      </p:sp>
      <p:sp>
        <p:nvSpPr>
          <p:cNvPr id="14" name="Graphic 5">
            <a:extLst>
              <a:ext uri="{FF2B5EF4-FFF2-40B4-BE49-F238E27FC236}">
                <a16:creationId xmlns:a16="http://schemas.microsoft.com/office/drawing/2014/main" id="{F1A5EB4F-E5AD-37BE-1DFB-9B8B8F69CB99}"/>
              </a:ext>
            </a:extLst>
          </p:cNvPr>
          <p:cNvSpPr/>
          <p:nvPr/>
        </p:nvSpPr>
        <p:spPr>
          <a:xfrm>
            <a:off x="7695096" y="9063"/>
            <a:ext cx="7072843" cy="6854700"/>
          </a:xfrm>
          <a:custGeom>
            <a:avLst/>
            <a:gdLst>
              <a:gd name="connsiteX0" fmla="*/ 422520 w 7072842"/>
              <a:gd name="connsiteY0" fmla="*/ 4804219 h 6847772"/>
              <a:gd name="connsiteX1" fmla="*/ 4464987 w 7072842"/>
              <a:gd name="connsiteY1" fmla="*/ 0 h 6847772"/>
              <a:gd name="connsiteX2" fmla="*/ 7072843 w 7072842"/>
              <a:gd name="connsiteY2" fmla="*/ 0 h 6847772"/>
              <a:gd name="connsiteX3" fmla="*/ 2827236 w 7072842"/>
              <a:gd name="connsiteY3" fmla="*/ 5023934 h 6847772"/>
              <a:gd name="connsiteX4" fmla="*/ 2814860 w 7072842"/>
              <a:gd name="connsiteY4" fmla="*/ 6847773 h 6847772"/>
              <a:gd name="connsiteX5" fmla="*/ 551057 w 7072842"/>
              <a:gd name="connsiteY5" fmla="*/ 6847773 h 6847772"/>
              <a:gd name="connsiteX6" fmla="*/ 422520 w 7072842"/>
              <a:gd name="connsiteY6" fmla="*/ 4804219 h 6847772"/>
              <a:gd name="connsiteX0" fmla="*/ 422520 w 7072843"/>
              <a:gd name="connsiteY0" fmla="*/ 4804219 h 6854700"/>
              <a:gd name="connsiteX1" fmla="*/ 4464987 w 7072843"/>
              <a:gd name="connsiteY1" fmla="*/ 0 h 6854700"/>
              <a:gd name="connsiteX2" fmla="*/ 7072843 w 7072843"/>
              <a:gd name="connsiteY2" fmla="*/ 0 h 6854700"/>
              <a:gd name="connsiteX3" fmla="*/ 2827236 w 7072843"/>
              <a:gd name="connsiteY3" fmla="*/ 5023934 h 6854700"/>
              <a:gd name="connsiteX4" fmla="*/ 2825251 w 7072843"/>
              <a:gd name="connsiteY4" fmla="*/ 6854700 h 6854700"/>
              <a:gd name="connsiteX5" fmla="*/ 551057 w 7072843"/>
              <a:gd name="connsiteY5" fmla="*/ 6847773 h 6854700"/>
              <a:gd name="connsiteX6" fmla="*/ 422520 w 7072843"/>
              <a:gd name="connsiteY6" fmla="*/ 4804219 h 6854700"/>
              <a:gd name="connsiteX0" fmla="*/ 422520 w 7072843"/>
              <a:gd name="connsiteY0" fmla="*/ 4804219 h 6854700"/>
              <a:gd name="connsiteX1" fmla="*/ 4464987 w 7072843"/>
              <a:gd name="connsiteY1" fmla="*/ 0 h 6854700"/>
              <a:gd name="connsiteX2" fmla="*/ 7072843 w 7072843"/>
              <a:gd name="connsiteY2" fmla="*/ 0 h 6854700"/>
              <a:gd name="connsiteX3" fmla="*/ 2827236 w 7072843"/>
              <a:gd name="connsiteY3" fmla="*/ 5023934 h 6854700"/>
              <a:gd name="connsiteX4" fmla="*/ 2825251 w 7072843"/>
              <a:gd name="connsiteY4" fmla="*/ 6854700 h 6854700"/>
              <a:gd name="connsiteX5" fmla="*/ 551057 w 7072843"/>
              <a:gd name="connsiteY5" fmla="*/ 6847773 h 6854700"/>
              <a:gd name="connsiteX6" fmla="*/ 422520 w 7072843"/>
              <a:gd name="connsiteY6" fmla="*/ 4804219 h 6854700"/>
              <a:gd name="connsiteX0" fmla="*/ 422520 w 7072843"/>
              <a:gd name="connsiteY0" fmla="*/ 4804219 h 6854700"/>
              <a:gd name="connsiteX1" fmla="*/ 4464987 w 7072843"/>
              <a:gd name="connsiteY1" fmla="*/ 0 h 6854700"/>
              <a:gd name="connsiteX2" fmla="*/ 7072843 w 7072843"/>
              <a:gd name="connsiteY2" fmla="*/ 0 h 6854700"/>
              <a:gd name="connsiteX3" fmla="*/ 2827236 w 7072843"/>
              <a:gd name="connsiteY3" fmla="*/ 5023934 h 6854700"/>
              <a:gd name="connsiteX4" fmla="*/ 2825251 w 7072843"/>
              <a:gd name="connsiteY4" fmla="*/ 6854700 h 6854700"/>
              <a:gd name="connsiteX5" fmla="*/ 551057 w 7072843"/>
              <a:gd name="connsiteY5" fmla="*/ 6847773 h 6854700"/>
              <a:gd name="connsiteX6" fmla="*/ 422520 w 7072843"/>
              <a:gd name="connsiteY6" fmla="*/ 4804219 h 6854700"/>
              <a:gd name="connsiteX0" fmla="*/ 422520 w 7072843"/>
              <a:gd name="connsiteY0" fmla="*/ 4804219 h 6854700"/>
              <a:gd name="connsiteX1" fmla="*/ 4464987 w 7072843"/>
              <a:gd name="connsiteY1" fmla="*/ 0 h 6854700"/>
              <a:gd name="connsiteX2" fmla="*/ 7072843 w 7072843"/>
              <a:gd name="connsiteY2" fmla="*/ 0 h 6854700"/>
              <a:gd name="connsiteX3" fmla="*/ 2827236 w 7072843"/>
              <a:gd name="connsiteY3" fmla="*/ 5023934 h 6854700"/>
              <a:gd name="connsiteX4" fmla="*/ 2825251 w 7072843"/>
              <a:gd name="connsiteY4" fmla="*/ 6854700 h 6854700"/>
              <a:gd name="connsiteX5" fmla="*/ 551057 w 7072843"/>
              <a:gd name="connsiteY5" fmla="*/ 6847773 h 6854700"/>
              <a:gd name="connsiteX6" fmla="*/ 422520 w 7072843"/>
              <a:gd name="connsiteY6" fmla="*/ 4804219 h 6854700"/>
              <a:gd name="connsiteX0" fmla="*/ 422520 w 7072843"/>
              <a:gd name="connsiteY0" fmla="*/ 4804219 h 6854700"/>
              <a:gd name="connsiteX1" fmla="*/ 4464987 w 7072843"/>
              <a:gd name="connsiteY1" fmla="*/ 0 h 6854700"/>
              <a:gd name="connsiteX2" fmla="*/ 7072843 w 7072843"/>
              <a:gd name="connsiteY2" fmla="*/ 0 h 6854700"/>
              <a:gd name="connsiteX3" fmla="*/ 2827236 w 7072843"/>
              <a:gd name="connsiteY3" fmla="*/ 5023934 h 6854700"/>
              <a:gd name="connsiteX4" fmla="*/ 2825251 w 7072843"/>
              <a:gd name="connsiteY4" fmla="*/ 6854700 h 6854700"/>
              <a:gd name="connsiteX5" fmla="*/ 551057 w 7072843"/>
              <a:gd name="connsiteY5" fmla="*/ 6847773 h 6854700"/>
              <a:gd name="connsiteX6" fmla="*/ 422520 w 7072843"/>
              <a:gd name="connsiteY6" fmla="*/ 4804219 h 6854700"/>
              <a:gd name="connsiteX0" fmla="*/ 422520 w 7072843"/>
              <a:gd name="connsiteY0" fmla="*/ 4804219 h 6854700"/>
              <a:gd name="connsiteX1" fmla="*/ 4464987 w 7072843"/>
              <a:gd name="connsiteY1" fmla="*/ 0 h 6854700"/>
              <a:gd name="connsiteX2" fmla="*/ 7072843 w 7072843"/>
              <a:gd name="connsiteY2" fmla="*/ 0 h 6854700"/>
              <a:gd name="connsiteX3" fmla="*/ 2827236 w 7072843"/>
              <a:gd name="connsiteY3" fmla="*/ 5023934 h 6854700"/>
              <a:gd name="connsiteX4" fmla="*/ 2825251 w 7072843"/>
              <a:gd name="connsiteY4" fmla="*/ 6854700 h 6854700"/>
              <a:gd name="connsiteX5" fmla="*/ 551057 w 7072843"/>
              <a:gd name="connsiteY5" fmla="*/ 6847773 h 6854700"/>
              <a:gd name="connsiteX6" fmla="*/ 422520 w 7072843"/>
              <a:gd name="connsiteY6" fmla="*/ 4804219 h 6854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72843" h="6854700">
                <a:moveTo>
                  <a:pt x="422520" y="4804219"/>
                </a:moveTo>
                <a:lnTo>
                  <a:pt x="4464987" y="0"/>
                </a:lnTo>
                <a:lnTo>
                  <a:pt x="7072843" y="0"/>
                </a:lnTo>
                <a:lnTo>
                  <a:pt x="2827236" y="5023934"/>
                </a:lnTo>
                <a:cubicBezTo>
                  <a:pt x="2405702" y="5562918"/>
                  <a:pt x="2292307" y="6311373"/>
                  <a:pt x="2825251" y="6854700"/>
                </a:cubicBezTo>
                <a:lnTo>
                  <a:pt x="551057" y="6847773"/>
                </a:lnTo>
                <a:cubicBezTo>
                  <a:pt x="-211856" y="6346116"/>
                  <a:pt x="-112505" y="5442503"/>
                  <a:pt x="422520" y="4804219"/>
                </a:cubicBezTo>
                <a:close/>
              </a:path>
            </a:pathLst>
          </a:custGeom>
          <a:solidFill>
            <a:schemeClr val="bg1">
              <a:lumMod val="10000"/>
              <a:lumOff val="90000"/>
              <a:alpha val="54000"/>
            </a:schemeClr>
          </a:solidFill>
          <a:ln w="14404" cap="flat">
            <a:noFill/>
            <a:prstDash val="solid"/>
            <a:miter/>
          </a:ln>
        </p:spPr>
        <p:txBody>
          <a:bodyPr rtlCol="0" anchor="ctr"/>
          <a:lstStyle/>
          <a:p>
            <a:endParaRPr lang="en-US"/>
          </a:p>
        </p:txBody>
      </p:sp>
      <p:sp>
        <p:nvSpPr>
          <p:cNvPr id="3" name="Title 4">
            <a:extLst>
              <a:ext uri="{FF2B5EF4-FFF2-40B4-BE49-F238E27FC236}">
                <a16:creationId xmlns:a16="http://schemas.microsoft.com/office/drawing/2014/main" id="{7C27CB6B-D79E-6EEC-F537-2F24CEBB6DA5}"/>
              </a:ext>
            </a:extLst>
          </p:cNvPr>
          <p:cNvSpPr txBox="1">
            <a:spLocks/>
          </p:cNvSpPr>
          <p:nvPr/>
        </p:nvSpPr>
        <p:spPr>
          <a:xfrm>
            <a:off x="890844" y="2559553"/>
            <a:ext cx="6032383" cy="1648630"/>
          </a:xfrm>
          <a:prstGeom prst="rect">
            <a:avLst/>
          </a:prstGeom>
        </p:spPr>
        <p:txBody>
          <a:bodyPr>
            <a:noAutofit/>
          </a:bodyPr>
          <a:lstStyle>
            <a:lvl1pPr marL="0" marR="0" indent="0" algn="l" defTabSz="1462796" rtl="0" eaLnBrk="1" latinLnBrk="0" hangingPunct="1">
              <a:lnSpc>
                <a:spcPct val="80000"/>
              </a:lnSpc>
              <a:spcBef>
                <a:spcPts val="0"/>
              </a:spcBef>
              <a:spcAft>
                <a:spcPts val="0"/>
              </a:spcAft>
              <a:buClrTx/>
              <a:buSzTx/>
              <a:buFontTx/>
              <a:buNone/>
              <a:tabLst/>
              <a:defRPr sz="3800" b="0" i="0" u="none" strike="noStrike" cap="none" spc="0" baseline="0">
                <a:solidFill>
                  <a:schemeClr val="bg1"/>
                </a:solidFill>
                <a:uFillTx/>
                <a:latin typeface="Aptos" panose="020B0004020202020204" pitchFamily="34" charset="0"/>
                <a:ea typeface="+mj-ea"/>
                <a:cs typeface="+mj-cs"/>
                <a:sym typeface="IBM Plex Sans Light"/>
              </a:defRPr>
            </a:lvl1pPr>
            <a:lvl2pPr marL="0" marR="0" indent="0"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2pPr>
            <a:lvl3pPr marL="0" marR="0" indent="0"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3pPr>
            <a:lvl4pPr marL="0" marR="0" indent="0"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4pPr>
            <a:lvl5pPr marL="0" marR="0" indent="0"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5pPr>
            <a:lvl6pPr marL="0" marR="0" indent="217505"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6pPr>
            <a:lvl7pPr marL="0" marR="0" indent="435011"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7pPr>
            <a:lvl8pPr marL="0" marR="0" indent="652515"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8pPr>
            <a:lvl9pPr marL="0" marR="0" indent="870021"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9pPr>
          </a:lstStyle>
          <a:p>
            <a:pPr defTabSz="1218948">
              <a:lnSpc>
                <a:spcPct val="90000"/>
              </a:lnSpc>
              <a:defRPr/>
            </a:pPr>
            <a:r>
              <a:rPr lang="en-US" sz="5000" kern="0" spc="100">
                <a:solidFill>
                  <a:schemeClr val="tx2"/>
                </a:solidFill>
                <a:ea typeface="Helvetica Neue UltraLight" panose="02000206000000020004" pitchFamily="2" charset="0"/>
                <a:cs typeface="Helvetica Neue Medium" panose="02000503000000020004" pitchFamily="2" charset="0"/>
              </a:rPr>
              <a:t>Our Understanding</a:t>
            </a:r>
          </a:p>
          <a:p>
            <a:pPr defTabSz="1218948">
              <a:lnSpc>
                <a:spcPct val="90000"/>
              </a:lnSpc>
              <a:defRPr/>
            </a:pPr>
            <a:endParaRPr lang="en-US" sz="6000" kern="0" spc="100">
              <a:solidFill>
                <a:schemeClr val="tx2"/>
              </a:solidFill>
              <a:ea typeface="Helvetica Neue UltraLight" panose="02000206000000020004" pitchFamily="2" charset="0"/>
              <a:cs typeface="Helvetica Neue Medium" panose="02000503000000020004" pitchFamily="2" charset="0"/>
            </a:endParaRPr>
          </a:p>
          <a:p>
            <a:pPr defTabSz="1218948">
              <a:lnSpc>
                <a:spcPct val="90000"/>
              </a:lnSpc>
              <a:defRPr/>
            </a:pPr>
            <a:endParaRPr lang="en-US" sz="6000" kern="0" spc="100">
              <a:solidFill>
                <a:schemeClr val="tx2"/>
              </a:solidFill>
              <a:ea typeface="Helvetica Neue UltraLight" panose="02000206000000020004" pitchFamily="2" charset="0"/>
              <a:cs typeface="Helvetica Neue Medium" panose="02000503000000020004" pitchFamily="2" charset="0"/>
            </a:endParaRPr>
          </a:p>
        </p:txBody>
      </p:sp>
      <p:sp>
        <p:nvSpPr>
          <p:cNvPr id="11" name="Text Placeholder 3">
            <a:extLst>
              <a:ext uri="{FF2B5EF4-FFF2-40B4-BE49-F238E27FC236}">
                <a16:creationId xmlns:a16="http://schemas.microsoft.com/office/drawing/2014/main" id="{4DF501FB-DEAA-FAAA-F25B-DBA14ADD082A}"/>
              </a:ext>
            </a:extLst>
          </p:cNvPr>
          <p:cNvSpPr txBox="1">
            <a:spLocks/>
          </p:cNvSpPr>
          <p:nvPr/>
        </p:nvSpPr>
        <p:spPr>
          <a:xfrm>
            <a:off x="288889" y="6458629"/>
            <a:ext cx="4088233" cy="150303"/>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Outfit Light" pitchFamily="2" charset="0"/>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48">
              <a:defRPr/>
            </a:pPr>
            <a:r>
              <a:rPr lang="en-US" sz="917" kern="0">
                <a:solidFill>
                  <a:schemeClr val="bg2"/>
                </a:solidFill>
                <a:latin typeface="Aptos Light" panose="020B0004020202020204" pitchFamily="34" charset="0"/>
              </a:rPr>
              <a:t>Confidential</a:t>
            </a:r>
            <a:r>
              <a:rPr lang="en-US" sz="917" kern="0">
                <a:solidFill>
                  <a:schemeClr val="bg2"/>
                </a:solidFill>
                <a:latin typeface="Aptos" panose="020B0004020202020204" pitchFamily="34" charset="0"/>
              </a:rPr>
              <a:t>  /  </a:t>
            </a:r>
            <a:r>
              <a:rPr lang="en-US" sz="917" kern="0">
                <a:solidFill>
                  <a:schemeClr val="bg2"/>
                </a:solidFill>
                <a:latin typeface="Aptos Light" panose="020B0004020202020204" pitchFamily="34" charset="0"/>
              </a:rPr>
              <a:t>Brillio</a:t>
            </a:r>
          </a:p>
        </p:txBody>
      </p:sp>
      <p:sp>
        <p:nvSpPr>
          <p:cNvPr id="4" name="TextBox 3">
            <a:extLst>
              <a:ext uri="{FF2B5EF4-FFF2-40B4-BE49-F238E27FC236}">
                <a16:creationId xmlns:a16="http://schemas.microsoft.com/office/drawing/2014/main" id="{A3054D3E-AFDC-5E24-2B2D-47B90C063CFF}"/>
              </a:ext>
            </a:extLst>
          </p:cNvPr>
          <p:cNvSpPr txBox="1"/>
          <p:nvPr/>
        </p:nvSpPr>
        <p:spPr>
          <a:xfrm>
            <a:off x="941294" y="3496235"/>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370373" indent="-372276" defTabSz="2031919">
              <a:spcBef>
                <a:spcPts val="2417"/>
              </a:spcBef>
              <a:buSzPct val="100000"/>
              <a:buFontTx/>
              <a:buChar char="–"/>
              <a:defRPr/>
            </a:pPr>
            <a:endParaRPr lang="en-US" sz="1500" kern="0">
              <a:solidFill>
                <a:srgbClr val="000000"/>
              </a:solidFill>
              <a:latin typeface="Aptos" panose="02110004020202020204"/>
              <a:sym typeface="IBM Plex Sans Light"/>
            </a:endParaRPr>
          </a:p>
        </p:txBody>
      </p:sp>
      <p:sp>
        <p:nvSpPr>
          <p:cNvPr id="7" name="TextBox 6">
            <a:extLst>
              <a:ext uri="{FF2B5EF4-FFF2-40B4-BE49-F238E27FC236}">
                <a16:creationId xmlns:a16="http://schemas.microsoft.com/office/drawing/2014/main" id="{35D9EC18-52D7-1242-1962-3E7B00BB34C1}"/>
              </a:ext>
            </a:extLst>
          </p:cNvPr>
          <p:cNvSpPr txBox="1"/>
          <p:nvPr/>
        </p:nvSpPr>
        <p:spPr>
          <a:xfrm>
            <a:off x="941294" y="3204135"/>
            <a:ext cx="0" cy="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rtlCol="0">
            <a:noAutofit/>
          </a:bodyPr>
          <a:lstStyle/>
          <a:p>
            <a:pPr marL="370373" indent="-372276" defTabSz="2031919">
              <a:spcBef>
                <a:spcPts val="2417"/>
              </a:spcBef>
              <a:buSzPct val="100000"/>
              <a:buFontTx/>
              <a:buChar char="–"/>
              <a:defRPr/>
            </a:pPr>
            <a:endParaRPr lang="en-US" sz="1500" kern="0">
              <a:solidFill>
                <a:srgbClr val="000000"/>
              </a:solidFill>
              <a:latin typeface="Aptos" panose="02110004020202020204"/>
              <a:sym typeface="IBM Plex Sans Light"/>
            </a:endParaRPr>
          </a:p>
        </p:txBody>
      </p:sp>
      <p:sp>
        <p:nvSpPr>
          <p:cNvPr id="9" name="Rectangle 8">
            <a:extLst>
              <a:ext uri="{FF2B5EF4-FFF2-40B4-BE49-F238E27FC236}">
                <a16:creationId xmlns:a16="http://schemas.microsoft.com/office/drawing/2014/main" id="{72A1062C-0B98-F532-F5A3-76A042EBC0E8}"/>
              </a:ext>
            </a:extLst>
          </p:cNvPr>
          <p:cNvSpPr/>
          <p:nvPr/>
        </p:nvSpPr>
        <p:spPr bwMode="auto">
          <a:xfrm rot="5400000">
            <a:off x="1576003" y="1838266"/>
            <a:ext cx="38099" cy="1198778"/>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76200" tIns="76200" rIns="76200" bIns="76200" numCol="1" rtlCol="0" anchor="t" anchorCtr="0" compatLnSpc="1">
            <a:prstTxWarp prst="textNoShape">
              <a:avLst/>
            </a:prstTxWarp>
          </a:bodyPr>
          <a:lstStyle/>
          <a:p>
            <a:pPr defTabSz="761970" fontAlgn="base">
              <a:spcBef>
                <a:spcPct val="0"/>
              </a:spcBef>
              <a:spcAft>
                <a:spcPct val="0"/>
              </a:spcAft>
              <a:defRPr/>
            </a:pPr>
            <a:endParaRPr lang="en-US" sz="1167">
              <a:solidFill>
                <a:schemeClr val="tx2"/>
              </a:solidFill>
              <a:latin typeface="Aptos" panose="02110004020202020204"/>
            </a:endParaRPr>
          </a:p>
        </p:txBody>
      </p:sp>
      <p:sp>
        <p:nvSpPr>
          <p:cNvPr id="8" name="Text Placeholder 3">
            <a:extLst>
              <a:ext uri="{FF2B5EF4-FFF2-40B4-BE49-F238E27FC236}">
                <a16:creationId xmlns:a16="http://schemas.microsoft.com/office/drawing/2014/main" id="{C808FE05-0D52-5F54-AA08-723DD72259C1}"/>
              </a:ext>
            </a:extLst>
          </p:cNvPr>
          <p:cNvSpPr txBox="1">
            <a:spLocks/>
          </p:cNvSpPr>
          <p:nvPr/>
        </p:nvSpPr>
        <p:spPr>
          <a:xfrm>
            <a:off x="11438259" y="6458629"/>
            <a:ext cx="462473" cy="150303"/>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Outfit Light" pitchFamily="2" charset="0"/>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Outfit Light" pitchFamily="2" charset="0"/>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r" defTabSz="1218948">
              <a:defRPr/>
            </a:pPr>
            <a:fld id="{64F0821C-65D3-DD4D-8DB2-745946DB9115}" type="slidenum">
              <a:rPr lang="en-US" sz="917" kern="0">
                <a:latin typeface="Aptos" panose="020B0004020202020204" pitchFamily="34" charset="0"/>
              </a:rPr>
              <a:pPr algn="r" defTabSz="1218948">
                <a:defRPr/>
              </a:pPr>
              <a:t>5</a:t>
            </a:fld>
            <a:endParaRPr lang="en-US" sz="917" kern="0">
              <a:latin typeface="Aptos" panose="020B0004020202020204" pitchFamily="34" charset="0"/>
            </a:endParaRPr>
          </a:p>
        </p:txBody>
      </p:sp>
      <p:pic>
        <p:nvPicPr>
          <p:cNvPr id="12" name="Graphic 11">
            <a:extLst>
              <a:ext uri="{FF2B5EF4-FFF2-40B4-BE49-F238E27FC236}">
                <a16:creationId xmlns:a16="http://schemas.microsoft.com/office/drawing/2014/main" id="{156D23D3-B5C7-882F-69FA-17C1FF3A9862}"/>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543540" y="6495499"/>
            <a:ext cx="167269" cy="81501"/>
          </a:xfrm>
          <a:prstGeom prst="rect">
            <a:avLst/>
          </a:prstGeom>
        </p:spPr>
      </p:pic>
      <p:sp>
        <p:nvSpPr>
          <p:cNvPr id="19" name="Title 4">
            <a:extLst>
              <a:ext uri="{FF2B5EF4-FFF2-40B4-BE49-F238E27FC236}">
                <a16:creationId xmlns:a16="http://schemas.microsoft.com/office/drawing/2014/main" id="{5EF01094-171F-A251-08EB-ADF4056E0AC4}"/>
              </a:ext>
            </a:extLst>
          </p:cNvPr>
          <p:cNvSpPr txBox="1">
            <a:spLocks/>
          </p:cNvSpPr>
          <p:nvPr/>
        </p:nvSpPr>
        <p:spPr>
          <a:xfrm>
            <a:off x="1043244" y="2711953"/>
            <a:ext cx="6032383" cy="1648630"/>
          </a:xfrm>
          <a:prstGeom prst="rect">
            <a:avLst/>
          </a:prstGeom>
        </p:spPr>
        <p:txBody>
          <a:bodyPr>
            <a:noAutofit/>
          </a:bodyPr>
          <a:lstStyle>
            <a:lvl1pPr marL="0" marR="0" indent="0" algn="l" defTabSz="1462796" rtl="0" eaLnBrk="1" latinLnBrk="0" hangingPunct="1">
              <a:lnSpc>
                <a:spcPct val="80000"/>
              </a:lnSpc>
              <a:spcBef>
                <a:spcPts val="0"/>
              </a:spcBef>
              <a:spcAft>
                <a:spcPts val="0"/>
              </a:spcAft>
              <a:buClrTx/>
              <a:buSzTx/>
              <a:buFontTx/>
              <a:buNone/>
              <a:tabLst/>
              <a:defRPr sz="3800" b="0" i="0" u="none" strike="noStrike" cap="none" spc="0" baseline="0">
                <a:solidFill>
                  <a:schemeClr val="bg1"/>
                </a:solidFill>
                <a:uFillTx/>
                <a:latin typeface="Aptos" panose="020B0004020202020204" pitchFamily="34" charset="0"/>
                <a:ea typeface="+mj-ea"/>
                <a:cs typeface="+mj-cs"/>
                <a:sym typeface="IBM Plex Sans Light"/>
              </a:defRPr>
            </a:lvl1pPr>
            <a:lvl2pPr marL="0" marR="0" indent="0"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2pPr>
            <a:lvl3pPr marL="0" marR="0" indent="0"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3pPr>
            <a:lvl4pPr marL="0" marR="0" indent="0"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4pPr>
            <a:lvl5pPr marL="0" marR="0" indent="0"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5pPr>
            <a:lvl6pPr marL="0" marR="0" indent="217505"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6pPr>
            <a:lvl7pPr marL="0" marR="0" indent="435011"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7pPr>
            <a:lvl8pPr marL="0" marR="0" indent="652515"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8pPr>
            <a:lvl9pPr marL="0" marR="0" indent="870021" algn="l" defTabSz="1462796" rtl="0" eaLnBrk="1" latinLnBrk="0" hangingPunct="1">
              <a:lnSpc>
                <a:spcPct val="90000"/>
              </a:lnSpc>
              <a:spcBef>
                <a:spcPts val="0"/>
              </a:spcBef>
              <a:spcAft>
                <a:spcPts val="0"/>
              </a:spcAft>
              <a:buClrTx/>
              <a:buSzTx/>
              <a:buFontTx/>
              <a:buNone/>
              <a:tabLst/>
              <a:defRPr sz="3839" b="0" i="0" u="none" strike="noStrike" cap="none" spc="0" baseline="0">
                <a:solidFill>
                  <a:srgbClr val="000000"/>
                </a:solidFill>
                <a:uFillTx/>
                <a:latin typeface="+mj-lt"/>
                <a:ea typeface="+mj-ea"/>
                <a:cs typeface="+mj-cs"/>
                <a:sym typeface="IBM Plex Sans Light"/>
              </a:defRPr>
            </a:lvl9pPr>
          </a:lstStyle>
          <a:p>
            <a:pPr defTabSz="1218948">
              <a:lnSpc>
                <a:spcPct val="90000"/>
              </a:lnSpc>
              <a:defRPr/>
            </a:pPr>
            <a:r>
              <a:rPr lang="en-US" sz="5000" kern="0" spc="100">
                <a:ea typeface="Helvetica Neue UltraLight" panose="02000206000000020004" pitchFamily="2" charset="0"/>
                <a:cs typeface="Helvetica Neue Medium" panose="02000503000000020004" pitchFamily="2" charset="0"/>
              </a:rPr>
              <a:t>Solution Approach</a:t>
            </a:r>
          </a:p>
          <a:p>
            <a:pPr defTabSz="1218948">
              <a:lnSpc>
                <a:spcPct val="90000"/>
              </a:lnSpc>
              <a:defRPr/>
            </a:pPr>
            <a:endParaRPr lang="en-US" sz="6000" kern="0" spc="100">
              <a:ea typeface="Helvetica Neue UltraLight" panose="02000206000000020004" pitchFamily="2" charset="0"/>
              <a:cs typeface="Helvetica Neue Medium" panose="02000503000000020004" pitchFamily="2" charset="0"/>
            </a:endParaRPr>
          </a:p>
          <a:p>
            <a:pPr defTabSz="1218948">
              <a:lnSpc>
                <a:spcPct val="90000"/>
              </a:lnSpc>
              <a:defRPr/>
            </a:pPr>
            <a:endParaRPr lang="en-US" sz="6000" kern="0" spc="100">
              <a:ea typeface="Helvetica Neue UltraLight" panose="02000206000000020004" pitchFamily="2" charset="0"/>
              <a:cs typeface="Helvetica Neue Medium" panose="02000503000000020004" pitchFamily="2" charset="0"/>
            </a:endParaRPr>
          </a:p>
        </p:txBody>
      </p:sp>
      <p:sp>
        <p:nvSpPr>
          <p:cNvPr id="20" name="Rectangle 19">
            <a:extLst>
              <a:ext uri="{FF2B5EF4-FFF2-40B4-BE49-F238E27FC236}">
                <a16:creationId xmlns:a16="http://schemas.microsoft.com/office/drawing/2014/main" id="{535FDA9C-4478-E382-4A25-BFA1FAE0D8E5}"/>
              </a:ext>
            </a:extLst>
          </p:cNvPr>
          <p:cNvSpPr/>
          <p:nvPr/>
        </p:nvSpPr>
        <p:spPr bwMode="auto">
          <a:xfrm rot="5400000">
            <a:off x="1728403" y="1990666"/>
            <a:ext cx="38099" cy="1198778"/>
          </a:xfrm>
          <a:prstGeom prst="rect">
            <a:avLst/>
          </a:prstGeom>
          <a:solidFill>
            <a:schemeClr val="tx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76200" tIns="76200" rIns="76200" bIns="76200" numCol="1" rtlCol="0" anchor="t" anchorCtr="0" compatLnSpc="1">
            <a:prstTxWarp prst="textNoShape">
              <a:avLst/>
            </a:prstTxWarp>
          </a:bodyPr>
          <a:lstStyle/>
          <a:p>
            <a:pPr defTabSz="761970" fontAlgn="base">
              <a:spcBef>
                <a:spcPct val="0"/>
              </a:spcBef>
              <a:spcAft>
                <a:spcPct val="0"/>
              </a:spcAft>
              <a:defRPr/>
            </a:pPr>
            <a:endParaRPr lang="en-US" sz="1167">
              <a:solidFill>
                <a:schemeClr val="bg2"/>
              </a:solidFill>
              <a:latin typeface="Aptos" panose="02110004020202020204"/>
            </a:endParaRPr>
          </a:p>
        </p:txBody>
      </p:sp>
    </p:spTree>
    <p:extLst>
      <p:ext uri="{BB962C8B-B14F-4D97-AF65-F5344CB8AC3E}">
        <p14:creationId xmlns:p14="http://schemas.microsoft.com/office/powerpoint/2010/main" val="375363327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DB1266-1C7D-1AB5-A27A-8A26D70ABA80}"/>
            </a:ext>
          </a:extLst>
        </p:cNvPr>
        <p:cNvGrpSpPr/>
        <p:nvPr/>
      </p:nvGrpSpPr>
      <p:grpSpPr>
        <a:xfrm>
          <a:off x="0" y="0"/>
          <a:ext cx="0" cy="0"/>
          <a:chOff x="0" y="0"/>
          <a:chExt cx="0" cy="0"/>
        </a:xfrm>
      </p:grpSpPr>
      <p:sp>
        <p:nvSpPr>
          <p:cNvPr id="26" name="Rectangle 25">
            <a:extLst>
              <a:ext uri="{FF2B5EF4-FFF2-40B4-BE49-F238E27FC236}">
                <a16:creationId xmlns:a16="http://schemas.microsoft.com/office/drawing/2014/main" id="{FE47849E-103F-8F99-DE4A-4867FDA69817}"/>
              </a:ext>
            </a:extLst>
          </p:cNvPr>
          <p:cNvSpPr>
            <a:spLocks noGrp="1" noRot="1" noMove="1" noResize="1" noEditPoints="1" noAdjustHandles="1" noChangeArrowheads="1" noChangeShapeType="1"/>
          </p:cNvSpPr>
          <p:nvPr/>
        </p:nvSpPr>
        <p:spPr>
          <a:xfrm>
            <a:off x="0" y="1736563"/>
            <a:ext cx="12192000" cy="2777177"/>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IN" sz="1100" b="1">
              <a:latin typeface="Outfit"/>
              <a:ea typeface="Helvetica Neue" panose="02000503000000020004" pitchFamily="2" charset="0"/>
              <a:cs typeface="Helvetica Neue" panose="02000503000000020004" pitchFamily="2" charset="0"/>
            </a:endParaRPr>
          </a:p>
        </p:txBody>
      </p:sp>
      <p:sp>
        <p:nvSpPr>
          <p:cNvPr id="2" name="Rectangle 1">
            <a:extLst>
              <a:ext uri="{FF2B5EF4-FFF2-40B4-BE49-F238E27FC236}">
                <a16:creationId xmlns:a16="http://schemas.microsoft.com/office/drawing/2014/main" id="{9914140B-F809-5CE4-5862-53B53A7F2F23}"/>
              </a:ext>
            </a:extLst>
          </p:cNvPr>
          <p:cNvSpPr/>
          <p:nvPr/>
        </p:nvSpPr>
        <p:spPr bwMode="auto">
          <a:xfrm>
            <a:off x="346962" y="2310822"/>
            <a:ext cx="7481360" cy="2110178"/>
          </a:xfrm>
          <a:prstGeom prst="rect">
            <a:avLst/>
          </a:prstGeom>
          <a:solidFill>
            <a:schemeClr val="tx1"/>
          </a:solidFill>
          <a:ln w="19050">
            <a:noFill/>
            <a:prstDash val="sysDash"/>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bg1"/>
              </a:solidFill>
              <a:effectLst/>
              <a:latin typeface="+mn-lt"/>
            </a:endParaRPr>
          </a:p>
        </p:txBody>
      </p:sp>
      <p:sp>
        <p:nvSpPr>
          <p:cNvPr id="27" name="Rectangle 26">
            <a:extLst>
              <a:ext uri="{FF2B5EF4-FFF2-40B4-BE49-F238E27FC236}">
                <a16:creationId xmlns:a16="http://schemas.microsoft.com/office/drawing/2014/main" id="{A30EB66A-D126-5F9A-F5A9-110837CF8040}"/>
              </a:ext>
            </a:extLst>
          </p:cNvPr>
          <p:cNvSpPr>
            <a:spLocks noGrp="1" noRot="1" noMove="1" noResize="1" noEditPoints="1" noAdjustHandles="1" noChangeArrowheads="1" noChangeShapeType="1"/>
          </p:cNvSpPr>
          <p:nvPr/>
        </p:nvSpPr>
        <p:spPr>
          <a:xfrm>
            <a:off x="0" y="4876667"/>
            <a:ext cx="12192000" cy="13412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IN" b="1">
              <a:latin typeface="Outfit"/>
              <a:ea typeface="Helvetica Neue" panose="02000503000000020004" pitchFamily="2" charset="0"/>
              <a:cs typeface="Helvetica Neue" panose="02000503000000020004" pitchFamily="2" charset="0"/>
            </a:endParaRPr>
          </a:p>
        </p:txBody>
      </p:sp>
      <p:sp>
        <p:nvSpPr>
          <p:cNvPr id="3" name="Footer Placeholder 2">
            <a:extLst>
              <a:ext uri="{FF2B5EF4-FFF2-40B4-BE49-F238E27FC236}">
                <a16:creationId xmlns:a16="http://schemas.microsoft.com/office/drawing/2014/main" id="{05FAE408-5C1D-E4B3-C5EF-633823E7450C}"/>
              </a:ext>
            </a:extLst>
          </p:cNvPr>
          <p:cNvSpPr>
            <a:spLocks noGrp="1"/>
          </p:cNvSpPr>
          <p:nvPr>
            <p:ph type="ftr" sz="quarter" idx="4294967295"/>
          </p:nvPr>
        </p:nvSpPr>
        <p:spPr>
          <a:xfrm>
            <a:off x="10485438" y="6591300"/>
            <a:ext cx="1706562" cy="206375"/>
          </a:xfrm>
          <a:prstGeom prst="rect">
            <a:avLst/>
          </a:prstGeom>
        </p:spPr>
        <p:txBody>
          <a:bodyPr/>
          <a:lstStyle/>
          <a:p>
            <a:r>
              <a:rPr lang="en-US"/>
              <a:t>© 2025 Brillio |</a:t>
            </a:r>
          </a:p>
        </p:txBody>
      </p:sp>
      <p:sp>
        <p:nvSpPr>
          <p:cNvPr id="4" name="Slide Number Placeholder 3">
            <a:extLst>
              <a:ext uri="{FF2B5EF4-FFF2-40B4-BE49-F238E27FC236}">
                <a16:creationId xmlns:a16="http://schemas.microsoft.com/office/drawing/2014/main" id="{A0A32F15-96C4-A025-651B-8C7CB8466B40}"/>
              </a:ext>
            </a:extLst>
          </p:cNvPr>
          <p:cNvSpPr>
            <a:spLocks noGrp="1"/>
          </p:cNvSpPr>
          <p:nvPr>
            <p:ph type="sldNum" sz="quarter" idx="4294967295"/>
          </p:nvPr>
        </p:nvSpPr>
        <p:spPr>
          <a:xfrm>
            <a:off x="11887200" y="6591300"/>
            <a:ext cx="304800" cy="206375"/>
          </a:xfrm>
          <a:prstGeom prst="rect">
            <a:avLst/>
          </a:prstGeom>
        </p:spPr>
        <p:txBody>
          <a:bodyPr/>
          <a:lstStyle/>
          <a:p>
            <a:fld id="{2EFEF571-C9B4-4D92-A7F7-315B894862A8}" type="slidenum">
              <a:rPr lang="en-US" smtClean="0"/>
              <a:pPr/>
              <a:t>6</a:t>
            </a:fld>
            <a:endParaRPr lang="en-US"/>
          </a:p>
        </p:txBody>
      </p:sp>
      <p:pic>
        <p:nvPicPr>
          <p:cNvPr id="28" name="Graphic 27" descr="Male profile outline">
            <a:extLst>
              <a:ext uri="{FF2B5EF4-FFF2-40B4-BE49-F238E27FC236}">
                <a16:creationId xmlns:a16="http://schemas.microsoft.com/office/drawing/2014/main" id="{60B08771-4C5D-D4B0-F2A2-850CC7E5237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7124" y="5397589"/>
            <a:ext cx="568175" cy="568175"/>
          </a:xfrm>
          <a:prstGeom prst="rect">
            <a:avLst/>
          </a:prstGeom>
        </p:spPr>
      </p:pic>
      <p:pic>
        <p:nvPicPr>
          <p:cNvPr id="29" name="Graphic 28" descr="School boy outline">
            <a:extLst>
              <a:ext uri="{FF2B5EF4-FFF2-40B4-BE49-F238E27FC236}">
                <a16:creationId xmlns:a16="http://schemas.microsoft.com/office/drawing/2014/main" id="{91374E97-595D-058D-07DE-2DB685F82B9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547953" y="5386404"/>
            <a:ext cx="568175" cy="568175"/>
          </a:xfrm>
          <a:prstGeom prst="rect">
            <a:avLst/>
          </a:prstGeom>
        </p:spPr>
      </p:pic>
      <p:pic>
        <p:nvPicPr>
          <p:cNvPr id="30" name="Graphic 29" descr="Office worker male outline">
            <a:extLst>
              <a:ext uri="{FF2B5EF4-FFF2-40B4-BE49-F238E27FC236}">
                <a16:creationId xmlns:a16="http://schemas.microsoft.com/office/drawing/2014/main" id="{9A1A45C2-B3C4-18DF-CB3E-E2BE1996FD8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423460" y="5386404"/>
            <a:ext cx="568175" cy="568175"/>
          </a:xfrm>
          <a:prstGeom prst="rect">
            <a:avLst/>
          </a:prstGeom>
        </p:spPr>
      </p:pic>
      <p:pic>
        <p:nvPicPr>
          <p:cNvPr id="31" name="Graphic 30" descr="Office worker female outline">
            <a:extLst>
              <a:ext uri="{FF2B5EF4-FFF2-40B4-BE49-F238E27FC236}">
                <a16:creationId xmlns:a16="http://schemas.microsoft.com/office/drawing/2014/main" id="{6EFD82B0-F5F1-7DE5-3B52-73FBB197EB4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576111" y="5385930"/>
            <a:ext cx="568175" cy="568175"/>
          </a:xfrm>
          <a:prstGeom prst="rect">
            <a:avLst/>
          </a:prstGeom>
        </p:spPr>
      </p:pic>
      <p:sp>
        <p:nvSpPr>
          <p:cNvPr id="32" name="TextBox 31">
            <a:extLst>
              <a:ext uri="{FF2B5EF4-FFF2-40B4-BE49-F238E27FC236}">
                <a16:creationId xmlns:a16="http://schemas.microsoft.com/office/drawing/2014/main" id="{207C5E17-964D-4A88-D5F7-FA35328058E4}"/>
              </a:ext>
            </a:extLst>
          </p:cNvPr>
          <p:cNvSpPr txBox="1"/>
          <p:nvPr/>
        </p:nvSpPr>
        <p:spPr>
          <a:xfrm>
            <a:off x="7157644" y="5428081"/>
            <a:ext cx="1492843" cy="430887"/>
          </a:xfrm>
          <a:prstGeom prst="rect">
            <a:avLst/>
          </a:prstGeom>
          <a:noFill/>
        </p:spPr>
        <p:txBody>
          <a:bodyPr wrap="square" rtlCol="0">
            <a:spAutoFit/>
          </a:bodyPr>
          <a:lstStyle/>
          <a:p>
            <a:r>
              <a:rPr lang="en-IN" sz="1100">
                <a:solidFill>
                  <a:schemeClr val="tx2">
                    <a:lumMod val="85000"/>
                    <a:lumOff val="15000"/>
                  </a:schemeClr>
                </a:solidFill>
                <a:latin typeface="Outfit"/>
                <a:ea typeface="Helvetica Neue Medium" panose="02000503000000020004" pitchFamily="2" charset="0"/>
                <a:cs typeface="Helvetica Neue Medium" panose="02000503000000020004" pitchFamily="2" charset="0"/>
              </a:rPr>
              <a:t>C-Suite/ Business Stakeholders</a:t>
            </a:r>
          </a:p>
        </p:txBody>
      </p:sp>
      <p:sp>
        <p:nvSpPr>
          <p:cNvPr id="33" name="TextBox 32">
            <a:extLst>
              <a:ext uri="{FF2B5EF4-FFF2-40B4-BE49-F238E27FC236}">
                <a16:creationId xmlns:a16="http://schemas.microsoft.com/office/drawing/2014/main" id="{80B41CF6-4498-4403-2921-5B3635B769D7}"/>
              </a:ext>
            </a:extLst>
          </p:cNvPr>
          <p:cNvSpPr txBox="1"/>
          <p:nvPr/>
        </p:nvSpPr>
        <p:spPr>
          <a:xfrm>
            <a:off x="4162480" y="5428555"/>
            <a:ext cx="1628720" cy="430887"/>
          </a:xfrm>
          <a:prstGeom prst="rect">
            <a:avLst/>
          </a:prstGeom>
          <a:noFill/>
        </p:spPr>
        <p:txBody>
          <a:bodyPr wrap="square" rtlCol="0">
            <a:spAutoFit/>
          </a:bodyPr>
          <a:lstStyle/>
          <a:p>
            <a:r>
              <a:rPr lang="en-IN" sz="1100">
                <a:solidFill>
                  <a:schemeClr val="tx2">
                    <a:lumMod val="85000"/>
                    <a:lumOff val="15000"/>
                  </a:schemeClr>
                </a:solidFill>
                <a:latin typeface="Outfit"/>
                <a:ea typeface="Helvetica Neue Medium" panose="02000503000000020004" pitchFamily="2" charset="0"/>
                <a:cs typeface="Helvetica Neue Medium" panose="02000503000000020004" pitchFamily="2" charset="0"/>
              </a:rPr>
              <a:t>End Customers              (no direct system access)</a:t>
            </a:r>
          </a:p>
        </p:txBody>
      </p:sp>
      <p:sp>
        <p:nvSpPr>
          <p:cNvPr id="34" name="TextBox 33">
            <a:extLst>
              <a:ext uri="{FF2B5EF4-FFF2-40B4-BE49-F238E27FC236}">
                <a16:creationId xmlns:a16="http://schemas.microsoft.com/office/drawing/2014/main" id="{53EE4C06-E22C-23D6-689D-EAB24C082DFC}"/>
              </a:ext>
            </a:extLst>
          </p:cNvPr>
          <p:cNvSpPr txBox="1"/>
          <p:nvPr/>
        </p:nvSpPr>
        <p:spPr>
          <a:xfrm>
            <a:off x="1107914" y="5439740"/>
            <a:ext cx="1739195" cy="430887"/>
          </a:xfrm>
          <a:prstGeom prst="rect">
            <a:avLst/>
          </a:prstGeom>
          <a:noFill/>
        </p:spPr>
        <p:txBody>
          <a:bodyPr wrap="square" rtlCol="0">
            <a:spAutoFit/>
          </a:bodyPr>
          <a:lstStyle/>
          <a:p>
            <a:r>
              <a:rPr lang="en-IN" sz="1100">
                <a:solidFill>
                  <a:schemeClr val="tx2">
                    <a:lumMod val="85000"/>
                    <a:lumOff val="15000"/>
                  </a:schemeClr>
                </a:solidFill>
                <a:latin typeface="Outfit"/>
                <a:ea typeface="Helvetica Neue Medium" panose="02000503000000020004" pitchFamily="2" charset="0"/>
                <a:cs typeface="Helvetica Neue Medium" panose="02000503000000020004" pitchFamily="2" charset="0"/>
              </a:rPr>
              <a:t>Customer Support Executive</a:t>
            </a:r>
          </a:p>
        </p:txBody>
      </p:sp>
      <p:sp>
        <p:nvSpPr>
          <p:cNvPr id="35" name="TextBox 34">
            <a:extLst>
              <a:ext uri="{FF2B5EF4-FFF2-40B4-BE49-F238E27FC236}">
                <a16:creationId xmlns:a16="http://schemas.microsoft.com/office/drawing/2014/main" id="{C5D87EBF-605B-4931-74B3-02D4EB84A098}"/>
              </a:ext>
            </a:extLst>
          </p:cNvPr>
          <p:cNvSpPr txBox="1"/>
          <p:nvPr/>
        </p:nvSpPr>
        <p:spPr>
          <a:xfrm>
            <a:off x="10116128" y="5428555"/>
            <a:ext cx="1544830" cy="430887"/>
          </a:xfrm>
          <a:prstGeom prst="rect">
            <a:avLst/>
          </a:prstGeom>
          <a:noFill/>
        </p:spPr>
        <p:txBody>
          <a:bodyPr wrap="square" rtlCol="0">
            <a:spAutoFit/>
          </a:bodyPr>
          <a:lstStyle/>
          <a:p>
            <a:r>
              <a:rPr lang="en-IN" sz="1100">
                <a:solidFill>
                  <a:schemeClr val="tx2">
                    <a:lumMod val="85000"/>
                    <a:lumOff val="15000"/>
                  </a:schemeClr>
                </a:solidFill>
                <a:latin typeface="Outfit"/>
                <a:ea typeface="Helvetica Neue Medium" panose="02000503000000020004" pitchFamily="2" charset="0"/>
                <a:cs typeface="Helvetica Neue Medium" panose="02000503000000020004" pitchFamily="2" charset="0"/>
              </a:rPr>
              <a:t>Sales Executive</a:t>
            </a:r>
          </a:p>
          <a:p>
            <a:r>
              <a:rPr lang="en-IN" sz="1100">
                <a:solidFill>
                  <a:schemeClr val="tx2">
                    <a:lumMod val="85000"/>
                    <a:lumOff val="15000"/>
                  </a:schemeClr>
                </a:solidFill>
                <a:latin typeface="Outfit"/>
                <a:ea typeface="Helvetica Neue Medium" panose="02000503000000020004" pitchFamily="2" charset="0"/>
                <a:cs typeface="Helvetica Neue Medium" panose="02000503000000020004" pitchFamily="2" charset="0"/>
              </a:rPr>
              <a:t>(future)</a:t>
            </a:r>
          </a:p>
        </p:txBody>
      </p:sp>
      <p:sp>
        <p:nvSpPr>
          <p:cNvPr id="36" name="TextBox 35">
            <a:extLst>
              <a:ext uri="{FF2B5EF4-FFF2-40B4-BE49-F238E27FC236}">
                <a16:creationId xmlns:a16="http://schemas.microsoft.com/office/drawing/2014/main" id="{6F50CFB5-E215-3C30-81E5-CACEBF098FD5}"/>
              </a:ext>
            </a:extLst>
          </p:cNvPr>
          <p:cNvSpPr txBox="1"/>
          <p:nvPr/>
        </p:nvSpPr>
        <p:spPr>
          <a:xfrm>
            <a:off x="9242877" y="2071543"/>
            <a:ext cx="2289989" cy="276999"/>
          </a:xfrm>
          <a:prstGeom prst="rect">
            <a:avLst/>
          </a:prstGeom>
          <a:noFill/>
          <a:ln>
            <a:noFill/>
          </a:ln>
        </p:spPr>
        <p:txBody>
          <a:bodyPr wrap="square" rtlCol="0">
            <a:spAutoFit/>
          </a:bodyPr>
          <a:lstStyle/>
          <a:p>
            <a:pPr marL="0" marR="0" lvl="0" indent="0" defTabSz="609585"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a:ln>
                  <a:noFill/>
                </a:ln>
                <a:solidFill>
                  <a:schemeClr val="bg1"/>
                </a:solidFill>
                <a:uLnTx/>
                <a:uFillTx/>
                <a:latin typeface="Outfit"/>
                <a:ea typeface="Helvetica Neue" panose="02000503000000020004" pitchFamily="2" charset="0"/>
                <a:cs typeface="Helvetica Neue" panose="02000503000000020004" pitchFamily="2" charset="0"/>
              </a:rPr>
              <a:t>POWER BI APPROACH*</a:t>
            </a:r>
          </a:p>
        </p:txBody>
      </p:sp>
      <p:sp>
        <p:nvSpPr>
          <p:cNvPr id="37" name="TextBox 36">
            <a:extLst>
              <a:ext uri="{FF2B5EF4-FFF2-40B4-BE49-F238E27FC236}">
                <a16:creationId xmlns:a16="http://schemas.microsoft.com/office/drawing/2014/main" id="{A437EB8E-B00A-DA90-B122-E797EF9A09B4}"/>
              </a:ext>
            </a:extLst>
          </p:cNvPr>
          <p:cNvSpPr txBox="1">
            <a:spLocks/>
          </p:cNvSpPr>
          <p:nvPr/>
        </p:nvSpPr>
        <p:spPr>
          <a:xfrm>
            <a:off x="4827498" y="2821375"/>
            <a:ext cx="3000824" cy="276999"/>
          </a:xfrm>
          <a:prstGeom prst="rect">
            <a:avLst/>
          </a:prstGeom>
          <a:noFill/>
          <a:ln>
            <a:noFill/>
          </a:ln>
        </p:spPr>
        <p:txBody>
          <a:bodyPr wrap="square" rtlCol="0">
            <a:spAutoFit/>
          </a:bodyPr>
          <a:lstStyle/>
          <a:p>
            <a:pPr marL="0" marR="0" lvl="0" indent="0" defTabSz="609585"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a:ln>
                  <a:noFill/>
                </a:ln>
                <a:solidFill>
                  <a:schemeClr val="bg1"/>
                </a:solidFill>
                <a:uLnTx/>
                <a:uFillTx/>
                <a:latin typeface="Outfit"/>
                <a:ea typeface="Helvetica Neue" panose="02000503000000020004" pitchFamily="2" charset="0"/>
                <a:cs typeface="Helvetica Neue" panose="02000503000000020004" pitchFamily="2" charset="0"/>
              </a:rPr>
              <a:t>AGILE &amp; FLEXIBLE IMPLEMENTATION</a:t>
            </a:r>
          </a:p>
        </p:txBody>
      </p:sp>
      <p:pic>
        <p:nvPicPr>
          <p:cNvPr id="40" name="Graphic 39" descr="Ui Ux outline">
            <a:extLst>
              <a:ext uri="{FF2B5EF4-FFF2-40B4-BE49-F238E27FC236}">
                <a16:creationId xmlns:a16="http://schemas.microsoft.com/office/drawing/2014/main" id="{7066E01C-B273-2B1C-799A-E25976FBC9D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0364" y="2348542"/>
            <a:ext cx="430119" cy="456666"/>
          </a:xfrm>
          <a:prstGeom prst="rect">
            <a:avLst/>
          </a:prstGeom>
        </p:spPr>
      </p:pic>
      <p:pic>
        <p:nvPicPr>
          <p:cNvPr id="42" name="Graphic 41" descr="Shield Tick outline">
            <a:extLst>
              <a:ext uri="{FF2B5EF4-FFF2-40B4-BE49-F238E27FC236}">
                <a16:creationId xmlns:a16="http://schemas.microsoft.com/office/drawing/2014/main" id="{3C942C7C-553F-05D4-69F2-F613C05A456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787906" y="1981709"/>
            <a:ext cx="430119" cy="456666"/>
          </a:xfrm>
          <a:prstGeom prst="rect">
            <a:avLst/>
          </a:prstGeom>
        </p:spPr>
      </p:pic>
      <p:sp>
        <p:nvSpPr>
          <p:cNvPr id="44" name="TextBox 43">
            <a:extLst>
              <a:ext uri="{FF2B5EF4-FFF2-40B4-BE49-F238E27FC236}">
                <a16:creationId xmlns:a16="http://schemas.microsoft.com/office/drawing/2014/main" id="{A93219B3-7763-C41E-D16F-A024FE8F1FFF}"/>
              </a:ext>
            </a:extLst>
          </p:cNvPr>
          <p:cNvSpPr txBox="1"/>
          <p:nvPr/>
        </p:nvSpPr>
        <p:spPr>
          <a:xfrm>
            <a:off x="355207" y="2907803"/>
            <a:ext cx="3000824" cy="276999"/>
          </a:xfrm>
          <a:prstGeom prst="rect">
            <a:avLst/>
          </a:prstGeom>
          <a:noFill/>
          <a:ln>
            <a:noFill/>
          </a:ln>
        </p:spPr>
        <p:txBody>
          <a:bodyPr wrap="square" rtlCol="0">
            <a:spAutoFit/>
          </a:bodyPr>
          <a:lstStyle/>
          <a:p>
            <a:pPr defTabSz="609585">
              <a:defRPr/>
            </a:pPr>
            <a:r>
              <a:rPr kumimoji="0" lang="en-US" sz="1200" b="1" u="none" strike="noStrike" kern="1200" cap="none" spc="0" normalizeH="0" baseline="0" noProof="0">
                <a:ln>
                  <a:noFill/>
                </a:ln>
                <a:solidFill>
                  <a:schemeClr val="bg1"/>
                </a:solidFill>
                <a:uLnTx/>
                <a:uFillTx/>
                <a:latin typeface="Outfit"/>
                <a:ea typeface="Helvetica Neue" panose="02000503000000020004" pitchFamily="2" charset="0"/>
                <a:cs typeface="Helvetica Neue" panose="02000503000000020004" pitchFamily="2" charset="0"/>
              </a:rPr>
              <a:t>IMPROVED CUSTOMER EXPERIENCE</a:t>
            </a:r>
          </a:p>
        </p:txBody>
      </p:sp>
      <p:pic>
        <p:nvPicPr>
          <p:cNvPr id="45" name="Graphic 44" descr="Circular flowchart outline">
            <a:extLst>
              <a:ext uri="{FF2B5EF4-FFF2-40B4-BE49-F238E27FC236}">
                <a16:creationId xmlns:a16="http://schemas.microsoft.com/office/drawing/2014/main" id="{A273D8B2-65B0-D1F3-559C-72C2E982B54C}"/>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851668" y="2310822"/>
            <a:ext cx="485172" cy="532107"/>
          </a:xfrm>
          <a:prstGeom prst="rect">
            <a:avLst/>
          </a:prstGeom>
        </p:spPr>
      </p:pic>
      <p:sp>
        <p:nvSpPr>
          <p:cNvPr id="46" name="TextBox 45">
            <a:extLst>
              <a:ext uri="{FF2B5EF4-FFF2-40B4-BE49-F238E27FC236}">
                <a16:creationId xmlns:a16="http://schemas.microsoft.com/office/drawing/2014/main" id="{820A601C-3AF7-3ACB-48E7-6D116B8A391F}"/>
              </a:ext>
            </a:extLst>
          </p:cNvPr>
          <p:cNvSpPr txBox="1"/>
          <p:nvPr/>
        </p:nvSpPr>
        <p:spPr>
          <a:xfrm>
            <a:off x="288555" y="4892819"/>
            <a:ext cx="3575304" cy="338554"/>
          </a:xfrm>
          <a:prstGeom prst="rect">
            <a:avLst/>
          </a:prstGeom>
          <a:noFill/>
        </p:spPr>
        <p:txBody>
          <a:bodyPr wrap="square" rtlCol="0">
            <a:spAutoFit/>
          </a:bodyPr>
          <a:lstStyle/>
          <a:p>
            <a:r>
              <a:rPr lang="en-IN" sz="1600" b="1">
                <a:latin typeface="Aptos SemiBold" panose="020B0004020202020204" pitchFamily="34" charset="0"/>
                <a:ea typeface="Helvetica Neue" panose="02000503000000020004" pitchFamily="2" charset="0"/>
                <a:cs typeface="Helvetica Neue" panose="02000503000000020004" pitchFamily="2" charset="0"/>
              </a:rPr>
              <a:t>Personas Involved</a:t>
            </a:r>
          </a:p>
        </p:txBody>
      </p:sp>
      <p:sp>
        <p:nvSpPr>
          <p:cNvPr id="47" name="TextBox 46">
            <a:extLst>
              <a:ext uri="{FF2B5EF4-FFF2-40B4-BE49-F238E27FC236}">
                <a16:creationId xmlns:a16="http://schemas.microsoft.com/office/drawing/2014/main" id="{0237AF23-A517-A205-7E2D-6D2A689D2BD2}"/>
              </a:ext>
            </a:extLst>
          </p:cNvPr>
          <p:cNvSpPr txBox="1">
            <a:spLocks/>
          </p:cNvSpPr>
          <p:nvPr/>
        </p:nvSpPr>
        <p:spPr>
          <a:xfrm>
            <a:off x="4668982" y="3081791"/>
            <a:ext cx="3304116" cy="1015663"/>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buFont typeface="Arial" panose="020B0604020202020204" pitchFamily="34" charset="0"/>
              <a:buChar char="•"/>
              <a:defRPr/>
            </a:pPr>
            <a:r>
              <a:rPr lang="en-US" sz="1200" kern="0">
                <a:solidFill>
                  <a:schemeClr val="bg1"/>
                </a:solidFill>
                <a:latin typeface="Aptos Light" panose="020B0004020202020204" pitchFamily="34" charset="0"/>
              </a:rPr>
              <a:t>Agile execution</a:t>
            </a:r>
          </a:p>
          <a:p>
            <a:pPr marL="171450" indent="-171450">
              <a:buFont typeface="Arial" panose="020B0604020202020204" pitchFamily="34" charset="0"/>
              <a:buChar char="•"/>
              <a:defRPr/>
            </a:pPr>
            <a:r>
              <a:rPr lang="en-US" sz="1200" kern="0">
                <a:solidFill>
                  <a:schemeClr val="bg1"/>
                </a:solidFill>
                <a:latin typeface="Aptos Light" panose="020B0004020202020204" pitchFamily="34" charset="0"/>
              </a:rPr>
              <a:t>Faster time to features</a:t>
            </a:r>
          </a:p>
          <a:p>
            <a:pPr marL="171450" indent="-171450">
              <a:buFont typeface="Arial" panose="020B0604020202020204" pitchFamily="34" charset="0"/>
              <a:buChar char="•"/>
              <a:defRPr/>
            </a:pPr>
            <a:r>
              <a:rPr lang="en-US" sz="1200" kern="0">
                <a:solidFill>
                  <a:schemeClr val="bg1"/>
                </a:solidFill>
                <a:latin typeface="Aptos Light" panose="020B0004020202020204" pitchFamily="34" charset="0"/>
              </a:rPr>
              <a:t>Improved backlog planning</a:t>
            </a:r>
          </a:p>
          <a:p>
            <a:pPr marL="171450" indent="-171450">
              <a:buFont typeface="Arial" panose="020B0604020202020204" pitchFamily="34" charset="0"/>
              <a:buChar char="•"/>
              <a:defRPr/>
            </a:pPr>
            <a:r>
              <a:rPr lang="en-US" sz="1200" kern="0" noProof="1">
                <a:solidFill>
                  <a:schemeClr val="bg1"/>
                </a:solidFill>
                <a:latin typeface="Aptos Light" panose="020B0004020202020204" pitchFamily="34" charset="0"/>
              </a:rPr>
              <a:t>Quicker feature onboarding/ offboarding </a:t>
            </a:r>
          </a:p>
          <a:p>
            <a:pPr marL="171450" indent="-171450">
              <a:spcAft>
                <a:spcPts val="600"/>
              </a:spcAft>
              <a:buFont typeface="Arial" panose="020B0604020202020204" pitchFamily="34" charset="0"/>
              <a:buChar char="•"/>
            </a:pPr>
            <a:endParaRPr lang="en-IN" sz="1200">
              <a:solidFill>
                <a:schemeClr val="bg1"/>
              </a:solidFill>
              <a:latin typeface="Aptos Light" panose="020B0004020202020204" pitchFamily="34" charset="0"/>
              <a:ea typeface="Helvetica Neue" panose="02000503000000020004" pitchFamily="2" charset="0"/>
              <a:cs typeface="Helvetica Neue" panose="02000503000000020004" pitchFamily="2" charset="0"/>
            </a:endParaRPr>
          </a:p>
        </p:txBody>
      </p:sp>
      <p:sp>
        <p:nvSpPr>
          <p:cNvPr id="48" name="TextBox 12">
            <a:extLst>
              <a:ext uri="{FF2B5EF4-FFF2-40B4-BE49-F238E27FC236}">
                <a16:creationId xmlns:a16="http://schemas.microsoft.com/office/drawing/2014/main" id="{D611E568-32AA-0685-0993-A83CA0A8BE42}"/>
              </a:ext>
            </a:extLst>
          </p:cNvPr>
          <p:cNvSpPr txBox="1"/>
          <p:nvPr/>
        </p:nvSpPr>
        <p:spPr>
          <a:xfrm>
            <a:off x="305080" y="3201334"/>
            <a:ext cx="3779391" cy="830997"/>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noProof="1">
                <a:solidFill>
                  <a:schemeClr val="bg1"/>
                </a:solidFill>
                <a:latin typeface="Aptos Light" panose="020B0004020202020204" pitchFamily="34" charset="0"/>
                <a:ea typeface="Helvetica Neue" panose="02000503000000020004" pitchFamily="2" charset="0"/>
                <a:cs typeface="Helvetica Neue" panose="02000503000000020004" pitchFamily="2" charset="0"/>
              </a:rPr>
              <a:t>Improved CX through performance and design</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noProof="1">
                <a:solidFill>
                  <a:schemeClr val="bg1"/>
                </a:solidFill>
                <a:latin typeface="Aptos Light" panose="020B0004020202020204" pitchFamily="34" charset="0"/>
                <a:ea typeface="Helvetica Neue" panose="02000503000000020004" pitchFamily="2" charset="0"/>
                <a:cs typeface="Helvetica Neue" panose="02000503000000020004" pitchFamily="2" charset="0"/>
              </a:rPr>
              <a:t>Best in class UI/UX and design standards</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0" noProof="1">
              <a:solidFill>
                <a:schemeClr val="bg1"/>
              </a:solidFill>
              <a:latin typeface="Aptos Light" panose="020B0004020202020204" pitchFamily="34" charset="0"/>
              <a:ea typeface="Helvetica Neue" panose="02000503000000020004" pitchFamily="2" charset="0"/>
              <a:cs typeface="Helvetica Neue" panose="02000503000000020004" pitchFamily="2" charset="0"/>
            </a:endParaRP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0" noProof="1">
              <a:solidFill>
                <a:schemeClr val="bg1"/>
              </a:solidFill>
              <a:latin typeface="Aptos Light" panose="020B0004020202020204" pitchFamily="34" charset="0"/>
              <a:ea typeface="Helvetica Neue" panose="02000503000000020004" pitchFamily="2" charset="0"/>
              <a:cs typeface="Helvetica Neue" panose="02000503000000020004" pitchFamily="2" charset="0"/>
            </a:endParaRPr>
          </a:p>
        </p:txBody>
      </p:sp>
      <p:sp>
        <p:nvSpPr>
          <p:cNvPr id="51" name="TextBox 8">
            <a:extLst>
              <a:ext uri="{FF2B5EF4-FFF2-40B4-BE49-F238E27FC236}">
                <a16:creationId xmlns:a16="http://schemas.microsoft.com/office/drawing/2014/main" id="{AE5F7365-A013-6FC9-C8D0-3B3261F9810E}"/>
              </a:ext>
            </a:extLst>
          </p:cNvPr>
          <p:cNvSpPr txBox="1"/>
          <p:nvPr/>
        </p:nvSpPr>
        <p:spPr>
          <a:xfrm>
            <a:off x="8343417" y="2722646"/>
            <a:ext cx="3371129" cy="1754326"/>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a:solidFill>
                  <a:schemeClr val="bg1"/>
                </a:solidFill>
                <a:latin typeface="Aptos Light" panose="020B0004020202020204" pitchFamily="34" charset="0"/>
              </a:rPr>
              <a:t>Implements star schema design principles with proper fact and dimension tables</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a:solidFill>
                  <a:schemeClr val="bg1"/>
                </a:solidFill>
                <a:latin typeface="Aptos Light" panose="020B0004020202020204" pitchFamily="34" charset="0"/>
              </a:rPr>
              <a:t>Uses incremental refresh patterns to handle large datasets efficiently</a:t>
            </a:r>
            <a:endParaRPr lang="en-US" sz="1200" kern="0" noProof="1">
              <a:solidFill>
                <a:schemeClr val="bg1"/>
              </a:solidFill>
              <a:latin typeface="Aptos Light" panose="020B0004020202020204" pitchFamily="34" charset="0"/>
            </a:endParaRP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noProof="1">
                <a:solidFill>
                  <a:schemeClr val="bg1"/>
                </a:solidFill>
                <a:latin typeface="Aptos Light" panose="020B0004020202020204" pitchFamily="34" charset="0"/>
              </a:rPr>
              <a:t>Scalable and robust hybrid data modelling</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a:solidFill>
                  <a:schemeClr val="bg1"/>
                </a:solidFill>
                <a:latin typeface="Aptos Light" panose="020B0004020202020204" pitchFamily="34" charset="0"/>
              </a:rPr>
              <a:t>Utilizes built-in AI features like Q&amp;A and Smart Narratives</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noProof="1">
                <a:solidFill>
                  <a:schemeClr val="bg1"/>
                </a:solidFill>
                <a:latin typeface="Aptos Light" panose="020B0004020202020204" pitchFamily="34" charset="0"/>
              </a:rPr>
              <a:t>Future ready solution </a:t>
            </a:r>
            <a:r>
              <a:rPr lang="en-US" sz="1200" kern="0" noProof="1">
                <a:solidFill>
                  <a:schemeClr val="bg1"/>
                </a:solidFill>
                <a:latin typeface="Aptos Light" panose="020B0004020202020204" pitchFamily="34" charset="0"/>
                <a:ea typeface="Helvetica Neue" panose="02000503000000020004" pitchFamily="2" charset="0"/>
                <a:cs typeface="Helvetica Neue" panose="02000503000000020004" pitchFamily="2" charset="0"/>
              </a:rPr>
              <a:t>with latest features released by Microsoft </a:t>
            </a:r>
          </a:p>
        </p:txBody>
      </p:sp>
      <p:sp>
        <p:nvSpPr>
          <p:cNvPr id="52" name="TextBox 51">
            <a:extLst>
              <a:ext uri="{FF2B5EF4-FFF2-40B4-BE49-F238E27FC236}">
                <a16:creationId xmlns:a16="http://schemas.microsoft.com/office/drawing/2014/main" id="{14CC511B-A4E2-03AE-58C9-D94BE8D5453C}"/>
              </a:ext>
            </a:extLst>
          </p:cNvPr>
          <p:cNvSpPr txBox="1"/>
          <p:nvPr/>
        </p:nvSpPr>
        <p:spPr>
          <a:xfrm>
            <a:off x="407123" y="1817237"/>
            <a:ext cx="4034247" cy="338554"/>
          </a:xfrm>
          <a:prstGeom prst="rect">
            <a:avLst/>
          </a:prstGeom>
          <a:noFill/>
        </p:spPr>
        <p:txBody>
          <a:bodyPr wrap="square" rtlCol="0">
            <a:spAutoFit/>
          </a:bodyPr>
          <a:lstStyle/>
          <a:p>
            <a:r>
              <a:rPr lang="en-IN" sz="1600" b="1">
                <a:solidFill>
                  <a:schemeClr val="bg1"/>
                </a:solidFill>
                <a:latin typeface="Aptos SemiBold" panose="020B0004020202020204" pitchFamily="34" charset="0"/>
                <a:ea typeface="Helvetica Neue" panose="02000503000000020004" pitchFamily="2" charset="0"/>
                <a:cs typeface="Helvetica Neue" panose="02000503000000020004" pitchFamily="2" charset="0"/>
              </a:rPr>
              <a:t>To Deliver Business Outcomes-Phase 1</a:t>
            </a:r>
          </a:p>
        </p:txBody>
      </p:sp>
      <p:sp>
        <p:nvSpPr>
          <p:cNvPr id="53" name="Rectangle 52">
            <a:extLst>
              <a:ext uri="{FF2B5EF4-FFF2-40B4-BE49-F238E27FC236}">
                <a16:creationId xmlns:a16="http://schemas.microsoft.com/office/drawing/2014/main" id="{40F5C7ED-282E-598D-FDE2-D98A155D9BA7}"/>
              </a:ext>
            </a:extLst>
          </p:cNvPr>
          <p:cNvSpPr/>
          <p:nvPr/>
        </p:nvSpPr>
        <p:spPr>
          <a:xfrm>
            <a:off x="290212" y="936752"/>
            <a:ext cx="11616037" cy="549054"/>
          </a:xfrm>
          <a:prstGeom prst="rect">
            <a:avLst/>
          </a:prstGeom>
          <a:no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bg1"/>
                </a:solidFill>
                <a:latin typeface="Aptos" panose="020B0004020202020204" pitchFamily="34" charset="0"/>
              </a:rPr>
              <a:t>Our solution is designed with the three core characteristics for the different personas to enable streamlined user experience, strong technical capabilities, and low operational overheads</a:t>
            </a:r>
            <a:endParaRPr lang="en-IN" sz="1400">
              <a:solidFill>
                <a:schemeClr val="bg1"/>
              </a:solidFill>
              <a:latin typeface="Aptos" panose="020B0004020202020204" pitchFamily="34" charset="0"/>
            </a:endParaRPr>
          </a:p>
        </p:txBody>
      </p:sp>
      <p:sp>
        <p:nvSpPr>
          <p:cNvPr id="8" name="Title 1">
            <a:extLst>
              <a:ext uri="{FF2B5EF4-FFF2-40B4-BE49-F238E27FC236}">
                <a16:creationId xmlns:a16="http://schemas.microsoft.com/office/drawing/2014/main" id="{50A61731-E3B3-8800-FFF2-EA5F37E64577}"/>
              </a:ext>
            </a:extLst>
          </p:cNvPr>
          <p:cNvSpPr txBox="1">
            <a:spLocks/>
          </p:cNvSpPr>
          <p:nvPr/>
        </p:nvSpPr>
        <p:spPr>
          <a:xfrm>
            <a:off x="288555" y="299392"/>
            <a:ext cx="11606656" cy="386603"/>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73152" rIns="0" bIns="0"/>
          <a:lstStyle>
            <a:lvl1pPr marL="0" marR="0" indent="0" algn="l" defTabSz="1218948" rtl="0" eaLnBrk="1" latinLnBrk="0" hangingPunct="1">
              <a:lnSpc>
                <a:spcPct val="80000"/>
              </a:lnSpc>
              <a:spcBef>
                <a:spcPts val="0"/>
              </a:spcBef>
              <a:spcAft>
                <a:spcPts val="0"/>
              </a:spcAft>
              <a:buClrTx/>
              <a:buSzTx/>
              <a:buFontTx/>
              <a:buNone/>
              <a:tabLst/>
              <a:defRPr sz="3500" b="0" i="0" u="none" strike="noStrike" cap="none" spc="0" baseline="0">
                <a:solidFill>
                  <a:schemeClr val="bg1"/>
                </a:solidFill>
                <a:uFillTx/>
                <a:latin typeface="Aptos Light" panose="020B0004020202020204" pitchFamily="34" charset="0"/>
                <a:ea typeface="+mj-ea"/>
                <a:cs typeface="+mj-cs"/>
                <a:sym typeface="IBM Plex Sans Light"/>
              </a:defRPr>
            </a:lvl1pPr>
            <a:lvl2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7"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5"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1"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88"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r>
              <a:rPr lang="en-US" kern="0">
                <a:solidFill>
                  <a:srgbClr val="002060"/>
                </a:solidFill>
                <a:latin typeface="+mj-lt"/>
              </a:rPr>
              <a:t>Customer 360 - Solution Tenets</a:t>
            </a:r>
          </a:p>
        </p:txBody>
      </p:sp>
      <p:sp>
        <p:nvSpPr>
          <p:cNvPr id="5" name="TextBox 4">
            <a:extLst>
              <a:ext uri="{FF2B5EF4-FFF2-40B4-BE49-F238E27FC236}">
                <a16:creationId xmlns:a16="http://schemas.microsoft.com/office/drawing/2014/main" id="{003AF10E-3898-88B4-FADF-E909382A8653}"/>
              </a:ext>
            </a:extLst>
          </p:cNvPr>
          <p:cNvSpPr txBox="1"/>
          <p:nvPr/>
        </p:nvSpPr>
        <p:spPr>
          <a:xfrm>
            <a:off x="6995508" y="6482659"/>
            <a:ext cx="4910741" cy="45719"/>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rtlCol="0">
            <a:noAutofit/>
          </a:bodyPr>
          <a:lstStyle/>
          <a:p>
            <a:pPr algn="l" defTabSz="2438400">
              <a:spcBef>
                <a:spcPts val="2900"/>
              </a:spcBef>
              <a:buSzPct val="100000"/>
            </a:pPr>
            <a:r>
              <a:rPr lang="en-US" sz="1400" kern="0">
                <a:solidFill>
                  <a:srgbClr val="000000"/>
                </a:solidFill>
                <a:ea typeface="+mj-ea"/>
                <a:cs typeface="+mj-cs"/>
                <a:sym typeface="IBM Plex Sans Light"/>
              </a:rPr>
              <a:t>* Power App will be part of future phases.</a:t>
            </a:r>
          </a:p>
        </p:txBody>
      </p:sp>
    </p:spTree>
    <p:extLst>
      <p:ext uri="{BB962C8B-B14F-4D97-AF65-F5344CB8AC3E}">
        <p14:creationId xmlns:p14="http://schemas.microsoft.com/office/powerpoint/2010/main" val="367496141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5D6EE85-A9BA-8C28-A926-D2CFCCA107FF}"/>
              </a:ext>
            </a:extLst>
          </p:cNvPr>
          <p:cNvSpPr/>
          <p:nvPr/>
        </p:nvSpPr>
        <p:spPr>
          <a:xfrm>
            <a:off x="0" y="1337168"/>
            <a:ext cx="5953126" cy="5520832"/>
          </a:xfrm>
          <a:prstGeom prst="rect">
            <a:avLst/>
          </a:prstGeom>
          <a:solidFill>
            <a:schemeClr val="accent2">
              <a:lumMod val="20000"/>
              <a:lumOff val="80000"/>
            </a:schemeClr>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chemeClr val="bg1"/>
              </a:solidFill>
              <a:effectLst/>
              <a:uLnTx/>
              <a:uFillTx/>
              <a:latin typeface="+mj-lt"/>
              <a:ea typeface="+mn-ea"/>
              <a:cs typeface="+mn-cs"/>
            </a:endParaRPr>
          </a:p>
        </p:txBody>
      </p:sp>
      <p:sp>
        <p:nvSpPr>
          <p:cNvPr id="4" name="TextBox 3">
            <a:extLst>
              <a:ext uri="{FF2B5EF4-FFF2-40B4-BE49-F238E27FC236}">
                <a16:creationId xmlns:a16="http://schemas.microsoft.com/office/drawing/2014/main" id="{425D13EB-AF29-995E-291F-764659BFDAED}"/>
              </a:ext>
            </a:extLst>
          </p:cNvPr>
          <p:cNvSpPr txBox="1"/>
          <p:nvPr/>
        </p:nvSpPr>
        <p:spPr>
          <a:xfrm>
            <a:off x="1918111" y="1156307"/>
            <a:ext cx="2116904" cy="340519"/>
          </a:xfrm>
          <a:prstGeom prst="round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mj-lt"/>
                <a:ea typeface="+mn-ea"/>
                <a:cs typeface="+mn-cs"/>
              </a:rPr>
              <a:t>Power Platform</a:t>
            </a:r>
            <a:endParaRPr kumimoji="0" lang="en-IN" sz="1400" b="0" i="0" u="none" strike="noStrike" kern="1200" cap="none" spc="0" normalizeH="0" baseline="0" noProof="0">
              <a:ln>
                <a:noFill/>
              </a:ln>
              <a:solidFill>
                <a:srgbClr val="FFFFFF"/>
              </a:solidFill>
              <a:effectLst/>
              <a:uLnTx/>
              <a:uFillTx/>
              <a:latin typeface="+mj-lt"/>
              <a:ea typeface="+mn-ea"/>
              <a:cs typeface="+mn-cs"/>
            </a:endParaRPr>
          </a:p>
        </p:txBody>
      </p:sp>
      <p:sp>
        <p:nvSpPr>
          <p:cNvPr id="7" name="TextBox 6">
            <a:extLst>
              <a:ext uri="{FF2B5EF4-FFF2-40B4-BE49-F238E27FC236}">
                <a16:creationId xmlns:a16="http://schemas.microsoft.com/office/drawing/2014/main" id="{8EA0F6D5-1C51-D87C-348B-4E867EBC16B7}"/>
              </a:ext>
            </a:extLst>
          </p:cNvPr>
          <p:cNvSpPr txBox="1"/>
          <p:nvPr/>
        </p:nvSpPr>
        <p:spPr>
          <a:xfrm>
            <a:off x="426913" y="1479474"/>
            <a:ext cx="5280916" cy="4447371"/>
          </a:xfrm>
          <a:prstGeom prst="rect">
            <a:avLst/>
          </a:prstGeom>
          <a:noFill/>
        </p:spPr>
        <p:txBody>
          <a:bodyPr wrap="square" lIns="91440" tIns="45720" rIns="91440" bIns="45720" rtlCol="0" anchor="t">
            <a:spAutoFit/>
          </a:bodyPr>
          <a:lstStyle/>
          <a:p>
            <a:pPr marR="0" lvl="0" algn="l" defTabSz="914400" rtl="0" eaLnBrk="1" fontAlgn="auto" latinLnBrk="0" hangingPunct="1">
              <a:lnSpc>
                <a:spcPct val="100000"/>
              </a:lnSpc>
              <a:spcBef>
                <a:spcPts val="0"/>
              </a:spcBef>
              <a:spcAft>
                <a:spcPts val="600"/>
              </a:spcAft>
              <a:buClrTx/>
              <a:buSzTx/>
              <a:tabLst/>
              <a:defRPr/>
            </a:pPr>
            <a:r>
              <a:rPr lang="en-US" sz="1400" b="1">
                <a:solidFill>
                  <a:schemeClr val="accent6">
                    <a:lumMod val="75000"/>
                  </a:schemeClr>
                </a:solidFill>
                <a:latin typeface="+mj-lt"/>
                <a:ea typeface="Calibri" panose="020F0502020204030204" pitchFamily="34" charset="0"/>
                <a:cs typeface="Calibri" panose="020F0502020204030204" pitchFamily="34" charset="0"/>
              </a:rPr>
              <a:t>Pros</a:t>
            </a:r>
          </a:p>
          <a:p>
            <a:pPr marL="285750" marR="0" lvl="0"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50" b="1" i="0" u="none" strike="noStrike" kern="1200" cap="none" spc="0" normalizeH="0" baseline="0" noProof="0">
                <a:ln>
                  <a:noFill/>
                </a:ln>
                <a:solidFill>
                  <a:schemeClr val="accent6">
                    <a:lumMod val="10000"/>
                  </a:schemeClr>
                </a:solidFill>
                <a:effectLst/>
                <a:uLnTx/>
                <a:uFillTx/>
                <a:latin typeface="+mj-lt"/>
                <a:ea typeface="Calibri" panose="020F0502020204030204" pitchFamily="34" charset="0"/>
                <a:cs typeface="Calibri" panose="020F0502020204030204" pitchFamily="34" charset="0"/>
              </a:rPr>
              <a:t>Low-Code Platform:</a:t>
            </a:r>
          </a:p>
          <a:p>
            <a:pPr marL="741600" lvl="1" indent="-284400">
              <a:spcAft>
                <a:spcPts val="300"/>
              </a:spcAft>
              <a:buFont typeface="Arial" panose="020B0604020202020204" pitchFamily="34" charset="0"/>
              <a:buChar char="•"/>
              <a:defRPr/>
            </a:pPr>
            <a:r>
              <a:rPr kumimoji="0" lang="en-US" sz="1050" i="0" u="none" strike="noStrike" kern="1200" cap="none" spc="0" normalizeH="0" baseline="0" noProof="0">
                <a:ln>
                  <a:noFill/>
                </a:ln>
                <a:solidFill>
                  <a:schemeClr val="accent6">
                    <a:lumMod val="10000"/>
                  </a:schemeClr>
                </a:solidFill>
                <a:effectLst/>
                <a:uLnTx/>
                <a:uFillTx/>
                <a:latin typeface="+mj-lt"/>
                <a:ea typeface="Calibri" panose="020F0502020204030204" pitchFamily="34" charset="0"/>
                <a:cs typeface="Calibri" panose="020F0502020204030204" pitchFamily="34" charset="0"/>
              </a:rPr>
              <a:t>Ideal for non-developers or those with minimal  coding skills.</a:t>
            </a:r>
          </a:p>
          <a:p>
            <a:pPr marL="741600" lvl="1" indent="-284400">
              <a:spcAft>
                <a:spcPts val="300"/>
              </a:spcAft>
              <a:buFont typeface="Arial" panose="020B0604020202020204" pitchFamily="34" charset="0"/>
              <a:buChar char="•"/>
              <a:defRPr/>
            </a:pPr>
            <a:r>
              <a:rPr kumimoji="0" lang="en-US" sz="1050" i="0" u="none" strike="noStrike" kern="1200" cap="none" spc="0" normalizeH="0" baseline="0" noProof="0">
                <a:ln>
                  <a:noFill/>
                </a:ln>
                <a:solidFill>
                  <a:schemeClr val="accent6">
                    <a:lumMod val="10000"/>
                  </a:schemeClr>
                </a:solidFill>
                <a:effectLst/>
                <a:uLnTx/>
                <a:uFillTx/>
                <a:latin typeface="+mj-lt"/>
                <a:ea typeface="Calibri" panose="020F0502020204030204" pitchFamily="34" charset="0"/>
                <a:cs typeface="Calibri" panose="020F0502020204030204" pitchFamily="34" charset="0"/>
              </a:rPr>
              <a:t>Drag-and-drop interface for building apps quickly.</a:t>
            </a:r>
          </a:p>
          <a:p>
            <a:pPr marL="741600" lvl="1" indent="-284400">
              <a:spcAft>
                <a:spcPts val="300"/>
              </a:spcAft>
              <a:buFont typeface="Arial" panose="020B0604020202020204" pitchFamily="34" charset="0"/>
              <a:buChar char="•"/>
              <a:defRPr/>
            </a:pPr>
            <a:r>
              <a:rPr lang="en-US" sz="1050">
                <a:solidFill>
                  <a:schemeClr val="accent6">
                    <a:lumMod val="10000"/>
                  </a:schemeClr>
                </a:solidFill>
                <a:latin typeface="+mj-lt"/>
                <a:ea typeface="Calibri" panose="020F0502020204030204" pitchFamily="34" charset="0"/>
                <a:cs typeface="Calibri" panose="020F0502020204030204" pitchFamily="34" charset="0"/>
              </a:rPr>
              <a:t>Extensive templates and pre-built components</a:t>
            </a:r>
            <a:endParaRPr kumimoji="0" lang="en-US" sz="1050" i="0" u="none" strike="noStrike" kern="1200" cap="none" spc="0" normalizeH="0" baseline="0" noProof="0">
              <a:ln>
                <a:noFill/>
              </a:ln>
              <a:solidFill>
                <a:schemeClr val="accent6">
                  <a:lumMod val="10000"/>
                </a:schemeClr>
              </a:solidFill>
              <a:effectLst/>
              <a:uLnTx/>
              <a:uFillTx/>
              <a:latin typeface="+mj-lt"/>
              <a:ea typeface="Calibri" panose="020F0502020204030204" pitchFamily="34" charset="0"/>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50" b="1" i="0" u="none" strike="noStrike" kern="1200" cap="none" spc="0" normalizeH="0" baseline="0" noProof="0">
                <a:ln>
                  <a:noFill/>
                </a:ln>
                <a:solidFill>
                  <a:schemeClr val="accent6">
                    <a:lumMod val="10000"/>
                  </a:schemeClr>
                </a:solidFill>
                <a:effectLst/>
                <a:uLnTx/>
                <a:uFillTx/>
                <a:latin typeface="+mj-lt"/>
                <a:ea typeface="Calibri" panose="020F0502020204030204" pitchFamily="34" charset="0"/>
                <a:cs typeface="Calibri" panose="020F0502020204030204" pitchFamily="34" charset="0"/>
              </a:rPr>
              <a:t>Integration </a:t>
            </a:r>
            <a:r>
              <a:rPr lang="en-US" sz="1050" b="1">
                <a:solidFill>
                  <a:schemeClr val="accent6">
                    <a:lumMod val="10000"/>
                  </a:schemeClr>
                </a:solidFill>
                <a:latin typeface="+mj-lt"/>
                <a:ea typeface="Calibri" panose="020F0502020204030204" pitchFamily="34" charset="0"/>
                <a:cs typeface="Calibri" panose="020F0502020204030204" pitchFamily="34" charset="0"/>
              </a:rPr>
              <a:t>with</a:t>
            </a:r>
            <a:r>
              <a:rPr kumimoji="0" lang="en-US" sz="1050" b="1" i="0" u="none" strike="noStrike" kern="1200" cap="none" spc="0" normalizeH="0" baseline="0" noProof="0">
                <a:ln>
                  <a:noFill/>
                </a:ln>
                <a:solidFill>
                  <a:schemeClr val="accent6">
                    <a:lumMod val="10000"/>
                  </a:schemeClr>
                </a:solidFill>
                <a:effectLst/>
                <a:uLnTx/>
                <a:uFillTx/>
                <a:latin typeface="+mj-lt"/>
                <a:ea typeface="Calibri" panose="020F0502020204030204" pitchFamily="34" charset="0"/>
                <a:cs typeface="Calibri" panose="020F0502020204030204" pitchFamily="34" charset="0"/>
              </a:rPr>
              <a:t> Microsoft Ecosystem: </a:t>
            </a:r>
          </a:p>
          <a:p>
            <a:pPr marL="742950" lvl="1" indent="-285750">
              <a:spcAft>
                <a:spcPts val="300"/>
              </a:spcAft>
              <a:buFont typeface="Arial" panose="020B0604020202020204" pitchFamily="34" charset="0"/>
              <a:buChar char="•"/>
              <a:defRPr/>
            </a:pPr>
            <a:r>
              <a:rPr kumimoji="0" lang="en-US" sz="1050" i="0" u="none" strike="noStrike" kern="1200" cap="none" spc="0" normalizeH="0" baseline="0" noProof="0">
                <a:ln>
                  <a:noFill/>
                </a:ln>
                <a:solidFill>
                  <a:schemeClr val="accent6">
                    <a:lumMod val="10000"/>
                  </a:schemeClr>
                </a:solidFill>
                <a:effectLst/>
                <a:uLnTx/>
                <a:uFillTx/>
                <a:latin typeface="+mj-lt"/>
                <a:ea typeface="Calibri" panose="020F0502020204030204" pitchFamily="34" charset="0"/>
                <a:cs typeface="Calibri" panose="020F0502020204030204" pitchFamily="34" charset="0"/>
              </a:rPr>
              <a:t>Seamless integration with Microsoft services like SharePoint, Dynamics 365, Office 365, and Azure.</a:t>
            </a:r>
          </a:p>
          <a:p>
            <a:pPr marL="285750" marR="0" lvl="0"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50" b="1" i="0" u="none" strike="noStrike" kern="1200" cap="none" spc="0" normalizeH="0" baseline="0" noProof="0">
                <a:ln>
                  <a:noFill/>
                </a:ln>
                <a:solidFill>
                  <a:schemeClr val="accent6">
                    <a:lumMod val="10000"/>
                  </a:schemeClr>
                </a:solidFill>
                <a:effectLst/>
                <a:uLnTx/>
                <a:uFillTx/>
                <a:latin typeface="+mj-lt"/>
                <a:ea typeface="Calibri" panose="020F0502020204030204" pitchFamily="34" charset="0"/>
                <a:cs typeface="Calibri" panose="020F0502020204030204" pitchFamily="34" charset="0"/>
              </a:rPr>
              <a:t>Rapid Development:</a:t>
            </a:r>
          </a:p>
          <a:p>
            <a:pPr marL="742950" lvl="1" indent="-285750">
              <a:spcAft>
                <a:spcPts val="300"/>
              </a:spcAft>
              <a:buFont typeface="Arial" panose="020B0604020202020204" pitchFamily="34" charset="0"/>
              <a:buChar char="•"/>
              <a:defRPr/>
            </a:pPr>
            <a:r>
              <a:rPr kumimoji="0" lang="en-US" sz="1050" i="0" u="none" strike="noStrike" kern="1200" cap="none" spc="0" normalizeH="0" baseline="0" noProof="0">
                <a:ln>
                  <a:noFill/>
                </a:ln>
                <a:solidFill>
                  <a:schemeClr val="accent6">
                    <a:lumMod val="10000"/>
                  </a:schemeClr>
                </a:solidFill>
                <a:effectLst/>
                <a:uLnTx/>
                <a:uFillTx/>
                <a:latin typeface="+mj-lt"/>
                <a:ea typeface="Calibri" panose="020F0502020204030204" pitchFamily="34" charset="0"/>
                <a:cs typeface="Calibri" panose="020F0502020204030204" pitchFamily="34" charset="0"/>
              </a:rPr>
              <a:t>Speeds up the development of business applications for internal use.</a:t>
            </a:r>
          </a:p>
          <a:p>
            <a:pPr marL="285750" marR="0" lvl="0"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50" b="1" i="0" u="none" strike="noStrike" kern="1200" cap="none" spc="0" normalizeH="0" baseline="0" noProof="0">
                <a:ln>
                  <a:noFill/>
                </a:ln>
                <a:solidFill>
                  <a:schemeClr val="accent6">
                    <a:lumMod val="10000"/>
                  </a:schemeClr>
                </a:solidFill>
                <a:effectLst/>
                <a:uLnTx/>
                <a:uFillTx/>
                <a:latin typeface="+mj-lt"/>
                <a:ea typeface="Calibri" panose="020F0502020204030204" pitchFamily="34" charset="0"/>
                <a:cs typeface="Calibri" panose="020F0502020204030204" pitchFamily="34" charset="0"/>
              </a:rPr>
              <a:t>Built-in Data Connectors: </a:t>
            </a:r>
          </a:p>
          <a:p>
            <a:pPr marL="742950" lvl="1" indent="-285750">
              <a:spcAft>
                <a:spcPts val="300"/>
              </a:spcAft>
              <a:buFont typeface="Arial" panose="020B0604020202020204" pitchFamily="34" charset="0"/>
              <a:buChar char="•"/>
              <a:defRPr/>
            </a:pPr>
            <a:r>
              <a:rPr kumimoji="0" lang="en-US" sz="1050" i="0" u="none" strike="noStrike" kern="1200" cap="none" spc="0" normalizeH="0" baseline="0" noProof="0">
                <a:ln>
                  <a:noFill/>
                </a:ln>
                <a:solidFill>
                  <a:schemeClr val="accent6">
                    <a:lumMod val="10000"/>
                  </a:schemeClr>
                </a:solidFill>
                <a:effectLst/>
                <a:uLnTx/>
                <a:uFillTx/>
                <a:latin typeface="+mj-lt"/>
                <a:ea typeface="Calibri" panose="020F0502020204030204" pitchFamily="34" charset="0"/>
                <a:cs typeface="Calibri" panose="020F0502020204030204" pitchFamily="34" charset="0"/>
              </a:rPr>
              <a:t>Has multiple built in connectors to popular third-party and Microsoft services (e.g., Salesforce, SQL Server, etc.).</a:t>
            </a:r>
          </a:p>
          <a:p>
            <a:pPr marL="285750" marR="0" lvl="0"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50" b="1" i="0" u="none" strike="noStrike" kern="1200" cap="none" spc="0" normalizeH="0" baseline="0" noProof="0">
                <a:ln>
                  <a:noFill/>
                </a:ln>
                <a:solidFill>
                  <a:schemeClr val="accent6">
                    <a:lumMod val="10000"/>
                  </a:schemeClr>
                </a:solidFill>
                <a:effectLst/>
                <a:uLnTx/>
                <a:uFillTx/>
                <a:latin typeface="+mj-lt"/>
                <a:ea typeface="Calibri" panose="020F0502020204030204" pitchFamily="34" charset="0"/>
                <a:cs typeface="Calibri" panose="020F0502020204030204" pitchFamily="34" charset="0"/>
              </a:rPr>
              <a:t>Cost:</a:t>
            </a:r>
          </a:p>
          <a:p>
            <a:pPr marL="742950" lvl="1" indent="-285750">
              <a:spcAft>
                <a:spcPts val="300"/>
              </a:spcAft>
              <a:buFont typeface="Arial" panose="020B0604020202020204" pitchFamily="34" charset="0"/>
              <a:buChar char="•"/>
              <a:defRPr/>
            </a:pPr>
            <a:r>
              <a:rPr lang="en-US" sz="1050">
                <a:solidFill>
                  <a:schemeClr val="accent6">
                    <a:lumMod val="10000"/>
                  </a:schemeClr>
                </a:solidFill>
                <a:latin typeface="+mj-lt"/>
                <a:ea typeface="Calibri" panose="020F0502020204030204" pitchFamily="34" charset="0"/>
                <a:cs typeface="Calibri" panose="020F0502020204030204" pitchFamily="34" charset="0"/>
              </a:rPr>
              <a:t>No additional licenses required apart from standard PBI licenses (Coty have confirmed all users have E5 </a:t>
            </a:r>
            <a:r>
              <a:rPr lang="en-US" sz="1050" err="1">
                <a:solidFill>
                  <a:schemeClr val="accent6">
                    <a:lumMod val="10000"/>
                  </a:schemeClr>
                </a:solidFill>
                <a:latin typeface="+mj-lt"/>
                <a:ea typeface="Calibri" panose="020F0502020204030204" pitchFamily="34" charset="0"/>
                <a:cs typeface="Calibri" panose="020F0502020204030204" pitchFamily="34" charset="0"/>
              </a:rPr>
              <a:t>licences</a:t>
            </a:r>
            <a:r>
              <a:rPr lang="en-US" sz="1050">
                <a:solidFill>
                  <a:schemeClr val="accent6">
                    <a:lumMod val="10000"/>
                  </a:schemeClr>
                </a:solidFill>
                <a:latin typeface="+mj-lt"/>
                <a:ea typeface="Calibri" panose="020F0502020204030204" pitchFamily="34" charset="0"/>
                <a:cs typeface="Calibri" panose="020F0502020204030204" pitchFamily="34" charset="0"/>
              </a:rPr>
              <a:t>)</a:t>
            </a:r>
            <a:endParaRPr kumimoji="0" lang="en-US" sz="1050" i="0" u="none" strike="noStrike" kern="1200" cap="none" spc="0" normalizeH="0" baseline="0" noProof="0">
              <a:ln>
                <a:noFill/>
              </a:ln>
              <a:solidFill>
                <a:schemeClr val="accent6">
                  <a:lumMod val="10000"/>
                </a:schemeClr>
              </a:solidFill>
              <a:effectLst/>
              <a:uLnTx/>
              <a:uFillTx/>
              <a:latin typeface="+mj-lt"/>
              <a:ea typeface="Calibri" panose="020F0502020204030204" pitchFamily="34" charset="0"/>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50" b="1" i="0" u="none" strike="noStrike" kern="1200" cap="none" spc="0" normalizeH="0" baseline="0" noProof="0">
                <a:ln>
                  <a:noFill/>
                </a:ln>
                <a:solidFill>
                  <a:schemeClr val="accent6">
                    <a:lumMod val="10000"/>
                  </a:schemeClr>
                </a:solidFill>
                <a:effectLst/>
                <a:uLnTx/>
                <a:uFillTx/>
                <a:latin typeface="+mj-lt"/>
                <a:ea typeface="Calibri" panose="020F0502020204030204" pitchFamily="34" charset="0"/>
                <a:cs typeface="Calibri" panose="020F0502020204030204" pitchFamily="34" charset="0"/>
              </a:rPr>
              <a:t>Ease of Support:</a:t>
            </a:r>
          </a:p>
          <a:p>
            <a:pPr marL="742950" lvl="1" indent="-285750">
              <a:spcAft>
                <a:spcPts val="300"/>
              </a:spcAft>
              <a:buFont typeface="Arial" panose="020B0604020202020204" pitchFamily="34" charset="0"/>
              <a:buChar char="•"/>
              <a:defRPr/>
            </a:pPr>
            <a:r>
              <a:rPr lang="en-US" sz="1050">
                <a:solidFill>
                  <a:schemeClr val="accent6">
                    <a:lumMod val="10000"/>
                  </a:schemeClr>
                </a:solidFill>
                <a:latin typeface="+mj-lt"/>
                <a:ea typeface="Calibri" panose="020F0502020204030204" pitchFamily="34" charset="0"/>
                <a:cs typeface="Calibri" panose="020F0502020204030204" pitchFamily="34" charset="0"/>
              </a:rPr>
              <a:t>Existing Coty support team for Power Platforms, and user familiarity with UX</a:t>
            </a:r>
          </a:p>
          <a:p>
            <a:pPr marR="0" lvl="0" algn="l" defTabSz="914400" rtl="0" eaLnBrk="1" fontAlgn="auto" latinLnBrk="0" hangingPunct="1">
              <a:lnSpc>
                <a:spcPct val="100000"/>
              </a:lnSpc>
              <a:spcBef>
                <a:spcPts val="0"/>
              </a:spcBef>
              <a:spcAft>
                <a:spcPts val="300"/>
              </a:spcAft>
              <a:buClrTx/>
              <a:buSzTx/>
              <a:tabLst/>
              <a:defRPr/>
            </a:pPr>
            <a:r>
              <a:rPr kumimoji="0" lang="en-US" sz="1400" b="1" i="0" u="none" strike="noStrike" kern="1200" cap="none" spc="0" normalizeH="0" baseline="0" noProof="0">
                <a:ln>
                  <a:noFill/>
                </a:ln>
                <a:solidFill>
                  <a:schemeClr val="accent6">
                    <a:lumMod val="75000"/>
                  </a:schemeClr>
                </a:solidFill>
                <a:effectLst/>
                <a:uLnTx/>
                <a:uFillTx/>
                <a:latin typeface="+mj-lt"/>
                <a:ea typeface="Calibri" panose="020F0502020204030204" pitchFamily="34" charset="0"/>
                <a:cs typeface="Calibri" panose="020F0502020204030204" pitchFamily="34" charset="0"/>
              </a:rPr>
              <a:t>Cons</a:t>
            </a:r>
          </a:p>
          <a:p>
            <a:pPr marL="742950" lvl="1" indent="-285750">
              <a:spcAft>
                <a:spcPts val="300"/>
              </a:spcAft>
              <a:buFont typeface="Arial" panose="020B0604020202020204" pitchFamily="34" charset="0"/>
              <a:buChar char="•"/>
              <a:defRPr/>
            </a:pPr>
            <a:r>
              <a:rPr lang="en-US" sz="1050">
                <a:solidFill>
                  <a:schemeClr val="accent6">
                    <a:lumMod val="10000"/>
                  </a:schemeClr>
                </a:solidFill>
                <a:latin typeface="+mj-lt"/>
                <a:ea typeface="Calibri"/>
                <a:cs typeface="Calibri"/>
              </a:rPr>
              <a:t>Restricted flexibility for complex or highly customized UI-solutions compared to ReactJS.</a:t>
            </a:r>
          </a:p>
          <a:p>
            <a:pPr marL="742950" lvl="1" indent="-285750">
              <a:spcAft>
                <a:spcPts val="300"/>
              </a:spcAft>
              <a:buFont typeface="Arial" panose="020B0604020202020204" pitchFamily="34" charset="0"/>
              <a:buChar char="•"/>
              <a:defRPr/>
            </a:pPr>
            <a:r>
              <a:rPr lang="en-US" sz="1050">
                <a:solidFill>
                  <a:schemeClr val="accent6">
                    <a:lumMod val="10000"/>
                  </a:schemeClr>
                </a:solidFill>
                <a:latin typeface="+mj-lt"/>
                <a:ea typeface="Calibri" panose="020F0502020204030204" pitchFamily="34" charset="0"/>
                <a:cs typeface="Calibri" panose="020F0502020204030204" pitchFamily="34" charset="0"/>
              </a:rPr>
              <a:t>Data refresh rate will be near to real time (not exactly real time)</a:t>
            </a:r>
          </a:p>
        </p:txBody>
      </p:sp>
      <p:sp>
        <p:nvSpPr>
          <p:cNvPr id="8" name="Rectangle 7">
            <a:extLst>
              <a:ext uri="{FF2B5EF4-FFF2-40B4-BE49-F238E27FC236}">
                <a16:creationId xmlns:a16="http://schemas.microsoft.com/office/drawing/2014/main" id="{102DD2C8-71B6-CFBB-8A0B-F9EE873F2F52}"/>
              </a:ext>
            </a:extLst>
          </p:cNvPr>
          <p:cNvSpPr/>
          <p:nvPr/>
        </p:nvSpPr>
        <p:spPr>
          <a:xfrm>
            <a:off x="6096000" y="1306980"/>
            <a:ext cx="5172891" cy="5185260"/>
          </a:xfrm>
          <a:prstGeom prst="rect">
            <a:avLst/>
          </a:prstGeom>
          <a:noFill/>
          <a:ln>
            <a:solidFill>
              <a:schemeClr val="tx1">
                <a:lumMod val="25000"/>
                <a:lumOff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mj-lt"/>
              <a:ea typeface="+mn-ea"/>
              <a:cs typeface="+mn-cs"/>
            </a:endParaRPr>
          </a:p>
        </p:txBody>
      </p:sp>
      <p:sp>
        <p:nvSpPr>
          <p:cNvPr id="9" name="TextBox 8">
            <a:extLst>
              <a:ext uri="{FF2B5EF4-FFF2-40B4-BE49-F238E27FC236}">
                <a16:creationId xmlns:a16="http://schemas.microsoft.com/office/drawing/2014/main" id="{8F81A225-F662-8161-05B6-3F76CC1B0827}"/>
              </a:ext>
            </a:extLst>
          </p:cNvPr>
          <p:cNvSpPr txBox="1"/>
          <p:nvPr/>
        </p:nvSpPr>
        <p:spPr>
          <a:xfrm>
            <a:off x="8064785" y="1153410"/>
            <a:ext cx="2116904" cy="340519"/>
          </a:xfrm>
          <a:prstGeom prst="round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solidFill>
                  <a:srgbClr val="FFFFFF"/>
                </a:solidFill>
                <a:latin typeface="+mj-lt"/>
              </a:rPr>
              <a:t>ReactJS</a:t>
            </a:r>
            <a:endParaRPr kumimoji="0" lang="en-IN" sz="1400" b="0" i="0" u="none" strike="noStrike" kern="1200" cap="none" spc="0" normalizeH="0" baseline="0" noProof="0">
              <a:ln>
                <a:noFill/>
              </a:ln>
              <a:solidFill>
                <a:srgbClr val="FFFFFF"/>
              </a:solidFill>
              <a:effectLst/>
              <a:uLnTx/>
              <a:uFillTx/>
              <a:latin typeface="+mj-lt"/>
              <a:ea typeface="+mn-ea"/>
              <a:cs typeface="+mn-cs"/>
            </a:endParaRPr>
          </a:p>
        </p:txBody>
      </p:sp>
      <p:sp>
        <p:nvSpPr>
          <p:cNvPr id="10" name="TextBox 9">
            <a:extLst>
              <a:ext uri="{FF2B5EF4-FFF2-40B4-BE49-F238E27FC236}">
                <a16:creationId xmlns:a16="http://schemas.microsoft.com/office/drawing/2014/main" id="{57F68571-AC73-3F38-89AC-3CA6E09F4091}"/>
              </a:ext>
            </a:extLst>
          </p:cNvPr>
          <p:cNvSpPr txBox="1"/>
          <p:nvPr/>
        </p:nvSpPr>
        <p:spPr>
          <a:xfrm>
            <a:off x="6355101" y="1479473"/>
            <a:ext cx="5536272" cy="4085734"/>
          </a:xfrm>
          <a:prstGeom prst="rect">
            <a:avLst/>
          </a:prstGeom>
          <a:noFill/>
        </p:spPr>
        <p:txBody>
          <a:bodyPr wrap="square" lIns="91440" tIns="45720" rIns="91440" bIns="45720" rtlCol="0" anchor="t">
            <a:spAutoFit/>
          </a:bodyPr>
          <a:lstStyle/>
          <a:p>
            <a:pPr>
              <a:spcAft>
                <a:spcPts val="600"/>
              </a:spcAft>
              <a:defRPr/>
            </a:pPr>
            <a:r>
              <a:rPr lang="en-US" sz="1400" b="1">
                <a:solidFill>
                  <a:schemeClr val="accent6">
                    <a:lumMod val="75000"/>
                  </a:schemeClr>
                </a:solidFill>
                <a:latin typeface="+mj-lt"/>
                <a:ea typeface="Calibri" panose="020F0502020204030204" pitchFamily="34" charset="0"/>
                <a:cs typeface="Calibri" panose="020F0502020204030204" pitchFamily="34" charset="0"/>
              </a:rPr>
              <a:t>Pros</a:t>
            </a:r>
          </a:p>
          <a:p>
            <a:pPr marL="285750" marR="0" lvl="0"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50" b="1" i="0" u="none" strike="noStrike" kern="1200" cap="none" spc="0" normalizeH="0" baseline="0" noProof="0">
                <a:ln>
                  <a:noFill/>
                </a:ln>
                <a:solidFill>
                  <a:schemeClr val="accent6">
                    <a:lumMod val="10000"/>
                  </a:schemeClr>
                </a:solidFill>
                <a:effectLst/>
                <a:uLnTx/>
                <a:uFillTx/>
                <a:latin typeface="+mj-lt"/>
                <a:ea typeface="Calibri" panose="020F0502020204030204" pitchFamily="34" charset="0"/>
                <a:cs typeface="Calibri" panose="020F0502020204030204" pitchFamily="34" charset="0"/>
              </a:rPr>
              <a:t>Flexibility and Customization:</a:t>
            </a:r>
          </a:p>
          <a:p>
            <a:pPr marL="684000" lvl="1" indent="-284400">
              <a:spcAft>
                <a:spcPts val="300"/>
              </a:spcAft>
              <a:buFont typeface="Arial" panose="020B0604020202020204" pitchFamily="34" charset="0"/>
              <a:buChar char="•"/>
              <a:defRPr/>
            </a:pPr>
            <a:r>
              <a:rPr kumimoji="0" lang="en-US" sz="1050" b="0" i="0" u="none" strike="noStrike" kern="1200" cap="none" spc="0" normalizeH="0" baseline="0" noProof="0">
                <a:ln>
                  <a:noFill/>
                </a:ln>
                <a:solidFill>
                  <a:schemeClr val="accent6">
                    <a:lumMod val="10000"/>
                  </a:schemeClr>
                </a:solidFill>
                <a:effectLst/>
                <a:uLnTx/>
                <a:uFillTx/>
                <a:latin typeface="+mj-lt"/>
                <a:ea typeface="Calibri" panose="020F0502020204030204" pitchFamily="34" charset="0"/>
                <a:cs typeface="Calibri" panose="020F0502020204030204" pitchFamily="34" charset="0"/>
              </a:rPr>
              <a:t> A highly customizable open-source library for building dynamic web apps.</a:t>
            </a:r>
          </a:p>
          <a:p>
            <a:pPr marL="285750" marR="0" lvl="0"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50" b="1" i="0" u="none" strike="noStrike" kern="1200" cap="none" spc="0" normalizeH="0" baseline="0" noProof="0">
                <a:ln>
                  <a:noFill/>
                </a:ln>
                <a:solidFill>
                  <a:schemeClr val="accent6">
                    <a:lumMod val="10000"/>
                  </a:schemeClr>
                </a:solidFill>
                <a:effectLst/>
                <a:uLnTx/>
                <a:uFillTx/>
                <a:latin typeface="+mj-lt"/>
                <a:ea typeface="Calibri" panose="020F0502020204030204" pitchFamily="34" charset="0"/>
                <a:cs typeface="Calibri" panose="020F0502020204030204" pitchFamily="34" charset="0"/>
              </a:rPr>
              <a:t>Reusable Components</a:t>
            </a:r>
            <a:r>
              <a:rPr kumimoji="0" lang="en-US" sz="1050" b="0" i="0" u="none" strike="noStrike" kern="1200" cap="none" spc="0" normalizeH="0" baseline="0" noProof="0">
                <a:ln>
                  <a:noFill/>
                </a:ln>
                <a:solidFill>
                  <a:schemeClr val="accent6">
                    <a:lumMod val="10000"/>
                  </a:schemeClr>
                </a:solidFill>
                <a:effectLst/>
                <a:uLnTx/>
                <a:uFillTx/>
                <a:latin typeface="+mj-lt"/>
                <a:ea typeface="Calibri" panose="020F0502020204030204" pitchFamily="34" charset="0"/>
                <a:cs typeface="Calibri" panose="020F0502020204030204" pitchFamily="34" charset="0"/>
              </a:rPr>
              <a:t>: </a:t>
            </a:r>
          </a:p>
          <a:p>
            <a:pPr marL="742950" lvl="1" indent="-285750">
              <a:spcAft>
                <a:spcPts val="300"/>
              </a:spcAft>
              <a:buFont typeface="Arial" panose="020B0604020202020204" pitchFamily="34" charset="0"/>
              <a:buChar char="•"/>
              <a:defRPr/>
            </a:pPr>
            <a:r>
              <a:rPr kumimoji="0" lang="en-US" sz="1050" b="0" i="0" u="none" strike="noStrike" kern="1200" cap="none" spc="0" normalizeH="0" baseline="0" noProof="0">
                <a:ln>
                  <a:noFill/>
                </a:ln>
                <a:solidFill>
                  <a:schemeClr val="accent6">
                    <a:lumMod val="10000"/>
                  </a:schemeClr>
                </a:solidFill>
                <a:effectLst/>
                <a:uLnTx/>
                <a:uFillTx/>
                <a:latin typeface="+mj-lt"/>
                <a:ea typeface="Calibri" panose="020F0502020204030204" pitchFamily="34" charset="0"/>
                <a:cs typeface="Calibri" panose="020F0502020204030204" pitchFamily="34" charset="0"/>
              </a:rPr>
              <a:t>Encourages code reusability and modular architecture, speeding up development.</a:t>
            </a:r>
          </a:p>
          <a:p>
            <a:pPr marL="285750" marR="0" lvl="0"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50" b="1" i="0" u="none" strike="noStrike" kern="1200" cap="none" spc="0" normalizeH="0" baseline="0" noProof="0">
                <a:ln>
                  <a:noFill/>
                </a:ln>
                <a:solidFill>
                  <a:schemeClr val="accent6">
                    <a:lumMod val="10000"/>
                  </a:schemeClr>
                </a:solidFill>
                <a:effectLst/>
                <a:uLnTx/>
                <a:uFillTx/>
                <a:latin typeface="+mj-lt"/>
                <a:ea typeface="Calibri" panose="020F0502020204030204" pitchFamily="34" charset="0"/>
                <a:cs typeface="Calibri" panose="020F0502020204030204" pitchFamily="34" charset="0"/>
              </a:rPr>
              <a:t>High Performance:</a:t>
            </a:r>
          </a:p>
          <a:p>
            <a:pPr marL="742950" lvl="1" indent="-285750">
              <a:spcAft>
                <a:spcPts val="300"/>
              </a:spcAft>
              <a:buFont typeface="Arial" panose="020B0604020202020204" pitchFamily="34" charset="0"/>
              <a:buChar char="•"/>
              <a:defRPr/>
            </a:pPr>
            <a:r>
              <a:rPr kumimoji="0" lang="en-US" sz="1050" i="0" u="none" strike="noStrike" kern="1200" cap="none" spc="0" normalizeH="0" baseline="0" noProof="0">
                <a:ln>
                  <a:noFill/>
                </a:ln>
                <a:solidFill>
                  <a:schemeClr val="accent6">
                    <a:lumMod val="10000"/>
                  </a:schemeClr>
                </a:solidFill>
                <a:effectLst/>
                <a:uLnTx/>
                <a:uFillTx/>
                <a:latin typeface="+mj-lt"/>
                <a:ea typeface="Calibri" panose="020F0502020204030204" pitchFamily="34" charset="0"/>
                <a:cs typeface="Calibri" panose="020F0502020204030204" pitchFamily="34" charset="0"/>
              </a:rPr>
              <a:t>Efficient rendering using the virtual DOM makes ReactJS suitable for apps with complex UIs with no limitations on scale/magnitude of transaction</a:t>
            </a:r>
          </a:p>
          <a:p>
            <a:pPr marL="285750" marR="0" lvl="0"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50" b="1" i="0" u="none" strike="noStrike" kern="1200" cap="none" spc="0" normalizeH="0" baseline="0" noProof="0">
                <a:ln>
                  <a:noFill/>
                </a:ln>
                <a:solidFill>
                  <a:schemeClr val="accent6">
                    <a:lumMod val="10000"/>
                  </a:schemeClr>
                </a:solidFill>
                <a:effectLst/>
                <a:uLnTx/>
                <a:uFillTx/>
                <a:latin typeface="+mj-lt"/>
                <a:ea typeface="Calibri" panose="020F0502020204030204" pitchFamily="34" charset="0"/>
                <a:cs typeface="Calibri" panose="020F0502020204030204" pitchFamily="34" charset="0"/>
              </a:rPr>
              <a:t>Vast Ecosystem</a:t>
            </a:r>
            <a:r>
              <a:rPr kumimoji="0" lang="en-US" sz="1050" b="0" i="0" u="none" strike="noStrike" kern="1200" cap="none" spc="0" normalizeH="0" baseline="0" noProof="0">
                <a:ln>
                  <a:noFill/>
                </a:ln>
                <a:solidFill>
                  <a:schemeClr val="accent6">
                    <a:lumMod val="10000"/>
                  </a:schemeClr>
                </a:solidFill>
                <a:effectLst/>
                <a:uLnTx/>
                <a:uFillTx/>
                <a:latin typeface="+mj-lt"/>
                <a:ea typeface="Calibri" panose="020F0502020204030204" pitchFamily="34" charset="0"/>
                <a:cs typeface="Calibri" panose="020F0502020204030204" pitchFamily="34" charset="0"/>
              </a:rPr>
              <a:t>: </a:t>
            </a:r>
          </a:p>
          <a:p>
            <a:pPr marL="742950" lvl="1" indent="-285750">
              <a:spcAft>
                <a:spcPts val="300"/>
              </a:spcAft>
              <a:buFont typeface="Arial" panose="020B0604020202020204" pitchFamily="34" charset="0"/>
              <a:buChar char="•"/>
              <a:defRPr/>
            </a:pPr>
            <a:r>
              <a:rPr kumimoji="0" lang="en-US" sz="1050" b="0" i="0" u="none" strike="noStrike" kern="1200" cap="none" spc="0" normalizeH="0" baseline="0" noProof="0">
                <a:ln>
                  <a:noFill/>
                </a:ln>
                <a:solidFill>
                  <a:schemeClr val="accent6">
                    <a:lumMod val="10000"/>
                  </a:schemeClr>
                </a:solidFill>
                <a:effectLst/>
                <a:uLnTx/>
                <a:uFillTx/>
                <a:latin typeface="+mj-lt"/>
                <a:ea typeface="Calibri" panose="020F0502020204030204" pitchFamily="34" charset="0"/>
                <a:cs typeface="Calibri" panose="020F0502020204030204" pitchFamily="34" charset="0"/>
              </a:rPr>
              <a:t>Large community, extensive libraries, and tools to enhance functionality.</a:t>
            </a:r>
          </a:p>
          <a:p>
            <a:pPr marL="285750" marR="0" lvl="0"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50" b="1" i="0" u="none" strike="noStrike" kern="1200" cap="none" spc="0" normalizeH="0" baseline="0" noProof="0">
                <a:ln>
                  <a:noFill/>
                </a:ln>
                <a:solidFill>
                  <a:schemeClr val="accent6">
                    <a:lumMod val="10000"/>
                  </a:schemeClr>
                </a:solidFill>
                <a:effectLst/>
                <a:uLnTx/>
                <a:uFillTx/>
                <a:latin typeface="+mj-lt"/>
                <a:ea typeface="Calibri" panose="020F0502020204030204" pitchFamily="34" charset="0"/>
                <a:cs typeface="Calibri" panose="020F0502020204030204" pitchFamily="34" charset="0"/>
              </a:rPr>
              <a:t>Independent from Ecosystems:</a:t>
            </a:r>
          </a:p>
          <a:p>
            <a:pPr marL="742950" lvl="1" indent="-285750">
              <a:spcAft>
                <a:spcPts val="300"/>
              </a:spcAft>
              <a:buFont typeface="Arial" panose="020B0604020202020204" pitchFamily="34" charset="0"/>
              <a:buChar char="•"/>
              <a:defRPr/>
            </a:pPr>
            <a:r>
              <a:rPr lang="en-US" sz="1050">
                <a:solidFill>
                  <a:schemeClr val="accent6">
                    <a:lumMod val="10000"/>
                  </a:schemeClr>
                </a:solidFill>
                <a:latin typeface="+mj-lt"/>
                <a:ea typeface="Calibri" panose="020F0502020204030204" pitchFamily="34" charset="0"/>
                <a:cs typeface="Calibri" panose="020F0502020204030204" pitchFamily="34" charset="0"/>
              </a:rPr>
              <a:t>Works across any backend or third-party API, avoiding vendor lock-in.</a:t>
            </a:r>
          </a:p>
          <a:p>
            <a:pPr>
              <a:spcAft>
                <a:spcPts val="300"/>
              </a:spcAft>
              <a:defRPr/>
            </a:pPr>
            <a:r>
              <a:rPr lang="en-US" sz="1400" b="1">
                <a:solidFill>
                  <a:schemeClr val="accent6">
                    <a:lumMod val="75000"/>
                  </a:schemeClr>
                </a:solidFill>
                <a:latin typeface="+mj-lt"/>
                <a:ea typeface="Calibri" panose="020F0502020204030204" pitchFamily="34" charset="0"/>
                <a:cs typeface="Calibri" panose="020F0502020204030204" pitchFamily="34" charset="0"/>
              </a:rPr>
              <a:t>Cons</a:t>
            </a:r>
          </a:p>
          <a:p>
            <a:pPr marL="742950" lvl="1" indent="-285750">
              <a:spcAft>
                <a:spcPts val="300"/>
              </a:spcAft>
              <a:buFont typeface="Arial" panose="020B0604020202020204" pitchFamily="34" charset="0"/>
              <a:buChar char="•"/>
              <a:defRPr/>
            </a:pPr>
            <a:r>
              <a:rPr lang="en-US" sz="1050">
                <a:solidFill>
                  <a:schemeClr val="accent6">
                    <a:lumMod val="10000"/>
                  </a:schemeClr>
                </a:solidFill>
                <a:latin typeface="+mj-lt"/>
                <a:ea typeface="Calibri" panose="020F0502020204030204" pitchFamily="34" charset="0"/>
                <a:cs typeface="Calibri" panose="020F0502020204030204" pitchFamily="34" charset="0"/>
              </a:rPr>
              <a:t>Unlike PowerApps, it doesn’t come with built-in data connectors or business-ready components.</a:t>
            </a:r>
          </a:p>
          <a:p>
            <a:pPr marL="742950" lvl="1" indent="-285750">
              <a:spcAft>
                <a:spcPts val="300"/>
              </a:spcAft>
              <a:buFont typeface="Arial" panose="020B0604020202020204" pitchFamily="34" charset="0"/>
              <a:buChar char="•"/>
              <a:defRPr/>
            </a:pPr>
            <a:r>
              <a:rPr lang="en-US" sz="1050">
                <a:solidFill>
                  <a:schemeClr val="accent6">
                    <a:lumMod val="10000"/>
                  </a:schemeClr>
                </a:solidFill>
                <a:latin typeface="+mj-lt"/>
                <a:ea typeface="Calibri" panose="020F0502020204030204" pitchFamily="34" charset="0"/>
                <a:cs typeface="Calibri" panose="020F0502020204030204" pitchFamily="34" charset="0"/>
              </a:rPr>
              <a:t>Requires skilled developers, which can increase costs.</a:t>
            </a:r>
          </a:p>
          <a:p>
            <a:pPr marL="742950" lvl="1" indent="-285750">
              <a:spcAft>
                <a:spcPts val="300"/>
              </a:spcAft>
              <a:buFont typeface="Arial" panose="020B0604020202020204" pitchFamily="34" charset="0"/>
              <a:buChar char="•"/>
              <a:defRPr/>
            </a:pPr>
            <a:r>
              <a:rPr lang="en-US" sz="1050">
                <a:solidFill>
                  <a:schemeClr val="accent6">
                    <a:lumMod val="10000"/>
                  </a:schemeClr>
                </a:solidFill>
                <a:latin typeface="+mj-lt"/>
                <a:ea typeface="Calibri" panose="020F0502020204030204" pitchFamily="34" charset="0"/>
                <a:cs typeface="Calibri" panose="020F0502020204030204" pitchFamily="34" charset="0"/>
              </a:rPr>
              <a:t>Custom solutions take longer to develop compared to PowerApps' low-code approach.</a:t>
            </a:r>
          </a:p>
          <a:p>
            <a:pPr marL="285750" marR="0" lvl="0"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50" b="1" i="0" u="none" strike="noStrike" kern="1200" cap="none" spc="0" normalizeH="0" baseline="0" noProof="0">
                <a:ln>
                  <a:noFill/>
                </a:ln>
                <a:solidFill>
                  <a:schemeClr val="accent6">
                    <a:lumMod val="10000"/>
                  </a:schemeClr>
                </a:solidFill>
                <a:effectLst/>
                <a:uLnTx/>
                <a:uFillTx/>
                <a:latin typeface="+mj-lt"/>
                <a:ea typeface="Calibri" panose="020F0502020204030204" pitchFamily="34" charset="0"/>
                <a:cs typeface="Calibri" panose="020F0502020204030204" pitchFamily="34" charset="0"/>
              </a:rPr>
              <a:t>Cost:</a:t>
            </a:r>
          </a:p>
          <a:p>
            <a:pPr marL="742950" lvl="1" indent="-285750">
              <a:spcAft>
                <a:spcPts val="300"/>
              </a:spcAft>
              <a:buFont typeface="Arial" panose="020B0604020202020204" pitchFamily="34" charset="0"/>
              <a:buChar char="•"/>
              <a:defRPr/>
            </a:pPr>
            <a:r>
              <a:rPr lang="en-US" sz="1050">
                <a:solidFill>
                  <a:schemeClr val="accent6">
                    <a:lumMod val="10000"/>
                  </a:schemeClr>
                </a:solidFill>
                <a:latin typeface="+mj-lt"/>
                <a:ea typeface="Calibri" panose="020F0502020204030204" pitchFamily="34" charset="0"/>
                <a:cs typeface="Calibri" panose="020F0502020204030204" pitchFamily="34" charset="0"/>
              </a:rPr>
              <a:t>Additional infrastructure cost for deploying services needed</a:t>
            </a:r>
            <a:endParaRPr kumimoji="0" lang="en-US" sz="1050" i="0" u="none" strike="noStrike" kern="1200" cap="none" spc="0" normalizeH="0" baseline="0" noProof="0">
              <a:ln>
                <a:noFill/>
              </a:ln>
              <a:solidFill>
                <a:schemeClr val="accent6">
                  <a:lumMod val="10000"/>
                </a:schemeClr>
              </a:solidFill>
              <a:effectLst/>
              <a:uLnTx/>
              <a:uFillTx/>
              <a:latin typeface="+mj-lt"/>
              <a:ea typeface="Calibri" panose="020F0502020204030204" pitchFamily="34" charset="0"/>
              <a:cs typeface="Calibri" panose="020F0502020204030204" pitchFamily="34" charset="0"/>
            </a:endParaRPr>
          </a:p>
        </p:txBody>
      </p:sp>
      <p:sp>
        <p:nvSpPr>
          <p:cNvPr id="11" name="TextBox 68">
            <a:extLst>
              <a:ext uri="{FF2B5EF4-FFF2-40B4-BE49-F238E27FC236}">
                <a16:creationId xmlns:a16="http://schemas.microsoft.com/office/drawing/2014/main" id="{9A7FF3D1-B018-D206-6654-47315FDD97C1}"/>
              </a:ext>
            </a:extLst>
          </p:cNvPr>
          <p:cNvSpPr txBox="1"/>
          <p:nvPr/>
        </p:nvSpPr>
        <p:spPr>
          <a:xfrm>
            <a:off x="339904" y="770605"/>
            <a:ext cx="11512192" cy="307777"/>
          </a:xfrm>
          <a:prstGeom prst="rect">
            <a:avLst/>
          </a:prstGeom>
          <a:noFill/>
          <a:ln>
            <a:noFill/>
          </a:ln>
        </p:spPr>
        <p:txBody>
          <a:bodyPr wrap="square" lIns="91440" tIns="45720" rIns="91440" bIns="45720" anchor="t">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u="none" strike="noStrike" kern="0" cap="none" spc="0" normalizeH="0" baseline="0" noProof="0">
                <a:ln>
                  <a:noFill/>
                </a:ln>
                <a:solidFill>
                  <a:srgbClr val="000000"/>
                </a:solidFill>
                <a:effectLst/>
                <a:uLnTx/>
                <a:uFillTx/>
                <a:latin typeface="+mj-lt"/>
                <a:ea typeface="+mn-ea"/>
                <a:cs typeface="Arial"/>
              </a:rPr>
              <a:t>We have considered COTY’s requirements and the technology options, and below is our assessment and recommendation </a:t>
            </a:r>
          </a:p>
        </p:txBody>
      </p:sp>
      <p:sp>
        <p:nvSpPr>
          <p:cNvPr id="14" name="Title 1">
            <a:extLst>
              <a:ext uri="{FF2B5EF4-FFF2-40B4-BE49-F238E27FC236}">
                <a16:creationId xmlns:a16="http://schemas.microsoft.com/office/drawing/2014/main" id="{4A7CC34D-2475-594A-90FC-1369C97B65FA}"/>
              </a:ext>
            </a:extLst>
          </p:cNvPr>
          <p:cNvSpPr txBox="1">
            <a:spLocks/>
          </p:cNvSpPr>
          <p:nvPr/>
        </p:nvSpPr>
        <p:spPr>
          <a:xfrm>
            <a:off x="288555" y="299392"/>
            <a:ext cx="11606656" cy="386603"/>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73152" rIns="0" bIns="0"/>
          <a:lstStyle>
            <a:lvl1pPr marL="0" marR="0" indent="0" algn="l" defTabSz="1218948" rtl="0" eaLnBrk="1" latinLnBrk="0" hangingPunct="1">
              <a:lnSpc>
                <a:spcPct val="80000"/>
              </a:lnSpc>
              <a:spcBef>
                <a:spcPts val="0"/>
              </a:spcBef>
              <a:spcAft>
                <a:spcPts val="0"/>
              </a:spcAft>
              <a:buClrTx/>
              <a:buSzTx/>
              <a:buFontTx/>
              <a:buNone/>
              <a:tabLst/>
              <a:defRPr sz="3500" b="0" i="0" u="none" strike="noStrike" cap="none" spc="0" baseline="0">
                <a:solidFill>
                  <a:schemeClr val="bg1"/>
                </a:solidFill>
                <a:uFillTx/>
                <a:latin typeface="Aptos Light" panose="020B0004020202020204" pitchFamily="34" charset="0"/>
                <a:ea typeface="+mj-ea"/>
                <a:cs typeface="+mj-cs"/>
                <a:sym typeface="IBM Plex Sans Light"/>
              </a:defRPr>
            </a:lvl1pPr>
            <a:lvl2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7"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5"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1"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88"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r>
              <a:rPr lang="en-US" kern="0">
                <a:solidFill>
                  <a:srgbClr val="002060"/>
                </a:solidFill>
                <a:latin typeface="+mj-lt"/>
              </a:rPr>
              <a:t>Possible Solution Options and Comparison </a:t>
            </a:r>
          </a:p>
        </p:txBody>
      </p:sp>
      <p:sp>
        <p:nvSpPr>
          <p:cNvPr id="12" name="Rectangle: Rounded Corners 11">
            <a:extLst>
              <a:ext uri="{FF2B5EF4-FFF2-40B4-BE49-F238E27FC236}">
                <a16:creationId xmlns:a16="http://schemas.microsoft.com/office/drawing/2014/main" id="{787CA5FC-BF31-9C8A-31BB-1E79D588B5B1}"/>
              </a:ext>
            </a:extLst>
          </p:cNvPr>
          <p:cNvSpPr/>
          <p:nvPr/>
        </p:nvSpPr>
        <p:spPr bwMode="auto">
          <a:xfrm>
            <a:off x="317686" y="6037292"/>
            <a:ext cx="11420357" cy="664905"/>
          </a:xfrm>
          <a:prstGeom prst="roundRect">
            <a:avLst/>
          </a:prstGeom>
          <a:solidFill>
            <a:schemeClr val="bg1"/>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GB" sz="1400" b="0" i="0" u="none" strike="noStrike" cap="none" normalizeH="0" baseline="0">
              <a:ln>
                <a:noFill/>
              </a:ln>
              <a:solidFill>
                <a:schemeClr val="bg1"/>
              </a:solidFill>
              <a:effectLst/>
              <a:latin typeface="+mn-lt"/>
            </a:endParaRPr>
          </a:p>
        </p:txBody>
      </p:sp>
      <p:sp>
        <p:nvSpPr>
          <p:cNvPr id="6" name="TextBox 68">
            <a:extLst>
              <a:ext uri="{FF2B5EF4-FFF2-40B4-BE49-F238E27FC236}">
                <a16:creationId xmlns:a16="http://schemas.microsoft.com/office/drawing/2014/main" id="{F060ADAB-CD4A-8CEA-757F-7F6DBF99384A}"/>
              </a:ext>
            </a:extLst>
          </p:cNvPr>
          <p:cNvSpPr txBox="1"/>
          <p:nvPr/>
        </p:nvSpPr>
        <p:spPr>
          <a:xfrm>
            <a:off x="339903" y="6035519"/>
            <a:ext cx="11398140" cy="646331"/>
          </a:xfrm>
          <a:prstGeom prst="rect">
            <a:avLst/>
          </a:prstGeom>
          <a:noFill/>
          <a:ln>
            <a:noFill/>
          </a:ln>
        </p:spPr>
        <p:txBody>
          <a:bodyPr wrap="square" lIns="91440" tIns="45720" rIns="91440" bIns="45720" anchor="t">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0" cap="none" spc="0" normalizeH="0" baseline="0" noProof="0">
                <a:ln>
                  <a:noFill/>
                </a:ln>
                <a:solidFill>
                  <a:srgbClr val="00B050"/>
                </a:solidFill>
                <a:effectLst/>
                <a:uLnTx/>
                <a:uFillTx/>
                <a:latin typeface="+mj-lt"/>
                <a:ea typeface="+mn-ea"/>
                <a:cs typeface="Arial"/>
              </a:rPr>
              <a:t>Recommend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1" u="none" strike="noStrike" kern="0" cap="none" spc="0" normalizeH="0" baseline="0" noProof="0">
                <a:ln>
                  <a:noFill/>
                </a:ln>
                <a:effectLst/>
                <a:uLnTx/>
                <a:uFillTx/>
                <a:latin typeface="+mj-lt"/>
                <a:ea typeface="+mn-ea"/>
                <a:cs typeface="Arial"/>
              </a:rPr>
              <a:t>Based on Coty’s requirements</a:t>
            </a:r>
            <a:r>
              <a:rPr lang="en-US" sz="1200" i="1" kern="0">
                <a:latin typeface="+mj-lt"/>
                <a:cs typeface="Arial"/>
              </a:rPr>
              <a:t> and position that a high level of flexibility/customization will not be required, along with a need for a standardized support model, </a:t>
            </a:r>
            <a:r>
              <a:rPr kumimoji="0" lang="en-US" sz="1200" i="1" u="none" strike="noStrike" kern="0" cap="none" spc="0" normalizeH="0" baseline="0" noProof="0">
                <a:ln>
                  <a:noFill/>
                </a:ln>
                <a:effectLst/>
                <a:uLnTx/>
                <a:uFillTx/>
                <a:latin typeface="+mj-lt"/>
                <a:ea typeface="+mn-ea"/>
                <a:cs typeface="Arial"/>
              </a:rPr>
              <a:t>our recommendation is </a:t>
            </a:r>
            <a:r>
              <a:rPr kumimoji="0" lang="en-US" sz="1200" b="1" i="1" u="none" strike="noStrike" kern="0" cap="none" spc="0" normalizeH="0" baseline="0" noProof="0">
                <a:ln>
                  <a:noFill/>
                </a:ln>
                <a:effectLst/>
                <a:uLnTx/>
                <a:uFillTx/>
                <a:latin typeface="+mj-lt"/>
                <a:ea typeface="+mn-ea"/>
                <a:cs typeface="Arial"/>
              </a:rPr>
              <a:t>Power Platform </a:t>
            </a:r>
            <a:r>
              <a:rPr kumimoji="0" lang="en-US" sz="1200" i="1" u="none" strike="noStrike" kern="0" cap="none" spc="0" normalizeH="0" baseline="0" noProof="0">
                <a:ln>
                  <a:noFill/>
                </a:ln>
                <a:effectLst/>
                <a:uLnTx/>
                <a:uFillTx/>
                <a:latin typeface="+mj-lt"/>
                <a:ea typeface="+mn-ea"/>
                <a:cs typeface="Arial"/>
              </a:rPr>
              <a:t>as the solution of choice for this project. This proposal is based on a Power Platform solution </a:t>
            </a:r>
          </a:p>
        </p:txBody>
      </p:sp>
    </p:spTree>
    <p:extLst>
      <p:ext uri="{BB962C8B-B14F-4D97-AF65-F5344CB8AC3E}">
        <p14:creationId xmlns:p14="http://schemas.microsoft.com/office/powerpoint/2010/main" val="113879953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0095C3-B4E1-2B6F-C830-9BCE4E857EE0}"/>
            </a:ext>
          </a:extLst>
        </p:cNvPr>
        <p:cNvGrpSpPr/>
        <p:nvPr/>
      </p:nvGrpSpPr>
      <p:grpSpPr>
        <a:xfrm>
          <a:off x="0" y="0"/>
          <a:ext cx="0" cy="0"/>
          <a:chOff x="0" y="0"/>
          <a:chExt cx="0" cy="0"/>
        </a:xfrm>
      </p:grpSpPr>
      <p:sp>
        <p:nvSpPr>
          <p:cNvPr id="16" name="Rectangle: Rounded Corners 15">
            <a:extLst>
              <a:ext uri="{FF2B5EF4-FFF2-40B4-BE49-F238E27FC236}">
                <a16:creationId xmlns:a16="http://schemas.microsoft.com/office/drawing/2014/main" id="{674BA63F-7D39-4B4E-C82A-1462FB9558AD}"/>
              </a:ext>
            </a:extLst>
          </p:cNvPr>
          <p:cNvSpPr/>
          <p:nvPr/>
        </p:nvSpPr>
        <p:spPr>
          <a:xfrm>
            <a:off x="2204291" y="909164"/>
            <a:ext cx="9880091" cy="1767870"/>
          </a:xfrm>
          <a:prstGeom prst="roundRect">
            <a:avLst>
              <a:gd name="adj" fmla="val 0"/>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bg1"/>
              </a:solidFill>
              <a:latin typeface="Aptos" panose="020B0004020202020204" pitchFamily="34" charset="0"/>
            </a:endParaRPr>
          </a:p>
        </p:txBody>
      </p:sp>
      <p:sp>
        <p:nvSpPr>
          <p:cNvPr id="42" name="Rectangle 41">
            <a:extLst>
              <a:ext uri="{FF2B5EF4-FFF2-40B4-BE49-F238E27FC236}">
                <a16:creationId xmlns:a16="http://schemas.microsoft.com/office/drawing/2014/main" id="{91AA8356-3817-1422-E5D9-862807C99EFC}"/>
              </a:ext>
            </a:extLst>
          </p:cNvPr>
          <p:cNvSpPr/>
          <p:nvPr/>
        </p:nvSpPr>
        <p:spPr bwMode="auto">
          <a:xfrm>
            <a:off x="2204291" y="995927"/>
            <a:ext cx="5387635" cy="1584599"/>
          </a:xfrm>
          <a:prstGeom prst="rect">
            <a:avLst/>
          </a:prstGeom>
          <a:solidFill>
            <a:schemeClr val="tx1"/>
          </a:solidFill>
          <a:ln w="19050">
            <a:noFill/>
            <a:prstDash val="sysDash"/>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bg1"/>
              </a:solidFill>
              <a:effectLst/>
              <a:latin typeface="+mn-lt"/>
            </a:endParaRPr>
          </a:p>
        </p:txBody>
      </p:sp>
      <p:sp>
        <p:nvSpPr>
          <p:cNvPr id="15" name="Rectangle 14">
            <a:extLst>
              <a:ext uri="{FF2B5EF4-FFF2-40B4-BE49-F238E27FC236}">
                <a16:creationId xmlns:a16="http://schemas.microsoft.com/office/drawing/2014/main" id="{2833C2F5-EE08-9963-D0BF-DD4F5D1ACB7B}"/>
              </a:ext>
            </a:extLst>
          </p:cNvPr>
          <p:cNvSpPr/>
          <p:nvPr/>
        </p:nvSpPr>
        <p:spPr>
          <a:xfrm>
            <a:off x="309736" y="901190"/>
            <a:ext cx="1894555" cy="177584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r>
              <a:rPr lang="en-US" b="1">
                <a:solidFill>
                  <a:schemeClr val="bg1"/>
                </a:solidFill>
                <a:latin typeface="Aptos" panose="020B0004020202020204" pitchFamily="34" charset="0"/>
              </a:rPr>
              <a:t>Consumption Layer </a:t>
            </a:r>
          </a:p>
          <a:p>
            <a:r>
              <a:rPr lang="en-US" sz="1200" b="1">
                <a:solidFill>
                  <a:schemeClr val="bg1"/>
                </a:solidFill>
                <a:latin typeface="Aptos" panose="020B0004020202020204" pitchFamily="34" charset="0"/>
              </a:rPr>
              <a:t>(Desktop only)</a:t>
            </a:r>
            <a:endParaRPr lang="en-IN" sz="1200" b="1">
              <a:solidFill>
                <a:schemeClr val="bg1"/>
              </a:solidFill>
              <a:latin typeface="Aptos" panose="020B0004020202020204" pitchFamily="34" charset="0"/>
            </a:endParaRPr>
          </a:p>
        </p:txBody>
      </p:sp>
      <p:sp>
        <p:nvSpPr>
          <p:cNvPr id="17" name="TextBox 16">
            <a:extLst>
              <a:ext uri="{FF2B5EF4-FFF2-40B4-BE49-F238E27FC236}">
                <a16:creationId xmlns:a16="http://schemas.microsoft.com/office/drawing/2014/main" id="{DFB6BDE6-4D5F-5079-7A14-123E8C35456E}"/>
              </a:ext>
            </a:extLst>
          </p:cNvPr>
          <p:cNvSpPr txBox="1"/>
          <p:nvPr/>
        </p:nvSpPr>
        <p:spPr>
          <a:xfrm>
            <a:off x="2566684" y="1095293"/>
            <a:ext cx="8011301" cy="246221"/>
          </a:xfrm>
          <a:prstGeom prst="rect">
            <a:avLst/>
          </a:prstGeom>
        </p:spPr>
        <p:txBody>
          <a:bodyPr wrap="square" lIns="0" tIns="0" rIns="0" bIns="0" rtlCol="0">
            <a:spAutoFit/>
          </a:bodyPr>
          <a:lstStyle/>
          <a:p>
            <a:pPr algn="l"/>
            <a:r>
              <a:rPr lang="en-US" sz="1600" b="1">
                <a:solidFill>
                  <a:schemeClr val="bg1"/>
                </a:solidFill>
                <a:latin typeface="Aptos" panose="020B0004020202020204" pitchFamily="34" charset="0"/>
              </a:rPr>
              <a:t>Power BI  Solution – Phase 1  </a:t>
            </a:r>
            <a:endParaRPr lang="en-IN" sz="1600" b="1">
              <a:solidFill>
                <a:schemeClr val="bg1"/>
              </a:solidFill>
              <a:latin typeface="Aptos" panose="020B0004020202020204" pitchFamily="34" charset="0"/>
            </a:endParaRPr>
          </a:p>
        </p:txBody>
      </p:sp>
      <p:pic>
        <p:nvPicPr>
          <p:cNvPr id="18" name="Picture 12" descr="Power BI icon PNG and SVG Vector Free Download">
            <a:extLst>
              <a:ext uri="{FF2B5EF4-FFF2-40B4-BE49-F238E27FC236}">
                <a16:creationId xmlns:a16="http://schemas.microsoft.com/office/drawing/2014/main" id="{4FA58DD0-2CDA-1C25-1178-ABF9B680EFF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552416" y="995927"/>
            <a:ext cx="298834" cy="298834"/>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4" descr="Microsoft Power Apps icon in Windows 11 Color Style">
            <a:extLst>
              <a:ext uri="{FF2B5EF4-FFF2-40B4-BE49-F238E27FC236}">
                <a16:creationId xmlns:a16="http://schemas.microsoft.com/office/drawing/2014/main" id="{2942D526-5E0C-C820-065F-2973516DFD9E}"/>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169867" y="980794"/>
            <a:ext cx="298834" cy="298834"/>
          </a:xfrm>
          <a:prstGeom prst="rect">
            <a:avLst/>
          </a:prstGeom>
          <a:noFill/>
          <a:extLst>
            <a:ext uri="{909E8E84-426E-40DD-AFC4-6F175D3DCCD1}">
              <a14:hiddenFill xmlns:a14="http://schemas.microsoft.com/office/drawing/2010/main">
                <a:solidFill>
                  <a:srgbClr val="FFFFFF"/>
                </a:solidFill>
              </a14:hiddenFill>
            </a:ext>
          </a:extLst>
        </p:spPr>
      </p:pic>
      <p:grpSp>
        <p:nvGrpSpPr>
          <p:cNvPr id="3088" name="Group 3087">
            <a:extLst>
              <a:ext uri="{FF2B5EF4-FFF2-40B4-BE49-F238E27FC236}">
                <a16:creationId xmlns:a16="http://schemas.microsoft.com/office/drawing/2014/main" id="{990CCCD9-8BD2-A3D1-F24E-E9BB1129C5D9}"/>
              </a:ext>
            </a:extLst>
          </p:cNvPr>
          <p:cNvGrpSpPr/>
          <p:nvPr/>
        </p:nvGrpSpPr>
        <p:grpSpPr>
          <a:xfrm>
            <a:off x="309736" y="2750907"/>
            <a:ext cx="11763333" cy="1506335"/>
            <a:chOff x="268837" y="2914012"/>
            <a:chExt cx="11763333" cy="1506335"/>
          </a:xfrm>
        </p:grpSpPr>
        <p:sp>
          <p:nvSpPr>
            <p:cNvPr id="6" name="Rectangle 5">
              <a:extLst>
                <a:ext uri="{FF2B5EF4-FFF2-40B4-BE49-F238E27FC236}">
                  <a16:creationId xmlns:a16="http://schemas.microsoft.com/office/drawing/2014/main" id="{E355E589-0CFD-0C24-916A-45F0F0313227}"/>
                </a:ext>
              </a:extLst>
            </p:cNvPr>
            <p:cNvSpPr/>
            <p:nvPr/>
          </p:nvSpPr>
          <p:spPr>
            <a:xfrm>
              <a:off x="268837" y="2931852"/>
              <a:ext cx="1894555" cy="148849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r>
                <a:rPr lang="en-US" b="1">
                  <a:solidFill>
                    <a:schemeClr val="bg1"/>
                  </a:solidFill>
                  <a:latin typeface="Aptos" panose="020B0004020202020204" pitchFamily="34" charset="0"/>
                </a:rPr>
                <a:t>Data Layer</a:t>
              </a:r>
              <a:endParaRPr lang="en-IN" b="1">
                <a:solidFill>
                  <a:schemeClr val="bg1"/>
                </a:solidFill>
                <a:latin typeface="Aptos" panose="020B0004020202020204" pitchFamily="34" charset="0"/>
              </a:endParaRPr>
            </a:p>
          </p:txBody>
        </p:sp>
        <p:sp>
          <p:nvSpPr>
            <p:cNvPr id="7" name="Rectangle: Rounded Corners 6">
              <a:extLst>
                <a:ext uri="{FF2B5EF4-FFF2-40B4-BE49-F238E27FC236}">
                  <a16:creationId xmlns:a16="http://schemas.microsoft.com/office/drawing/2014/main" id="{69767CD9-585C-77D6-EBE7-4C88DBFD745C}"/>
                </a:ext>
              </a:extLst>
            </p:cNvPr>
            <p:cNvSpPr/>
            <p:nvPr/>
          </p:nvSpPr>
          <p:spPr>
            <a:xfrm>
              <a:off x="2152079" y="2914012"/>
              <a:ext cx="9880091" cy="1506335"/>
            </a:xfrm>
            <a:prstGeom prst="roundRect">
              <a:avLst>
                <a:gd name="adj" fmla="val 0"/>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bg1"/>
                </a:solidFill>
                <a:latin typeface="Aptos" panose="020B0004020202020204" pitchFamily="34" charset="0"/>
              </a:endParaRPr>
            </a:p>
          </p:txBody>
        </p:sp>
        <p:sp>
          <p:nvSpPr>
            <p:cNvPr id="8" name="TextBox 7">
              <a:extLst>
                <a:ext uri="{FF2B5EF4-FFF2-40B4-BE49-F238E27FC236}">
                  <a16:creationId xmlns:a16="http://schemas.microsoft.com/office/drawing/2014/main" id="{CBD3C7BB-4D4B-87FA-8921-575463566FA5}"/>
                </a:ext>
              </a:extLst>
            </p:cNvPr>
            <p:cNvSpPr txBox="1"/>
            <p:nvPr/>
          </p:nvSpPr>
          <p:spPr>
            <a:xfrm>
              <a:off x="2566684" y="2980166"/>
              <a:ext cx="8280971" cy="246221"/>
            </a:xfrm>
            <a:prstGeom prst="rect">
              <a:avLst/>
            </a:prstGeom>
          </p:spPr>
          <p:txBody>
            <a:bodyPr wrap="square" lIns="0" tIns="0" rIns="0" bIns="0" rtlCol="0">
              <a:spAutoFit/>
            </a:bodyPr>
            <a:lstStyle/>
            <a:p>
              <a:r>
                <a:rPr lang="en-US" sz="1600" b="1">
                  <a:solidFill>
                    <a:schemeClr val="bg1"/>
                  </a:solidFill>
                  <a:latin typeface="Aptos" panose="020B0004020202020204" pitchFamily="34" charset="0"/>
                </a:rPr>
                <a:t>Lightweight Customer Data Platform</a:t>
              </a:r>
              <a:endParaRPr lang="en-IN" sz="1600" b="1">
                <a:solidFill>
                  <a:schemeClr val="bg1"/>
                </a:solidFill>
                <a:latin typeface="Aptos" panose="020B0004020202020204" pitchFamily="34" charset="0"/>
              </a:endParaRPr>
            </a:p>
          </p:txBody>
        </p:sp>
        <p:grpSp>
          <p:nvGrpSpPr>
            <p:cNvPr id="2" name="Group 1">
              <a:extLst>
                <a:ext uri="{FF2B5EF4-FFF2-40B4-BE49-F238E27FC236}">
                  <a16:creationId xmlns:a16="http://schemas.microsoft.com/office/drawing/2014/main" id="{CB7D9DD8-2E60-82F6-5F33-105532E805A3}"/>
                </a:ext>
              </a:extLst>
            </p:cNvPr>
            <p:cNvGrpSpPr/>
            <p:nvPr/>
          </p:nvGrpSpPr>
          <p:grpSpPr>
            <a:xfrm>
              <a:off x="2449996" y="3278904"/>
              <a:ext cx="9398857" cy="1045774"/>
              <a:chOff x="2496354" y="3063692"/>
              <a:chExt cx="9398857" cy="1045774"/>
            </a:xfrm>
          </p:grpSpPr>
          <p:grpSp>
            <p:nvGrpSpPr>
              <p:cNvPr id="24" name="Group 23">
                <a:extLst>
                  <a:ext uri="{FF2B5EF4-FFF2-40B4-BE49-F238E27FC236}">
                    <a16:creationId xmlns:a16="http://schemas.microsoft.com/office/drawing/2014/main" id="{10C7DCE5-6853-D214-A5E9-C50B3215CE67}"/>
                  </a:ext>
                </a:extLst>
              </p:cNvPr>
              <p:cNvGrpSpPr/>
              <p:nvPr/>
            </p:nvGrpSpPr>
            <p:grpSpPr>
              <a:xfrm>
                <a:off x="2496354" y="3063692"/>
                <a:ext cx="3100560" cy="657278"/>
                <a:chOff x="2619909" y="4439199"/>
                <a:chExt cx="3100560" cy="657278"/>
              </a:xfrm>
            </p:grpSpPr>
            <p:sp>
              <p:nvSpPr>
                <p:cNvPr id="9" name="Rectangle 8">
                  <a:extLst>
                    <a:ext uri="{FF2B5EF4-FFF2-40B4-BE49-F238E27FC236}">
                      <a16:creationId xmlns:a16="http://schemas.microsoft.com/office/drawing/2014/main" id="{B1C8AD74-8043-7211-134C-EA3EF303A4BE}"/>
                    </a:ext>
                  </a:extLst>
                </p:cNvPr>
                <p:cNvSpPr/>
                <p:nvPr/>
              </p:nvSpPr>
              <p:spPr>
                <a:xfrm>
                  <a:off x="2619909" y="4439199"/>
                  <a:ext cx="3100560" cy="38014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200" b="1">
                      <a:solidFill>
                        <a:schemeClr val="bg1"/>
                      </a:solidFill>
                      <a:latin typeface="Aptos SemiBold" panose="020B0004020202020204" pitchFamily="34" charset="0"/>
                    </a:rPr>
                    <a:t>Source Data Replication to Raw Layer</a:t>
                  </a:r>
                  <a:endParaRPr lang="en-IN" sz="1200" b="1">
                    <a:solidFill>
                      <a:schemeClr val="bg1"/>
                    </a:solidFill>
                    <a:latin typeface="Aptos SemiBold" panose="020B0004020202020204" pitchFamily="34" charset="0"/>
                  </a:endParaRPr>
                </a:p>
              </p:txBody>
            </p:sp>
            <p:sp>
              <p:nvSpPr>
                <p:cNvPr id="10" name="TextBox 9">
                  <a:extLst>
                    <a:ext uri="{FF2B5EF4-FFF2-40B4-BE49-F238E27FC236}">
                      <a16:creationId xmlns:a16="http://schemas.microsoft.com/office/drawing/2014/main" id="{D1841D89-C00F-EA00-6D7D-038126AB9350}"/>
                    </a:ext>
                  </a:extLst>
                </p:cNvPr>
                <p:cNvSpPr txBox="1"/>
                <p:nvPr/>
              </p:nvSpPr>
              <p:spPr>
                <a:xfrm>
                  <a:off x="2619909" y="4911811"/>
                  <a:ext cx="2763748" cy="184666"/>
                </a:xfrm>
                <a:prstGeom prst="rect">
                  <a:avLst/>
                </a:prstGeom>
              </p:spPr>
              <p:txBody>
                <a:bodyPr wrap="square" lIns="0" tIns="0" rIns="0" bIns="0" rtlCol="0">
                  <a:spAutoFit/>
                </a:bodyPr>
                <a:lstStyle/>
                <a:p>
                  <a:pPr marL="285750" indent="-285750" algn="l">
                    <a:buFont typeface="Arial" panose="020B0604020202020204" pitchFamily="34" charset="0"/>
                    <a:buChar char="•"/>
                  </a:pPr>
                  <a:r>
                    <a:rPr lang="en-US" sz="1200">
                      <a:solidFill>
                        <a:schemeClr val="bg1"/>
                      </a:solidFill>
                      <a:latin typeface="Aptos" panose="020B0004020202020204" pitchFamily="34" charset="0"/>
                    </a:rPr>
                    <a:t>To be provided by Coty Team</a:t>
                  </a:r>
                  <a:endParaRPr lang="en-IN" sz="1200">
                    <a:solidFill>
                      <a:schemeClr val="bg1"/>
                    </a:solidFill>
                    <a:latin typeface="Aptos" panose="020B0004020202020204" pitchFamily="34" charset="0"/>
                  </a:endParaRPr>
                </a:p>
              </p:txBody>
            </p:sp>
          </p:grpSp>
          <p:grpSp>
            <p:nvGrpSpPr>
              <p:cNvPr id="21" name="Group 20">
                <a:extLst>
                  <a:ext uri="{FF2B5EF4-FFF2-40B4-BE49-F238E27FC236}">
                    <a16:creationId xmlns:a16="http://schemas.microsoft.com/office/drawing/2014/main" id="{03F1CB85-46C2-D7A5-EBE9-55A5E867D2CD}"/>
                  </a:ext>
                </a:extLst>
              </p:cNvPr>
              <p:cNvGrpSpPr/>
              <p:nvPr/>
            </p:nvGrpSpPr>
            <p:grpSpPr>
              <a:xfrm>
                <a:off x="5900962" y="3064552"/>
                <a:ext cx="2606240" cy="1025751"/>
                <a:chOff x="5981504" y="4440058"/>
                <a:chExt cx="2606240" cy="1025751"/>
              </a:xfrm>
            </p:grpSpPr>
            <p:sp>
              <p:nvSpPr>
                <p:cNvPr id="11" name="Rectangle 10">
                  <a:extLst>
                    <a:ext uri="{FF2B5EF4-FFF2-40B4-BE49-F238E27FC236}">
                      <a16:creationId xmlns:a16="http://schemas.microsoft.com/office/drawing/2014/main" id="{146C378D-C13A-C06F-FFEF-81DC8FF6BDAE}"/>
                    </a:ext>
                  </a:extLst>
                </p:cNvPr>
                <p:cNvSpPr/>
                <p:nvPr/>
              </p:nvSpPr>
              <p:spPr>
                <a:xfrm>
                  <a:off x="5981504" y="4440058"/>
                  <a:ext cx="2606240" cy="34390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200" b="1">
                      <a:solidFill>
                        <a:schemeClr val="bg1"/>
                      </a:solidFill>
                      <a:latin typeface="Aptos SemiBold" panose="020B0004020202020204" pitchFamily="34" charset="0"/>
                    </a:rPr>
                    <a:t>Medallion Architecture</a:t>
                  </a:r>
                  <a:endParaRPr lang="en-IN" sz="1200" b="1">
                    <a:solidFill>
                      <a:schemeClr val="bg1"/>
                    </a:solidFill>
                    <a:latin typeface="Aptos SemiBold" panose="020B0004020202020204" pitchFamily="34" charset="0"/>
                  </a:endParaRPr>
                </a:p>
              </p:txBody>
            </p:sp>
            <p:sp>
              <p:nvSpPr>
                <p:cNvPr id="12" name="TextBox 11">
                  <a:extLst>
                    <a:ext uri="{FF2B5EF4-FFF2-40B4-BE49-F238E27FC236}">
                      <a16:creationId xmlns:a16="http://schemas.microsoft.com/office/drawing/2014/main" id="{988AEE5F-7FAB-4E84-AC94-173887299C14}"/>
                    </a:ext>
                  </a:extLst>
                </p:cNvPr>
                <p:cNvSpPr txBox="1"/>
                <p:nvPr/>
              </p:nvSpPr>
              <p:spPr>
                <a:xfrm>
                  <a:off x="5995204" y="4911811"/>
                  <a:ext cx="2502606" cy="553998"/>
                </a:xfrm>
                <a:prstGeom prst="rect">
                  <a:avLst/>
                </a:prstGeom>
              </p:spPr>
              <p:txBody>
                <a:bodyPr wrap="square" lIns="0" tIns="0" rIns="0" bIns="0" rtlCol="0">
                  <a:spAutoFit/>
                </a:bodyPr>
                <a:lstStyle/>
                <a:p>
                  <a:pPr marL="285750" indent="-285750" algn="l">
                    <a:buFont typeface="Arial" panose="020B0604020202020204" pitchFamily="34" charset="0"/>
                    <a:buChar char="•"/>
                  </a:pPr>
                  <a:r>
                    <a:rPr lang="en-US" sz="1200">
                      <a:solidFill>
                        <a:schemeClr val="bg1"/>
                      </a:solidFill>
                      <a:latin typeface="Aptos" panose="020B0004020202020204" pitchFamily="34" charset="0"/>
                    </a:rPr>
                    <a:t>Raw, Cleansed and Curated Layer</a:t>
                  </a:r>
                  <a:endParaRPr lang="en-IN" sz="1200">
                    <a:solidFill>
                      <a:schemeClr val="bg1"/>
                    </a:solidFill>
                    <a:latin typeface="Aptos" panose="020B0004020202020204" pitchFamily="34" charset="0"/>
                  </a:endParaRPr>
                </a:p>
                <a:p>
                  <a:pPr marL="285750" indent="-285750" algn="l">
                    <a:buFont typeface="Arial" panose="020B0604020202020204" pitchFamily="34" charset="0"/>
                    <a:buChar char="•"/>
                  </a:pPr>
                  <a:r>
                    <a:rPr lang="en-IN" sz="1200">
                      <a:solidFill>
                        <a:schemeClr val="bg1"/>
                      </a:solidFill>
                      <a:latin typeface="Aptos" panose="020B0004020202020204" pitchFamily="34" charset="0"/>
                    </a:rPr>
                    <a:t>Already available in Azure Databricks</a:t>
                  </a:r>
                  <a:endParaRPr lang="en-US" sz="1200">
                    <a:solidFill>
                      <a:schemeClr val="bg1"/>
                    </a:solidFill>
                    <a:latin typeface="Aptos" panose="020B0004020202020204" pitchFamily="34" charset="0"/>
                  </a:endParaRPr>
                </a:p>
              </p:txBody>
            </p:sp>
          </p:grpSp>
          <p:grpSp>
            <p:nvGrpSpPr>
              <p:cNvPr id="23" name="Group 22">
                <a:extLst>
                  <a:ext uri="{FF2B5EF4-FFF2-40B4-BE49-F238E27FC236}">
                    <a16:creationId xmlns:a16="http://schemas.microsoft.com/office/drawing/2014/main" id="{FD55463B-74EB-5F69-B955-EC7A6DD613B7}"/>
                  </a:ext>
                </a:extLst>
              </p:cNvPr>
              <p:cNvGrpSpPr/>
              <p:nvPr/>
            </p:nvGrpSpPr>
            <p:grpSpPr>
              <a:xfrm>
                <a:off x="8815624" y="3082855"/>
                <a:ext cx="3079587" cy="1026611"/>
                <a:chOff x="9024460" y="4439198"/>
                <a:chExt cx="3079587" cy="1026611"/>
              </a:xfrm>
            </p:grpSpPr>
            <p:sp>
              <p:nvSpPr>
                <p:cNvPr id="13" name="Rectangle 12">
                  <a:extLst>
                    <a:ext uri="{FF2B5EF4-FFF2-40B4-BE49-F238E27FC236}">
                      <a16:creationId xmlns:a16="http://schemas.microsoft.com/office/drawing/2014/main" id="{465A0DC0-5EA0-8AED-2582-57F76F57ADDE}"/>
                    </a:ext>
                  </a:extLst>
                </p:cNvPr>
                <p:cNvSpPr/>
                <p:nvPr/>
              </p:nvSpPr>
              <p:spPr>
                <a:xfrm>
                  <a:off x="9024460" y="4439198"/>
                  <a:ext cx="3079587" cy="3780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200" b="1">
                      <a:solidFill>
                        <a:schemeClr val="bg1"/>
                      </a:solidFill>
                      <a:latin typeface="Aptos SemiBold" panose="020B0004020202020204" pitchFamily="34" charset="0"/>
                    </a:rPr>
                    <a:t>Semantic Data Layer (Customer 360 App)</a:t>
                  </a:r>
                  <a:endParaRPr lang="en-IN" sz="1200" b="1">
                    <a:solidFill>
                      <a:schemeClr val="bg1"/>
                    </a:solidFill>
                    <a:latin typeface="Aptos SemiBold" panose="020B0004020202020204" pitchFamily="34" charset="0"/>
                  </a:endParaRPr>
                </a:p>
              </p:txBody>
            </p:sp>
            <p:sp>
              <p:nvSpPr>
                <p:cNvPr id="14" name="TextBox 13">
                  <a:extLst>
                    <a:ext uri="{FF2B5EF4-FFF2-40B4-BE49-F238E27FC236}">
                      <a16:creationId xmlns:a16="http://schemas.microsoft.com/office/drawing/2014/main" id="{7633B27D-670F-1B9C-7F69-F6BD3047B62B}"/>
                    </a:ext>
                  </a:extLst>
                </p:cNvPr>
                <p:cNvSpPr txBox="1"/>
                <p:nvPr/>
              </p:nvSpPr>
              <p:spPr>
                <a:xfrm>
                  <a:off x="9109357" y="4911811"/>
                  <a:ext cx="2622308" cy="553998"/>
                </a:xfrm>
                <a:prstGeom prst="rect">
                  <a:avLst/>
                </a:prstGeom>
              </p:spPr>
              <p:txBody>
                <a:bodyPr wrap="square" lIns="0" tIns="0" rIns="0" bIns="0" rtlCol="0">
                  <a:spAutoFit/>
                </a:bodyPr>
                <a:lstStyle/>
                <a:p>
                  <a:pPr marL="285750" indent="-285750" algn="l">
                    <a:buFont typeface="Arial" panose="020B0604020202020204" pitchFamily="34" charset="0"/>
                    <a:buChar char="•"/>
                  </a:pPr>
                  <a:r>
                    <a:rPr lang="en-US" sz="1200">
                      <a:solidFill>
                        <a:schemeClr val="bg1"/>
                      </a:solidFill>
                      <a:latin typeface="Aptos" panose="020B0004020202020204" pitchFamily="34" charset="0"/>
                    </a:rPr>
                    <a:t>Data Models for 4 areas in scope</a:t>
                  </a:r>
                </a:p>
                <a:p>
                  <a:pPr marL="285750" indent="-285750" algn="l">
                    <a:buFont typeface="Arial" panose="020B0604020202020204" pitchFamily="34" charset="0"/>
                    <a:buChar char="•"/>
                  </a:pPr>
                  <a:r>
                    <a:rPr lang="en-US" sz="1200">
                      <a:solidFill>
                        <a:schemeClr val="bg1"/>
                      </a:solidFill>
                      <a:latin typeface="Aptos" panose="020B0004020202020204" pitchFamily="34" charset="0"/>
                    </a:rPr>
                    <a:t>Aggregated and Calculated Fields</a:t>
                  </a:r>
                  <a:endParaRPr lang="en-IN" sz="1200">
                    <a:solidFill>
                      <a:schemeClr val="bg1"/>
                    </a:solidFill>
                    <a:latin typeface="Aptos" panose="020B0004020202020204" pitchFamily="34" charset="0"/>
                  </a:endParaRPr>
                </a:p>
                <a:p>
                  <a:pPr marL="285750" indent="-285750" algn="l">
                    <a:buFont typeface="Arial" panose="020B0604020202020204" pitchFamily="34" charset="0"/>
                    <a:buChar char="•"/>
                  </a:pPr>
                  <a:r>
                    <a:rPr lang="en-IN" sz="1200">
                      <a:solidFill>
                        <a:schemeClr val="bg1"/>
                      </a:solidFill>
                      <a:latin typeface="Aptos" panose="020B0004020202020204" pitchFamily="34" charset="0"/>
                    </a:rPr>
                    <a:t>Materialized Views</a:t>
                  </a:r>
                  <a:endParaRPr lang="en-US" sz="1200">
                    <a:solidFill>
                      <a:schemeClr val="bg1"/>
                    </a:solidFill>
                    <a:latin typeface="Aptos" panose="020B0004020202020204" pitchFamily="34" charset="0"/>
                  </a:endParaRPr>
                </a:p>
              </p:txBody>
            </p:sp>
          </p:grpSp>
        </p:grpSp>
        <p:grpSp>
          <p:nvGrpSpPr>
            <p:cNvPr id="34" name="Group 33">
              <a:extLst>
                <a:ext uri="{FF2B5EF4-FFF2-40B4-BE49-F238E27FC236}">
                  <a16:creationId xmlns:a16="http://schemas.microsoft.com/office/drawing/2014/main" id="{FD1590FC-767C-7457-12EC-C2524D8705DF}"/>
                </a:ext>
              </a:extLst>
            </p:cNvPr>
            <p:cNvGrpSpPr/>
            <p:nvPr/>
          </p:nvGrpSpPr>
          <p:grpSpPr>
            <a:xfrm>
              <a:off x="11032336" y="2934392"/>
              <a:ext cx="801515" cy="345835"/>
              <a:chOff x="11100505" y="2487870"/>
              <a:chExt cx="801515" cy="345835"/>
            </a:xfrm>
          </p:grpSpPr>
          <p:pic>
            <p:nvPicPr>
              <p:cNvPr id="27" name="Picture 26">
                <a:extLst>
                  <a:ext uri="{FF2B5EF4-FFF2-40B4-BE49-F238E27FC236}">
                    <a16:creationId xmlns:a16="http://schemas.microsoft.com/office/drawing/2014/main" id="{3E9DD58B-B3E3-3E12-A7F0-C5A9A2D703A4}"/>
                  </a:ext>
                </a:extLst>
              </p:cNvPr>
              <p:cNvPicPr>
                <a:picLocks noChangeAspect="1"/>
              </p:cNvPicPr>
              <p:nvPr/>
            </p:nvPicPr>
            <p:blipFill>
              <a:blip r:embed="rId5"/>
              <a:stretch>
                <a:fillRect/>
              </a:stretch>
            </p:blipFill>
            <p:spPr>
              <a:xfrm>
                <a:off x="11100505" y="2487870"/>
                <a:ext cx="345835" cy="345835"/>
              </a:xfrm>
              <a:prstGeom prst="rect">
                <a:avLst/>
              </a:prstGeom>
            </p:spPr>
          </p:pic>
          <p:pic>
            <p:nvPicPr>
              <p:cNvPr id="28" name="Picture 18" descr="Databricks logo - Social media &amp; Logos Icons">
                <a:extLst>
                  <a:ext uri="{FF2B5EF4-FFF2-40B4-BE49-F238E27FC236}">
                    <a16:creationId xmlns:a16="http://schemas.microsoft.com/office/drawing/2014/main" id="{53B4C398-2562-978D-6F0A-02BCE9A9E3A9}"/>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1556186" y="2487871"/>
                <a:ext cx="345834" cy="345834"/>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4" name="Group 3">
            <a:extLst>
              <a:ext uri="{FF2B5EF4-FFF2-40B4-BE49-F238E27FC236}">
                <a16:creationId xmlns:a16="http://schemas.microsoft.com/office/drawing/2014/main" id="{708FC260-C70E-8D92-9681-7C549AC85709}"/>
              </a:ext>
            </a:extLst>
          </p:cNvPr>
          <p:cNvGrpSpPr/>
          <p:nvPr/>
        </p:nvGrpSpPr>
        <p:grpSpPr>
          <a:xfrm>
            <a:off x="2581918" y="1554762"/>
            <a:ext cx="2178203" cy="798555"/>
            <a:chOff x="2619908" y="1923419"/>
            <a:chExt cx="2178203" cy="798555"/>
          </a:xfrm>
        </p:grpSpPr>
        <p:sp>
          <p:nvSpPr>
            <p:cNvPr id="30" name="Rectangle 29">
              <a:extLst>
                <a:ext uri="{FF2B5EF4-FFF2-40B4-BE49-F238E27FC236}">
                  <a16:creationId xmlns:a16="http://schemas.microsoft.com/office/drawing/2014/main" id="{398193B2-E853-DB63-3783-A2D77145C93B}"/>
                </a:ext>
              </a:extLst>
            </p:cNvPr>
            <p:cNvSpPr/>
            <p:nvPr/>
          </p:nvSpPr>
          <p:spPr>
            <a:xfrm>
              <a:off x="2619908" y="1923419"/>
              <a:ext cx="2178203" cy="298834"/>
            </a:xfrm>
            <a:prstGeom prst="rect">
              <a:avLst/>
            </a:prstGeom>
            <a:solidFill>
              <a:srgbClr val="CCEFF6"/>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200" b="1">
                  <a:solidFill>
                    <a:schemeClr val="bg1"/>
                  </a:solidFill>
                  <a:latin typeface="Aptos SemiBold" panose="020B0004020202020204" pitchFamily="34" charset="0"/>
                </a:rPr>
                <a:t>User Interface Designs</a:t>
              </a:r>
              <a:endParaRPr lang="en-IN" sz="1200" b="1">
                <a:solidFill>
                  <a:schemeClr val="bg1"/>
                </a:solidFill>
                <a:latin typeface="Aptos SemiBold" panose="020B0004020202020204" pitchFamily="34" charset="0"/>
              </a:endParaRPr>
            </a:p>
          </p:txBody>
        </p:sp>
        <p:sp>
          <p:nvSpPr>
            <p:cNvPr id="31" name="TextBox 30">
              <a:extLst>
                <a:ext uri="{FF2B5EF4-FFF2-40B4-BE49-F238E27FC236}">
                  <a16:creationId xmlns:a16="http://schemas.microsoft.com/office/drawing/2014/main" id="{D580E771-D00F-B6ED-9D11-A5EFC15921E3}"/>
                </a:ext>
              </a:extLst>
            </p:cNvPr>
            <p:cNvSpPr txBox="1"/>
            <p:nvPr/>
          </p:nvSpPr>
          <p:spPr>
            <a:xfrm>
              <a:off x="2619909" y="2352642"/>
              <a:ext cx="2023638" cy="369332"/>
            </a:xfrm>
            <a:prstGeom prst="rect">
              <a:avLst/>
            </a:prstGeom>
          </p:spPr>
          <p:txBody>
            <a:bodyPr wrap="square" lIns="0" tIns="0" rIns="0" bIns="0" rtlCol="0">
              <a:spAutoFit/>
            </a:bodyPr>
            <a:lstStyle/>
            <a:p>
              <a:pPr marL="285750" indent="-285750" algn="l">
                <a:buFont typeface="Arial" panose="020B0604020202020204" pitchFamily="34" charset="0"/>
                <a:buChar char="•"/>
              </a:pPr>
              <a:r>
                <a:rPr lang="en-US" sz="1200">
                  <a:solidFill>
                    <a:schemeClr val="bg1"/>
                  </a:solidFill>
                  <a:latin typeface="Aptos" panose="020B0004020202020204" pitchFamily="34" charset="0"/>
                </a:rPr>
                <a:t>Power BI Reports</a:t>
              </a:r>
            </a:p>
            <a:p>
              <a:pPr marL="285750" indent="-285750" algn="l">
                <a:buFont typeface="Arial" panose="020B0604020202020204" pitchFamily="34" charset="0"/>
                <a:buChar char="•"/>
              </a:pPr>
              <a:r>
                <a:rPr lang="en-US" sz="1200">
                  <a:solidFill>
                    <a:schemeClr val="bg1"/>
                  </a:solidFill>
                  <a:latin typeface="Aptos" panose="020B0004020202020204" pitchFamily="34" charset="0"/>
                </a:rPr>
                <a:t>Responsive Design</a:t>
              </a:r>
              <a:endParaRPr lang="en-IN" sz="1200">
                <a:solidFill>
                  <a:schemeClr val="bg1"/>
                </a:solidFill>
                <a:latin typeface="Aptos" panose="020B0004020202020204" pitchFamily="34" charset="0"/>
              </a:endParaRPr>
            </a:p>
          </p:txBody>
        </p:sp>
      </p:grpSp>
      <p:grpSp>
        <p:nvGrpSpPr>
          <p:cNvPr id="3" name="Group 2">
            <a:extLst>
              <a:ext uri="{FF2B5EF4-FFF2-40B4-BE49-F238E27FC236}">
                <a16:creationId xmlns:a16="http://schemas.microsoft.com/office/drawing/2014/main" id="{1AAF65C6-DCA8-A904-A827-F8548982D9AC}"/>
              </a:ext>
            </a:extLst>
          </p:cNvPr>
          <p:cNvGrpSpPr/>
          <p:nvPr/>
        </p:nvGrpSpPr>
        <p:grpSpPr>
          <a:xfrm>
            <a:off x="5025211" y="1554762"/>
            <a:ext cx="2178202" cy="980682"/>
            <a:chOff x="4925953" y="1923419"/>
            <a:chExt cx="2178202" cy="980682"/>
          </a:xfrm>
        </p:grpSpPr>
        <p:sp>
          <p:nvSpPr>
            <p:cNvPr id="32" name="Rectangle 31">
              <a:extLst>
                <a:ext uri="{FF2B5EF4-FFF2-40B4-BE49-F238E27FC236}">
                  <a16:creationId xmlns:a16="http://schemas.microsoft.com/office/drawing/2014/main" id="{E60ECA0E-C3D5-4259-093F-4465EB0FE87B}"/>
                </a:ext>
              </a:extLst>
            </p:cNvPr>
            <p:cNvSpPr/>
            <p:nvPr/>
          </p:nvSpPr>
          <p:spPr>
            <a:xfrm>
              <a:off x="4925953" y="1923419"/>
              <a:ext cx="2178202" cy="298834"/>
            </a:xfrm>
            <a:prstGeom prst="rect">
              <a:avLst/>
            </a:prstGeom>
            <a:solidFill>
              <a:srgbClr val="CCEFF6"/>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200" b="1">
                  <a:solidFill>
                    <a:schemeClr val="bg1"/>
                  </a:solidFill>
                  <a:latin typeface="Aptos SemiBold" panose="020B0004020202020204" pitchFamily="34" charset="0"/>
                </a:rPr>
                <a:t>Integrations</a:t>
              </a:r>
              <a:endParaRPr lang="en-IN" sz="1200" b="1">
                <a:solidFill>
                  <a:schemeClr val="bg1"/>
                </a:solidFill>
                <a:latin typeface="Aptos SemiBold" panose="020B0004020202020204" pitchFamily="34" charset="0"/>
              </a:endParaRPr>
            </a:p>
          </p:txBody>
        </p:sp>
        <p:sp>
          <p:nvSpPr>
            <p:cNvPr id="33" name="TextBox 32">
              <a:extLst>
                <a:ext uri="{FF2B5EF4-FFF2-40B4-BE49-F238E27FC236}">
                  <a16:creationId xmlns:a16="http://schemas.microsoft.com/office/drawing/2014/main" id="{782EBF6A-3422-B21F-791C-9182B7E24EBC}"/>
                </a:ext>
              </a:extLst>
            </p:cNvPr>
            <p:cNvSpPr txBox="1"/>
            <p:nvPr/>
          </p:nvSpPr>
          <p:spPr>
            <a:xfrm>
              <a:off x="4970967" y="2350103"/>
              <a:ext cx="2023636" cy="553998"/>
            </a:xfrm>
            <a:prstGeom prst="rect">
              <a:avLst/>
            </a:prstGeom>
          </p:spPr>
          <p:txBody>
            <a:bodyPr wrap="square" lIns="0" tIns="0" rIns="0" bIns="0" rtlCol="0">
              <a:spAutoFit/>
            </a:bodyPr>
            <a:lstStyle/>
            <a:p>
              <a:pPr marL="285750" indent="-285750" algn="l">
                <a:buFont typeface="Arial" panose="020B0604020202020204" pitchFamily="34" charset="0"/>
                <a:buChar char="•"/>
              </a:pPr>
              <a:r>
                <a:rPr lang="en-US" sz="1200">
                  <a:solidFill>
                    <a:schemeClr val="bg1"/>
                  </a:solidFill>
                  <a:latin typeface="Aptos" panose="020B0004020202020204" pitchFamily="34" charset="0"/>
                </a:rPr>
                <a:t>Power BI Integration with Databricks Unity Catalog</a:t>
              </a:r>
            </a:p>
            <a:p>
              <a:pPr marL="285750" indent="-285750" algn="l">
                <a:buFont typeface="Arial" panose="020B0604020202020204" pitchFamily="34" charset="0"/>
                <a:buChar char="•"/>
              </a:pPr>
              <a:r>
                <a:rPr lang="en-US" sz="1200">
                  <a:solidFill>
                    <a:schemeClr val="bg1"/>
                  </a:solidFill>
                  <a:latin typeface="Aptos" panose="020B0004020202020204" pitchFamily="34" charset="0"/>
                </a:rPr>
                <a:t>Power BI Integration</a:t>
              </a:r>
              <a:endParaRPr lang="en-IN" sz="1200">
                <a:solidFill>
                  <a:schemeClr val="bg1"/>
                </a:solidFill>
                <a:latin typeface="Aptos" panose="020B0004020202020204" pitchFamily="34" charset="0"/>
              </a:endParaRPr>
            </a:p>
          </p:txBody>
        </p:sp>
      </p:grpSp>
      <p:sp>
        <p:nvSpPr>
          <p:cNvPr id="38" name="Rectangle 37">
            <a:extLst>
              <a:ext uri="{FF2B5EF4-FFF2-40B4-BE49-F238E27FC236}">
                <a16:creationId xmlns:a16="http://schemas.microsoft.com/office/drawing/2014/main" id="{F02D3C8C-B6E7-17B8-F970-03A866939942}"/>
              </a:ext>
            </a:extLst>
          </p:cNvPr>
          <p:cNvSpPr/>
          <p:nvPr/>
        </p:nvSpPr>
        <p:spPr>
          <a:xfrm>
            <a:off x="10516470" y="363269"/>
            <a:ext cx="1567912" cy="386602"/>
          </a:xfrm>
          <a:prstGeom prst="rect">
            <a:avLst/>
          </a:prstGeom>
          <a:solidFill>
            <a:srgbClr val="CCEFF6"/>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pPr algn="ctr"/>
            <a:r>
              <a:rPr lang="en-US" sz="1200" b="1">
                <a:solidFill>
                  <a:schemeClr val="bg1"/>
                </a:solidFill>
                <a:latin typeface="Aptos SemiBold" panose="020B0004020202020204" pitchFamily="34" charset="0"/>
              </a:rPr>
              <a:t>Brillio Scope of Work</a:t>
            </a:r>
            <a:endParaRPr lang="en-IN" sz="1200" b="1">
              <a:solidFill>
                <a:schemeClr val="bg1"/>
              </a:solidFill>
              <a:latin typeface="Aptos SemiBold" panose="020B0004020202020204" pitchFamily="34" charset="0"/>
            </a:endParaRPr>
          </a:p>
        </p:txBody>
      </p:sp>
      <p:sp>
        <p:nvSpPr>
          <p:cNvPr id="39" name="Rectangle 38">
            <a:extLst>
              <a:ext uri="{FF2B5EF4-FFF2-40B4-BE49-F238E27FC236}">
                <a16:creationId xmlns:a16="http://schemas.microsoft.com/office/drawing/2014/main" id="{2A92E4EC-AA1A-FFCA-E2E1-A570C79A59C8}"/>
              </a:ext>
            </a:extLst>
          </p:cNvPr>
          <p:cNvSpPr/>
          <p:nvPr/>
        </p:nvSpPr>
        <p:spPr>
          <a:xfrm>
            <a:off x="8370894" y="363269"/>
            <a:ext cx="1918090" cy="386602"/>
          </a:xfrm>
          <a:prstGeom prst="rect">
            <a:avLst/>
          </a:prstGeom>
          <a:solidFill>
            <a:srgbClr val="EEDAD9"/>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pPr algn="ctr"/>
            <a:r>
              <a:rPr lang="en-US" sz="1200" b="1">
                <a:solidFill>
                  <a:schemeClr val="bg1"/>
                </a:solidFill>
                <a:latin typeface="Aptos SemiBold" panose="020B0004020202020204" pitchFamily="34" charset="0"/>
              </a:rPr>
              <a:t>Already Completed Scope by Coty Team</a:t>
            </a:r>
            <a:endParaRPr lang="en-IN" sz="1200" b="1">
              <a:solidFill>
                <a:schemeClr val="bg1"/>
              </a:solidFill>
              <a:latin typeface="Aptos SemiBold" panose="020B0004020202020204" pitchFamily="34" charset="0"/>
            </a:endParaRPr>
          </a:p>
        </p:txBody>
      </p:sp>
      <p:sp>
        <p:nvSpPr>
          <p:cNvPr id="22" name="Title 1">
            <a:extLst>
              <a:ext uri="{FF2B5EF4-FFF2-40B4-BE49-F238E27FC236}">
                <a16:creationId xmlns:a16="http://schemas.microsoft.com/office/drawing/2014/main" id="{7370C137-AEB7-D5F4-D4CD-A57BCEDA3944}"/>
              </a:ext>
            </a:extLst>
          </p:cNvPr>
          <p:cNvSpPr txBox="1">
            <a:spLocks/>
          </p:cNvSpPr>
          <p:nvPr/>
        </p:nvSpPr>
        <p:spPr>
          <a:xfrm>
            <a:off x="288555" y="299392"/>
            <a:ext cx="11606656" cy="386603"/>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73152" rIns="0" bIns="0"/>
          <a:lstStyle>
            <a:lvl1pPr marL="0" marR="0" indent="0" algn="l" defTabSz="1218948" rtl="0" eaLnBrk="1" latinLnBrk="0" hangingPunct="1">
              <a:lnSpc>
                <a:spcPct val="80000"/>
              </a:lnSpc>
              <a:spcBef>
                <a:spcPts val="0"/>
              </a:spcBef>
              <a:spcAft>
                <a:spcPts val="0"/>
              </a:spcAft>
              <a:buClrTx/>
              <a:buSzTx/>
              <a:buFontTx/>
              <a:buNone/>
              <a:tabLst/>
              <a:defRPr sz="3500" b="0" i="0" u="none" strike="noStrike" cap="none" spc="0" baseline="0">
                <a:solidFill>
                  <a:schemeClr val="bg1"/>
                </a:solidFill>
                <a:uFillTx/>
                <a:latin typeface="Aptos Light" panose="020B0004020202020204" pitchFamily="34" charset="0"/>
                <a:ea typeface="+mj-ea"/>
                <a:cs typeface="+mj-cs"/>
                <a:sym typeface="IBM Plex Sans Light"/>
              </a:defRPr>
            </a:lvl1pPr>
            <a:lvl2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7"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5"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1"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88"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r>
              <a:rPr lang="en-US" kern="0">
                <a:solidFill>
                  <a:srgbClr val="002060"/>
                </a:solidFill>
                <a:latin typeface="+mj-lt"/>
              </a:rPr>
              <a:t>Customer 360 - Solution Overview </a:t>
            </a:r>
          </a:p>
        </p:txBody>
      </p:sp>
      <p:sp>
        <p:nvSpPr>
          <p:cNvPr id="26" name="TextBox 25">
            <a:extLst>
              <a:ext uri="{FF2B5EF4-FFF2-40B4-BE49-F238E27FC236}">
                <a16:creationId xmlns:a16="http://schemas.microsoft.com/office/drawing/2014/main" id="{0C3F0036-9AD5-8749-CF9B-F813BC8A0413}"/>
              </a:ext>
            </a:extLst>
          </p:cNvPr>
          <p:cNvSpPr txBox="1"/>
          <p:nvPr/>
        </p:nvSpPr>
        <p:spPr>
          <a:xfrm>
            <a:off x="8717930" y="365227"/>
            <a:ext cx="1462841" cy="17964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marL="444465" indent="-446749" algn="l" defTabSz="2438400">
              <a:spcBef>
                <a:spcPts val="2900"/>
              </a:spcBef>
              <a:buSzPct val="100000"/>
              <a:buFontTx/>
              <a:buChar char="–"/>
            </a:pPr>
            <a:endParaRPr lang="en-US" kern="0">
              <a:solidFill>
                <a:srgbClr val="000000"/>
              </a:solidFill>
              <a:ea typeface="+mj-ea"/>
              <a:cs typeface="+mj-cs"/>
              <a:sym typeface="IBM Plex Sans Light"/>
            </a:endParaRPr>
          </a:p>
        </p:txBody>
      </p:sp>
      <p:sp>
        <p:nvSpPr>
          <p:cNvPr id="29" name="TextBox 28">
            <a:extLst>
              <a:ext uri="{FF2B5EF4-FFF2-40B4-BE49-F238E27FC236}">
                <a16:creationId xmlns:a16="http://schemas.microsoft.com/office/drawing/2014/main" id="{6C0C254F-86E7-9548-45F0-D74679584B8F}"/>
              </a:ext>
            </a:extLst>
          </p:cNvPr>
          <p:cNvSpPr txBox="1"/>
          <p:nvPr/>
        </p:nvSpPr>
        <p:spPr>
          <a:xfrm>
            <a:off x="7874528" y="6596435"/>
            <a:ext cx="4910741" cy="4571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algn="l" defTabSz="2438400">
              <a:spcBef>
                <a:spcPts val="2900"/>
              </a:spcBef>
              <a:buSzPct val="100000"/>
            </a:pPr>
            <a:r>
              <a:rPr lang="en-US" sz="1100" kern="0">
                <a:solidFill>
                  <a:srgbClr val="000000"/>
                </a:solidFill>
                <a:ea typeface="+mj-ea"/>
                <a:cs typeface="+mj-cs"/>
                <a:sym typeface="IBM Plex Sans Light"/>
              </a:rPr>
              <a:t>* Power App will be part of future phases.</a:t>
            </a:r>
          </a:p>
        </p:txBody>
      </p:sp>
      <p:sp>
        <p:nvSpPr>
          <p:cNvPr id="35" name="TextBox 34">
            <a:extLst>
              <a:ext uri="{FF2B5EF4-FFF2-40B4-BE49-F238E27FC236}">
                <a16:creationId xmlns:a16="http://schemas.microsoft.com/office/drawing/2014/main" id="{C91E3352-243C-018A-F89C-2AC6E850D804}"/>
              </a:ext>
            </a:extLst>
          </p:cNvPr>
          <p:cNvSpPr txBox="1"/>
          <p:nvPr/>
        </p:nvSpPr>
        <p:spPr>
          <a:xfrm>
            <a:off x="11783455" y="1092711"/>
            <a:ext cx="408545" cy="369332"/>
          </a:xfrm>
          <a:prstGeom prst="rect">
            <a:avLst/>
          </a:prstGeom>
          <a:noFill/>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a:spAutoFit/>
          </a:bodyPr>
          <a:lstStyle/>
          <a:p>
            <a:endParaRPr lang="en-US"/>
          </a:p>
        </p:txBody>
      </p:sp>
      <p:sp>
        <p:nvSpPr>
          <p:cNvPr id="40" name="TextBox 39">
            <a:extLst>
              <a:ext uri="{FF2B5EF4-FFF2-40B4-BE49-F238E27FC236}">
                <a16:creationId xmlns:a16="http://schemas.microsoft.com/office/drawing/2014/main" id="{954A66E9-8573-6ECB-9A67-FF2E593653F4}"/>
              </a:ext>
            </a:extLst>
          </p:cNvPr>
          <p:cNvSpPr txBox="1"/>
          <p:nvPr/>
        </p:nvSpPr>
        <p:spPr>
          <a:xfrm>
            <a:off x="9823938" y="1781908"/>
            <a:ext cx="2422453" cy="136914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marL="444465" indent="-446749" algn="l" defTabSz="2438400">
              <a:spcBef>
                <a:spcPts val="2900"/>
              </a:spcBef>
              <a:buSzPct val="100000"/>
              <a:buFontTx/>
              <a:buChar char="–"/>
            </a:pPr>
            <a:endParaRPr lang="en-US" kern="0">
              <a:solidFill>
                <a:srgbClr val="000000"/>
              </a:solidFill>
              <a:ea typeface="+mj-ea"/>
              <a:cs typeface="+mj-cs"/>
              <a:sym typeface="IBM Plex Sans Light"/>
            </a:endParaRPr>
          </a:p>
        </p:txBody>
      </p:sp>
      <p:grpSp>
        <p:nvGrpSpPr>
          <p:cNvPr id="62" name="Group 61">
            <a:extLst>
              <a:ext uri="{FF2B5EF4-FFF2-40B4-BE49-F238E27FC236}">
                <a16:creationId xmlns:a16="http://schemas.microsoft.com/office/drawing/2014/main" id="{BF2EB819-51C3-3F9D-7334-D9D0F7CD8171}"/>
              </a:ext>
            </a:extLst>
          </p:cNvPr>
          <p:cNvGrpSpPr/>
          <p:nvPr/>
        </p:nvGrpSpPr>
        <p:grpSpPr>
          <a:xfrm>
            <a:off x="289136" y="4287863"/>
            <a:ext cx="11883430" cy="2107101"/>
            <a:chOff x="362961" y="1092711"/>
            <a:chExt cx="11883430" cy="2107101"/>
          </a:xfrm>
        </p:grpSpPr>
        <p:sp>
          <p:nvSpPr>
            <p:cNvPr id="36" name="Rectangle: Rounded Corners 35">
              <a:extLst>
                <a:ext uri="{FF2B5EF4-FFF2-40B4-BE49-F238E27FC236}">
                  <a16:creationId xmlns:a16="http://schemas.microsoft.com/office/drawing/2014/main" id="{D74160C1-575B-2F00-AE95-C726AB3DA653}"/>
                </a:ext>
              </a:extLst>
            </p:cNvPr>
            <p:cNvSpPr/>
            <p:nvPr/>
          </p:nvSpPr>
          <p:spPr>
            <a:xfrm>
              <a:off x="2311908" y="1137335"/>
              <a:ext cx="9880091" cy="2062477"/>
            </a:xfrm>
            <a:prstGeom prst="roundRect">
              <a:avLst>
                <a:gd name="adj" fmla="val 0"/>
              </a:avLst>
            </a:prstGeom>
            <a:solidFill>
              <a:srgbClr val="F4F7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bg1"/>
                </a:solidFill>
                <a:latin typeface="Aptos" panose="020B0004020202020204" pitchFamily="34" charset="0"/>
              </a:endParaRPr>
            </a:p>
          </p:txBody>
        </p:sp>
        <p:sp>
          <p:nvSpPr>
            <p:cNvPr id="41" name="Rectangle 40">
              <a:extLst>
                <a:ext uri="{FF2B5EF4-FFF2-40B4-BE49-F238E27FC236}">
                  <a16:creationId xmlns:a16="http://schemas.microsoft.com/office/drawing/2014/main" id="{84AF4ECF-F14A-46F2-D2E3-EC26723EE0CA}"/>
                </a:ext>
              </a:extLst>
            </p:cNvPr>
            <p:cNvSpPr/>
            <p:nvPr/>
          </p:nvSpPr>
          <p:spPr>
            <a:xfrm>
              <a:off x="362961" y="1128257"/>
              <a:ext cx="1894555" cy="2071555"/>
            </a:xfrm>
            <a:prstGeom prst="rect">
              <a:avLst/>
            </a:prstGeom>
            <a:solidFill>
              <a:srgbClr val="F4F7F9"/>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r>
                <a:rPr lang="en-US" b="1">
                  <a:solidFill>
                    <a:schemeClr val="bg1"/>
                  </a:solidFill>
                  <a:latin typeface="Aptos" panose="020B0004020202020204" pitchFamily="34" charset="0"/>
                </a:rPr>
                <a:t>Consumption Layer </a:t>
              </a:r>
            </a:p>
            <a:p>
              <a:r>
                <a:rPr lang="en-US" sz="1200" b="1">
                  <a:solidFill>
                    <a:schemeClr val="bg1"/>
                  </a:solidFill>
                  <a:latin typeface="Aptos" panose="020B0004020202020204" pitchFamily="34" charset="0"/>
                </a:rPr>
                <a:t>(Desktop only)</a:t>
              </a:r>
              <a:endParaRPr lang="en-IN" sz="1200" b="1">
                <a:solidFill>
                  <a:schemeClr val="bg1"/>
                </a:solidFill>
                <a:latin typeface="Aptos" panose="020B0004020202020204" pitchFamily="34" charset="0"/>
              </a:endParaRPr>
            </a:p>
          </p:txBody>
        </p:sp>
        <p:sp>
          <p:nvSpPr>
            <p:cNvPr id="45" name="TextBox 44">
              <a:extLst>
                <a:ext uri="{FF2B5EF4-FFF2-40B4-BE49-F238E27FC236}">
                  <a16:creationId xmlns:a16="http://schemas.microsoft.com/office/drawing/2014/main" id="{AC85E602-A933-1EED-7B22-AEFCA5F56D5A}"/>
                </a:ext>
              </a:extLst>
            </p:cNvPr>
            <p:cNvSpPr txBox="1"/>
            <p:nvPr/>
          </p:nvSpPr>
          <p:spPr>
            <a:xfrm>
              <a:off x="2619909" y="1322360"/>
              <a:ext cx="8011301" cy="246221"/>
            </a:xfrm>
            <a:prstGeom prst="rect">
              <a:avLst/>
            </a:prstGeom>
          </p:spPr>
          <p:txBody>
            <a:bodyPr wrap="square" lIns="0" tIns="0" rIns="0" bIns="0" rtlCol="0">
              <a:spAutoFit/>
            </a:bodyPr>
            <a:lstStyle/>
            <a:p>
              <a:pPr algn="l"/>
              <a:r>
                <a:rPr lang="en-US" sz="1600" b="1">
                  <a:solidFill>
                    <a:schemeClr val="bg1"/>
                  </a:solidFill>
                  <a:latin typeface="Aptos" panose="020B0004020202020204" pitchFamily="34" charset="0"/>
                </a:rPr>
                <a:t>Overall - Power App Solution </a:t>
              </a:r>
              <a:endParaRPr lang="en-IN" sz="1600" b="1">
                <a:solidFill>
                  <a:schemeClr val="bg1"/>
                </a:solidFill>
                <a:latin typeface="Aptos" panose="020B0004020202020204" pitchFamily="34" charset="0"/>
              </a:endParaRPr>
            </a:p>
          </p:txBody>
        </p:sp>
        <p:pic>
          <p:nvPicPr>
            <p:cNvPr id="46" name="Picture 12" descr="Power BI icon PNG and SVG Vector Free Download">
              <a:extLst>
                <a:ext uri="{FF2B5EF4-FFF2-40B4-BE49-F238E27FC236}">
                  <a16:creationId xmlns:a16="http://schemas.microsoft.com/office/drawing/2014/main" id="{69C51820-A297-846C-C701-142D70E1A08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131984" y="1246471"/>
              <a:ext cx="298834" cy="298834"/>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14" descr="Microsoft Power Apps icon in Windows 11 Color Style">
              <a:extLst>
                <a:ext uri="{FF2B5EF4-FFF2-40B4-BE49-F238E27FC236}">
                  <a16:creationId xmlns:a16="http://schemas.microsoft.com/office/drawing/2014/main" id="{D611BF8F-0221-4461-59C6-E43F625D30F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746914" y="1246471"/>
              <a:ext cx="298834" cy="298834"/>
            </a:xfrm>
            <a:prstGeom prst="rect">
              <a:avLst/>
            </a:prstGeom>
            <a:noFill/>
            <a:extLst>
              <a:ext uri="{909E8E84-426E-40DD-AFC4-6F175D3DCCD1}">
                <a14:hiddenFill xmlns:a14="http://schemas.microsoft.com/office/drawing/2010/main">
                  <a:solidFill>
                    <a:srgbClr val="FFFFFF"/>
                  </a:solidFill>
                </a14:hiddenFill>
              </a:ext>
            </a:extLst>
          </p:spPr>
        </p:pic>
        <p:grpSp>
          <p:nvGrpSpPr>
            <p:cNvPr id="48" name="Group 47">
              <a:extLst>
                <a:ext uri="{FF2B5EF4-FFF2-40B4-BE49-F238E27FC236}">
                  <a16:creationId xmlns:a16="http://schemas.microsoft.com/office/drawing/2014/main" id="{617CCEAD-6E6D-450A-5956-BF6E991C7AC9}"/>
                </a:ext>
              </a:extLst>
            </p:cNvPr>
            <p:cNvGrpSpPr/>
            <p:nvPr/>
          </p:nvGrpSpPr>
          <p:grpSpPr>
            <a:xfrm>
              <a:off x="2619908" y="1779781"/>
              <a:ext cx="2178203" cy="983221"/>
              <a:chOff x="2619908" y="1779781"/>
              <a:chExt cx="2178203" cy="983221"/>
            </a:xfrm>
          </p:grpSpPr>
          <p:sp>
            <p:nvSpPr>
              <p:cNvPr id="49" name="Rectangle 48">
                <a:extLst>
                  <a:ext uri="{FF2B5EF4-FFF2-40B4-BE49-F238E27FC236}">
                    <a16:creationId xmlns:a16="http://schemas.microsoft.com/office/drawing/2014/main" id="{9BA1F2F5-BC7B-5AA6-6879-C37DB2CB8B6B}"/>
                  </a:ext>
                </a:extLst>
              </p:cNvPr>
              <p:cNvSpPr/>
              <p:nvPr/>
            </p:nvSpPr>
            <p:spPr>
              <a:xfrm>
                <a:off x="2619908" y="1779781"/>
                <a:ext cx="2178203" cy="298834"/>
              </a:xfrm>
              <a:prstGeom prst="rect">
                <a:avLst/>
              </a:prstGeom>
              <a:solidFill>
                <a:srgbClr val="CCEFF6"/>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200" b="1">
                    <a:solidFill>
                      <a:schemeClr val="bg1"/>
                    </a:solidFill>
                    <a:latin typeface="Aptos SemiBold" panose="020B0004020202020204" pitchFamily="34" charset="0"/>
                  </a:rPr>
                  <a:t>User Interface Designs</a:t>
                </a:r>
                <a:endParaRPr lang="en-IN" sz="1200" b="1">
                  <a:solidFill>
                    <a:schemeClr val="bg1"/>
                  </a:solidFill>
                  <a:latin typeface="Aptos SemiBold" panose="020B0004020202020204" pitchFamily="34" charset="0"/>
                </a:endParaRPr>
              </a:p>
            </p:txBody>
          </p:sp>
          <p:sp>
            <p:nvSpPr>
              <p:cNvPr id="50" name="TextBox 49">
                <a:extLst>
                  <a:ext uri="{FF2B5EF4-FFF2-40B4-BE49-F238E27FC236}">
                    <a16:creationId xmlns:a16="http://schemas.microsoft.com/office/drawing/2014/main" id="{04998E51-7CF9-E27B-94CA-710E9028DC9D}"/>
                  </a:ext>
                </a:extLst>
              </p:cNvPr>
              <p:cNvSpPr txBox="1"/>
              <p:nvPr/>
            </p:nvSpPr>
            <p:spPr>
              <a:xfrm>
                <a:off x="2619909" y="2209004"/>
                <a:ext cx="2023638" cy="553998"/>
              </a:xfrm>
              <a:prstGeom prst="rect">
                <a:avLst/>
              </a:prstGeom>
            </p:spPr>
            <p:txBody>
              <a:bodyPr wrap="square" lIns="0" tIns="0" rIns="0" bIns="0" rtlCol="0">
                <a:spAutoFit/>
              </a:bodyPr>
              <a:lstStyle/>
              <a:p>
                <a:pPr marL="285750" indent="-285750" algn="l">
                  <a:buFont typeface="Arial" panose="020B0604020202020204" pitchFamily="34" charset="0"/>
                  <a:buChar char="•"/>
                </a:pPr>
                <a:r>
                  <a:rPr lang="en-US" sz="1200">
                    <a:solidFill>
                      <a:schemeClr val="bg1"/>
                    </a:solidFill>
                    <a:latin typeface="Aptos" panose="020B0004020202020204" pitchFamily="34" charset="0"/>
                  </a:rPr>
                  <a:t>Power BI Reports</a:t>
                </a:r>
              </a:p>
              <a:p>
                <a:pPr marL="285750" indent="-285750" algn="l">
                  <a:buFont typeface="Arial" panose="020B0604020202020204" pitchFamily="34" charset="0"/>
                  <a:buChar char="•"/>
                </a:pPr>
                <a:r>
                  <a:rPr lang="en-US" sz="1200">
                    <a:solidFill>
                      <a:schemeClr val="bg1"/>
                    </a:solidFill>
                    <a:latin typeface="Aptos" panose="020B0004020202020204" pitchFamily="34" charset="0"/>
                  </a:rPr>
                  <a:t>Power App Screens</a:t>
                </a:r>
              </a:p>
              <a:p>
                <a:pPr marL="285750" indent="-285750" algn="l">
                  <a:buFont typeface="Arial" panose="020B0604020202020204" pitchFamily="34" charset="0"/>
                  <a:buChar char="•"/>
                </a:pPr>
                <a:r>
                  <a:rPr lang="en-US" sz="1200">
                    <a:solidFill>
                      <a:schemeClr val="bg1"/>
                    </a:solidFill>
                    <a:latin typeface="Aptos" panose="020B0004020202020204" pitchFamily="34" charset="0"/>
                  </a:rPr>
                  <a:t>Responsive Design</a:t>
                </a:r>
                <a:endParaRPr lang="en-IN" sz="1200">
                  <a:solidFill>
                    <a:schemeClr val="bg1"/>
                  </a:solidFill>
                  <a:latin typeface="Aptos" panose="020B0004020202020204" pitchFamily="34" charset="0"/>
                </a:endParaRPr>
              </a:p>
            </p:txBody>
          </p:sp>
        </p:grpSp>
        <p:grpSp>
          <p:nvGrpSpPr>
            <p:cNvPr id="51" name="Group 50">
              <a:extLst>
                <a:ext uri="{FF2B5EF4-FFF2-40B4-BE49-F238E27FC236}">
                  <a16:creationId xmlns:a16="http://schemas.microsoft.com/office/drawing/2014/main" id="{54F23A41-61F8-3879-F456-3CD129CE7016}"/>
                </a:ext>
              </a:extLst>
            </p:cNvPr>
            <p:cNvGrpSpPr/>
            <p:nvPr/>
          </p:nvGrpSpPr>
          <p:grpSpPr>
            <a:xfrm>
              <a:off x="5063201" y="1779781"/>
              <a:ext cx="2178202" cy="1165348"/>
              <a:chOff x="4925953" y="1779781"/>
              <a:chExt cx="2178202" cy="1165348"/>
            </a:xfrm>
          </p:grpSpPr>
          <p:sp>
            <p:nvSpPr>
              <p:cNvPr id="52" name="Rectangle 51">
                <a:extLst>
                  <a:ext uri="{FF2B5EF4-FFF2-40B4-BE49-F238E27FC236}">
                    <a16:creationId xmlns:a16="http://schemas.microsoft.com/office/drawing/2014/main" id="{DC3E4892-D88D-684A-782D-E64FF9ECB15D}"/>
                  </a:ext>
                </a:extLst>
              </p:cNvPr>
              <p:cNvSpPr/>
              <p:nvPr/>
            </p:nvSpPr>
            <p:spPr>
              <a:xfrm>
                <a:off x="4925953" y="1779781"/>
                <a:ext cx="2178202" cy="298834"/>
              </a:xfrm>
              <a:prstGeom prst="rect">
                <a:avLst/>
              </a:prstGeom>
              <a:solidFill>
                <a:srgbClr val="CCEFF6"/>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200" b="1">
                    <a:solidFill>
                      <a:schemeClr val="bg1"/>
                    </a:solidFill>
                    <a:latin typeface="Aptos SemiBold" panose="020B0004020202020204" pitchFamily="34" charset="0"/>
                  </a:rPr>
                  <a:t>Integrations</a:t>
                </a:r>
                <a:endParaRPr lang="en-IN" sz="1200" b="1">
                  <a:solidFill>
                    <a:schemeClr val="bg1"/>
                  </a:solidFill>
                  <a:latin typeface="Aptos SemiBold" panose="020B0004020202020204" pitchFamily="34" charset="0"/>
                </a:endParaRPr>
              </a:p>
            </p:txBody>
          </p:sp>
          <p:sp>
            <p:nvSpPr>
              <p:cNvPr id="53" name="TextBox 52">
                <a:extLst>
                  <a:ext uri="{FF2B5EF4-FFF2-40B4-BE49-F238E27FC236}">
                    <a16:creationId xmlns:a16="http://schemas.microsoft.com/office/drawing/2014/main" id="{5EDA3D22-265E-F24E-308A-2576E4339DDD}"/>
                  </a:ext>
                </a:extLst>
              </p:cNvPr>
              <p:cNvSpPr txBox="1"/>
              <p:nvPr/>
            </p:nvSpPr>
            <p:spPr>
              <a:xfrm>
                <a:off x="4970967" y="2206465"/>
                <a:ext cx="2023636" cy="738664"/>
              </a:xfrm>
              <a:prstGeom prst="rect">
                <a:avLst/>
              </a:prstGeom>
            </p:spPr>
            <p:txBody>
              <a:bodyPr wrap="square" lIns="0" tIns="0" rIns="0" bIns="0" rtlCol="0">
                <a:spAutoFit/>
              </a:bodyPr>
              <a:lstStyle/>
              <a:p>
                <a:pPr marL="285750" indent="-285750" algn="l">
                  <a:buFont typeface="Arial" panose="020B0604020202020204" pitchFamily="34" charset="0"/>
                  <a:buChar char="•"/>
                </a:pPr>
                <a:r>
                  <a:rPr lang="en-US" sz="1200">
                    <a:solidFill>
                      <a:schemeClr val="bg1"/>
                    </a:solidFill>
                    <a:latin typeface="Aptos" panose="020B0004020202020204" pitchFamily="34" charset="0"/>
                  </a:rPr>
                  <a:t>Power BI Integration with Databricks Unity Catalog</a:t>
                </a:r>
              </a:p>
              <a:p>
                <a:pPr marL="285750" indent="-285750" algn="l">
                  <a:buFont typeface="Arial" panose="020B0604020202020204" pitchFamily="34" charset="0"/>
                  <a:buChar char="•"/>
                </a:pPr>
                <a:r>
                  <a:rPr lang="en-US" sz="1200">
                    <a:solidFill>
                      <a:schemeClr val="bg1"/>
                    </a:solidFill>
                    <a:latin typeface="Aptos" panose="020B0004020202020204" pitchFamily="34" charset="0"/>
                  </a:rPr>
                  <a:t>Power App and Power BI Integration</a:t>
                </a:r>
                <a:endParaRPr lang="en-IN" sz="1200">
                  <a:solidFill>
                    <a:schemeClr val="bg1"/>
                  </a:solidFill>
                  <a:latin typeface="Aptos" panose="020B0004020202020204" pitchFamily="34" charset="0"/>
                </a:endParaRPr>
              </a:p>
            </p:txBody>
          </p:sp>
        </p:grpSp>
        <p:pic>
          <p:nvPicPr>
            <p:cNvPr id="54" name="Picture 2" descr="Power automate Icons, Logos, Symbols – Free Download PNG, SVG">
              <a:extLst>
                <a:ext uri="{FF2B5EF4-FFF2-40B4-BE49-F238E27FC236}">
                  <a16:creationId xmlns:a16="http://schemas.microsoft.com/office/drawing/2014/main" id="{A6556FBB-C4F7-C9D0-2A8A-EBF012EC232D}"/>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1517054" y="1229797"/>
              <a:ext cx="385024" cy="385024"/>
            </a:xfrm>
            <a:prstGeom prst="rect">
              <a:avLst/>
            </a:prstGeom>
            <a:noFill/>
            <a:extLst>
              <a:ext uri="{909E8E84-426E-40DD-AFC4-6F175D3DCCD1}">
                <a14:hiddenFill xmlns:a14="http://schemas.microsoft.com/office/drawing/2010/main">
                  <a:solidFill>
                    <a:srgbClr val="FFFFFF"/>
                  </a:solidFill>
                </a14:hiddenFill>
              </a:ext>
            </a:extLst>
          </p:spPr>
        </p:pic>
        <p:grpSp>
          <p:nvGrpSpPr>
            <p:cNvPr id="55" name="Group 54">
              <a:extLst>
                <a:ext uri="{FF2B5EF4-FFF2-40B4-BE49-F238E27FC236}">
                  <a16:creationId xmlns:a16="http://schemas.microsoft.com/office/drawing/2014/main" id="{F978A6C5-D175-8687-26EB-313F3BF55610}"/>
                </a:ext>
              </a:extLst>
            </p:cNvPr>
            <p:cNvGrpSpPr/>
            <p:nvPr/>
          </p:nvGrpSpPr>
          <p:grpSpPr>
            <a:xfrm>
              <a:off x="7506493" y="1779781"/>
              <a:ext cx="2178445" cy="1350014"/>
              <a:chOff x="7231754" y="1779781"/>
              <a:chExt cx="2178445" cy="1350014"/>
            </a:xfrm>
          </p:grpSpPr>
          <p:sp>
            <p:nvSpPr>
              <p:cNvPr id="56" name="Rectangle 55">
                <a:extLst>
                  <a:ext uri="{FF2B5EF4-FFF2-40B4-BE49-F238E27FC236}">
                    <a16:creationId xmlns:a16="http://schemas.microsoft.com/office/drawing/2014/main" id="{CA5B8A77-FDC0-94BC-98D0-BB254E1F54FB}"/>
                  </a:ext>
                </a:extLst>
              </p:cNvPr>
              <p:cNvSpPr/>
              <p:nvPr/>
            </p:nvSpPr>
            <p:spPr>
              <a:xfrm>
                <a:off x="7231997" y="1779781"/>
                <a:ext cx="2178202" cy="298834"/>
              </a:xfrm>
              <a:prstGeom prst="rect">
                <a:avLst/>
              </a:prstGeom>
              <a:solidFill>
                <a:srgbClr val="CCEFF6"/>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200" b="1">
                    <a:solidFill>
                      <a:schemeClr val="bg1"/>
                    </a:solidFill>
                    <a:latin typeface="Aptos SemiBold" panose="020B0004020202020204" pitchFamily="34" charset="0"/>
                  </a:rPr>
                  <a:t>Data Store to Customer 360</a:t>
                </a:r>
                <a:endParaRPr lang="en-IN" sz="1200" b="1">
                  <a:solidFill>
                    <a:schemeClr val="bg1"/>
                  </a:solidFill>
                  <a:latin typeface="Aptos SemiBold" panose="020B0004020202020204" pitchFamily="34" charset="0"/>
                </a:endParaRPr>
              </a:p>
            </p:txBody>
          </p:sp>
          <p:sp>
            <p:nvSpPr>
              <p:cNvPr id="57" name="TextBox 56">
                <a:extLst>
                  <a:ext uri="{FF2B5EF4-FFF2-40B4-BE49-F238E27FC236}">
                    <a16:creationId xmlns:a16="http://schemas.microsoft.com/office/drawing/2014/main" id="{F5880F4D-0042-411B-2DE3-F64C5CEE0819}"/>
                  </a:ext>
                </a:extLst>
              </p:cNvPr>
              <p:cNvSpPr txBox="1"/>
              <p:nvPr/>
            </p:nvSpPr>
            <p:spPr>
              <a:xfrm>
                <a:off x="7231754" y="2206465"/>
                <a:ext cx="2178203" cy="923330"/>
              </a:xfrm>
              <a:prstGeom prst="rect">
                <a:avLst/>
              </a:prstGeom>
            </p:spPr>
            <p:txBody>
              <a:bodyPr wrap="square" lIns="0" tIns="0" rIns="0" bIns="0" rtlCol="0">
                <a:spAutoFit/>
              </a:bodyPr>
              <a:lstStyle/>
              <a:p>
                <a:pPr marL="285750" indent="-285750" algn="l">
                  <a:buFont typeface="Arial" panose="020B0604020202020204" pitchFamily="34" charset="0"/>
                  <a:buChar char="•"/>
                </a:pPr>
                <a:r>
                  <a:rPr lang="en-US" sz="1200">
                    <a:solidFill>
                      <a:schemeClr val="bg1"/>
                    </a:solidFill>
                    <a:latin typeface="Aptos" panose="020B0004020202020204" pitchFamily="34" charset="0"/>
                  </a:rPr>
                  <a:t>Power App data inputs sync back to semantic layer (customer 360 app) through Dataverse, SharePoint, and power automate</a:t>
                </a:r>
              </a:p>
            </p:txBody>
          </p:sp>
        </p:grpSp>
        <p:sp>
          <p:nvSpPr>
            <p:cNvPr id="58" name="TextBox 57">
              <a:extLst>
                <a:ext uri="{FF2B5EF4-FFF2-40B4-BE49-F238E27FC236}">
                  <a16:creationId xmlns:a16="http://schemas.microsoft.com/office/drawing/2014/main" id="{E120FA51-70C7-FC13-3E8B-DDBB10A58F4F}"/>
                </a:ext>
              </a:extLst>
            </p:cNvPr>
            <p:cNvSpPr txBox="1"/>
            <p:nvPr/>
          </p:nvSpPr>
          <p:spPr>
            <a:xfrm>
              <a:off x="11783455" y="1092711"/>
              <a:ext cx="408545" cy="369332"/>
            </a:xfrm>
            <a:prstGeom prst="rect">
              <a:avLst/>
            </a:prstGeom>
            <a:noFill/>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a:spAutoFit/>
            </a:bodyPr>
            <a:lstStyle/>
            <a:p>
              <a:r>
                <a:rPr lang="en-US" kern="0">
                  <a:solidFill>
                    <a:srgbClr val="000000"/>
                  </a:solidFill>
                  <a:ea typeface="+mj-ea"/>
                  <a:cs typeface="+mj-cs"/>
                  <a:sym typeface="IBM Plex Sans Light"/>
                </a:rPr>
                <a:t>*</a:t>
              </a:r>
              <a:endParaRPr lang="en-US"/>
            </a:p>
          </p:txBody>
        </p:sp>
        <p:sp>
          <p:nvSpPr>
            <p:cNvPr id="59" name="TextBox 58">
              <a:extLst>
                <a:ext uri="{FF2B5EF4-FFF2-40B4-BE49-F238E27FC236}">
                  <a16:creationId xmlns:a16="http://schemas.microsoft.com/office/drawing/2014/main" id="{E2F78D91-5311-95B2-2EB3-20DE1B461EBC}"/>
                </a:ext>
              </a:extLst>
            </p:cNvPr>
            <p:cNvSpPr txBox="1"/>
            <p:nvPr/>
          </p:nvSpPr>
          <p:spPr>
            <a:xfrm>
              <a:off x="9823938" y="1781908"/>
              <a:ext cx="2422453" cy="136914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marL="444465" indent="-446749" algn="l" defTabSz="2438400">
                <a:spcBef>
                  <a:spcPts val="2900"/>
                </a:spcBef>
                <a:buSzPct val="100000"/>
                <a:buFontTx/>
                <a:buChar char="–"/>
              </a:pPr>
              <a:endParaRPr lang="en-US" kern="0">
                <a:solidFill>
                  <a:srgbClr val="000000"/>
                </a:solidFill>
                <a:ea typeface="+mj-ea"/>
                <a:cs typeface="+mj-cs"/>
                <a:sym typeface="IBM Plex Sans Light"/>
              </a:endParaRPr>
            </a:p>
          </p:txBody>
        </p:sp>
        <p:sp>
          <p:nvSpPr>
            <p:cNvPr id="60" name="Rectangle 59">
              <a:extLst>
                <a:ext uri="{FF2B5EF4-FFF2-40B4-BE49-F238E27FC236}">
                  <a16:creationId xmlns:a16="http://schemas.microsoft.com/office/drawing/2014/main" id="{A168D262-1435-D0E8-2956-A6522B251F24}"/>
                </a:ext>
              </a:extLst>
            </p:cNvPr>
            <p:cNvSpPr/>
            <p:nvPr/>
          </p:nvSpPr>
          <p:spPr>
            <a:xfrm>
              <a:off x="9931423" y="1779781"/>
              <a:ext cx="2178202" cy="298834"/>
            </a:xfrm>
            <a:prstGeom prst="rect">
              <a:avLst/>
            </a:prstGeom>
            <a:solidFill>
              <a:srgbClr val="CCEFF6"/>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200" b="1">
                  <a:solidFill>
                    <a:schemeClr val="bg1"/>
                  </a:solidFill>
                  <a:latin typeface="Aptos SemiBold" panose="020B0004020202020204" pitchFamily="34" charset="0"/>
                </a:rPr>
                <a:t>Alerts/ Notifications*</a:t>
              </a:r>
              <a:endParaRPr lang="en-IN" sz="1200" b="1">
                <a:solidFill>
                  <a:schemeClr val="bg1"/>
                </a:solidFill>
                <a:latin typeface="Aptos SemiBold" panose="020B0004020202020204" pitchFamily="34" charset="0"/>
              </a:endParaRPr>
            </a:p>
          </p:txBody>
        </p:sp>
        <p:sp>
          <p:nvSpPr>
            <p:cNvPr id="61" name="TextBox 60">
              <a:extLst>
                <a:ext uri="{FF2B5EF4-FFF2-40B4-BE49-F238E27FC236}">
                  <a16:creationId xmlns:a16="http://schemas.microsoft.com/office/drawing/2014/main" id="{E72CE81A-3141-6397-8B12-913722FA46B1}"/>
                </a:ext>
              </a:extLst>
            </p:cNvPr>
            <p:cNvSpPr txBox="1"/>
            <p:nvPr/>
          </p:nvSpPr>
          <p:spPr>
            <a:xfrm>
              <a:off x="9925844" y="2164083"/>
              <a:ext cx="2178203" cy="553998"/>
            </a:xfrm>
            <a:prstGeom prst="rect">
              <a:avLst/>
            </a:prstGeom>
          </p:spPr>
          <p:txBody>
            <a:bodyPr wrap="square" lIns="0" tIns="0" rIns="0" bIns="0" rtlCol="0">
              <a:spAutoFit/>
            </a:bodyPr>
            <a:lstStyle/>
            <a:p>
              <a:pPr marL="285750" indent="-285750" algn="l">
                <a:buFont typeface="Arial" panose="020B0604020202020204" pitchFamily="34" charset="0"/>
                <a:buChar char="•"/>
              </a:pPr>
              <a:r>
                <a:rPr lang="en-US" sz="1200">
                  <a:solidFill>
                    <a:schemeClr val="bg1"/>
                  </a:solidFill>
                  <a:latin typeface="Aptos" panose="020B0004020202020204" pitchFamily="34" charset="0"/>
                </a:rPr>
                <a:t>Power Automate and Azure functions enabled email notifications</a:t>
              </a:r>
              <a:endParaRPr lang="en-IN" sz="1200">
                <a:solidFill>
                  <a:schemeClr val="bg1"/>
                </a:solidFill>
                <a:latin typeface="Aptos" panose="020B0004020202020204" pitchFamily="34" charset="0"/>
              </a:endParaRPr>
            </a:p>
          </p:txBody>
        </p:sp>
      </p:grpSp>
    </p:spTree>
    <p:extLst>
      <p:ext uri="{BB962C8B-B14F-4D97-AF65-F5344CB8AC3E}">
        <p14:creationId xmlns:p14="http://schemas.microsoft.com/office/powerpoint/2010/main" val="239667366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538600-4723-FB2B-486E-9A14FCE005C4}"/>
            </a:ext>
          </a:extLst>
        </p:cNvPr>
        <p:cNvGrpSpPr/>
        <p:nvPr/>
      </p:nvGrpSpPr>
      <p:grpSpPr>
        <a:xfrm>
          <a:off x="0" y="0"/>
          <a:ext cx="0" cy="0"/>
          <a:chOff x="0" y="0"/>
          <a:chExt cx="0" cy="0"/>
        </a:xfrm>
      </p:grpSpPr>
      <p:sp>
        <p:nvSpPr>
          <p:cNvPr id="20" name="Rectangle 19">
            <a:extLst>
              <a:ext uri="{FF2B5EF4-FFF2-40B4-BE49-F238E27FC236}">
                <a16:creationId xmlns:a16="http://schemas.microsoft.com/office/drawing/2014/main" id="{330C6459-D786-C1B5-6949-7D9C3D9863B1}"/>
              </a:ext>
            </a:extLst>
          </p:cNvPr>
          <p:cNvSpPr/>
          <p:nvPr/>
        </p:nvSpPr>
        <p:spPr>
          <a:xfrm>
            <a:off x="3634676" y="1242327"/>
            <a:ext cx="6569846" cy="479819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IN">
              <a:solidFill>
                <a:schemeClr val="bg1"/>
              </a:solidFill>
              <a:latin typeface="Aptos" panose="020B0004020202020204" pitchFamily="34" charset="0"/>
            </a:endParaRPr>
          </a:p>
        </p:txBody>
      </p:sp>
      <p:sp>
        <p:nvSpPr>
          <p:cNvPr id="26" name="Rectangle 25">
            <a:extLst>
              <a:ext uri="{FF2B5EF4-FFF2-40B4-BE49-F238E27FC236}">
                <a16:creationId xmlns:a16="http://schemas.microsoft.com/office/drawing/2014/main" id="{25AE6085-A633-D41F-068B-B1548741482A}"/>
              </a:ext>
            </a:extLst>
          </p:cNvPr>
          <p:cNvSpPr/>
          <p:nvPr/>
        </p:nvSpPr>
        <p:spPr>
          <a:xfrm>
            <a:off x="3767239" y="1389383"/>
            <a:ext cx="1354254" cy="4104336"/>
          </a:xfrm>
          <a:prstGeom prst="rect">
            <a:avLst/>
          </a:prstGeom>
          <a:solidFill>
            <a:schemeClr val="tx1">
              <a:alpha val="77000"/>
            </a:schemeClr>
          </a:solidFill>
          <a:ln>
            <a:solidFill>
              <a:schemeClr val="tx2">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IN">
              <a:solidFill>
                <a:schemeClr val="bg1"/>
              </a:solidFill>
              <a:latin typeface="Aptos" panose="020B0004020202020204" pitchFamily="34" charset="0"/>
            </a:endParaRPr>
          </a:p>
        </p:txBody>
      </p:sp>
      <p:sp>
        <p:nvSpPr>
          <p:cNvPr id="28" name="Rectangle 27">
            <a:extLst>
              <a:ext uri="{FF2B5EF4-FFF2-40B4-BE49-F238E27FC236}">
                <a16:creationId xmlns:a16="http://schemas.microsoft.com/office/drawing/2014/main" id="{C08BC862-F1FB-F989-FBDA-ED9E47E9CAA6}"/>
              </a:ext>
            </a:extLst>
          </p:cNvPr>
          <p:cNvSpPr/>
          <p:nvPr/>
        </p:nvSpPr>
        <p:spPr>
          <a:xfrm>
            <a:off x="5209054" y="1389383"/>
            <a:ext cx="1454418" cy="4104336"/>
          </a:xfrm>
          <a:prstGeom prst="rect">
            <a:avLst/>
          </a:prstGeom>
          <a:solidFill>
            <a:schemeClr val="tx1">
              <a:alpha val="77000"/>
            </a:schemeClr>
          </a:solidFill>
          <a:ln>
            <a:solidFill>
              <a:schemeClr val="tx2">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IN">
              <a:solidFill>
                <a:schemeClr val="bg1"/>
              </a:solidFill>
              <a:latin typeface="Aptos" panose="020B0004020202020204" pitchFamily="34" charset="0"/>
            </a:endParaRPr>
          </a:p>
        </p:txBody>
      </p:sp>
      <p:sp>
        <p:nvSpPr>
          <p:cNvPr id="59" name="Rectangle 58">
            <a:extLst>
              <a:ext uri="{FF2B5EF4-FFF2-40B4-BE49-F238E27FC236}">
                <a16:creationId xmlns:a16="http://schemas.microsoft.com/office/drawing/2014/main" id="{15FDB899-329A-CD45-BF68-A6623A4D3C1F}"/>
              </a:ext>
            </a:extLst>
          </p:cNvPr>
          <p:cNvSpPr/>
          <p:nvPr/>
        </p:nvSpPr>
        <p:spPr>
          <a:xfrm>
            <a:off x="6805759" y="5085880"/>
            <a:ext cx="3342598" cy="644213"/>
          </a:xfrm>
          <a:prstGeom prst="rect">
            <a:avLst/>
          </a:prstGeom>
          <a:solidFill>
            <a:schemeClr val="tx1">
              <a:alpha val="77000"/>
            </a:schemeClr>
          </a:solidFill>
          <a:ln>
            <a:solidFill>
              <a:schemeClr val="tx2">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solidFill>
                  <a:schemeClr val="bg1"/>
                </a:solidFill>
                <a:latin typeface="Aptos" panose="020B0004020202020204" pitchFamily="34" charset="0"/>
              </a:rPr>
              <a:t>Analytics and Reporting Tables</a:t>
            </a:r>
          </a:p>
          <a:p>
            <a:pPr algn="ctr"/>
            <a:endParaRPr lang="en-IN" sz="1200">
              <a:solidFill>
                <a:schemeClr val="bg1"/>
              </a:solidFill>
              <a:latin typeface="Aptos" panose="020B0004020202020204" pitchFamily="34" charset="0"/>
            </a:endParaRPr>
          </a:p>
        </p:txBody>
      </p:sp>
      <p:sp>
        <p:nvSpPr>
          <p:cNvPr id="2" name="Rectangle 1">
            <a:extLst>
              <a:ext uri="{FF2B5EF4-FFF2-40B4-BE49-F238E27FC236}">
                <a16:creationId xmlns:a16="http://schemas.microsoft.com/office/drawing/2014/main" id="{EC52E68C-746D-FEAE-8E3F-9415F6F14857}"/>
              </a:ext>
            </a:extLst>
          </p:cNvPr>
          <p:cNvSpPr/>
          <p:nvPr/>
        </p:nvSpPr>
        <p:spPr>
          <a:xfrm>
            <a:off x="158785" y="1242329"/>
            <a:ext cx="1718067" cy="479818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IN">
              <a:solidFill>
                <a:schemeClr val="bg1"/>
              </a:solidFill>
              <a:latin typeface="Aptos" panose="020B0004020202020204" pitchFamily="34" charset="0"/>
            </a:endParaRPr>
          </a:p>
        </p:txBody>
      </p:sp>
      <p:sp>
        <p:nvSpPr>
          <p:cNvPr id="4" name="TextBox 3">
            <a:extLst>
              <a:ext uri="{FF2B5EF4-FFF2-40B4-BE49-F238E27FC236}">
                <a16:creationId xmlns:a16="http://schemas.microsoft.com/office/drawing/2014/main" id="{37C34182-4733-ECC9-BC17-50107264AC6C}"/>
              </a:ext>
            </a:extLst>
          </p:cNvPr>
          <p:cNvSpPr txBox="1"/>
          <p:nvPr/>
        </p:nvSpPr>
        <p:spPr>
          <a:xfrm>
            <a:off x="154110" y="896955"/>
            <a:ext cx="1718067" cy="307777"/>
          </a:xfrm>
          <a:prstGeom prst="rect">
            <a:avLst/>
          </a:prstGeom>
          <a:noFill/>
        </p:spPr>
        <p:txBody>
          <a:bodyPr wrap="square" rtlCol="0">
            <a:spAutoFit/>
          </a:bodyPr>
          <a:lstStyle/>
          <a:p>
            <a:pPr algn="ctr"/>
            <a:r>
              <a:rPr lang="en-US" sz="1400" b="1">
                <a:solidFill>
                  <a:schemeClr val="bg1"/>
                </a:solidFill>
                <a:latin typeface="Aptos SemiBold" panose="020B0004020202020204" pitchFamily="34" charset="0"/>
              </a:rPr>
              <a:t>Data Sources</a:t>
            </a:r>
            <a:endParaRPr lang="en-IN" sz="1400" b="1">
              <a:solidFill>
                <a:schemeClr val="bg1"/>
              </a:solidFill>
              <a:latin typeface="Aptos SemiBold" panose="020B0004020202020204" pitchFamily="34" charset="0"/>
            </a:endParaRPr>
          </a:p>
        </p:txBody>
      </p:sp>
      <p:sp>
        <p:nvSpPr>
          <p:cNvPr id="5" name="Flowchart: Magnetic Disk 4">
            <a:extLst>
              <a:ext uri="{FF2B5EF4-FFF2-40B4-BE49-F238E27FC236}">
                <a16:creationId xmlns:a16="http://schemas.microsoft.com/office/drawing/2014/main" id="{C57DD6CB-0770-ADDF-F3BA-091BB12AA005}"/>
              </a:ext>
            </a:extLst>
          </p:cNvPr>
          <p:cNvSpPr/>
          <p:nvPr/>
        </p:nvSpPr>
        <p:spPr>
          <a:xfrm>
            <a:off x="514849" y="1612709"/>
            <a:ext cx="996593" cy="421240"/>
          </a:xfrm>
          <a:prstGeom prst="flowChartMagneticDisk">
            <a:avLst/>
          </a:prstGeom>
          <a:solidFill>
            <a:schemeClr val="bg1"/>
          </a:solidFill>
          <a:ln w="9525">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IN">
              <a:solidFill>
                <a:schemeClr val="bg1"/>
              </a:solidFill>
              <a:latin typeface="Aptos" panose="020B0004020202020204" pitchFamily="34" charset="0"/>
            </a:endParaRPr>
          </a:p>
        </p:txBody>
      </p:sp>
      <p:sp>
        <p:nvSpPr>
          <p:cNvPr id="6" name="TextBox 5">
            <a:extLst>
              <a:ext uri="{FF2B5EF4-FFF2-40B4-BE49-F238E27FC236}">
                <a16:creationId xmlns:a16="http://schemas.microsoft.com/office/drawing/2014/main" id="{A6A8A697-2176-21BC-78C1-32597223967F}"/>
              </a:ext>
            </a:extLst>
          </p:cNvPr>
          <p:cNvSpPr txBox="1"/>
          <p:nvPr/>
        </p:nvSpPr>
        <p:spPr>
          <a:xfrm>
            <a:off x="158785" y="2131275"/>
            <a:ext cx="1718067" cy="261610"/>
          </a:xfrm>
          <a:prstGeom prst="rect">
            <a:avLst/>
          </a:prstGeom>
          <a:noFill/>
        </p:spPr>
        <p:txBody>
          <a:bodyPr wrap="square" rtlCol="0">
            <a:spAutoFit/>
          </a:bodyPr>
          <a:lstStyle/>
          <a:p>
            <a:pPr algn="ctr"/>
            <a:r>
              <a:rPr lang="en-US" sz="1100" b="1">
                <a:solidFill>
                  <a:schemeClr val="bg1"/>
                </a:solidFill>
                <a:latin typeface="Aptos" panose="020B0004020202020204" pitchFamily="34" charset="0"/>
              </a:rPr>
              <a:t>Databases</a:t>
            </a:r>
            <a:endParaRPr lang="en-IN" sz="1100" b="1">
              <a:solidFill>
                <a:schemeClr val="bg1"/>
              </a:solidFill>
              <a:latin typeface="Aptos" panose="020B0004020202020204" pitchFamily="34" charset="0"/>
            </a:endParaRPr>
          </a:p>
        </p:txBody>
      </p:sp>
      <p:sp>
        <p:nvSpPr>
          <p:cNvPr id="7" name="Flowchart: Multidocument 6">
            <a:extLst>
              <a:ext uri="{FF2B5EF4-FFF2-40B4-BE49-F238E27FC236}">
                <a16:creationId xmlns:a16="http://schemas.microsoft.com/office/drawing/2014/main" id="{CE9E9421-D20A-BC44-22A9-8EF6337479C7}"/>
              </a:ext>
            </a:extLst>
          </p:cNvPr>
          <p:cNvSpPr/>
          <p:nvPr/>
        </p:nvSpPr>
        <p:spPr>
          <a:xfrm>
            <a:off x="753896" y="2818144"/>
            <a:ext cx="433909" cy="505953"/>
          </a:xfrm>
          <a:prstGeom prst="flowChartMultidocument">
            <a:avLst/>
          </a:prstGeom>
          <a:solidFill>
            <a:schemeClr val="bg1"/>
          </a:solidFill>
          <a:ln w="9525">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IN">
              <a:solidFill>
                <a:schemeClr val="bg1"/>
              </a:solidFill>
              <a:latin typeface="Aptos" panose="020B0004020202020204" pitchFamily="34" charset="0"/>
            </a:endParaRPr>
          </a:p>
        </p:txBody>
      </p:sp>
      <p:sp>
        <p:nvSpPr>
          <p:cNvPr id="8" name="TextBox 7">
            <a:extLst>
              <a:ext uri="{FF2B5EF4-FFF2-40B4-BE49-F238E27FC236}">
                <a16:creationId xmlns:a16="http://schemas.microsoft.com/office/drawing/2014/main" id="{9D5B4176-282C-33D6-9C02-3B6E43630F27}"/>
              </a:ext>
            </a:extLst>
          </p:cNvPr>
          <p:cNvSpPr txBox="1"/>
          <p:nvPr/>
        </p:nvSpPr>
        <p:spPr>
          <a:xfrm>
            <a:off x="158785" y="3437601"/>
            <a:ext cx="1718067" cy="261610"/>
          </a:xfrm>
          <a:prstGeom prst="rect">
            <a:avLst/>
          </a:prstGeom>
          <a:noFill/>
        </p:spPr>
        <p:txBody>
          <a:bodyPr wrap="square" rtlCol="0">
            <a:spAutoFit/>
          </a:bodyPr>
          <a:lstStyle/>
          <a:p>
            <a:pPr algn="ctr"/>
            <a:r>
              <a:rPr lang="en-US" sz="1100" b="1">
                <a:solidFill>
                  <a:schemeClr val="bg1"/>
                </a:solidFill>
                <a:latin typeface="Aptos" panose="020B0004020202020204" pitchFamily="34" charset="0"/>
              </a:rPr>
              <a:t>Data Feeds/ Files</a:t>
            </a:r>
            <a:endParaRPr lang="en-IN" sz="1100" b="1">
              <a:solidFill>
                <a:schemeClr val="bg1"/>
              </a:solidFill>
              <a:latin typeface="Aptos" panose="020B0004020202020204" pitchFamily="34" charset="0"/>
            </a:endParaRPr>
          </a:p>
        </p:txBody>
      </p:sp>
      <p:pic>
        <p:nvPicPr>
          <p:cNvPr id="9" name="Picture 2" descr="Api - Free computer icons">
            <a:extLst>
              <a:ext uri="{FF2B5EF4-FFF2-40B4-BE49-F238E27FC236}">
                <a16:creationId xmlns:a16="http://schemas.microsoft.com/office/drawing/2014/main" id="{9D1BF50C-DA0C-1151-E023-BC19DC38A62F}"/>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3896" y="4056784"/>
            <a:ext cx="436729" cy="436729"/>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enterprise service bus Icon - Free PNG &amp; SVG 4344233 - Noun Project">
            <a:extLst>
              <a:ext uri="{FF2B5EF4-FFF2-40B4-BE49-F238E27FC236}">
                <a16:creationId xmlns:a16="http://schemas.microsoft.com/office/drawing/2014/main" id="{3708630B-99C7-108A-5638-572D618CDCF3}"/>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02646" y="4676962"/>
            <a:ext cx="513069" cy="513069"/>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1DE8335A-EE1F-DEC3-D9EB-AF702B57A992}"/>
              </a:ext>
            </a:extLst>
          </p:cNvPr>
          <p:cNvSpPr txBox="1"/>
          <p:nvPr/>
        </p:nvSpPr>
        <p:spPr>
          <a:xfrm>
            <a:off x="158785" y="5385577"/>
            <a:ext cx="1718067" cy="261610"/>
          </a:xfrm>
          <a:prstGeom prst="rect">
            <a:avLst/>
          </a:prstGeom>
          <a:noFill/>
        </p:spPr>
        <p:txBody>
          <a:bodyPr wrap="square" rtlCol="0">
            <a:spAutoFit/>
          </a:bodyPr>
          <a:lstStyle/>
          <a:p>
            <a:pPr algn="ctr"/>
            <a:r>
              <a:rPr lang="en-US" sz="1100" b="1">
                <a:solidFill>
                  <a:schemeClr val="bg1"/>
                </a:solidFill>
                <a:latin typeface="Aptos" panose="020B0004020202020204" pitchFamily="34" charset="0"/>
              </a:rPr>
              <a:t>Enterprise Message Bus</a:t>
            </a:r>
            <a:endParaRPr lang="en-IN" sz="1100" b="1">
              <a:solidFill>
                <a:schemeClr val="bg1"/>
              </a:solidFill>
              <a:latin typeface="Aptos" panose="020B0004020202020204" pitchFamily="34" charset="0"/>
            </a:endParaRPr>
          </a:p>
        </p:txBody>
      </p:sp>
      <p:sp>
        <p:nvSpPr>
          <p:cNvPr id="12" name="Rectangle 11">
            <a:extLst>
              <a:ext uri="{FF2B5EF4-FFF2-40B4-BE49-F238E27FC236}">
                <a16:creationId xmlns:a16="http://schemas.microsoft.com/office/drawing/2014/main" id="{B17D2672-B301-1C1B-9FB8-D00E79BAA592}"/>
              </a:ext>
            </a:extLst>
          </p:cNvPr>
          <p:cNvSpPr/>
          <p:nvPr/>
        </p:nvSpPr>
        <p:spPr>
          <a:xfrm>
            <a:off x="1960345" y="1231449"/>
            <a:ext cx="1578801" cy="480906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IN">
              <a:solidFill>
                <a:schemeClr val="bg1"/>
              </a:solidFill>
              <a:latin typeface="Aptos" panose="020B0004020202020204" pitchFamily="34" charset="0"/>
            </a:endParaRPr>
          </a:p>
        </p:txBody>
      </p:sp>
      <p:sp>
        <p:nvSpPr>
          <p:cNvPr id="13" name="TextBox 12">
            <a:extLst>
              <a:ext uri="{FF2B5EF4-FFF2-40B4-BE49-F238E27FC236}">
                <a16:creationId xmlns:a16="http://schemas.microsoft.com/office/drawing/2014/main" id="{B5CFD797-BD93-8D9C-3455-DFB5C129DDC7}"/>
              </a:ext>
            </a:extLst>
          </p:cNvPr>
          <p:cNvSpPr txBox="1"/>
          <p:nvPr/>
        </p:nvSpPr>
        <p:spPr>
          <a:xfrm>
            <a:off x="1960345" y="917616"/>
            <a:ext cx="1488574" cy="307777"/>
          </a:xfrm>
          <a:prstGeom prst="rect">
            <a:avLst/>
          </a:prstGeom>
          <a:noFill/>
        </p:spPr>
        <p:txBody>
          <a:bodyPr wrap="square" rtlCol="0">
            <a:spAutoFit/>
          </a:bodyPr>
          <a:lstStyle/>
          <a:p>
            <a:pPr algn="ctr"/>
            <a:r>
              <a:rPr lang="en-US" sz="1400" b="1">
                <a:solidFill>
                  <a:schemeClr val="bg1"/>
                </a:solidFill>
                <a:latin typeface="Aptos SemiBold" panose="020B0004020202020204" pitchFamily="34" charset="0"/>
              </a:rPr>
              <a:t>Data Integration</a:t>
            </a:r>
            <a:endParaRPr lang="en-IN" sz="1400" b="1">
              <a:solidFill>
                <a:schemeClr val="bg1"/>
              </a:solidFill>
              <a:latin typeface="Aptos SemiBold" panose="020B0004020202020204" pitchFamily="34" charset="0"/>
            </a:endParaRPr>
          </a:p>
        </p:txBody>
      </p:sp>
      <p:sp>
        <p:nvSpPr>
          <p:cNvPr id="14" name="TextBox 13">
            <a:extLst>
              <a:ext uri="{FF2B5EF4-FFF2-40B4-BE49-F238E27FC236}">
                <a16:creationId xmlns:a16="http://schemas.microsoft.com/office/drawing/2014/main" id="{C781D298-58AD-921D-23A2-B68BB3640944}"/>
              </a:ext>
            </a:extLst>
          </p:cNvPr>
          <p:cNvSpPr txBox="1"/>
          <p:nvPr/>
        </p:nvSpPr>
        <p:spPr>
          <a:xfrm>
            <a:off x="1894393" y="2109314"/>
            <a:ext cx="1718067" cy="261610"/>
          </a:xfrm>
          <a:prstGeom prst="rect">
            <a:avLst/>
          </a:prstGeom>
          <a:noFill/>
        </p:spPr>
        <p:txBody>
          <a:bodyPr wrap="square" rtlCol="0">
            <a:spAutoFit/>
          </a:bodyPr>
          <a:lstStyle/>
          <a:p>
            <a:pPr algn="ctr"/>
            <a:r>
              <a:rPr lang="en-US" sz="1100" b="1">
                <a:solidFill>
                  <a:schemeClr val="bg1"/>
                </a:solidFill>
                <a:latin typeface="Aptos" panose="020B0004020202020204" pitchFamily="34" charset="0"/>
              </a:rPr>
              <a:t>Application Integration</a:t>
            </a:r>
            <a:endParaRPr lang="en-IN" sz="1100" b="1">
              <a:solidFill>
                <a:schemeClr val="bg1"/>
              </a:solidFill>
              <a:latin typeface="Aptos" panose="020B0004020202020204" pitchFamily="34" charset="0"/>
            </a:endParaRPr>
          </a:p>
        </p:txBody>
      </p:sp>
      <p:sp>
        <p:nvSpPr>
          <p:cNvPr id="15" name="TextBox 14">
            <a:extLst>
              <a:ext uri="{FF2B5EF4-FFF2-40B4-BE49-F238E27FC236}">
                <a16:creationId xmlns:a16="http://schemas.microsoft.com/office/drawing/2014/main" id="{F07BF6F9-46ED-210D-B88D-BC37BA4277C2}"/>
              </a:ext>
            </a:extLst>
          </p:cNvPr>
          <p:cNvSpPr txBox="1"/>
          <p:nvPr/>
        </p:nvSpPr>
        <p:spPr>
          <a:xfrm>
            <a:off x="1821080" y="3437601"/>
            <a:ext cx="1718067" cy="261610"/>
          </a:xfrm>
          <a:prstGeom prst="rect">
            <a:avLst/>
          </a:prstGeom>
          <a:noFill/>
        </p:spPr>
        <p:txBody>
          <a:bodyPr wrap="square" rtlCol="0">
            <a:spAutoFit/>
          </a:bodyPr>
          <a:lstStyle/>
          <a:p>
            <a:pPr algn="ctr"/>
            <a:r>
              <a:rPr lang="en-US" sz="1100" b="1">
                <a:solidFill>
                  <a:schemeClr val="bg1"/>
                </a:solidFill>
                <a:latin typeface="Aptos" panose="020B0004020202020204" pitchFamily="34" charset="0"/>
              </a:rPr>
              <a:t>ETL/ ELT Tools</a:t>
            </a:r>
            <a:endParaRPr lang="en-IN" sz="1100" b="1">
              <a:solidFill>
                <a:schemeClr val="bg1"/>
              </a:solidFill>
              <a:latin typeface="Aptos" panose="020B0004020202020204" pitchFamily="34" charset="0"/>
            </a:endParaRPr>
          </a:p>
        </p:txBody>
      </p:sp>
      <p:sp>
        <p:nvSpPr>
          <p:cNvPr id="16" name="TextBox 15">
            <a:extLst>
              <a:ext uri="{FF2B5EF4-FFF2-40B4-BE49-F238E27FC236}">
                <a16:creationId xmlns:a16="http://schemas.microsoft.com/office/drawing/2014/main" id="{8D9EA3E6-3165-D79F-0C24-BE43F0E86061}"/>
              </a:ext>
            </a:extLst>
          </p:cNvPr>
          <p:cNvSpPr txBox="1"/>
          <p:nvPr/>
        </p:nvSpPr>
        <p:spPr>
          <a:xfrm>
            <a:off x="1892286" y="5390344"/>
            <a:ext cx="1718067" cy="430887"/>
          </a:xfrm>
          <a:prstGeom prst="rect">
            <a:avLst/>
          </a:prstGeom>
          <a:noFill/>
        </p:spPr>
        <p:txBody>
          <a:bodyPr wrap="square" rtlCol="0">
            <a:spAutoFit/>
          </a:bodyPr>
          <a:lstStyle/>
          <a:p>
            <a:pPr algn="ctr"/>
            <a:r>
              <a:rPr lang="en-US" sz="1100" b="1">
                <a:solidFill>
                  <a:schemeClr val="bg1"/>
                </a:solidFill>
                <a:latin typeface="Aptos" panose="020B0004020202020204" pitchFamily="34" charset="0"/>
              </a:rPr>
              <a:t>Cloud Integration Services</a:t>
            </a:r>
            <a:endParaRPr lang="en-IN" sz="1100" b="1">
              <a:solidFill>
                <a:schemeClr val="bg1"/>
              </a:solidFill>
              <a:latin typeface="Aptos" panose="020B0004020202020204" pitchFamily="34" charset="0"/>
            </a:endParaRPr>
          </a:p>
        </p:txBody>
      </p:sp>
      <p:pic>
        <p:nvPicPr>
          <p:cNvPr id="17" name="Picture 6" descr="Cloud computing - Free networking icons">
            <a:extLst>
              <a:ext uri="{FF2B5EF4-FFF2-40B4-BE49-F238E27FC236}">
                <a16:creationId xmlns:a16="http://schemas.microsoft.com/office/drawing/2014/main" id="{CFB0C3CE-66C8-CE35-8AF9-C242007301A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456079" y="4646147"/>
            <a:ext cx="575353" cy="575353"/>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8" descr="Etl Icons - Free SVG &amp; PNG Etl Images - Noun Project">
            <a:extLst>
              <a:ext uri="{FF2B5EF4-FFF2-40B4-BE49-F238E27FC236}">
                <a16:creationId xmlns:a16="http://schemas.microsoft.com/office/drawing/2014/main" id="{BF0950ED-6ECE-9F80-4576-1368B4846880}"/>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469710" y="2833161"/>
            <a:ext cx="475919" cy="475919"/>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0" descr="integration&quot; Icon - Download for free – Iconduck">
            <a:extLst>
              <a:ext uri="{FF2B5EF4-FFF2-40B4-BE49-F238E27FC236}">
                <a16:creationId xmlns:a16="http://schemas.microsoft.com/office/drawing/2014/main" id="{C239426B-FBCA-41C7-84A3-79FD25B966F8}"/>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552596" y="1592387"/>
            <a:ext cx="433445" cy="461885"/>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a:extLst>
              <a:ext uri="{FF2B5EF4-FFF2-40B4-BE49-F238E27FC236}">
                <a16:creationId xmlns:a16="http://schemas.microsoft.com/office/drawing/2014/main" id="{CBB11671-15B8-64D8-EDED-303C6C40F90E}"/>
              </a:ext>
            </a:extLst>
          </p:cNvPr>
          <p:cNvSpPr/>
          <p:nvPr/>
        </p:nvSpPr>
        <p:spPr>
          <a:xfrm>
            <a:off x="10266168" y="1242327"/>
            <a:ext cx="1762537" cy="2398787"/>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IN">
              <a:solidFill>
                <a:schemeClr val="bg1"/>
              </a:solidFill>
              <a:latin typeface="Aptos" panose="020B0004020202020204" pitchFamily="34" charset="0"/>
            </a:endParaRPr>
          </a:p>
        </p:txBody>
      </p:sp>
      <p:sp>
        <p:nvSpPr>
          <p:cNvPr id="27" name="TextBox 26">
            <a:extLst>
              <a:ext uri="{FF2B5EF4-FFF2-40B4-BE49-F238E27FC236}">
                <a16:creationId xmlns:a16="http://schemas.microsoft.com/office/drawing/2014/main" id="{D0903DB6-03AF-AAF0-9542-46D433A7D301}"/>
              </a:ext>
            </a:extLst>
          </p:cNvPr>
          <p:cNvSpPr txBox="1"/>
          <p:nvPr/>
        </p:nvSpPr>
        <p:spPr>
          <a:xfrm>
            <a:off x="3841466" y="5053603"/>
            <a:ext cx="1354255" cy="261610"/>
          </a:xfrm>
          <a:prstGeom prst="rect">
            <a:avLst/>
          </a:prstGeom>
          <a:noFill/>
        </p:spPr>
        <p:txBody>
          <a:bodyPr wrap="square" rtlCol="0">
            <a:spAutoFit/>
          </a:bodyPr>
          <a:lstStyle/>
          <a:p>
            <a:pPr algn="ctr"/>
            <a:r>
              <a:rPr lang="en-US" sz="1100" b="1">
                <a:solidFill>
                  <a:schemeClr val="bg1"/>
                </a:solidFill>
                <a:latin typeface="Aptos" panose="020B0004020202020204" pitchFamily="34" charset="0"/>
              </a:rPr>
              <a:t>Bronze (Raw)</a:t>
            </a:r>
            <a:endParaRPr lang="en-IN" sz="1100" b="1">
              <a:solidFill>
                <a:schemeClr val="bg1"/>
              </a:solidFill>
              <a:latin typeface="Aptos" panose="020B0004020202020204" pitchFamily="34" charset="0"/>
            </a:endParaRPr>
          </a:p>
        </p:txBody>
      </p:sp>
      <p:sp>
        <p:nvSpPr>
          <p:cNvPr id="29" name="TextBox 28">
            <a:extLst>
              <a:ext uri="{FF2B5EF4-FFF2-40B4-BE49-F238E27FC236}">
                <a16:creationId xmlns:a16="http://schemas.microsoft.com/office/drawing/2014/main" id="{D7EC2BBA-AA67-7847-8E4B-E4066EAB8EF6}"/>
              </a:ext>
            </a:extLst>
          </p:cNvPr>
          <p:cNvSpPr txBox="1"/>
          <p:nvPr/>
        </p:nvSpPr>
        <p:spPr>
          <a:xfrm>
            <a:off x="5225519" y="5052878"/>
            <a:ext cx="1454418" cy="261610"/>
          </a:xfrm>
          <a:prstGeom prst="rect">
            <a:avLst/>
          </a:prstGeom>
          <a:noFill/>
        </p:spPr>
        <p:txBody>
          <a:bodyPr wrap="square" rtlCol="0">
            <a:spAutoFit/>
          </a:bodyPr>
          <a:lstStyle/>
          <a:p>
            <a:pPr algn="ctr"/>
            <a:r>
              <a:rPr lang="en-US" sz="1100" b="1">
                <a:solidFill>
                  <a:schemeClr val="bg1"/>
                </a:solidFill>
                <a:latin typeface="Aptos" panose="020B0004020202020204" pitchFamily="34" charset="0"/>
              </a:rPr>
              <a:t>Silver (Cleansed)</a:t>
            </a:r>
            <a:endParaRPr lang="en-IN" sz="1100" b="1">
              <a:solidFill>
                <a:schemeClr val="bg1"/>
              </a:solidFill>
              <a:latin typeface="Aptos" panose="020B0004020202020204" pitchFamily="34" charset="0"/>
            </a:endParaRPr>
          </a:p>
        </p:txBody>
      </p:sp>
      <p:sp>
        <p:nvSpPr>
          <p:cNvPr id="30" name="Rectangle 29">
            <a:extLst>
              <a:ext uri="{FF2B5EF4-FFF2-40B4-BE49-F238E27FC236}">
                <a16:creationId xmlns:a16="http://schemas.microsoft.com/office/drawing/2014/main" id="{FA5690DC-4EF6-9757-0EEE-7BE1596CB8E7}"/>
              </a:ext>
            </a:extLst>
          </p:cNvPr>
          <p:cNvSpPr/>
          <p:nvPr/>
        </p:nvSpPr>
        <p:spPr>
          <a:xfrm>
            <a:off x="5321726" y="4553551"/>
            <a:ext cx="1140432" cy="8320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700">
                <a:solidFill>
                  <a:schemeClr val="bg1"/>
                </a:solidFill>
                <a:latin typeface="Aptos" panose="020B0004020202020204" pitchFamily="34" charset="0"/>
              </a:rPr>
              <a:t>CLEANSED, DQ VALIDATED, NORMALIZED, ENRICHED</a:t>
            </a:r>
            <a:endParaRPr lang="en-IN" sz="700">
              <a:solidFill>
                <a:schemeClr val="bg1"/>
              </a:solidFill>
              <a:latin typeface="Aptos" panose="020B0004020202020204" pitchFamily="34" charset="0"/>
            </a:endParaRPr>
          </a:p>
        </p:txBody>
      </p:sp>
      <p:sp>
        <p:nvSpPr>
          <p:cNvPr id="31" name="Rectangle 30">
            <a:extLst>
              <a:ext uri="{FF2B5EF4-FFF2-40B4-BE49-F238E27FC236}">
                <a16:creationId xmlns:a16="http://schemas.microsoft.com/office/drawing/2014/main" id="{1B738369-9158-DC18-B548-3F27D13E4A30}"/>
              </a:ext>
            </a:extLst>
          </p:cNvPr>
          <p:cNvSpPr/>
          <p:nvPr/>
        </p:nvSpPr>
        <p:spPr>
          <a:xfrm>
            <a:off x="6805759" y="1389380"/>
            <a:ext cx="3342598" cy="352942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IN">
              <a:solidFill>
                <a:schemeClr val="bg1"/>
              </a:solidFill>
              <a:latin typeface="Aptos" panose="020B0004020202020204" pitchFamily="34" charset="0"/>
            </a:endParaRPr>
          </a:p>
        </p:txBody>
      </p:sp>
      <p:sp>
        <p:nvSpPr>
          <p:cNvPr id="33" name="Rectangle 32">
            <a:extLst>
              <a:ext uri="{FF2B5EF4-FFF2-40B4-BE49-F238E27FC236}">
                <a16:creationId xmlns:a16="http://schemas.microsoft.com/office/drawing/2014/main" id="{41892F68-2488-2BD1-2D74-2ABD42F7D7D1}"/>
              </a:ext>
            </a:extLst>
          </p:cNvPr>
          <p:cNvSpPr/>
          <p:nvPr/>
        </p:nvSpPr>
        <p:spPr>
          <a:xfrm>
            <a:off x="6961027" y="1872994"/>
            <a:ext cx="1451912" cy="908609"/>
          </a:xfrm>
          <a:prstGeom prst="rect">
            <a:avLst/>
          </a:prstGeom>
          <a:solidFill>
            <a:schemeClr val="tx1">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b="1">
                <a:solidFill>
                  <a:schemeClr val="bg1"/>
                </a:solidFill>
                <a:latin typeface="Aptos" panose="020B0004020202020204" pitchFamily="34" charset="0"/>
              </a:rPr>
              <a:t>Customer Order: </a:t>
            </a:r>
            <a:r>
              <a:rPr lang="en-US" sz="1000">
                <a:solidFill>
                  <a:schemeClr val="bg1"/>
                </a:solidFill>
                <a:latin typeface="Aptos" panose="020B0004020202020204" pitchFamily="34" charset="0"/>
              </a:rPr>
              <a:t>Order Flow – SAP </a:t>
            </a:r>
          </a:p>
        </p:txBody>
      </p:sp>
      <p:sp>
        <p:nvSpPr>
          <p:cNvPr id="34" name="Rectangle 33">
            <a:extLst>
              <a:ext uri="{FF2B5EF4-FFF2-40B4-BE49-F238E27FC236}">
                <a16:creationId xmlns:a16="http://schemas.microsoft.com/office/drawing/2014/main" id="{595A1D83-2B91-E7A6-F7E3-0C7C43DE5C7A}"/>
              </a:ext>
            </a:extLst>
          </p:cNvPr>
          <p:cNvSpPr/>
          <p:nvPr/>
        </p:nvSpPr>
        <p:spPr>
          <a:xfrm>
            <a:off x="6896700" y="3079445"/>
            <a:ext cx="3171083" cy="1456774"/>
          </a:xfrm>
          <a:prstGeom prst="rect">
            <a:avLst/>
          </a:prstGeom>
          <a:solidFill>
            <a:schemeClr val="tx1">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228600" indent="-228600">
              <a:buAutoNum type="arabicPeriod"/>
            </a:pPr>
            <a:r>
              <a:rPr lang="en-US" sz="1000" b="1">
                <a:solidFill>
                  <a:schemeClr val="bg1"/>
                </a:solidFill>
                <a:latin typeface="Aptos" panose="020B0004020202020204" pitchFamily="34" charset="0"/>
              </a:rPr>
              <a:t>Customer Order flow – </a:t>
            </a:r>
            <a:r>
              <a:rPr lang="en-US" sz="1000">
                <a:solidFill>
                  <a:schemeClr val="bg1"/>
                </a:solidFill>
                <a:latin typeface="Aptos" panose="020B0004020202020204" pitchFamily="34" charset="0"/>
              </a:rPr>
              <a:t>TMS , WMS</a:t>
            </a:r>
          </a:p>
          <a:p>
            <a:pPr marL="228600" indent="-228600">
              <a:buAutoNum type="arabicPeriod"/>
            </a:pPr>
            <a:r>
              <a:rPr lang="en-US" sz="1000" b="1">
                <a:solidFill>
                  <a:schemeClr val="bg1"/>
                </a:solidFill>
                <a:latin typeface="Aptos" panose="020B0004020202020204" pitchFamily="34" charset="0"/>
              </a:rPr>
              <a:t>Shipping performance </a:t>
            </a:r>
            <a:r>
              <a:rPr lang="en-US" sz="1000">
                <a:solidFill>
                  <a:schemeClr val="bg1"/>
                </a:solidFill>
                <a:latin typeface="Aptos" panose="020B0004020202020204" pitchFamily="34" charset="0"/>
              </a:rPr>
              <a:t>&amp;</a:t>
            </a:r>
            <a:r>
              <a:rPr lang="en-US" sz="1000" b="1">
                <a:solidFill>
                  <a:schemeClr val="bg1"/>
                </a:solidFill>
                <a:latin typeface="Aptos" panose="020B0004020202020204" pitchFamily="34" charset="0"/>
              </a:rPr>
              <a:t> Forecast gap filling </a:t>
            </a:r>
          </a:p>
          <a:p>
            <a:pPr marL="228600" indent="-228600">
              <a:buAutoNum type="arabicPeriod"/>
            </a:pPr>
            <a:r>
              <a:rPr lang="en-US" sz="1000" b="1">
                <a:solidFill>
                  <a:schemeClr val="bg1"/>
                </a:solidFill>
                <a:latin typeface="Aptos" panose="020B0004020202020204" pitchFamily="34" charset="0"/>
              </a:rPr>
              <a:t>Initiative and Promo Tracker - </a:t>
            </a:r>
            <a:r>
              <a:rPr lang="en-US" sz="1000">
                <a:solidFill>
                  <a:schemeClr val="bg1"/>
                </a:solidFill>
                <a:latin typeface="Aptos" panose="020B0004020202020204" pitchFamily="34" charset="0"/>
              </a:rPr>
              <a:t>Initiative Management</a:t>
            </a:r>
          </a:p>
          <a:p>
            <a:pPr marL="228600" indent="-228600">
              <a:buAutoNum type="arabicPeriod"/>
            </a:pPr>
            <a:r>
              <a:rPr lang="en-US" sz="1000" b="1">
                <a:solidFill>
                  <a:schemeClr val="bg1"/>
                </a:solidFill>
                <a:latin typeface="Aptos" panose="020B0004020202020204" pitchFamily="34" charset="0"/>
              </a:rPr>
              <a:t>Risk Management - </a:t>
            </a:r>
            <a:r>
              <a:rPr lang="en-US" sz="1000">
                <a:solidFill>
                  <a:schemeClr val="bg1"/>
                </a:solidFill>
                <a:latin typeface="Aptos" panose="020B0004020202020204" pitchFamily="34" charset="0"/>
              </a:rPr>
              <a:t>Alert tracker &amp; MIR/LIS</a:t>
            </a:r>
          </a:p>
          <a:p>
            <a:r>
              <a:rPr lang="en-US" sz="1000" b="1">
                <a:solidFill>
                  <a:schemeClr val="bg1"/>
                </a:solidFill>
                <a:latin typeface="Aptos" panose="020B0004020202020204" pitchFamily="34" charset="0"/>
              </a:rPr>
              <a:t>6.      Customer Health</a:t>
            </a:r>
          </a:p>
          <a:p>
            <a:pPr marL="685800" lvl="1" indent="-228600">
              <a:buFont typeface="Arial" panose="020B0604020202020204" pitchFamily="34" charset="0"/>
              <a:buChar char="•"/>
            </a:pPr>
            <a:r>
              <a:rPr lang="en-US" sz="1000">
                <a:solidFill>
                  <a:schemeClr val="bg1"/>
                </a:solidFill>
                <a:latin typeface="Aptos" panose="020B0004020202020204" pitchFamily="34" charset="0"/>
              </a:rPr>
              <a:t>Dispute Monitor</a:t>
            </a:r>
          </a:p>
          <a:p>
            <a:pPr marL="685800" lvl="1" indent="-228600">
              <a:buFont typeface="Arial" panose="020B0604020202020204" pitchFamily="34" charset="0"/>
              <a:buChar char="•"/>
            </a:pPr>
            <a:r>
              <a:rPr lang="en-US" sz="1000">
                <a:solidFill>
                  <a:schemeClr val="bg1"/>
                </a:solidFill>
                <a:latin typeface="Aptos" panose="020B0004020202020204" pitchFamily="34" charset="0"/>
              </a:rPr>
              <a:t>Pricing Simulation</a:t>
            </a:r>
          </a:p>
          <a:p>
            <a:pPr marL="685800" lvl="1" indent="-228600">
              <a:buFont typeface="Arial" panose="020B0604020202020204" pitchFamily="34" charset="0"/>
              <a:buChar char="•"/>
            </a:pPr>
            <a:r>
              <a:rPr lang="en-US" sz="1000">
                <a:solidFill>
                  <a:schemeClr val="bg1"/>
                </a:solidFill>
                <a:latin typeface="Aptos" panose="020B0004020202020204" pitchFamily="34" charset="0"/>
              </a:rPr>
              <a:t>Service</a:t>
            </a:r>
          </a:p>
        </p:txBody>
      </p:sp>
      <p:sp>
        <p:nvSpPr>
          <p:cNvPr id="37" name="TextBox 36">
            <a:extLst>
              <a:ext uri="{FF2B5EF4-FFF2-40B4-BE49-F238E27FC236}">
                <a16:creationId xmlns:a16="http://schemas.microsoft.com/office/drawing/2014/main" id="{42A9D598-6BA5-9E5E-AF34-8D1F47D48340}"/>
              </a:ext>
            </a:extLst>
          </p:cNvPr>
          <p:cNvSpPr txBox="1"/>
          <p:nvPr/>
        </p:nvSpPr>
        <p:spPr>
          <a:xfrm>
            <a:off x="6962581" y="5348824"/>
            <a:ext cx="3342598" cy="261610"/>
          </a:xfrm>
          <a:prstGeom prst="rect">
            <a:avLst/>
          </a:prstGeom>
          <a:noFill/>
        </p:spPr>
        <p:txBody>
          <a:bodyPr wrap="square" rtlCol="0">
            <a:spAutoFit/>
          </a:bodyPr>
          <a:lstStyle/>
          <a:p>
            <a:pPr algn="ctr"/>
            <a:r>
              <a:rPr lang="en-US" sz="1100" b="1">
                <a:solidFill>
                  <a:schemeClr val="bg1"/>
                </a:solidFill>
                <a:latin typeface="Aptos" panose="020B0004020202020204" pitchFamily="34" charset="0"/>
              </a:rPr>
              <a:t>Gold (Curated)</a:t>
            </a:r>
            <a:endParaRPr lang="en-IN" sz="1100" b="1">
              <a:solidFill>
                <a:schemeClr val="bg1"/>
              </a:solidFill>
              <a:latin typeface="Aptos" panose="020B0004020202020204" pitchFamily="34" charset="0"/>
            </a:endParaRPr>
          </a:p>
        </p:txBody>
      </p:sp>
      <p:sp>
        <p:nvSpPr>
          <p:cNvPr id="38" name="TextBox 37">
            <a:extLst>
              <a:ext uri="{FF2B5EF4-FFF2-40B4-BE49-F238E27FC236}">
                <a16:creationId xmlns:a16="http://schemas.microsoft.com/office/drawing/2014/main" id="{0286635A-3671-7AB6-31A7-EAEA9266F3A0}"/>
              </a:ext>
            </a:extLst>
          </p:cNvPr>
          <p:cNvSpPr txBox="1"/>
          <p:nvPr/>
        </p:nvSpPr>
        <p:spPr>
          <a:xfrm>
            <a:off x="3671735" y="896956"/>
            <a:ext cx="6476622" cy="307777"/>
          </a:xfrm>
          <a:prstGeom prst="rect">
            <a:avLst/>
          </a:prstGeom>
          <a:noFill/>
        </p:spPr>
        <p:txBody>
          <a:bodyPr wrap="square" rtlCol="0">
            <a:spAutoFit/>
          </a:bodyPr>
          <a:lstStyle/>
          <a:p>
            <a:pPr algn="ctr"/>
            <a:r>
              <a:rPr lang="en-US" sz="1400" b="1">
                <a:solidFill>
                  <a:schemeClr val="bg1"/>
                </a:solidFill>
                <a:latin typeface="Aptos SemiBold" panose="020B0004020202020204" pitchFamily="34" charset="0"/>
              </a:rPr>
              <a:t>Lightweight Customer Data Platform</a:t>
            </a:r>
            <a:endParaRPr lang="en-IN" sz="1400" b="1">
              <a:solidFill>
                <a:schemeClr val="bg1"/>
              </a:solidFill>
              <a:latin typeface="Aptos SemiBold" panose="020B0004020202020204" pitchFamily="34" charset="0"/>
            </a:endParaRPr>
          </a:p>
        </p:txBody>
      </p:sp>
      <p:sp>
        <p:nvSpPr>
          <p:cNvPr id="39" name="TextBox 38">
            <a:extLst>
              <a:ext uri="{FF2B5EF4-FFF2-40B4-BE49-F238E27FC236}">
                <a16:creationId xmlns:a16="http://schemas.microsoft.com/office/drawing/2014/main" id="{EF7DADFE-BE55-E6C6-6966-027B872DF731}"/>
              </a:ext>
            </a:extLst>
          </p:cNvPr>
          <p:cNvSpPr txBox="1"/>
          <p:nvPr/>
        </p:nvSpPr>
        <p:spPr>
          <a:xfrm>
            <a:off x="10270524" y="896956"/>
            <a:ext cx="1752097" cy="307777"/>
          </a:xfrm>
          <a:prstGeom prst="rect">
            <a:avLst/>
          </a:prstGeom>
          <a:noFill/>
        </p:spPr>
        <p:txBody>
          <a:bodyPr wrap="square" rtlCol="0">
            <a:spAutoFit/>
          </a:bodyPr>
          <a:lstStyle/>
          <a:p>
            <a:pPr algn="ctr"/>
            <a:r>
              <a:rPr lang="en-US" sz="1400" b="1">
                <a:solidFill>
                  <a:schemeClr val="bg1"/>
                </a:solidFill>
                <a:latin typeface="Aptos SemiBold" panose="020B0004020202020204" pitchFamily="34" charset="0"/>
              </a:rPr>
              <a:t>Consumption</a:t>
            </a:r>
            <a:endParaRPr lang="en-IN" sz="1400" b="1">
              <a:solidFill>
                <a:schemeClr val="bg1"/>
              </a:solidFill>
              <a:latin typeface="Aptos SemiBold" panose="020B0004020202020204" pitchFamily="34" charset="0"/>
            </a:endParaRPr>
          </a:p>
        </p:txBody>
      </p:sp>
      <p:pic>
        <p:nvPicPr>
          <p:cNvPr id="40" name="Picture 12" descr="Power BI icon PNG and SVG Vector Free Download">
            <a:extLst>
              <a:ext uri="{FF2B5EF4-FFF2-40B4-BE49-F238E27FC236}">
                <a16:creationId xmlns:a16="http://schemas.microsoft.com/office/drawing/2014/main" id="{0A8E62AF-F0FF-2156-B00A-C28A6CCB7452}"/>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474808" y="1404359"/>
            <a:ext cx="264647" cy="286665"/>
          </a:xfrm>
          <a:prstGeom prst="rect">
            <a:avLst/>
          </a:prstGeom>
          <a:noFill/>
          <a:extLst>
            <a:ext uri="{909E8E84-426E-40DD-AFC4-6F175D3DCCD1}">
              <a14:hiddenFill xmlns:a14="http://schemas.microsoft.com/office/drawing/2010/main">
                <a:solidFill>
                  <a:srgbClr val="FFFFFF"/>
                </a:solidFill>
              </a14:hiddenFill>
            </a:ext>
          </a:extLst>
        </p:spPr>
      </p:pic>
      <p:sp>
        <p:nvSpPr>
          <p:cNvPr id="42" name="TextBox 41">
            <a:extLst>
              <a:ext uri="{FF2B5EF4-FFF2-40B4-BE49-F238E27FC236}">
                <a16:creationId xmlns:a16="http://schemas.microsoft.com/office/drawing/2014/main" id="{56D96CDE-B2DF-48A5-35ED-E004D918914C}"/>
              </a:ext>
            </a:extLst>
          </p:cNvPr>
          <p:cNvSpPr txBox="1"/>
          <p:nvPr/>
        </p:nvSpPr>
        <p:spPr>
          <a:xfrm>
            <a:off x="10426774" y="1807282"/>
            <a:ext cx="1663577" cy="1477328"/>
          </a:xfrm>
          <a:prstGeom prst="rect">
            <a:avLst/>
          </a:prstGeom>
          <a:noFill/>
        </p:spPr>
        <p:txBody>
          <a:bodyPr wrap="square" lIns="91440" tIns="45720" rIns="91440" bIns="45720" rtlCol="0" anchor="t">
            <a:spAutoFit/>
          </a:bodyPr>
          <a:lstStyle/>
          <a:p>
            <a:pPr marL="184150" indent="-184150">
              <a:buFont typeface="Arial" panose="020B0604020202020204" pitchFamily="34" charset="0"/>
              <a:buChar char="•"/>
            </a:pPr>
            <a:r>
              <a:rPr lang="en-US" sz="1000">
                <a:solidFill>
                  <a:schemeClr val="bg1"/>
                </a:solidFill>
                <a:latin typeface="Aptos" panose="020B0004020202020204" pitchFamily="34" charset="0"/>
              </a:rPr>
              <a:t>Visualizations, Screens and app for functionality</a:t>
            </a:r>
          </a:p>
          <a:p>
            <a:pPr marL="184150" indent="-184150">
              <a:buFont typeface="Arial" panose="020B0604020202020204" pitchFamily="34" charset="0"/>
              <a:buChar char="•"/>
            </a:pPr>
            <a:r>
              <a:rPr lang="en-US" sz="1000">
                <a:solidFill>
                  <a:schemeClr val="bg1"/>
                </a:solidFill>
                <a:latin typeface="Aptos" panose="020B0004020202020204" pitchFamily="34" charset="0"/>
              </a:rPr>
              <a:t>Aggregated Fields</a:t>
            </a:r>
          </a:p>
          <a:p>
            <a:pPr marL="184150" indent="-184150">
              <a:buFont typeface="Arial" panose="020B0604020202020204" pitchFamily="34" charset="0"/>
              <a:buChar char="•"/>
            </a:pPr>
            <a:r>
              <a:rPr lang="en-US" sz="1000">
                <a:solidFill>
                  <a:schemeClr val="bg1"/>
                </a:solidFill>
                <a:latin typeface="Aptos" panose="020B0004020202020204" pitchFamily="34" charset="0"/>
              </a:rPr>
              <a:t>Calculated Fields</a:t>
            </a:r>
          </a:p>
          <a:p>
            <a:pPr marL="184150" indent="-184150">
              <a:buFont typeface="Arial" panose="020B0604020202020204" pitchFamily="34" charset="0"/>
              <a:buChar char="•"/>
            </a:pPr>
            <a:r>
              <a:rPr lang="en-US" sz="1000">
                <a:solidFill>
                  <a:schemeClr val="bg1"/>
                </a:solidFill>
                <a:latin typeface="Aptos" panose="020B0004020202020204" pitchFamily="34" charset="0"/>
              </a:rPr>
              <a:t>Role based access controls</a:t>
            </a:r>
          </a:p>
          <a:p>
            <a:pPr marL="184150" indent="-184150">
              <a:buFont typeface="Arial" panose="020B0604020202020204" pitchFamily="34" charset="0"/>
              <a:buChar char="•"/>
            </a:pPr>
            <a:r>
              <a:rPr lang="en-US" sz="1000">
                <a:solidFill>
                  <a:schemeClr val="bg1"/>
                </a:solidFill>
                <a:latin typeface="Aptos" panose="020B0004020202020204" pitchFamily="34" charset="0"/>
              </a:rPr>
              <a:t>Alert and Notifications</a:t>
            </a:r>
          </a:p>
          <a:p>
            <a:pPr marL="184150" indent="-184150">
              <a:buFont typeface="Arial" panose="020B0604020202020204" pitchFamily="34" charset="0"/>
              <a:buChar char="•"/>
            </a:pPr>
            <a:r>
              <a:rPr lang="en-US" sz="1000">
                <a:solidFill>
                  <a:schemeClr val="bg1"/>
                </a:solidFill>
                <a:latin typeface="Aptos" panose="020B0004020202020204" pitchFamily="34" charset="0"/>
              </a:rPr>
              <a:t>Simulation Tool</a:t>
            </a:r>
          </a:p>
        </p:txBody>
      </p:sp>
      <p:pic>
        <p:nvPicPr>
          <p:cNvPr id="43" name="Picture 42">
            <a:extLst>
              <a:ext uri="{FF2B5EF4-FFF2-40B4-BE49-F238E27FC236}">
                <a16:creationId xmlns:a16="http://schemas.microsoft.com/office/drawing/2014/main" id="{252F56DD-BB01-29F7-616D-A84526B1AB34}"/>
              </a:ext>
            </a:extLst>
          </p:cNvPr>
          <p:cNvPicPr>
            <a:picLocks noChangeAspect="1"/>
          </p:cNvPicPr>
          <p:nvPr/>
        </p:nvPicPr>
        <p:blipFill>
          <a:blip r:embed="rId9"/>
          <a:stretch>
            <a:fillRect/>
          </a:stretch>
        </p:blipFill>
        <p:spPr>
          <a:xfrm>
            <a:off x="4182126" y="1454618"/>
            <a:ext cx="255995" cy="255995"/>
          </a:xfrm>
          <a:prstGeom prst="rect">
            <a:avLst/>
          </a:prstGeom>
        </p:spPr>
      </p:pic>
      <p:pic>
        <p:nvPicPr>
          <p:cNvPr id="44" name="Picture 18" descr="Databricks logo - Social media &amp; Logos Icons">
            <a:extLst>
              <a:ext uri="{FF2B5EF4-FFF2-40B4-BE49-F238E27FC236}">
                <a16:creationId xmlns:a16="http://schemas.microsoft.com/office/drawing/2014/main" id="{8AF503D7-21F0-568C-F514-1C2DDF66CFE2}"/>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486154" y="1470062"/>
            <a:ext cx="221849" cy="221849"/>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44">
            <a:extLst>
              <a:ext uri="{FF2B5EF4-FFF2-40B4-BE49-F238E27FC236}">
                <a16:creationId xmlns:a16="http://schemas.microsoft.com/office/drawing/2014/main" id="{3147D315-EBA4-A624-AC7C-B6E8E8E010C6}"/>
              </a:ext>
            </a:extLst>
          </p:cNvPr>
          <p:cNvPicPr>
            <a:picLocks noChangeAspect="1"/>
          </p:cNvPicPr>
          <p:nvPr/>
        </p:nvPicPr>
        <p:blipFill>
          <a:blip r:embed="rId9"/>
          <a:stretch>
            <a:fillRect/>
          </a:stretch>
        </p:blipFill>
        <p:spPr>
          <a:xfrm>
            <a:off x="5586013" y="1437570"/>
            <a:ext cx="255995" cy="255995"/>
          </a:xfrm>
          <a:prstGeom prst="rect">
            <a:avLst/>
          </a:prstGeom>
        </p:spPr>
      </p:pic>
      <p:pic>
        <p:nvPicPr>
          <p:cNvPr id="46" name="Picture 18" descr="Databricks logo - Social media &amp; Logos Icons">
            <a:extLst>
              <a:ext uri="{FF2B5EF4-FFF2-40B4-BE49-F238E27FC236}">
                <a16:creationId xmlns:a16="http://schemas.microsoft.com/office/drawing/2014/main" id="{C8E477B7-9620-C0A6-820A-47FE26842A37}"/>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890041" y="1453014"/>
            <a:ext cx="221849" cy="221849"/>
          </a:xfrm>
          <a:prstGeom prst="rect">
            <a:avLst/>
          </a:prstGeom>
          <a:noFill/>
          <a:extLst>
            <a:ext uri="{909E8E84-426E-40DD-AFC4-6F175D3DCCD1}">
              <a14:hiddenFill xmlns:a14="http://schemas.microsoft.com/office/drawing/2010/main">
                <a:solidFill>
                  <a:srgbClr val="FFFFFF"/>
                </a:solidFill>
              </a14:hiddenFill>
            </a:ext>
          </a:extLst>
        </p:spPr>
      </p:pic>
      <p:grpSp>
        <p:nvGrpSpPr>
          <p:cNvPr id="83" name="Group 82">
            <a:extLst>
              <a:ext uri="{FF2B5EF4-FFF2-40B4-BE49-F238E27FC236}">
                <a16:creationId xmlns:a16="http://schemas.microsoft.com/office/drawing/2014/main" id="{A8269AF8-5EB7-7489-4E5C-8DB2D7EE9216}"/>
              </a:ext>
            </a:extLst>
          </p:cNvPr>
          <p:cNvGrpSpPr/>
          <p:nvPr/>
        </p:nvGrpSpPr>
        <p:grpSpPr>
          <a:xfrm>
            <a:off x="6874534" y="5117656"/>
            <a:ext cx="488100" cy="218218"/>
            <a:chOff x="6973081" y="4522350"/>
            <a:chExt cx="488100" cy="218218"/>
          </a:xfrm>
        </p:grpSpPr>
        <p:pic>
          <p:nvPicPr>
            <p:cNvPr id="47" name="Picture 46">
              <a:extLst>
                <a:ext uri="{FF2B5EF4-FFF2-40B4-BE49-F238E27FC236}">
                  <a16:creationId xmlns:a16="http://schemas.microsoft.com/office/drawing/2014/main" id="{BF4EA66A-4D8D-CC1F-D5D7-15AF88A83020}"/>
                </a:ext>
              </a:extLst>
            </p:cNvPr>
            <p:cNvPicPr>
              <a:picLocks noChangeAspect="1"/>
            </p:cNvPicPr>
            <p:nvPr/>
          </p:nvPicPr>
          <p:blipFill>
            <a:blip r:embed="rId9"/>
            <a:stretch>
              <a:fillRect/>
            </a:stretch>
          </p:blipFill>
          <p:spPr>
            <a:xfrm>
              <a:off x="6973081" y="4522350"/>
              <a:ext cx="218218" cy="218218"/>
            </a:xfrm>
            <a:prstGeom prst="rect">
              <a:avLst/>
            </a:prstGeom>
          </p:spPr>
        </p:pic>
        <p:pic>
          <p:nvPicPr>
            <p:cNvPr id="48" name="Picture 18" descr="Databricks logo - Social media &amp; Logos Icons">
              <a:extLst>
                <a:ext uri="{FF2B5EF4-FFF2-40B4-BE49-F238E27FC236}">
                  <a16:creationId xmlns:a16="http://schemas.microsoft.com/office/drawing/2014/main" id="{7EA6D0B2-E582-84B9-82B6-510B56487D25}"/>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272070" y="4537793"/>
              <a:ext cx="189111" cy="189111"/>
            </a:xfrm>
            <a:prstGeom prst="rect">
              <a:avLst/>
            </a:prstGeom>
            <a:noFill/>
            <a:extLst>
              <a:ext uri="{909E8E84-426E-40DD-AFC4-6F175D3DCCD1}">
                <a14:hiddenFill xmlns:a14="http://schemas.microsoft.com/office/drawing/2010/main">
                  <a:solidFill>
                    <a:srgbClr val="FFFFFF"/>
                  </a:solidFill>
                </a14:hiddenFill>
              </a:ext>
            </a:extLst>
          </p:spPr>
        </p:pic>
      </p:grpSp>
      <p:pic>
        <p:nvPicPr>
          <p:cNvPr id="49" name="Picture 18" descr="Databricks logo - Social media &amp; Logos Icons">
            <a:extLst>
              <a:ext uri="{FF2B5EF4-FFF2-40B4-BE49-F238E27FC236}">
                <a16:creationId xmlns:a16="http://schemas.microsoft.com/office/drawing/2014/main" id="{B9307590-4261-385C-8FB5-9E427D98E22A}"/>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471862" y="1432463"/>
            <a:ext cx="230924" cy="230924"/>
          </a:xfrm>
          <a:prstGeom prst="rect">
            <a:avLst/>
          </a:prstGeom>
          <a:noFill/>
          <a:extLst>
            <a:ext uri="{909E8E84-426E-40DD-AFC4-6F175D3DCCD1}">
              <a14:hiddenFill xmlns:a14="http://schemas.microsoft.com/office/drawing/2010/main">
                <a:solidFill>
                  <a:srgbClr val="FFFFFF"/>
                </a:solidFill>
              </a14:hiddenFill>
            </a:ext>
          </a:extLst>
        </p:spPr>
      </p:pic>
      <p:sp>
        <p:nvSpPr>
          <p:cNvPr id="51" name="Rectangle 50">
            <a:extLst>
              <a:ext uri="{FF2B5EF4-FFF2-40B4-BE49-F238E27FC236}">
                <a16:creationId xmlns:a16="http://schemas.microsoft.com/office/drawing/2014/main" id="{ED6160B3-3150-1A2A-04A4-D89BA1B1A1B1}"/>
              </a:ext>
            </a:extLst>
          </p:cNvPr>
          <p:cNvSpPr/>
          <p:nvPr/>
        </p:nvSpPr>
        <p:spPr>
          <a:xfrm>
            <a:off x="3729163" y="5774249"/>
            <a:ext cx="6419194" cy="235600"/>
          </a:xfrm>
          <a:prstGeom prst="rect">
            <a:avLst/>
          </a:prstGeom>
          <a:solidFill>
            <a:schemeClr val="bg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a:solidFill>
                  <a:schemeClr val="bg2"/>
                </a:solidFill>
                <a:latin typeface="Aptos" panose="020B0004020202020204" pitchFamily="34" charset="0"/>
              </a:rPr>
              <a:t>Data Governance | Data Security | Data Catalog | Data Lineage | Data Quality &amp; Validation | Logging, Monitoring &amp; Alerts | DevOps | DataOps</a:t>
            </a:r>
            <a:endParaRPr lang="en-IN" sz="800">
              <a:solidFill>
                <a:schemeClr val="bg2"/>
              </a:solidFill>
              <a:latin typeface="Aptos" panose="020B0004020202020204" pitchFamily="34" charset="0"/>
            </a:endParaRPr>
          </a:p>
        </p:txBody>
      </p:sp>
      <p:sp>
        <p:nvSpPr>
          <p:cNvPr id="52" name="TextBox 51">
            <a:extLst>
              <a:ext uri="{FF2B5EF4-FFF2-40B4-BE49-F238E27FC236}">
                <a16:creationId xmlns:a16="http://schemas.microsoft.com/office/drawing/2014/main" id="{D2BF6DBB-456D-1CFA-E04B-55121311CDE7}"/>
              </a:ext>
            </a:extLst>
          </p:cNvPr>
          <p:cNvSpPr txBox="1"/>
          <p:nvPr/>
        </p:nvSpPr>
        <p:spPr>
          <a:xfrm>
            <a:off x="288555" y="6127653"/>
            <a:ext cx="10405223" cy="369332"/>
          </a:xfrm>
          <a:prstGeom prst="rect">
            <a:avLst/>
          </a:prstGeom>
          <a:noFill/>
        </p:spPr>
        <p:txBody>
          <a:bodyPr wrap="square" rtlCol="0">
            <a:spAutoFit/>
          </a:bodyPr>
          <a:lstStyle/>
          <a:p>
            <a:r>
              <a:rPr lang="en-US" sz="900">
                <a:solidFill>
                  <a:schemeClr val="bg1"/>
                </a:solidFill>
                <a:latin typeface="Aptos" panose="020B0004020202020204" pitchFamily="34" charset="0"/>
              </a:rPr>
              <a:t>Note: This is the overall Solution Architecture. Brillio scope includes creation of semantic data layer, and consumption layer. The data governance, quality, monitoring etc. will be in scope only for semantic data layer and consumption layer. Other upstream and downstream components will be fully functional and available to Brillio team at start of the engagement. We will reuse</a:t>
            </a:r>
            <a:endParaRPr lang="en-IN" sz="900">
              <a:solidFill>
                <a:schemeClr val="bg1"/>
              </a:solidFill>
              <a:latin typeface="Aptos" panose="020B0004020202020204" pitchFamily="34" charset="0"/>
            </a:endParaRPr>
          </a:p>
        </p:txBody>
      </p:sp>
      <p:sp>
        <p:nvSpPr>
          <p:cNvPr id="61" name="Arrow: Right 60">
            <a:extLst>
              <a:ext uri="{FF2B5EF4-FFF2-40B4-BE49-F238E27FC236}">
                <a16:creationId xmlns:a16="http://schemas.microsoft.com/office/drawing/2014/main" id="{35054238-1563-4582-9863-0AF9BEE53028}"/>
              </a:ext>
            </a:extLst>
          </p:cNvPr>
          <p:cNvSpPr/>
          <p:nvPr/>
        </p:nvSpPr>
        <p:spPr>
          <a:xfrm>
            <a:off x="6586636" y="2582134"/>
            <a:ext cx="321213" cy="361921"/>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IN">
              <a:solidFill>
                <a:schemeClr val="bg1"/>
              </a:solidFill>
              <a:latin typeface="Aptos" panose="020B0004020202020204" pitchFamily="34" charset="0"/>
            </a:endParaRPr>
          </a:p>
        </p:txBody>
      </p:sp>
      <p:sp>
        <p:nvSpPr>
          <p:cNvPr id="64" name="Arrow: Up 63">
            <a:extLst>
              <a:ext uri="{FF2B5EF4-FFF2-40B4-BE49-F238E27FC236}">
                <a16:creationId xmlns:a16="http://schemas.microsoft.com/office/drawing/2014/main" id="{AE380F07-5CE9-BBC5-D18F-E0DC4DFE28FB}"/>
              </a:ext>
            </a:extLst>
          </p:cNvPr>
          <p:cNvSpPr/>
          <p:nvPr/>
        </p:nvSpPr>
        <p:spPr>
          <a:xfrm>
            <a:off x="8273244" y="4878621"/>
            <a:ext cx="279390" cy="251347"/>
          </a:xfrm>
          <a:prstGeom prst="up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IN">
              <a:solidFill>
                <a:schemeClr val="bg1"/>
              </a:solidFill>
              <a:latin typeface="Aptos" panose="020B0004020202020204" pitchFamily="34" charset="0"/>
            </a:endParaRPr>
          </a:p>
        </p:txBody>
      </p:sp>
      <p:sp>
        <p:nvSpPr>
          <p:cNvPr id="65" name="TextBox 64">
            <a:extLst>
              <a:ext uri="{FF2B5EF4-FFF2-40B4-BE49-F238E27FC236}">
                <a16:creationId xmlns:a16="http://schemas.microsoft.com/office/drawing/2014/main" id="{2D011055-ABDE-55A3-4390-9E6F6B386DD6}"/>
              </a:ext>
            </a:extLst>
          </p:cNvPr>
          <p:cNvSpPr txBox="1"/>
          <p:nvPr/>
        </p:nvSpPr>
        <p:spPr>
          <a:xfrm>
            <a:off x="7679795" y="1413335"/>
            <a:ext cx="1652845" cy="261610"/>
          </a:xfrm>
          <a:prstGeom prst="rect">
            <a:avLst/>
          </a:prstGeom>
          <a:noFill/>
        </p:spPr>
        <p:txBody>
          <a:bodyPr wrap="square" rtlCol="0">
            <a:spAutoFit/>
          </a:bodyPr>
          <a:lstStyle/>
          <a:p>
            <a:pPr algn="ctr"/>
            <a:r>
              <a:rPr lang="en-US" sz="1100" b="1">
                <a:solidFill>
                  <a:schemeClr val="bg1"/>
                </a:solidFill>
                <a:latin typeface="Aptos" panose="020B0004020202020204" pitchFamily="34" charset="0"/>
              </a:rPr>
              <a:t>Semantic Data Layer</a:t>
            </a:r>
            <a:endParaRPr lang="en-IN" sz="1100" b="1">
              <a:solidFill>
                <a:schemeClr val="bg1"/>
              </a:solidFill>
              <a:latin typeface="Aptos" panose="020B0004020202020204" pitchFamily="34" charset="0"/>
            </a:endParaRPr>
          </a:p>
        </p:txBody>
      </p:sp>
      <p:sp>
        <p:nvSpPr>
          <p:cNvPr id="67" name="TextBox 66">
            <a:extLst>
              <a:ext uri="{FF2B5EF4-FFF2-40B4-BE49-F238E27FC236}">
                <a16:creationId xmlns:a16="http://schemas.microsoft.com/office/drawing/2014/main" id="{69598EDD-4D54-6706-9E8E-8B3EE4476B48}"/>
              </a:ext>
            </a:extLst>
          </p:cNvPr>
          <p:cNvSpPr txBox="1"/>
          <p:nvPr/>
        </p:nvSpPr>
        <p:spPr>
          <a:xfrm>
            <a:off x="6874534" y="4623354"/>
            <a:ext cx="3171004" cy="249777"/>
          </a:xfrm>
          <a:prstGeom prst="rect">
            <a:avLst/>
          </a:prstGeom>
          <a:solidFill>
            <a:schemeClr val="tx1">
              <a:alpha val="62886"/>
            </a:schemeClr>
          </a:solidFill>
          <a:ln>
            <a:solidFill>
              <a:schemeClr val="tx2"/>
            </a:solidFill>
          </a:ln>
        </p:spPr>
        <p:txBody>
          <a:bodyPr wrap="square" rtlCol="0">
            <a:spAutoFit/>
          </a:bodyPr>
          <a:lstStyle/>
          <a:p>
            <a:pPr algn="ctr"/>
            <a:r>
              <a:rPr lang="en-US" sz="1000">
                <a:solidFill>
                  <a:schemeClr val="bg1"/>
                </a:solidFill>
                <a:latin typeface="Aptos" panose="020B0004020202020204" pitchFamily="34" charset="0"/>
              </a:rPr>
              <a:t>Data Quality, Validation, Logging, Monitoring &amp; Alerts</a:t>
            </a:r>
            <a:endParaRPr lang="en-IN" sz="1000">
              <a:solidFill>
                <a:schemeClr val="bg1"/>
              </a:solidFill>
              <a:latin typeface="Aptos" panose="020B0004020202020204" pitchFamily="34" charset="0"/>
            </a:endParaRPr>
          </a:p>
        </p:txBody>
      </p:sp>
      <p:sp>
        <p:nvSpPr>
          <p:cNvPr id="68" name="Arrow: Right 67">
            <a:extLst>
              <a:ext uri="{FF2B5EF4-FFF2-40B4-BE49-F238E27FC236}">
                <a16:creationId xmlns:a16="http://schemas.microsoft.com/office/drawing/2014/main" id="{9C7591B0-146D-842B-5983-82B2DEA2B0BA}"/>
              </a:ext>
            </a:extLst>
          </p:cNvPr>
          <p:cNvSpPr/>
          <p:nvPr/>
        </p:nvSpPr>
        <p:spPr>
          <a:xfrm>
            <a:off x="10105561" y="2147859"/>
            <a:ext cx="321213" cy="361921"/>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IN">
              <a:solidFill>
                <a:schemeClr val="bg1"/>
              </a:solidFill>
              <a:latin typeface="Aptos" panose="020B0004020202020204" pitchFamily="34" charset="0"/>
            </a:endParaRPr>
          </a:p>
        </p:txBody>
      </p:sp>
      <p:sp>
        <p:nvSpPr>
          <p:cNvPr id="22" name="Rectangle 21">
            <a:extLst>
              <a:ext uri="{FF2B5EF4-FFF2-40B4-BE49-F238E27FC236}">
                <a16:creationId xmlns:a16="http://schemas.microsoft.com/office/drawing/2014/main" id="{2ADE6E40-1280-81C7-3851-8B4985FB5C79}"/>
              </a:ext>
            </a:extLst>
          </p:cNvPr>
          <p:cNvSpPr/>
          <p:nvPr/>
        </p:nvSpPr>
        <p:spPr>
          <a:xfrm>
            <a:off x="10276606" y="3722721"/>
            <a:ext cx="1762537" cy="2287127"/>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IN">
              <a:solidFill>
                <a:schemeClr val="bg1"/>
              </a:solidFill>
              <a:latin typeface="Aptos" panose="020B0004020202020204" pitchFamily="34" charset="0"/>
            </a:endParaRPr>
          </a:p>
        </p:txBody>
      </p:sp>
      <p:pic>
        <p:nvPicPr>
          <p:cNvPr id="41" name="Picture 14" descr="Microsoft Power Apps icon in Windows 11 Color Style">
            <a:extLst>
              <a:ext uri="{FF2B5EF4-FFF2-40B4-BE49-F238E27FC236}">
                <a16:creationId xmlns:a16="http://schemas.microsoft.com/office/drawing/2014/main" id="{4AE295E2-4E47-6D7A-A0DC-2A7AADB2C514}"/>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0418686" y="3827906"/>
            <a:ext cx="276644" cy="291831"/>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CSV file - Free interface icons">
            <a:extLst>
              <a:ext uri="{FF2B5EF4-FFF2-40B4-BE49-F238E27FC236}">
                <a16:creationId xmlns:a16="http://schemas.microsoft.com/office/drawing/2014/main" id="{E715B4D4-699B-7FB6-6878-4469FD5B626F}"/>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0930900" y="4167489"/>
            <a:ext cx="259192" cy="259192"/>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2398311E-519E-0B19-1240-E8691A5131D8}"/>
              </a:ext>
            </a:extLst>
          </p:cNvPr>
          <p:cNvSpPr txBox="1"/>
          <p:nvPr/>
        </p:nvSpPr>
        <p:spPr>
          <a:xfrm>
            <a:off x="10414487" y="4885168"/>
            <a:ext cx="1595847" cy="707886"/>
          </a:xfrm>
          <a:prstGeom prst="rect">
            <a:avLst/>
          </a:prstGeom>
          <a:noFill/>
        </p:spPr>
        <p:txBody>
          <a:bodyPr wrap="square" lIns="91440" tIns="45720" rIns="91440" bIns="45720" rtlCol="0" anchor="t">
            <a:spAutoFit/>
          </a:bodyPr>
          <a:lstStyle/>
          <a:p>
            <a:pPr marL="184150" indent="-184150">
              <a:buFont typeface="Arial" panose="020B0604020202020204" pitchFamily="34" charset="0"/>
              <a:buChar char="•"/>
            </a:pPr>
            <a:r>
              <a:rPr lang="en-US" sz="1000">
                <a:solidFill>
                  <a:schemeClr val="bg1"/>
                </a:solidFill>
                <a:latin typeface="Aptos" panose="020B0004020202020204" pitchFamily="34" charset="0"/>
              </a:rPr>
              <a:t>Process automations, Email notifications</a:t>
            </a:r>
          </a:p>
          <a:p>
            <a:pPr marL="184150" indent="-184150">
              <a:buFont typeface="Arial" panose="020B0604020202020204" pitchFamily="34" charset="0"/>
              <a:buChar char="•"/>
            </a:pPr>
            <a:r>
              <a:rPr lang="en-US" sz="1000">
                <a:solidFill>
                  <a:schemeClr val="bg1"/>
                </a:solidFill>
                <a:latin typeface="Aptos" panose="020B0004020202020204" pitchFamily="34" charset="0"/>
              </a:rPr>
              <a:t>Custom connectors</a:t>
            </a:r>
          </a:p>
          <a:p>
            <a:pPr marL="184150" indent="-184150">
              <a:buFont typeface="Arial" panose="020B0604020202020204" pitchFamily="34" charset="0"/>
              <a:buChar char="•"/>
            </a:pPr>
            <a:r>
              <a:rPr lang="en-US" sz="1000">
                <a:solidFill>
                  <a:schemeClr val="bg1"/>
                </a:solidFill>
                <a:latin typeface="Aptos" panose="020B0004020202020204" pitchFamily="34" charset="0"/>
              </a:rPr>
              <a:t>Store data in CSV file</a:t>
            </a:r>
          </a:p>
        </p:txBody>
      </p:sp>
      <p:pic>
        <p:nvPicPr>
          <p:cNvPr id="24" name="Graphic 23">
            <a:extLst>
              <a:ext uri="{FF2B5EF4-FFF2-40B4-BE49-F238E27FC236}">
                <a16:creationId xmlns:a16="http://schemas.microsoft.com/office/drawing/2014/main" id="{9747175C-8038-68C9-87FE-73FF484C3E55}"/>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830228" y="3826094"/>
            <a:ext cx="314694" cy="290237"/>
          </a:xfrm>
          <a:prstGeom prst="rect">
            <a:avLst/>
          </a:prstGeom>
        </p:spPr>
      </p:pic>
      <p:sp>
        <p:nvSpPr>
          <p:cNvPr id="53" name="Title 1">
            <a:extLst>
              <a:ext uri="{FF2B5EF4-FFF2-40B4-BE49-F238E27FC236}">
                <a16:creationId xmlns:a16="http://schemas.microsoft.com/office/drawing/2014/main" id="{948C3599-8450-F9C1-9F26-EB504F96154E}"/>
              </a:ext>
            </a:extLst>
          </p:cNvPr>
          <p:cNvSpPr txBox="1">
            <a:spLocks/>
          </p:cNvSpPr>
          <p:nvPr/>
        </p:nvSpPr>
        <p:spPr>
          <a:xfrm>
            <a:off x="288555" y="299392"/>
            <a:ext cx="11606656" cy="386603"/>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73152" rIns="0" bIns="0"/>
          <a:lstStyle>
            <a:lvl1pPr marL="0" marR="0" indent="0" algn="l" defTabSz="1218948" rtl="0" eaLnBrk="1" latinLnBrk="0" hangingPunct="1">
              <a:lnSpc>
                <a:spcPct val="80000"/>
              </a:lnSpc>
              <a:spcBef>
                <a:spcPts val="0"/>
              </a:spcBef>
              <a:spcAft>
                <a:spcPts val="0"/>
              </a:spcAft>
              <a:buClrTx/>
              <a:buSzTx/>
              <a:buFontTx/>
              <a:buNone/>
              <a:tabLst/>
              <a:defRPr sz="3500" b="0" i="0" u="none" strike="noStrike" cap="none" spc="0" baseline="0">
                <a:solidFill>
                  <a:schemeClr val="bg1"/>
                </a:solidFill>
                <a:uFillTx/>
                <a:latin typeface="Aptos Light" panose="020B0004020202020204" pitchFamily="34" charset="0"/>
                <a:ea typeface="+mj-ea"/>
                <a:cs typeface="+mj-cs"/>
                <a:sym typeface="IBM Plex Sans Light"/>
              </a:defRPr>
            </a:lvl1pPr>
            <a:lvl2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7"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5"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1"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88" algn="l" defTabSz="1218948"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r>
              <a:rPr lang="en-US" kern="0">
                <a:solidFill>
                  <a:srgbClr val="002060"/>
                </a:solidFill>
                <a:latin typeface="+mj-lt"/>
              </a:rPr>
              <a:t>Customer 360 - Solution Architecture </a:t>
            </a:r>
          </a:p>
        </p:txBody>
      </p:sp>
      <p:sp>
        <p:nvSpPr>
          <p:cNvPr id="63" name="Arrow: Right 60">
            <a:extLst>
              <a:ext uri="{FF2B5EF4-FFF2-40B4-BE49-F238E27FC236}">
                <a16:creationId xmlns:a16="http://schemas.microsoft.com/office/drawing/2014/main" id="{39B8455F-6C1F-8733-FE50-4D648BEEE488}"/>
              </a:ext>
            </a:extLst>
          </p:cNvPr>
          <p:cNvSpPr/>
          <p:nvPr/>
        </p:nvSpPr>
        <p:spPr>
          <a:xfrm>
            <a:off x="5059494" y="1469771"/>
            <a:ext cx="321213" cy="361921"/>
          </a:xfrm>
          <a:prstGeom prst="rightArrow">
            <a:avLst/>
          </a:prstGeom>
          <a:solidFill>
            <a:schemeClr val="accent3">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IN">
              <a:solidFill>
                <a:schemeClr val="bg1"/>
              </a:solidFill>
              <a:latin typeface="Aptos" panose="020B0004020202020204" pitchFamily="34" charset="0"/>
            </a:endParaRPr>
          </a:p>
        </p:txBody>
      </p:sp>
      <p:sp>
        <p:nvSpPr>
          <p:cNvPr id="66" name="Arrow: Right 60">
            <a:extLst>
              <a:ext uri="{FF2B5EF4-FFF2-40B4-BE49-F238E27FC236}">
                <a16:creationId xmlns:a16="http://schemas.microsoft.com/office/drawing/2014/main" id="{AC412873-470C-0293-F3B2-897C629A0BB6}"/>
              </a:ext>
            </a:extLst>
          </p:cNvPr>
          <p:cNvSpPr/>
          <p:nvPr/>
        </p:nvSpPr>
        <p:spPr>
          <a:xfrm>
            <a:off x="6586636" y="4855996"/>
            <a:ext cx="321213" cy="361921"/>
          </a:xfrm>
          <a:prstGeom prst="rightArrow">
            <a:avLst/>
          </a:prstGeom>
          <a:solidFill>
            <a:schemeClr val="accent3">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IN">
              <a:solidFill>
                <a:schemeClr val="bg1"/>
              </a:solidFill>
              <a:latin typeface="Aptos" panose="020B0004020202020204" pitchFamily="34" charset="0"/>
            </a:endParaRPr>
          </a:p>
        </p:txBody>
      </p:sp>
      <p:grpSp>
        <p:nvGrpSpPr>
          <p:cNvPr id="84" name="Group 83">
            <a:extLst>
              <a:ext uri="{FF2B5EF4-FFF2-40B4-BE49-F238E27FC236}">
                <a16:creationId xmlns:a16="http://schemas.microsoft.com/office/drawing/2014/main" id="{162AF36E-749F-5019-2E6D-1D7E76981506}"/>
              </a:ext>
            </a:extLst>
          </p:cNvPr>
          <p:cNvGrpSpPr/>
          <p:nvPr/>
        </p:nvGrpSpPr>
        <p:grpSpPr>
          <a:xfrm>
            <a:off x="7895154" y="6485825"/>
            <a:ext cx="2109754" cy="306126"/>
            <a:chOff x="3640851" y="6497053"/>
            <a:chExt cx="2109754" cy="306126"/>
          </a:xfrm>
        </p:grpSpPr>
        <p:sp>
          <p:nvSpPr>
            <p:cNvPr id="3" name="Rectangle 2">
              <a:extLst>
                <a:ext uri="{FF2B5EF4-FFF2-40B4-BE49-F238E27FC236}">
                  <a16:creationId xmlns:a16="http://schemas.microsoft.com/office/drawing/2014/main" id="{D7821132-1E7A-9F18-3AEA-5F6A53AB7DDB}"/>
                </a:ext>
              </a:extLst>
            </p:cNvPr>
            <p:cNvSpPr/>
            <p:nvPr/>
          </p:nvSpPr>
          <p:spPr bwMode="auto">
            <a:xfrm>
              <a:off x="3640851" y="6531625"/>
              <a:ext cx="216000" cy="216000"/>
            </a:xfrm>
            <a:prstGeom prst="rect">
              <a:avLst/>
            </a:prstGeom>
            <a:solidFill>
              <a:schemeClr val="accent2">
                <a:lumMod val="60000"/>
                <a:lumOff val="4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IN" sz="1400" b="0" i="0" u="none" strike="noStrike" cap="none" normalizeH="0" baseline="0">
                <a:ln>
                  <a:noFill/>
                </a:ln>
                <a:solidFill>
                  <a:schemeClr val="bg1"/>
                </a:solidFill>
                <a:effectLst/>
                <a:latin typeface="+mn-lt"/>
              </a:endParaRPr>
            </a:p>
          </p:txBody>
        </p:sp>
        <p:sp>
          <p:nvSpPr>
            <p:cNvPr id="32" name="TextBox 31">
              <a:extLst>
                <a:ext uri="{FF2B5EF4-FFF2-40B4-BE49-F238E27FC236}">
                  <a16:creationId xmlns:a16="http://schemas.microsoft.com/office/drawing/2014/main" id="{F821D9F6-7142-A47A-0747-F08D6691FEE3}"/>
                </a:ext>
              </a:extLst>
            </p:cNvPr>
            <p:cNvSpPr txBox="1"/>
            <p:nvPr/>
          </p:nvSpPr>
          <p:spPr>
            <a:xfrm>
              <a:off x="3893754" y="6497053"/>
              <a:ext cx="1856851" cy="30612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chor="ctr">
              <a:noAutofit/>
            </a:bodyPr>
            <a:lstStyle/>
            <a:p>
              <a:pPr algn="l" defTabSz="2438400">
                <a:spcBef>
                  <a:spcPts val="2900"/>
                </a:spcBef>
                <a:buSzPct val="100000"/>
              </a:pPr>
              <a:r>
                <a:rPr lang="en-US" sz="1200" kern="0">
                  <a:solidFill>
                    <a:srgbClr val="000000"/>
                  </a:solidFill>
                  <a:ea typeface="+mj-ea"/>
                  <a:cs typeface="+mj-cs"/>
                  <a:sym typeface="IBM Plex Sans Light"/>
                </a:rPr>
                <a:t>Brillio Scope of Work</a:t>
              </a:r>
              <a:endParaRPr lang="en-IN" sz="1200" kern="0">
                <a:solidFill>
                  <a:srgbClr val="000000"/>
                </a:solidFill>
                <a:ea typeface="+mj-ea"/>
                <a:cs typeface="+mj-cs"/>
                <a:sym typeface="IBM Plex Sans Light"/>
              </a:endParaRPr>
            </a:p>
          </p:txBody>
        </p:sp>
      </p:grpSp>
      <p:sp>
        <p:nvSpPr>
          <p:cNvPr id="54" name="TextBox 53">
            <a:extLst>
              <a:ext uri="{FF2B5EF4-FFF2-40B4-BE49-F238E27FC236}">
                <a16:creationId xmlns:a16="http://schemas.microsoft.com/office/drawing/2014/main" id="{7C2B5466-B014-E8BC-9E8E-73D6C14DA4E1}"/>
              </a:ext>
            </a:extLst>
          </p:cNvPr>
          <p:cNvSpPr txBox="1"/>
          <p:nvPr/>
        </p:nvSpPr>
        <p:spPr>
          <a:xfrm>
            <a:off x="3982955" y="5284983"/>
            <a:ext cx="1134640" cy="16687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algn="ctr" defTabSz="2438400">
              <a:spcBef>
                <a:spcPts val="2900"/>
              </a:spcBef>
              <a:buSzPct val="100000"/>
            </a:pPr>
            <a:r>
              <a:rPr lang="en-US" sz="900" b="1" kern="0">
                <a:solidFill>
                  <a:srgbClr val="24A148"/>
                </a:solidFill>
                <a:ea typeface="+mj-ea"/>
                <a:cs typeface="+mj-cs"/>
                <a:sym typeface="IBM Plex Sans Light"/>
              </a:rPr>
              <a:t>Already Exists</a:t>
            </a:r>
            <a:endParaRPr lang="en-IN" sz="900" b="1" kern="0">
              <a:solidFill>
                <a:srgbClr val="24A148"/>
              </a:solidFill>
              <a:ea typeface="+mj-ea"/>
              <a:cs typeface="+mj-cs"/>
              <a:sym typeface="IBM Plex Sans Light"/>
            </a:endParaRPr>
          </a:p>
        </p:txBody>
      </p:sp>
      <p:sp>
        <p:nvSpPr>
          <p:cNvPr id="57" name="TextBox 56">
            <a:extLst>
              <a:ext uri="{FF2B5EF4-FFF2-40B4-BE49-F238E27FC236}">
                <a16:creationId xmlns:a16="http://schemas.microsoft.com/office/drawing/2014/main" id="{7652572F-03B8-2076-43C1-645F1512AF94}"/>
              </a:ext>
            </a:extLst>
          </p:cNvPr>
          <p:cNvSpPr txBox="1"/>
          <p:nvPr/>
        </p:nvSpPr>
        <p:spPr>
          <a:xfrm>
            <a:off x="5368177" y="5283541"/>
            <a:ext cx="1134640" cy="16687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algn="ctr" defTabSz="2438400">
              <a:spcBef>
                <a:spcPts val="2900"/>
              </a:spcBef>
              <a:buSzPct val="100000"/>
            </a:pPr>
            <a:r>
              <a:rPr lang="en-US" sz="900" b="1" kern="0">
                <a:solidFill>
                  <a:srgbClr val="24A148"/>
                </a:solidFill>
                <a:ea typeface="+mj-ea"/>
                <a:cs typeface="+mj-cs"/>
                <a:sym typeface="IBM Plex Sans Light"/>
              </a:rPr>
              <a:t>Already Exists</a:t>
            </a:r>
            <a:endParaRPr lang="en-IN" sz="900" b="1" kern="0">
              <a:solidFill>
                <a:srgbClr val="24A148"/>
              </a:solidFill>
              <a:ea typeface="+mj-ea"/>
              <a:cs typeface="+mj-cs"/>
              <a:sym typeface="IBM Plex Sans Light"/>
            </a:endParaRPr>
          </a:p>
        </p:txBody>
      </p:sp>
      <p:sp>
        <p:nvSpPr>
          <p:cNvPr id="58" name="TextBox 57">
            <a:extLst>
              <a:ext uri="{FF2B5EF4-FFF2-40B4-BE49-F238E27FC236}">
                <a16:creationId xmlns:a16="http://schemas.microsoft.com/office/drawing/2014/main" id="{8268C142-DA9B-15AA-934C-AEBCAEB70EEB}"/>
              </a:ext>
            </a:extLst>
          </p:cNvPr>
          <p:cNvSpPr txBox="1"/>
          <p:nvPr/>
        </p:nvSpPr>
        <p:spPr>
          <a:xfrm>
            <a:off x="8020667" y="5563221"/>
            <a:ext cx="1134640" cy="16687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algn="ctr" defTabSz="2438400">
              <a:spcBef>
                <a:spcPts val="2900"/>
              </a:spcBef>
              <a:buSzPct val="100000"/>
            </a:pPr>
            <a:r>
              <a:rPr lang="en-US" sz="900" b="1" kern="0">
                <a:solidFill>
                  <a:srgbClr val="24A148"/>
                </a:solidFill>
                <a:ea typeface="+mj-ea"/>
                <a:cs typeface="+mj-cs"/>
                <a:sym typeface="IBM Plex Sans Light"/>
              </a:rPr>
              <a:t>Already Exists</a:t>
            </a:r>
            <a:endParaRPr lang="en-IN" sz="900" b="1" kern="0">
              <a:solidFill>
                <a:srgbClr val="24A148"/>
              </a:solidFill>
              <a:ea typeface="+mj-ea"/>
              <a:cs typeface="+mj-cs"/>
              <a:sym typeface="IBM Plex Sans Light"/>
            </a:endParaRPr>
          </a:p>
        </p:txBody>
      </p:sp>
      <p:sp>
        <p:nvSpPr>
          <p:cNvPr id="62" name="Arrow: Down 61">
            <a:extLst>
              <a:ext uri="{FF2B5EF4-FFF2-40B4-BE49-F238E27FC236}">
                <a16:creationId xmlns:a16="http://schemas.microsoft.com/office/drawing/2014/main" id="{ADD5DFDE-A0C3-07C9-D8F6-0C8A74EB5AB4}"/>
              </a:ext>
            </a:extLst>
          </p:cNvPr>
          <p:cNvSpPr/>
          <p:nvPr/>
        </p:nvSpPr>
        <p:spPr bwMode="auto">
          <a:xfrm>
            <a:off x="10724687" y="4200497"/>
            <a:ext cx="165968" cy="246559"/>
          </a:xfrm>
          <a:prstGeom prst="down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IN">
              <a:solidFill>
                <a:schemeClr val="bg1"/>
              </a:solidFill>
              <a:latin typeface="Aptos" panose="020B0004020202020204" pitchFamily="34" charset="0"/>
            </a:endParaRPr>
          </a:p>
        </p:txBody>
      </p:sp>
      <p:pic>
        <p:nvPicPr>
          <p:cNvPr id="2050" name="Picture 2" descr="Update forms and views (Preview feature) in Dataverse | Arun ...">
            <a:extLst>
              <a:ext uri="{FF2B5EF4-FFF2-40B4-BE49-F238E27FC236}">
                <a16:creationId xmlns:a16="http://schemas.microsoft.com/office/drawing/2014/main" id="{5C91698E-7B8F-95F1-B7A4-CFC47A302529}"/>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0392899" y="4492800"/>
            <a:ext cx="792018" cy="267409"/>
          </a:xfrm>
          <a:prstGeom prst="rect">
            <a:avLst/>
          </a:prstGeom>
          <a:noFill/>
          <a:extLst>
            <a:ext uri="{909E8E84-426E-40DD-AFC4-6F175D3DCCD1}">
              <a14:hiddenFill xmlns:a14="http://schemas.microsoft.com/office/drawing/2010/main">
                <a:solidFill>
                  <a:srgbClr val="FFFFFF"/>
                </a:solidFill>
              </a14:hiddenFill>
            </a:ext>
          </a:extLst>
        </p:spPr>
      </p:pic>
      <p:sp>
        <p:nvSpPr>
          <p:cNvPr id="71" name="Arrow: Bent-Up 70">
            <a:extLst>
              <a:ext uri="{FF2B5EF4-FFF2-40B4-BE49-F238E27FC236}">
                <a16:creationId xmlns:a16="http://schemas.microsoft.com/office/drawing/2014/main" id="{F27AA2E5-AF02-0F99-258D-BE643894B8E7}"/>
              </a:ext>
            </a:extLst>
          </p:cNvPr>
          <p:cNvSpPr/>
          <p:nvPr/>
        </p:nvSpPr>
        <p:spPr bwMode="auto">
          <a:xfrm rot="16200000">
            <a:off x="9920640" y="3977356"/>
            <a:ext cx="645110" cy="342585"/>
          </a:xfrm>
          <a:prstGeom prst="bentUp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IN">
              <a:solidFill>
                <a:schemeClr val="bg1"/>
              </a:solidFill>
              <a:latin typeface="Aptos" panose="020B0004020202020204" pitchFamily="34" charset="0"/>
            </a:endParaRPr>
          </a:p>
        </p:txBody>
      </p:sp>
      <p:pic>
        <p:nvPicPr>
          <p:cNvPr id="72" name="Picture 71">
            <a:extLst>
              <a:ext uri="{FF2B5EF4-FFF2-40B4-BE49-F238E27FC236}">
                <a16:creationId xmlns:a16="http://schemas.microsoft.com/office/drawing/2014/main" id="{A906A19B-736A-7702-C3B4-6C4D67992E9F}"/>
              </a:ext>
            </a:extLst>
          </p:cNvPr>
          <p:cNvPicPr>
            <a:picLocks noChangeAspect="1"/>
          </p:cNvPicPr>
          <p:nvPr/>
        </p:nvPicPr>
        <p:blipFill>
          <a:blip r:embed="rId17"/>
          <a:stretch>
            <a:fillRect/>
          </a:stretch>
        </p:blipFill>
        <p:spPr>
          <a:xfrm>
            <a:off x="11137959" y="4471204"/>
            <a:ext cx="269364" cy="269364"/>
          </a:xfrm>
          <a:prstGeom prst="rect">
            <a:avLst/>
          </a:prstGeom>
        </p:spPr>
      </p:pic>
      <p:sp>
        <p:nvSpPr>
          <p:cNvPr id="60" name="Rectangle 59">
            <a:extLst>
              <a:ext uri="{FF2B5EF4-FFF2-40B4-BE49-F238E27FC236}">
                <a16:creationId xmlns:a16="http://schemas.microsoft.com/office/drawing/2014/main" id="{3162A752-AC50-E22F-F649-27E2CDB2581F}"/>
              </a:ext>
            </a:extLst>
          </p:cNvPr>
          <p:cNvSpPr/>
          <p:nvPr/>
        </p:nvSpPr>
        <p:spPr>
          <a:xfrm>
            <a:off x="8503630" y="1872995"/>
            <a:ext cx="1554166" cy="597646"/>
          </a:xfrm>
          <a:prstGeom prst="rect">
            <a:avLst/>
          </a:prstGeom>
          <a:solidFill>
            <a:schemeClr val="tx1">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b="1">
                <a:solidFill>
                  <a:schemeClr val="bg1"/>
                </a:solidFill>
                <a:latin typeface="Aptos" panose="020B0004020202020204" pitchFamily="34" charset="0"/>
              </a:rPr>
              <a:t>  Customer Health:</a:t>
            </a:r>
          </a:p>
          <a:p>
            <a:pPr marL="628650" lvl="1" indent="-171450">
              <a:buFont typeface="Arial" panose="020B0604020202020204" pitchFamily="34" charset="0"/>
              <a:buChar char="•"/>
            </a:pPr>
            <a:r>
              <a:rPr lang="en-US" sz="1000">
                <a:solidFill>
                  <a:schemeClr val="bg1"/>
                </a:solidFill>
                <a:latin typeface="Aptos" panose="020B0004020202020204" pitchFamily="34" charset="0"/>
              </a:rPr>
              <a:t>Pricing</a:t>
            </a:r>
          </a:p>
          <a:p>
            <a:pPr marL="628650" lvl="1" indent="-171450">
              <a:buFont typeface="Arial" panose="020B0604020202020204" pitchFamily="34" charset="0"/>
              <a:buChar char="•"/>
            </a:pPr>
            <a:r>
              <a:rPr lang="en-US" sz="1000">
                <a:solidFill>
                  <a:schemeClr val="bg1"/>
                </a:solidFill>
                <a:latin typeface="Aptos" panose="020B0004020202020204" pitchFamily="34" charset="0"/>
              </a:rPr>
              <a:t>Scorecard</a:t>
            </a:r>
          </a:p>
        </p:txBody>
      </p:sp>
      <p:sp>
        <p:nvSpPr>
          <p:cNvPr id="69" name="Rectangle 68">
            <a:extLst>
              <a:ext uri="{FF2B5EF4-FFF2-40B4-BE49-F238E27FC236}">
                <a16:creationId xmlns:a16="http://schemas.microsoft.com/office/drawing/2014/main" id="{4A13A916-D3A9-B09F-F790-08BFCA4B4BB7}"/>
              </a:ext>
            </a:extLst>
          </p:cNvPr>
          <p:cNvSpPr/>
          <p:nvPr/>
        </p:nvSpPr>
        <p:spPr>
          <a:xfrm>
            <a:off x="8517736" y="2521046"/>
            <a:ext cx="1554166" cy="263433"/>
          </a:xfrm>
          <a:prstGeom prst="rect">
            <a:avLst/>
          </a:prstGeom>
          <a:solidFill>
            <a:schemeClr val="tx1">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b="1">
                <a:solidFill>
                  <a:schemeClr val="bg1"/>
                </a:solidFill>
                <a:latin typeface="Aptos" panose="020B0004020202020204" pitchFamily="34" charset="0"/>
              </a:rPr>
              <a:t>Cut Recovery</a:t>
            </a:r>
          </a:p>
        </p:txBody>
      </p:sp>
      <p:sp>
        <p:nvSpPr>
          <p:cNvPr id="73" name="Rectangle 72">
            <a:extLst>
              <a:ext uri="{FF2B5EF4-FFF2-40B4-BE49-F238E27FC236}">
                <a16:creationId xmlns:a16="http://schemas.microsoft.com/office/drawing/2014/main" id="{C13955D7-3A0C-D173-E4D5-785466E2205B}"/>
              </a:ext>
            </a:extLst>
          </p:cNvPr>
          <p:cNvSpPr/>
          <p:nvPr/>
        </p:nvSpPr>
        <p:spPr bwMode="auto">
          <a:xfrm>
            <a:off x="3875318" y="2060390"/>
            <a:ext cx="1143858" cy="949396"/>
          </a:xfrm>
          <a:prstGeom prst="rect">
            <a:avLst/>
          </a:prstGeom>
          <a:solidFill>
            <a:srgbClr val="CFD8DC"/>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a:ln>
                  <a:noFill/>
                </a:ln>
                <a:solidFill>
                  <a:schemeClr val="bg1"/>
                </a:solidFill>
                <a:effectLst/>
                <a:latin typeface="+mn-lt"/>
              </a:rPr>
              <a:t>SAP</a:t>
            </a:r>
          </a:p>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en-US" sz="1000">
                <a:solidFill>
                  <a:schemeClr val="bg1"/>
                </a:solidFill>
              </a:rPr>
              <a:t>SAP BW4</a:t>
            </a:r>
          </a:p>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a:ln>
                  <a:noFill/>
                </a:ln>
                <a:solidFill>
                  <a:schemeClr val="bg1"/>
                </a:solidFill>
                <a:effectLst/>
                <a:latin typeface="+mn-lt"/>
              </a:rPr>
              <a:t>JDA/O9</a:t>
            </a:r>
          </a:p>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en-US" sz="1000">
                <a:solidFill>
                  <a:schemeClr val="bg1"/>
                </a:solidFill>
              </a:rPr>
              <a:t>Coty Data Cloud</a:t>
            </a:r>
            <a:endParaRPr kumimoji="0" lang="en-US" sz="1000" b="0" i="0" u="none" strike="noStrike" cap="none" normalizeH="0" baseline="0">
              <a:ln>
                <a:noFill/>
              </a:ln>
              <a:solidFill>
                <a:schemeClr val="bg1"/>
              </a:solidFill>
              <a:effectLst/>
              <a:latin typeface="+mn-lt"/>
            </a:endParaRPr>
          </a:p>
        </p:txBody>
      </p:sp>
      <p:sp>
        <p:nvSpPr>
          <p:cNvPr id="74" name="TextBox 73">
            <a:extLst>
              <a:ext uri="{FF2B5EF4-FFF2-40B4-BE49-F238E27FC236}">
                <a16:creationId xmlns:a16="http://schemas.microsoft.com/office/drawing/2014/main" id="{490A9AE1-C4B4-656C-821B-B33F28C69655}"/>
              </a:ext>
            </a:extLst>
          </p:cNvPr>
          <p:cNvSpPr txBox="1"/>
          <p:nvPr/>
        </p:nvSpPr>
        <p:spPr>
          <a:xfrm>
            <a:off x="4071257" y="1831692"/>
            <a:ext cx="672608" cy="8865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algn="l" defTabSz="2438400">
              <a:spcBef>
                <a:spcPts val="2900"/>
              </a:spcBef>
              <a:buSzPct val="100000"/>
            </a:pPr>
            <a:endParaRPr lang="en-US" kern="0">
              <a:solidFill>
                <a:srgbClr val="000000"/>
              </a:solidFill>
              <a:ea typeface="+mj-ea"/>
              <a:cs typeface="+mj-cs"/>
              <a:sym typeface="IBM Plex Sans Light"/>
            </a:endParaRPr>
          </a:p>
        </p:txBody>
      </p:sp>
      <p:sp>
        <p:nvSpPr>
          <p:cNvPr id="75" name="TextBox 74">
            <a:extLst>
              <a:ext uri="{FF2B5EF4-FFF2-40B4-BE49-F238E27FC236}">
                <a16:creationId xmlns:a16="http://schemas.microsoft.com/office/drawing/2014/main" id="{63E530B8-F8D1-2BC1-EEF5-47AAC98F9DD5}"/>
              </a:ext>
            </a:extLst>
          </p:cNvPr>
          <p:cNvSpPr txBox="1"/>
          <p:nvPr/>
        </p:nvSpPr>
        <p:spPr>
          <a:xfrm>
            <a:off x="8871857" y="299392"/>
            <a:ext cx="2266102" cy="35161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marL="444465" indent="-446749" algn="l" defTabSz="2438400">
              <a:spcBef>
                <a:spcPts val="2900"/>
              </a:spcBef>
              <a:buSzPct val="100000"/>
              <a:buFontTx/>
              <a:buChar char="–"/>
            </a:pPr>
            <a:endParaRPr lang="en-US" kern="0">
              <a:solidFill>
                <a:srgbClr val="000000"/>
              </a:solidFill>
              <a:ea typeface="+mj-ea"/>
              <a:cs typeface="+mj-cs"/>
              <a:sym typeface="IBM Plex Sans Light"/>
            </a:endParaRPr>
          </a:p>
        </p:txBody>
      </p:sp>
      <p:sp>
        <p:nvSpPr>
          <p:cNvPr id="76" name="Rectangle 75">
            <a:extLst>
              <a:ext uri="{FF2B5EF4-FFF2-40B4-BE49-F238E27FC236}">
                <a16:creationId xmlns:a16="http://schemas.microsoft.com/office/drawing/2014/main" id="{7A7836A0-CAE1-EF52-6AC9-0CF8E059E7C2}"/>
              </a:ext>
            </a:extLst>
          </p:cNvPr>
          <p:cNvSpPr/>
          <p:nvPr/>
        </p:nvSpPr>
        <p:spPr bwMode="auto">
          <a:xfrm>
            <a:off x="5362782" y="2072603"/>
            <a:ext cx="1143858" cy="949396"/>
          </a:xfrm>
          <a:prstGeom prst="rect">
            <a:avLst/>
          </a:prstGeom>
          <a:solidFill>
            <a:srgbClr val="CFD8DC"/>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a:ln>
                  <a:noFill/>
                </a:ln>
                <a:solidFill>
                  <a:schemeClr val="bg1"/>
                </a:solidFill>
                <a:effectLst/>
                <a:latin typeface="+mn-lt"/>
              </a:rPr>
              <a:t>SAP</a:t>
            </a:r>
          </a:p>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en-US" sz="1000">
                <a:solidFill>
                  <a:schemeClr val="bg1"/>
                </a:solidFill>
              </a:rPr>
              <a:t>SAP BW4</a:t>
            </a:r>
          </a:p>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a:ln>
                  <a:noFill/>
                </a:ln>
                <a:solidFill>
                  <a:schemeClr val="bg1"/>
                </a:solidFill>
                <a:effectLst/>
                <a:latin typeface="+mn-lt"/>
              </a:rPr>
              <a:t>JDA/O9</a:t>
            </a:r>
          </a:p>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en-US" sz="1000">
                <a:solidFill>
                  <a:schemeClr val="bg1"/>
                </a:solidFill>
              </a:rPr>
              <a:t>Coty Data Cloud</a:t>
            </a:r>
            <a:endParaRPr kumimoji="0" lang="en-US" sz="1000" b="0" i="0" u="none" strike="noStrike" cap="none" normalizeH="0" baseline="0">
              <a:ln>
                <a:noFill/>
              </a:ln>
              <a:solidFill>
                <a:schemeClr val="bg1"/>
              </a:solidFill>
              <a:effectLst/>
              <a:latin typeface="+mn-lt"/>
            </a:endParaRPr>
          </a:p>
        </p:txBody>
      </p:sp>
      <p:sp>
        <p:nvSpPr>
          <p:cNvPr id="77" name="TextBox 76">
            <a:extLst>
              <a:ext uri="{FF2B5EF4-FFF2-40B4-BE49-F238E27FC236}">
                <a16:creationId xmlns:a16="http://schemas.microsoft.com/office/drawing/2014/main" id="{47D7240F-C267-DCB1-69DD-F3110243C355}"/>
              </a:ext>
            </a:extLst>
          </p:cNvPr>
          <p:cNvSpPr txBox="1"/>
          <p:nvPr/>
        </p:nvSpPr>
        <p:spPr>
          <a:xfrm>
            <a:off x="3829723" y="1750448"/>
            <a:ext cx="1286119" cy="13234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algn="ctr" defTabSz="2438400">
              <a:spcBef>
                <a:spcPts val="2900"/>
              </a:spcBef>
              <a:buSzPct val="100000"/>
            </a:pPr>
            <a:r>
              <a:rPr lang="en-US" sz="1200" kern="0">
                <a:solidFill>
                  <a:srgbClr val="000000"/>
                </a:solidFill>
                <a:ea typeface="+mj-ea"/>
                <a:cs typeface="+mj-cs"/>
                <a:sym typeface="IBM Plex Sans Light"/>
              </a:rPr>
              <a:t>Phase 1</a:t>
            </a:r>
          </a:p>
        </p:txBody>
      </p:sp>
      <p:sp>
        <p:nvSpPr>
          <p:cNvPr id="78" name="TextBox 77">
            <a:extLst>
              <a:ext uri="{FF2B5EF4-FFF2-40B4-BE49-F238E27FC236}">
                <a16:creationId xmlns:a16="http://schemas.microsoft.com/office/drawing/2014/main" id="{08EA35EF-1124-C531-45DE-59D7361BF480}"/>
              </a:ext>
            </a:extLst>
          </p:cNvPr>
          <p:cNvSpPr txBox="1"/>
          <p:nvPr/>
        </p:nvSpPr>
        <p:spPr>
          <a:xfrm>
            <a:off x="5235010" y="1750448"/>
            <a:ext cx="1286119" cy="13234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algn="ctr" defTabSz="2438400">
              <a:spcBef>
                <a:spcPts val="2900"/>
              </a:spcBef>
              <a:buSzPct val="100000"/>
            </a:pPr>
            <a:r>
              <a:rPr lang="en-US" sz="1200" kern="0">
                <a:solidFill>
                  <a:srgbClr val="000000"/>
                </a:solidFill>
                <a:ea typeface="+mj-ea"/>
                <a:cs typeface="+mj-cs"/>
                <a:sym typeface="IBM Plex Sans Light"/>
              </a:rPr>
              <a:t>Phase 1</a:t>
            </a:r>
          </a:p>
        </p:txBody>
      </p:sp>
      <p:sp>
        <p:nvSpPr>
          <p:cNvPr id="79" name="TextBox 78">
            <a:extLst>
              <a:ext uri="{FF2B5EF4-FFF2-40B4-BE49-F238E27FC236}">
                <a16:creationId xmlns:a16="http://schemas.microsoft.com/office/drawing/2014/main" id="{E5510213-C6DD-634B-D6EA-E63E6EB5FD00}"/>
              </a:ext>
            </a:extLst>
          </p:cNvPr>
          <p:cNvSpPr txBox="1"/>
          <p:nvPr/>
        </p:nvSpPr>
        <p:spPr>
          <a:xfrm>
            <a:off x="3862396" y="3200671"/>
            <a:ext cx="1267984" cy="152623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marL="184150" indent="-184150">
              <a:buFont typeface="Arial" panose="020B0604020202020204" pitchFamily="34" charset="0"/>
              <a:buChar char="•"/>
            </a:pPr>
            <a:endParaRPr lang="en-US" sz="1000">
              <a:solidFill>
                <a:schemeClr val="bg1"/>
              </a:solidFill>
              <a:latin typeface="Aptos" panose="020B0004020202020204" pitchFamily="34" charset="0"/>
            </a:endParaRPr>
          </a:p>
          <a:p>
            <a:pPr marL="184150" indent="-184150">
              <a:buFont typeface="Arial" panose="020B0604020202020204" pitchFamily="34" charset="0"/>
              <a:buChar char="•"/>
            </a:pPr>
            <a:r>
              <a:rPr lang="en-US" sz="1000">
                <a:solidFill>
                  <a:schemeClr val="bg1"/>
                </a:solidFill>
                <a:latin typeface="Aptos" panose="020B0004020202020204" pitchFamily="34" charset="0"/>
              </a:rPr>
              <a:t>WMS</a:t>
            </a:r>
          </a:p>
          <a:p>
            <a:pPr marL="184150" indent="-184150">
              <a:buFont typeface="Arial" panose="020B0604020202020204" pitchFamily="34" charset="0"/>
              <a:buChar char="•"/>
            </a:pPr>
            <a:r>
              <a:rPr lang="en-US" sz="1000">
                <a:solidFill>
                  <a:schemeClr val="bg1"/>
                </a:solidFill>
                <a:latin typeface="Aptos" panose="020B0004020202020204" pitchFamily="34" charset="0"/>
              </a:rPr>
              <a:t>Azure Notifications</a:t>
            </a:r>
          </a:p>
          <a:p>
            <a:pPr marL="184150" indent="-184150">
              <a:buFont typeface="Arial" panose="020B0604020202020204" pitchFamily="34" charset="0"/>
              <a:buChar char="•"/>
            </a:pPr>
            <a:r>
              <a:rPr lang="en-US" sz="1000">
                <a:solidFill>
                  <a:schemeClr val="bg1"/>
                </a:solidFill>
                <a:latin typeface="Aptos" panose="020B0004020202020204" pitchFamily="34" charset="0"/>
              </a:rPr>
              <a:t>Transportation (TMS)</a:t>
            </a:r>
          </a:p>
          <a:p>
            <a:pPr marL="184150" indent="-184150">
              <a:buFont typeface="Arial" panose="020B0604020202020204" pitchFamily="34" charset="0"/>
              <a:buChar char="•"/>
            </a:pPr>
            <a:r>
              <a:rPr lang="en-US" sz="1000">
                <a:solidFill>
                  <a:schemeClr val="bg1"/>
                </a:solidFill>
                <a:latin typeface="Aptos" panose="020B0004020202020204" pitchFamily="34" charset="0"/>
              </a:rPr>
              <a:t>High Radius</a:t>
            </a:r>
          </a:p>
          <a:p>
            <a:pPr marL="184150" indent="-184150">
              <a:buFont typeface="Arial" panose="020B0604020202020204" pitchFamily="34" charset="0"/>
              <a:buChar char="•"/>
            </a:pPr>
            <a:r>
              <a:rPr lang="en-US" sz="1000" err="1">
                <a:solidFill>
                  <a:schemeClr val="bg1"/>
                </a:solidFill>
                <a:latin typeface="Aptos" panose="020B0004020202020204" pitchFamily="34" charset="0"/>
              </a:rPr>
              <a:t>Blueplanner</a:t>
            </a:r>
            <a:endParaRPr lang="en-US" sz="1000">
              <a:solidFill>
                <a:schemeClr val="bg1"/>
              </a:solidFill>
              <a:latin typeface="Aptos" panose="020B0004020202020204" pitchFamily="34" charset="0"/>
            </a:endParaRPr>
          </a:p>
          <a:p>
            <a:pPr marL="184150" indent="-184150">
              <a:buFont typeface="Arial" panose="020B0604020202020204" pitchFamily="34" charset="0"/>
              <a:buChar char="•"/>
            </a:pPr>
            <a:r>
              <a:rPr lang="en-US" sz="1000">
                <a:solidFill>
                  <a:schemeClr val="bg1"/>
                </a:solidFill>
                <a:latin typeface="Aptos" panose="020B0004020202020204" pitchFamily="34" charset="0"/>
              </a:rPr>
              <a:t>Input Files</a:t>
            </a:r>
            <a:endParaRPr lang="en-IN" sz="1000">
              <a:solidFill>
                <a:schemeClr val="bg1"/>
              </a:solidFill>
              <a:latin typeface="Aptos" panose="020B0004020202020204" pitchFamily="34" charset="0"/>
            </a:endParaRPr>
          </a:p>
        </p:txBody>
      </p:sp>
      <p:sp>
        <p:nvSpPr>
          <p:cNvPr id="80" name="TextBox 79">
            <a:extLst>
              <a:ext uri="{FF2B5EF4-FFF2-40B4-BE49-F238E27FC236}">
                <a16:creationId xmlns:a16="http://schemas.microsoft.com/office/drawing/2014/main" id="{F75A2B00-EC5F-8D40-64FC-BF2A0719A1EC}"/>
              </a:ext>
            </a:extLst>
          </p:cNvPr>
          <p:cNvSpPr txBox="1"/>
          <p:nvPr/>
        </p:nvSpPr>
        <p:spPr>
          <a:xfrm>
            <a:off x="5362834" y="3211806"/>
            <a:ext cx="1267984" cy="152623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endParaRPr lang="en-US" sz="1000">
              <a:solidFill>
                <a:schemeClr val="bg1"/>
              </a:solidFill>
              <a:latin typeface="Aptos" panose="020B0004020202020204" pitchFamily="34" charset="0"/>
            </a:endParaRPr>
          </a:p>
          <a:p>
            <a:pPr marL="184150" indent="-184150">
              <a:buFont typeface="Arial" panose="020B0604020202020204" pitchFamily="34" charset="0"/>
              <a:buChar char="•"/>
            </a:pPr>
            <a:r>
              <a:rPr lang="en-US" sz="1000">
                <a:solidFill>
                  <a:schemeClr val="bg1"/>
                </a:solidFill>
                <a:latin typeface="Aptos" panose="020B0004020202020204" pitchFamily="34" charset="0"/>
              </a:rPr>
              <a:t>WMS</a:t>
            </a:r>
          </a:p>
          <a:p>
            <a:pPr marL="184150" indent="-184150">
              <a:buFont typeface="Arial" panose="020B0604020202020204" pitchFamily="34" charset="0"/>
              <a:buChar char="•"/>
            </a:pPr>
            <a:r>
              <a:rPr lang="en-US" sz="1000">
                <a:solidFill>
                  <a:schemeClr val="bg1"/>
                </a:solidFill>
                <a:latin typeface="Aptos" panose="020B0004020202020204" pitchFamily="34" charset="0"/>
              </a:rPr>
              <a:t>Databricks (calculations)</a:t>
            </a:r>
          </a:p>
          <a:p>
            <a:pPr marL="184150" indent="-184150">
              <a:buFont typeface="Arial" panose="020B0604020202020204" pitchFamily="34" charset="0"/>
              <a:buChar char="•"/>
            </a:pPr>
            <a:r>
              <a:rPr lang="en-US" sz="1000">
                <a:solidFill>
                  <a:schemeClr val="bg1"/>
                </a:solidFill>
                <a:latin typeface="Aptos" panose="020B0004020202020204" pitchFamily="34" charset="0"/>
              </a:rPr>
              <a:t>Azure Notifications</a:t>
            </a:r>
          </a:p>
          <a:p>
            <a:pPr marL="184150" indent="-184150">
              <a:buFont typeface="Arial" panose="020B0604020202020204" pitchFamily="34" charset="0"/>
              <a:buChar char="•"/>
            </a:pPr>
            <a:r>
              <a:rPr lang="en-US" sz="1000">
                <a:solidFill>
                  <a:schemeClr val="bg1"/>
                </a:solidFill>
                <a:latin typeface="Aptos" panose="020B0004020202020204" pitchFamily="34" charset="0"/>
              </a:rPr>
              <a:t>Transportation (TMS)</a:t>
            </a:r>
          </a:p>
          <a:p>
            <a:pPr marL="184150" indent="-184150">
              <a:buFont typeface="Arial" panose="020B0604020202020204" pitchFamily="34" charset="0"/>
              <a:buChar char="•"/>
            </a:pPr>
            <a:r>
              <a:rPr lang="en-US" sz="1000">
                <a:solidFill>
                  <a:schemeClr val="bg1"/>
                </a:solidFill>
                <a:latin typeface="Aptos" panose="020B0004020202020204" pitchFamily="34" charset="0"/>
              </a:rPr>
              <a:t>High Radius</a:t>
            </a:r>
          </a:p>
          <a:p>
            <a:pPr marL="184150" indent="-184150">
              <a:buFont typeface="Arial" panose="020B0604020202020204" pitchFamily="34" charset="0"/>
              <a:buChar char="•"/>
            </a:pPr>
            <a:r>
              <a:rPr lang="en-US" sz="1000" err="1">
                <a:solidFill>
                  <a:schemeClr val="bg1"/>
                </a:solidFill>
                <a:latin typeface="Aptos" panose="020B0004020202020204" pitchFamily="34" charset="0"/>
              </a:rPr>
              <a:t>Blueplanner</a:t>
            </a:r>
            <a:endParaRPr lang="en-US" sz="1000">
              <a:solidFill>
                <a:schemeClr val="bg1"/>
              </a:solidFill>
              <a:latin typeface="Aptos" panose="020B0004020202020204" pitchFamily="34" charset="0"/>
            </a:endParaRPr>
          </a:p>
          <a:p>
            <a:pPr marL="184150" indent="-184150">
              <a:buFont typeface="Arial" panose="020B0604020202020204" pitchFamily="34" charset="0"/>
              <a:buChar char="•"/>
            </a:pPr>
            <a:r>
              <a:rPr lang="en-US" sz="1000">
                <a:solidFill>
                  <a:schemeClr val="bg1"/>
                </a:solidFill>
                <a:latin typeface="Aptos" panose="020B0004020202020204" pitchFamily="34" charset="0"/>
              </a:rPr>
              <a:t>Input Files</a:t>
            </a:r>
          </a:p>
        </p:txBody>
      </p:sp>
      <p:sp>
        <p:nvSpPr>
          <p:cNvPr id="81" name="TextBox 80">
            <a:extLst>
              <a:ext uri="{FF2B5EF4-FFF2-40B4-BE49-F238E27FC236}">
                <a16:creationId xmlns:a16="http://schemas.microsoft.com/office/drawing/2014/main" id="{8D095A93-40C2-6DC9-7A88-0F3316E98C27}"/>
              </a:ext>
            </a:extLst>
          </p:cNvPr>
          <p:cNvSpPr txBox="1"/>
          <p:nvPr/>
        </p:nvSpPr>
        <p:spPr>
          <a:xfrm>
            <a:off x="7526274" y="1674863"/>
            <a:ext cx="1950148" cy="17694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algn="ctr" defTabSz="2438400">
              <a:spcBef>
                <a:spcPts val="2900"/>
              </a:spcBef>
              <a:buSzPct val="100000"/>
            </a:pPr>
            <a:r>
              <a:rPr lang="en-US" sz="1200" kern="0">
                <a:solidFill>
                  <a:srgbClr val="000000"/>
                </a:solidFill>
                <a:ea typeface="+mj-ea"/>
                <a:cs typeface="+mj-cs"/>
                <a:sym typeface="IBM Plex Sans Light"/>
              </a:rPr>
              <a:t>Phase 1</a:t>
            </a:r>
          </a:p>
        </p:txBody>
      </p:sp>
      <p:sp>
        <p:nvSpPr>
          <p:cNvPr id="82" name="TextBox 81">
            <a:extLst>
              <a:ext uri="{FF2B5EF4-FFF2-40B4-BE49-F238E27FC236}">
                <a16:creationId xmlns:a16="http://schemas.microsoft.com/office/drawing/2014/main" id="{C4EA8F04-9E53-9AA5-ADBA-3645CC3143D4}"/>
              </a:ext>
            </a:extLst>
          </p:cNvPr>
          <p:cNvSpPr txBox="1"/>
          <p:nvPr/>
        </p:nvSpPr>
        <p:spPr>
          <a:xfrm>
            <a:off x="7501471" y="2879085"/>
            <a:ext cx="1950148" cy="17694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algn="ctr" defTabSz="2438400">
              <a:spcBef>
                <a:spcPts val="2900"/>
              </a:spcBef>
              <a:buSzPct val="100000"/>
            </a:pPr>
            <a:r>
              <a:rPr lang="en-US" sz="1200" kern="0">
                <a:solidFill>
                  <a:srgbClr val="000000"/>
                </a:solidFill>
                <a:ea typeface="+mj-ea"/>
                <a:cs typeface="+mj-cs"/>
                <a:sym typeface="IBM Plex Sans Light"/>
              </a:rPr>
              <a:t>Next Phase</a:t>
            </a:r>
          </a:p>
        </p:txBody>
      </p:sp>
    </p:spTree>
    <p:extLst>
      <p:ext uri="{BB962C8B-B14F-4D97-AF65-F5344CB8AC3E}">
        <p14:creationId xmlns:p14="http://schemas.microsoft.com/office/powerpoint/2010/main" val="107819393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Light Slides">
  <a:themeElements>
    <a:clrScheme name="Brillio Design 2024">
      <a:dk1>
        <a:srgbClr val="000000"/>
      </a:dk1>
      <a:lt1>
        <a:srgbClr val="FFFFFF"/>
      </a:lt1>
      <a:dk2>
        <a:srgbClr val="001427"/>
      </a:dk2>
      <a:lt2>
        <a:srgbClr val="EAFEF6"/>
      </a:lt2>
      <a:accent1>
        <a:srgbClr val="2CC84D"/>
      </a:accent1>
      <a:accent2>
        <a:srgbClr val="88DD93"/>
      </a:accent2>
      <a:accent3>
        <a:srgbClr val="279386"/>
      </a:accent3>
      <a:accent4>
        <a:srgbClr val="004757"/>
      </a:accent4>
      <a:accent5>
        <a:srgbClr val="003466"/>
      </a:accent5>
      <a:accent6>
        <a:srgbClr val="88FF91"/>
      </a:accent6>
      <a:hlink>
        <a:srgbClr val="2CC84D"/>
      </a:hlink>
      <a:folHlink>
        <a:srgbClr val="2CC84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5F6FF"/>
        </a:solidFill>
        <a:ln w="19050">
          <a:solidFill>
            <a:srgbClr val="E5F6FF"/>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xmlns:p="http://schemas.openxmlformats.org/presentationml/2006/main" xmlns:r="http://schemas.openxmlformats.org/officeDocument/2006/relationships"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presentation_template_v_1_4_Plex" id="{CD0C5817-EB6A-6C46-8403-24AD582CFD03}" vid="{BF9B21BA-71C2-5045-909D-55899A1DBA68}"/>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2_Light Slides">
  <a:themeElements>
    <a:clrScheme name="Coty OG">
      <a:dk1>
        <a:srgbClr val="002454"/>
      </a:dk1>
      <a:lt1>
        <a:srgbClr val="FFFFFF"/>
      </a:lt1>
      <a:dk2>
        <a:srgbClr val="000000"/>
      </a:dk2>
      <a:lt2>
        <a:srgbClr val="FEFFFF"/>
      </a:lt2>
      <a:accent1>
        <a:srgbClr val="002454"/>
      </a:accent1>
      <a:accent2>
        <a:srgbClr val="AFBEC4"/>
      </a:accent2>
      <a:accent3>
        <a:srgbClr val="EED9D9"/>
      </a:accent3>
      <a:accent4>
        <a:srgbClr val="EEBEB9"/>
      </a:accent4>
      <a:accent5>
        <a:srgbClr val="7ED6E7"/>
      </a:accent5>
      <a:accent6>
        <a:srgbClr val="68C0EC"/>
      </a:accent6>
      <a:hlink>
        <a:srgbClr val="FD5C47"/>
      </a:hlink>
      <a:folHlink>
        <a:srgbClr val="608181"/>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5F6FF"/>
        </a:solidFill>
        <a:ln w="19050">
          <a:solidFill>
            <a:srgbClr val="E5F6FF"/>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xmlns:p="http://schemas.openxmlformats.org/presentationml/2006/main" xmlns:r="http://schemas.openxmlformats.org/officeDocument/2006/relationships"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presentation_template_v_1_4_Plex" id="{CD0C5817-EB6A-6C46-8403-24AD582CFD03}" vid="{BF9B21BA-71C2-5045-909D-55899A1DBA68}"/>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Theme">
      <a:majorFont>
        <a:latin typeface="Aptos Display"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ptos" panose="020B0004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6_Brillio Dark Theme">
  <a:themeElements>
    <a:clrScheme name="Brillio v5 2-23">
      <a:dk1>
        <a:srgbClr val="201646"/>
      </a:dk1>
      <a:lt1>
        <a:srgbClr val="FFFFFF"/>
      </a:lt1>
      <a:dk2>
        <a:srgbClr val="000000"/>
      </a:dk2>
      <a:lt2>
        <a:srgbClr val="FFFFFF"/>
      </a:lt2>
      <a:accent1>
        <a:srgbClr val="413A62"/>
      </a:accent1>
      <a:accent2>
        <a:srgbClr val="6E6886"/>
      </a:accent2>
      <a:accent3>
        <a:srgbClr val="413A62"/>
      </a:accent3>
      <a:accent4>
        <a:srgbClr val="A19DB2"/>
      </a:accent4>
      <a:accent5>
        <a:srgbClr val="C8C4D0"/>
      </a:accent5>
      <a:accent6>
        <a:srgbClr val="D9D9D9"/>
      </a:accent6>
      <a:hlink>
        <a:srgbClr val="2BC84C"/>
      </a:hlink>
      <a:folHlink>
        <a:srgbClr val="6E688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0" tIns="0" rIns="0" bIns="0"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1" id="{A0F5AD70-6EA9-944E-B4BA-A4D0D16C5F96}" vid="{DB97FEB4-7F6A-A641-9CFC-DC6464280B4E}"/>
    </a:ext>
  </a:extLst>
</a:theme>
</file>

<file path=ppt/theme/theme5.xml><?xml version="1.0" encoding="utf-8"?>
<a:theme xmlns:a="http://schemas.openxmlformats.org/drawingml/2006/main" name="1_Cognizantnewbrand">
  <a:themeElements>
    <a:clrScheme name="Brillio">
      <a:dk1>
        <a:srgbClr val="201646"/>
      </a:dk1>
      <a:lt1>
        <a:srgbClr val="FFFFFF"/>
      </a:lt1>
      <a:dk2>
        <a:srgbClr val="000000"/>
      </a:dk2>
      <a:lt2>
        <a:srgbClr val="FFFFFF"/>
      </a:lt2>
      <a:accent1>
        <a:srgbClr val="2BC84C"/>
      </a:accent1>
      <a:accent2>
        <a:srgbClr val="0033A0"/>
      </a:accent2>
      <a:accent3>
        <a:srgbClr val="2C67FF"/>
      </a:accent3>
      <a:accent4>
        <a:srgbClr val="7BA0FF"/>
      </a:accent4>
      <a:accent5>
        <a:srgbClr val="00A685"/>
      </a:accent5>
      <a:accent6>
        <a:srgbClr val="424242"/>
      </a:accent6>
      <a:hlink>
        <a:srgbClr val="2BC84C"/>
      </a:hlink>
      <a:folHlink>
        <a:srgbClr val="2BC84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wrap="square" lIns="0" tIns="0" rIns="0" bIns="0" rtlCol="0">
        <a:spAutoFit/>
      </a:bodyPr>
      <a:lstStyle>
        <a:defPPr algn="l">
          <a:defRPr dirty="0" smtClean="0">
            <a:solidFill>
              <a:schemeClr val="tx2"/>
            </a:solidFill>
          </a:defRPr>
        </a:defPPr>
      </a:lstStyle>
    </a:txDef>
  </a:objectDefaults>
  <a:extraClrSchemeLst/>
  <a:extLst>
    <a:ext uri="{05A4C25C-085E-4340-85A3-A5531E510DB2}">
      <thm15:themeFamily xmlns:thm15="http://schemas.microsoft.com/office/thememl/2012/main" name="Presentation1" id="{7A88D35D-CBA0-064B-B468-1B96963BA50B}" vid="{4AD8278D-5189-1646-81DA-721E7CD56AD3}"/>
    </a:ext>
  </a:extLst>
</a:theme>
</file>

<file path=ppt/theme/theme6.xml><?xml version="1.0" encoding="utf-8"?>
<a:theme xmlns:a="http://schemas.openxmlformats.org/drawingml/2006/main" name="Light Slides">
  <a:themeElements>
    <a:clrScheme name="BrillioDesign Colors">
      <a:dk1>
        <a:srgbClr val="001427"/>
      </a:dk1>
      <a:lt1>
        <a:srgbClr val="FFFFFF"/>
      </a:lt1>
      <a:dk2>
        <a:srgbClr val="002448"/>
      </a:dk2>
      <a:lt2>
        <a:srgbClr val="EAFEF6"/>
      </a:lt2>
      <a:accent1>
        <a:srgbClr val="2CC84D"/>
      </a:accent1>
      <a:accent2>
        <a:srgbClr val="98F0AB"/>
      </a:accent2>
      <a:accent3>
        <a:srgbClr val="D5F7E1"/>
      </a:accent3>
      <a:accent4>
        <a:srgbClr val="004757"/>
      </a:accent4>
      <a:accent5>
        <a:srgbClr val="279386"/>
      </a:accent5>
      <a:accent6>
        <a:srgbClr val="79CEB5"/>
      </a:accent6>
      <a:hlink>
        <a:srgbClr val="2CC84D"/>
      </a:hlink>
      <a:folHlink>
        <a:srgbClr val="2CC84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5F6FF"/>
        </a:solidFill>
        <a:ln w="19050">
          <a:solidFill>
            <a:srgbClr val="E5F6FF"/>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r="http://schemas.openxmlformats.org/officeDocument/2006/relationships" xmlns:p="http://schemas.openxmlformats.org/presentationml/2006/main" xmlns="" xmlns:m="http://schemas.openxmlformats.org/officeDocument/2006/math" xmlns:a14="http://schemas.microsoft.com/office/drawing/2010/main" xmlns:ma14="http://schemas.microsoft.com/office/mac/drawingml/2011/main"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presentation_template_v_1_4_Plex" id="{CD0C5817-EB6A-6C46-8403-24AD582CFD03}" vid="{BF9B21BA-71C2-5045-909D-55899A1DBA68}"/>
    </a:ext>
  </a:extLst>
</a:theme>
</file>

<file path=ppt/theme/theme7.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1">
      <a:majorFont>
        <a:latin typeface="Arial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a:solidFill>
            <a:schemeClr val="tx1">
              <a:lumMod val="65000"/>
              <a:lumOff val="35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1" id="{D08B0EA8-419A-4C45-B18F-A9D9AD799F30}" vid="{75F26356-F7D1-4D60-B7DD-600C7FDB66C6}"/>
    </a:ext>
  </a:extLst>
</a:theme>
</file>

<file path=ppt/theme/theme8.xml><?xml version="1.0" encoding="utf-8"?>
<a:theme xmlns:a="http://schemas.openxmlformats.org/drawingml/2006/main" name="1.Brillio Dark Theme">
  <a:themeElements>
    <a:clrScheme name="Brillio v5 2-23">
      <a:dk1>
        <a:srgbClr val="201646"/>
      </a:dk1>
      <a:lt1>
        <a:srgbClr val="FFFFFF"/>
      </a:lt1>
      <a:dk2>
        <a:srgbClr val="000000"/>
      </a:dk2>
      <a:lt2>
        <a:srgbClr val="FFFFFF"/>
      </a:lt2>
      <a:accent1>
        <a:srgbClr val="413A62"/>
      </a:accent1>
      <a:accent2>
        <a:srgbClr val="6E6886"/>
      </a:accent2>
      <a:accent3>
        <a:srgbClr val="413A62"/>
      </a:accent3>
      <a:accent4>
        <a:srgbClr val="A19DB2"/>
      </a:accent4>
      <a:accent5>
        <a:srgbClr val="C8C4D0"/>
      </a:accent5>
      <a:accent6>
        <a:srgbClr val="D9D9D9"/>
      </a:accent6>
      <a:hlink>
        <a:srgbClr val="2BC84C"/>
      </a:hlink>
      <a:folHlink>
        <a:srgbClr val="6E688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0" tIns="0" rIns="0" bIns="0"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1" id="{A0F5AD70-6EA9-944E-B4BA-A4D0D16C5F96}" vid="{DB97FEB4-7F6A-A641-9CFC-DC6464280B4E}"/>
    </a:ext>
  </a:extLst>
</a:theme>
</file>

<file path=ppt/theme/theme9.xml><?xml version="1.0" encoding="utf-8"?>
<a:theme xmlns:a="http://schemas.openxmlformats.org/drawingml/2006/main" name="2_Cognizantnewbrand">
  <a:themeElements>
    <a:clrScheme name="Brillio">
      <a:dk1>
        <a:srgbClr val="201646"/>
      </a:dk1>
      <a:lt1>
        <a:srgbClr val="FFFFFF"/>
      </a:lt1>
      <a:dk2>
        <a:srgbClr val="000000"/>
      </a:dk2>
      <a:lt2>
        <a:srgbClr val="FFFFFF"/>
      </a:lt2>
      <a:accent1>
        <a:srgbClr val="2BC84C"/>
      </a:accent1>
      <a:accent2>
        <a:srgbClr val="0033A0"/>
      </a:accent2>
      <a:accent3>
        <a:srgbClr val="2C67FF"/>
      </a:accent3>
      <a:accent4>
        <a:srgbClr val="7BA0FF"/>
      </a:accent4>
      <a:accent5>
        <a:srgbClr val="00A685"/>
      </a:accent5>
      <a:accent6>
        <a:srgbClr val="424242"/>
      </a:accent6>
      <a:hlink>
        <a:srgbClr val="2BC84C"/>
      </a:hlink>
      <a:folHlink>
        <a:srgbClr val="2BC84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wrap="square" lIns="0" tIns="0" rIns="0" bIns="0" rtlCol="0">
        <a:spAutoFit/>
      </a:bodyPr>
      <a:lstStyle>
        <a:defPPr algn="l">
          <a:defRPr dirty="0" smtClean="0">
            <a:solidFill>
              <a:schemeClr val="tx2"/>
            </a:solidFill>
          </a:defRPr>
        </a:defPPr>
      </a:lstStyle>
    </a:txDef>
  </a:objectDefaults>
  <a:extraClrSchemeLst/>
  <a:extLst>
    <a:ext uri="{05A4C25C-085E-4340-85A3-A5531E510DB2}">
      <thm15:themeFamily xmlns:thm15="http://schemas.microsoft.com/office/thememl/2012/main" name="Presentation1" id="{7A88D35D-CBA0-064B-B468-1B96963BA50B}" vid="{4AD8278D-5189-1646-81DA-721E7CD56AD3}"/>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lcf76f155ced4ddcb4097134ff3c332f xmlns="6b68f484-29fa-47fd-8df8-9b68eb6318a2">
      <Terms xmlns="http://schemas.microsoft.com/office/infopath/2007/PartnerControls"/>
    </lcf76f155ced4ddcb4097134ff3c332f>
    <_ip_UnifiedCompliancePolicyProperties xmlns="http://schemas.microsoft.com/sharepoint/v3" xsi:nil="true"/>
    <TaxCatchAll xmlns="d3e3c10b-2b05-44b5-b337-f126f441e3b7"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EBAB1B268054C47A48CE6C86BD12A81" ma:contentTypeVersion="20" ma:contentTypeDescription="Create a new document." ma:contentTypeScope="" ma:versionID="ab30ea72960ef851b8aca7000744ef07">
  <xsd:schema xmlns:xsd="http://www.w3.org/2001/XMLSchema" xmlns:xs="http://www.w3.org/2001/XMLSchema" xmlns:p="http://schemas.microsoft.com/office/2006/metadata/properties" xmlns:ns1="http://schemas.microsoft.com/sharepoint/v3" xmlns:ns2="6b68f484-29fa-47fd-8df8-9b68eb6318a2" xmlns:ns3="d3e3c10b-2b05-44b5-b337-f126f441e3b7" targetNamespace="http://schemas.microsoft.com/office/2006/metadata/properties" ma:root="true" ma:fieldsID="530be2db67fdb157785d90a6842675e7" ns1:_="" ns2:_="" ns3:_="">
    <xsd:import namespace="http://schemas.microsoft.com/sharepoint/v3"/>
    <xsd:import namespace="6b68f484-29fa-47fd-8df8-9b68eb6318a2"/>
    <xsd:import namespace="d3e3c10b-2b05-44b5-b337-f126f441e3b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OCR" minOccurs="0"/>
                <xsd:element ref="ns2:MediaServiceGenerationTime" minOccurs="0"/>
                <xsd:element ref="ns2:MediaServiceEventHashCode" minOccurs="0"/>
                <xsd:element ref="ns2:MediaServiceDateTaken" minOccurs="0"/>
                <xsd:element ref="ns3:SharedWithUsers" minOccurs="0"/>
                <xsd:element ref="ns3:SharedWithDetails" minOccurs="0"/>
                <xsd:element ref="ns2:MediaServiceLocation" minOccurs="0"/>
                <xsd:element ref="ns2:MediaLengthInSeconds" minOccurs="0"/>
                <xsd:element ref="ns2:lcf76f155ced4ddcb4097134ff3c332f" minOccurs="0"/>
                <xsd:element ref="ns3:TaxCatchAll" minOccurs="0"/>
                <xsd:element ref="ns1:_ip_UnifiedCompliancePolicyProperties" minOccurs="0"/>
                <xsd:element ref="ns1:_ip_UnifiedCompliancePolicyUIAction"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3" nillable="true" ma:displayName="Unified Compliance Policy Properties" ma:hidden="true" ma:internalName="_ip_UnifiedCompliancePolicyProperties">
      <xsd:simpleType>
        <xsd:restriction base="dms:Note"/>
      </xsd:simpleType>
    </xsd:element>
    <xsd:element name="_ip_UnifiedCompliancePolicyUIAction" ma:index="24"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b68f484-29fa-47fd-8df8-9b68eb6318a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b6606b6d-53b6-450b-ace0-dee084e7b36a" ma:termSetId="09814cd3-568e-fe90-9814-8d621ff8fb84" ma:anchorId="fba54fb3-c3e1-fe81-a776-ca4b69148c4d" ma:open="true" ma:isKeyword="false">
      <xsd:complexType>
        <xsd:sequence>
          <xsd:element ref="pc:Terms" minOccurs="0" maxOccurs="1"/>
        </xsd:sequence>
      </xsd:complex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ObjectDetectorVersions" ma:index="26"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3e3c10b-2b05-44b5-b337-f126f441e3b7"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fea5514a-5498-4261-8592-6be84e94c85d}" ma:internalName="TaxCatchAll" ma:showField="CatchAllData" ma:web="d3e3c10b-2b05-44b5-b337-f126f441e3b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9D4815A-FFEC-4842-B2FA-A9EA9FD42E5B}">
  <ds:schemaRefs>
    <ds:schemaRef ds:uri="6b68f484-29fa-47fd-8df8-9b68eb6318a2"/>
    <ds:schemaRef ds:uri="d3e3c10b-2b05-44b5-b337-f126f441e3b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4F89DFFB-EE05-4524-B604-4EABDCE1DA74}">
  <ds:schemaRefs>
    <ds:schemaRef ds:uri="6b68f484-29fa-47fd-8df8-9b68eb6318a2"/>
    <ds:schemaRef ds:uri="d3e3c10b-2b05-44b5-b337-f126f441e3b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957CA0BA-C043-42E3-90B3-1B834A9182A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1</TotalTime>
  <Words>5384</Words>
  <Application>Microsoft Office PowerPoint</Application>
  <PresentationFormat>Widescreen</PresentationFormat>
  <Paragraphs>769</Paragraphs>
  <Slides>41</Slides>
  <Notes>25</Notes>
  <HiddenSlides>0</HiddenSlides>
  <MMClips>0</MMClips>
  <ScaleCrop>false</ScaleCrop>
  <HeadingPairs>
    <vt:vector size="8" baseType="variant">
      <vt:variant>
        <vt:lpstr>Fonts Used</vt:lpstr>
      </vt:variant>
      <vt:variant>
        <vt:i4>19</vt:i4>
      </vt:variant>
      <vt:variant>
        <vt:lpstr>Theme</vt:lpstr>
      </vt:variant>
      <vt:variant>
        <vt:i4>9</vt:i4>
      </vt:variant>
      <vt:variant>
        <vt:lpstr>Embedded OLE Servers</vt:lpstr>
      </vt:variant>
      <vt:variant>
        <vt:i4>2</vt:i4>
      </vt:variant>
      <vt:variant>
        <vt:lpstr>Slide Titles</vt:lpstr>
      </vt:variant>
      <vt:variant>
        <vt:i4>41</vt:i4>
      </vt:variant>
    </vt:vector>
  </HeadingPairs>
  <TitlesOfParts>
    <vt:vector size="71" baseType="lpstr">
      <vt:lpstr>Aptos</vt:lpstr>
      <vt:lpstr>Aptos Display</vt:lpstr>
      <vt:lpstr>Aptos Light</vt:lpstr>
      <vt:lpstr>Aptos SemiBold</vt:lpstr>
      <vt:lpstr>Arial</vt:lpstr>
      <vt:lpstr>Arial Black</vt:lpstr>
      <vt:lpstr>Arial,Sans-Serif</vt:lpstr>
      <vt:lpstr>Century Gothic</vt:lpstr>
      <vt:lpstr>Courier New</vt:lpstr>
      <vt:lpstr>Helvetica Neue UltraLight</vt:lpstr>
      <vt:lpstr>IBM Plex Sans</vt:lpstr>
      <vt:lpstr>IBM Plex Sans Light</vt:lpstr>
      <vt:lpstr>Open Sans</vt:lpstr>
      <vt:lpstr>Open Sans Extrabold</vt:lpstr>
      <vt:lpstr>Open Sans Light</vt:lpstr>
      <vt:lpstr>Outfit</vt:lpstr>
      <vt:lpstr>Poppins</vt:lpstr>
      <vt:lpstr>System Font Regular</vt:lpstr>
      <vt:lpstr>Wingdings 2</vt:lpstr>
      <vt:lpstr>1_Light Slides</vt:lpstr>
      <vt:lpstr>2_Light Slides</vt:lpstr>
      <vt:lpstr>1_office theme</vt:lpstr>
      <vt:lpstr>6_Brillio Dark Theme</vt:lpstr>
      <vt:lpstr>1_Cognizantnewbrand</vt:lpstr>
      <vt:lpstr>Light Slides</vt:lpstr>
      <vt:lpstr>3_Office Theme</vt:lpstr>
      <vt:lpstr>1.Brillio Dark Theme</vt:lpstr>
      <vt:lpstr>2_Cognizantnewbrand</vt:lpstr>
      <vt:lpstr>think-cell Slide</vt:lpstr>
      <vt:lpstr>Acrobat Document</vt:lpstr>
      <vt:lpstr>PowerPoint Presentation</vt:lpstr>
      <vt:lpstr>PowerPoint Presentation</vt:lpstr>
      <vt:lpstr>PowerPoint Presentation</vt:lpstr>
      <vt:lpstr>Our Understanding of the Ask</vt:lpstr>
      <vt:lpstr>PowerPoint Presentation</vt:lpstr>
      <vt:lpstr>PowerPoint Presentation</vt:lpstr>
      <vt:lpstr>PowerPoint Presentation</vt:lpstr>
      <vt:lpstr>PowerPoint Presentation</vt:lpstr>
      <vt:lpstr>PowerPoint Presentation</vt:lpstr>
      <vt:lpstr>Customer 360 - Solution Focus Areas- Phase 1</vt:lpstr>
      <vt:lpstr>Data Modeling for Semantic Data Layer</vt:lpstr>
      <vt:lpstr>PowerPoint Presentation</vt:lpstr>
      <vt:lpstr>Consumption - Power BI Connection with Databricks  Unity Catalog</vt:lpstr>
      <vt:lpstr>PowerPoint Presentation</vt:lpstr>
      <vt:lpstr>PowerPoint Presentation</vt:lpstr>
      <vt:lpstr>PowerPoint Presentation</vt:lpstr>
      <vt:lpstr>Brillio Key Frameworks / Accelerators</vt:lpstr>
      <vt:lpstr>PowerPoint Presentation</vt:lpstr>
      <vt:lpstr>PowerPoint Presentation</vt:lpstr>
      <vt:lpstr>PowerPoint Presentation</vt:lpstr>
      <vt:lpstr>Transforming with SAP Functional Modules Manufacturing, Supply Chain, and Financials</vt:lpstr>
      <vt:lpstr>PowerPoint Presentation</vt:lpstr>
      <vt:lpstr>Step 1: Building Coty's Customer 360: Key Tenets</vt:lpstr>
      <vt:lpstr>Step 2: Creating an Intuitive Customer 360 Interface</vt:lpstr>
      <vt:lpstr>PowerPoint Presentation</vt:lpstr>
      <vt:lpstr>PowerPoint Presentation</vt:lpstr>
      <vt:lpstr>PowerPoint Presentation</vt:lpstr>
      <vt:lpstr>PowerPoint Presentation</vt:lpstr>
      <vt:lpstr>Execution Approach – Agile Implementation</vt:lpstr>
      <vt:lpstr>Overall Execution Timeline</vt:lpstr>
      <vt:lpstr>Proposed Team Structure for Coty</vt:lpstr>
      <vt:lpstr>Governance Model</vt:lpstr>
      <vt:lpstr>Dependencies </vt:lpstr>
      <vt:lpstr>Dependencies </vt:lpstr>
      <vt:lpstr>PowerPoint Presentation</vt:lpstr>
      <vt:lpstr>McDonald’s File Ingestion Architecture Flow</vt:lpstr>
      <vt:lpstr>PowerPoint Presentation</vt:lpstr>
      <vt:lpstr>Solution Architecture to Enable CDP</vt:lpstr>
      <vt:lpstr>PowerPoint Presentation</vt:lpstr>
      <vt:lpstr>PowerPoint Presentation</vt:lpstr>
      <vt:lpstr>Solution Architecture for Next Gen Data Platform</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Raja Maduri</dc:creator>
  <cp:lastModifiedBy>Angeswaran Shanmugasundaram</cp:lastModifiedBy>
  <cp:revision>2</cp:revision>
  <dcterms:created xsi:type="dcterms:W3CDTF">2024-12-10T05:25:09Z</dcterms:created>
  <dcterms:modified xsi:type="dcterms:W3CDTF">2025-04-11T04:11: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EBAB1B268054C47A48CE6C86BD12A81</vt:lpwstr>
  </property>
  <property fmtid="{D5CDD505-2E9C-101B-9397-08002B2CF9AE}" pid="3" name="MediaServiceImageTags">
    <vt:lpwstr/>
  </property>
  <property fmtid="{D5CDD505-2E9C-101B-9397-08002B2CF9AE}" pid="4" name="MSIP_Label_2ae551e3-0043-40f0-9a67-12d995049d50_Enabled">
    <vt:lpwstr>true</vt:lpwstr>
  </property>
  <property fmtid="{D5CDD505-2E9C-101B-9397-08002B2CF9AE}" pid="5" name="MSIP_Label_2ae551e3-0043-40f0-9a67-12d995049d50_SetDate">
    <vt:lpwstr>2025-01-21T11:37:14Z</vt:lpwstr>
  </property>
  <property fmtid="{D5CDD505-2E9C-101B-9397-08002B2CF9AE}" pid="6" name="MSIP_Label_2ae551e3-0043-40f0-9a67-12d995049d50_Method">
    <vt:lpwstr>Privileged</vt:lpwstr>
  </property>
  <property fmtid="{D5CDD505-2E9C-101B-9397-08002B2CF9AE}" pid="7" name="MSIP_Label_2ae551e3-0043-40f0-9a67-12d995049d50_Name">
    <vt:lpwstr>Brillio Confidential</vt:lpwstr>
  </property>
  <property fmtid="{D5CDD505-2E9C-101B-9397-08002B2CF9AE}" pid="8" name="MSIP_Label_2ae551e3-0043-40f0-9a67-12d995049d50_SiteId">
    <vt:lpwstr>97984c2b-a229-4609-8185-ae84947bc3fc</vt:lpwstr>
  </property>
  <property fmtid="{D5CDD505-2E9C-101B-9397-08002B2CF9AE}" pid="9" name="MSIP_Label_2ae551e3-0043-40f0-9a67-12d995049d50_ActionId">
    <vt:lpwstr>6d48d888-cf0d-4ccf-8677-53763aa93d43</vt:lpwstr>
  </property>
  <property fmtid="{D5CDD505-2E9C-101B-9397-08002B2CF9AE}" pid="10" name="MSIP_Label_2ae551e3-0043-40f0-9a67-12d995049d50_ContentBits">
    <vt:lpwstr>0</vt:lpwstr>
  </property>
</Properties>
</file>